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7" r:id="rId5"/>
  </p:sldMasterIdLst>
  <p:notesMasterIdLst>
    <p:notesMasterId r:id="rId17"/>
  </p:notesMasterIdLst>
  <p:sldIdLst>
    <p:sldId id="256" r:id="rId6"/>
    <p:sldId id="2147470403" r:id="rId7"/>
    <p:sldId id="2147470369" r:id="rId8"/>
    <p:sldId id="2147470404" r:id="rId9"/>
    <p:sldId id="2147470402" r:id="rId10"/>
    <p:sldId id="2147470487" r:id="rId11"/>
    <p:sldId id="2147470489" r:id="rId12"/>
    <p:sldId id="2147470490" r:id="rId13"/>
    <p:sldId id="2147470488" r:id="rId14"/>
    <p:sldId id="2147470395" r:id="rId15"/>
    <p:sldId id="2147470483" r:id="rId16"/>
  </p:sldIdLst>
  <p:sldSz cx="12192000" cy="6858000"/>
  <p:notesSz cx="6858000" cy="9144000"/>
  <p:custDataLst>
    <p:tags r:id="rId18"/>
  </p:custDataLst>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iselle Franco Santos" initials="GFS" lastIdx="5" clrIdx="0">
    <p:extLst>
      <p:ext uri="{19B8F6BF-5375-455C-9EA6-DF929625EA0E}">
        <p15:presenceInfo xmlns:p15="http://schemas.microsoft.com/office/powerpoint/2012/main" userId="S-1-5-21-968166678-1752658307-622671684-965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C640"/>
    <a:srgbClr val="3698B0"/>
    <a:srgbClr val="49306E"/>
    <a:srgbClr val="32286E"/>
    <a:srgbClr val="44505E"/>
    <a:srgbClr val="EEF6F9"/>
    <a:srgbClr val="82C53B"/>
    <a:srgbClr val="007D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BD9258-A6BB-B34F-8FF0-47C98C43CD2D}" v="365" dt="2024-06-04T13:41:31.563"/>
    <p1510:client id="{47706D09-55F8-B685-5770-38BA669A3A16}" v="8" dt="2024-06-04T14:03:26.372"/>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4" autoAdjust="0"/>
    <p:restoredTop sz="95765" autoAdjust="0"/>
  </p:normalViewPr>
  <p:slideViewPr>
    <p:cSldViewPr snapToGrid="0">
      <p:cViewPr varScale="1">
        <p:scale>
          <a:sx n="72" d="100"/>
          <a:sy n="72" d="100"/>
        </p:scale>
        <p:origin x="64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duardo.piovani@bp.org.br" userId="S::urn:spo:guest#eduardo.piovani@bp.org.br::" providerId="AD" clId="Web-{21BD9258-A6BB-B34F-8FF0-47C98C43CD2D}"/>
    <pc:docChg chg="modSld">
      <pc:chgData name="eduardo.piovani@bp.org.br" userId="S::urn:spo:guest#eduardo.piovani@bp.org.br::" providerId="AD" clId="Web-{21BD9258-A6BB-B34F-8FF0-47C98C43CD2D}" dt="2024-06-04T13:41:30" v="189" actId="20577"/>
      <pc:docMkLst>
        <pc:docMk/>
      </pc:docMkLst>
      <pc:sldChg chg="modSp">
        <pc:chgData name="eduardo.piovani@bp.org.br" userId="S::urn:spo:guest#eduardo.piovani@bp.org.br::" providerId="AD" clId="Web-{21BD9258-A6BB-B34F-8FF0-47C98C43CD2D}" dt="2024-06-04T13:41:30" v="189" actId="20577"/>
        <pc:sldMkLst>
          <pc:docMk/>
          <pc:sldMk cId="3076924188" sldId="2147470395"/>
        </pc:sldMkLst>
        <pc:spChg chg="mod">
          <ac:chgData name="eduardo.piovani@bp.org.br" userId="S::urn:spo:guest#eduardo.piovani@bp.org.br::" providerId="AD" clId="Web-{21BD9258-A6BB-B34F-8FF0-47C98C43CD2D}" dt="2024-06-04T13:41:30" v="189" actId="20577"/>
          <ac:spMkLst>
            <pc:docMk/>
            <pc:sldMk cId="3076924188" sldId="2147470395"/>
            <ac:spMk id="3" creationId="{1439288B-62EA-77D8-6A0B-211EC0259F81}"/>
          </ac:spMkLst>
        </pc:spChg>
      </pc:sldChg>
    </pc:docChg>
  </pc:docChgLst>
  <pc:docChgLst>
    <pc:chgData name="Amanda Brassaroto Gimenes" userId="S::amanda.gimenes_hsl.org.br#ext#@sbibae.onmicrosoft.com::e0919b0d-790a-4be0-b39d-690507500847" providerId="AD" clId="Web-{47706D09-55F8-B685-5770-38BA669A3A16}"/>
    <pc:docChg chg="modSld sldOrd">
      <pc:chgData name="Amanda Brassaroto Gimenes" userId="S::amanda.gimenes_hsl.org.br#ext#@sbibae.onmicrosoft.com::e0919b0d-790a-4be0-b39d-690507500847" providerId="AD" clId="Web-{47706D09-55F8-B685-5770-38BA669A3A16}" dt="2024-06-04T14:03:26.372" v="4"/>
      <pc:docMkLst>
        <pc:docMk/>
      </pc:docMkLst>
      <pc:sldChg chg="modSp">
        <pc:chgData name="Amanda Brassaroto Gimenes" userId="S::amanda.gimenes_hsl.org.br#ext#@sbibae.onmicrosoft.com::e0919b0d-790a-4be0-b39d-690507500847" providerId="AD" clId="Web-{47706D09-55F8-B685-5770-38BA669A3A16}" dt="2024-06-04T13:56:48.078" v="2" actId="20577"/>
        <pc:sldMkLst>
          <pc:docMk/>
          <pc:sldMk cId="1241706184" sldId="2147470487"/>
        </pc:sldMkLst>
        <pc:spChg chg="mod">
          <ac:chgData name="Amanda Brassaroto Gimenes" userId="S::amanda.gimenes_hsl.org.br#ext#@sbibae.onmicrosoft.com::e0919b0d-790a-4be0-b39d-690507500847" providerId="AD" clId="Web-{47706D09-55F8-B685-5770-38BA669A3A16}" dt="2024-06-04T13:56:48.078" v="2" actId="20577"/>
          <ac:spMkLst>
            <pc:docMk/>
            <pc:sldMk cId="1241706184" sldId="2147470487"/>
            <ac:spMk id="3" creationId="{18B4C65C-53F5-9B63-A802-20949353223B}"/>
          </ac:spMkLst>
        </pc:spChg>
      </pc:sldChg>
      <pc:sldChg chg="ord">
        <pc:chgData name="Amanda Brassaroto Gimenes" userId="S::amanda.gimenes_hsl.org.br#ext#@sbibae.onmicrosoft.com::e0919b0d-790a-4be0-b39d-690507500847" providerId="AD" clId="Web-{47706D09-55F8-B685-5770-38BA669A3A16}" dt="2024-06-04T14:03:26.372" v="4"/>
        <pc:sldMkLst>
          <pc:docMk/>
          <pc:sldMk cId="2362858765" sldId="2147470488"/>
        </pc:sldMkLst>
      </pc:sldChg>
    </pc:docChg>
  </pc:docChgLst>
  <pc:docChgLst>
    <pc:chgData name="Andreza Pivato Susin Hamada" userId="330dde671dcdf94e" providerId="LiveId" clId="{105633D9-B335-41FA-BB83-5B7D43342DF3}"/>
    <pc:docChg chg="undo custSel addSld delSld modSld sldOrd delMainMaster">
      <pc:chgData name="Andreza Pivato Susin Hamada" userId="330dde671dcdf94e" providerId="LiveId" clId="{105633D9-B335-41FA-BB83-5B7D43342DF3}" dt="2023-11-22T13:39:42.227" v="205" actId="20577"/>
      <pc:docMkLst>
        <pc:docMk/>
      </pc:docMkLst>
      <pc:sldChg chg="modSp mod delCm">
        <pc:chgData name="Andreza Pivato Susin Hamada" userId="330dde671dcdf94e" providerId="LiveId" clId="{105633D9-B335-41FA-BB83-5B7D43342DF3}" dt="2023-11-22T13:39:42.227" v="205" actId="20577"/>
        <pc:sldMkLst>
          <pc:docMk/>
          <pc:sldMk cId="3572105121" sldId="256"/>
        </pc:sldMkLst>
        <pc:spChg chg="mod">
          <ac:chgData name="Andreza Pivato Susin Hamada" userId="330dde671dcdf94e" providerId="LiveId" clId="{105633D9-B335-41FA-BB83-5B7D43342DF3}" dt="2023-11-22T13:39:42.227" v="205" actId="20577"/>
          <ac:spMkLst>
            <pc:docMk/>
            <pc:sldMk cId="3572105121" sldId="256"/>
            <ac:spMk id="13" creationId="{51FBB5EF-E660-F3DC-7A81-EB4D798D6D57}"/>
          </ac:spMkLst>
        </pc:spChg>
        <pc:spChg chg="mod">
          <ac:chgData name="Andreza Pivato Susin Hamada" userId="330dde671dcdf94e" providerId="LiveId" clId="{105633D9-B335-41FA-BB83-5B7D43342DF3}" dt="2023-11-22T02:06:47.739" v="12" actId="20577"/>
          <ac:spMkLst>
            <pc:docMk/>
            <pc:sldMk cId="3572105121" sldId="256"/>
            <ac:spMk id="54" creationId="{C932A6A2-490D-BDFB-385C-AD82FC517806}"/>
          </ac:spMkLst>
        </pc:spChg>
      </pc:sldChg>
      <pc:sldChg chg="del">
        <pc:chgData name="Andreza Pivato Susin Hamada" userId="330dde671dcdf94e" providerId="LiveId" clId="{105633D9-B335-41FA-BB83-5B7D43342DF3}" dt="2023-11-22T02:09:39.211" v="65" actId="47"/>
        <pc:sldMkLst>
          <pc:docMk/>
          <pc:sldMk cId="2786749472" sldId="262"/>
        </pc:sldMkLst>
      </pc:sldChg>
      <pc:sldChg chg="del">
        <pc:chgData name="Andreza Pivato Susin Hamada" userId="330dde671dcdf94e" providerId="LiveId" clId="{105633D9-B335-41FA-BB83-5B7D43342DF3}" dt="2023-11-22T02:08:16.090" v="49" actId="47"/>
        <pc:sldMkLst>
          <pc:docMk/>
          <pc:sldMk cId="2867179140" sldId="268"/>
        </pc:sldMkLst>
      </pc:sldChg>
      <pc:sldChg chg="del">
        <pc:chgData name="Andreza Pivato Susin Hamada" userId="330dde671dcdf94e" providerId="LiveId" clId="{105633D9-B335-41FA-BB83-5B7D43342DF3}" dt="2023-11-22T02:09:44.323" v="68" actId="47"/>
        <pc:sldMkLst>
          <pc:docMk/>
          <pc:sldMk cId="508094781" sldId="271"/>
        </pc:sldMkLst>
      </pc:sldChg>
      <pc:sldChg chg="del">
        <pc:chgData name="Andreza Pivato Susin Hamada" userId="330dde671dcdf94e" providerId="LiveId" clId="{105633D9-B335-41FA-BB83-5B7D43342DF3}" dt="2023-11-22T02:09:45.648" v="69" actId="47"/>
        <pc:sldMkLst>
          <pc:docMk/>
          <pc:sldMk cId="1490957770" sldId="272"/>
        </pc:sldMkLst>
      </pc:sldChg>
      <pc:sldChg chg="del">
        <pc:chgData name="Andreza Pivato Susin Hamada" userId="330dde671dcdf94e" providerId="LiveId" clId="{105633D9-B335-41FA-BB83-5B7D43342DF3}" dt="2023-11-22T02:09:46.779" v="70" actId="47"/>
        <pc:sldMkLst>
          <pc:docMk/>
          <pc:sldMk cId="1418060166" sldId="274"/>
        </pc:sldMkLst>
      </pc:sldChg>
      <pc:sldChg chg="del">
        <pc:chgData name="Andreza Pivato Susin Hamada" userId="330dde671dcdf94e" providerId="LiveId" clId="{105633D9-B335-41FA-BB83-5B7D43342DF3}" dt="2023-11-22T02:09:50.336" v="72" actId="47"/>
        <pc:sldMkLst>
          <pc:docMk/>
          <pc:sldMk cId="2246588967" sldId="278"/>
        </pc:sldMkLst>
      </pc:sldChg>
      <pc:sldChg chg="del">
        <pc:chgData name="Andreza Pivato Susin Hamada" userId="330dde671dcdf94e" providerId="LiveId" clId="{105633D9-B335-41FA-BB83-5B7D43342DF3}" dt="2023-11-22T02:08:11.169" v="47" actId="47"/>
        <pc:sldMkLst>
          <pc:docMk/>
          <pc:sldMk cId="3086848776" sldId="2147470366"/>
        </pc:sldMkLst>
      </pc:sldChg>
      <pc:sldChg chg="del">
        <pc:chgData name="Andreza Pivato Susin Hamada" userId="330dde671dcdf94e" providerId="LiveId" clId="{105633D9-B335-41FA-BB83-5B7D43342DF3}" dt="2023-11-22T02:09:41.061" v="66" actId="47"/>
        <pc:sldMkLst>
          <pc:docMk/>
          <pc:sldMk cId="2126696692" sldId="2147470368"/>
        </pc:sldMkLst>
      </pc:sldChg>
      <pc:sldChg chg="add del setBg">
        <pc:chgData name="Andreza Pivato Susin Hamada" userId="330dde671dcdf94e" providerId="LiveId" clId="{105633D9-B335-41FA-BB83-5B7D43342DF3}" dt="2023-11-22T02:15:13.894" v="174"/>
        <pc:sldMkLst>
          <pc:docMk/>
          <pc:sldMk cId="402572316" sldId="2147470369"/>
        </pc:sldMkLst>
      </pc:sldChg>
      <pc:sldChg chg="del">
        <pc:chgData name="Andreza Pivato Susin Hamada" userId="330dde671dcdf94e" providerId="LiveId" clId="{105633D9-B335-41FA-BB83-5B7D43342DF3}" dt="2023-11-22T02:08:17.929" v="50" actId="47"/>
        <pc:sldMkLst>
          <pc:docMk/>
          <pc:sldMk cId="1942391165" sldId="2147470370"/>
        </pc:sldMkLst>
      </pc:sldChg>
      <pc:sldChg chg="del">
        <pc:chgData name="Andreza Pivato Susin Hamada" userId="330dde671dcdf94e" providerId="LiveId" clId="{105633D9-B335-41FA-BB83-5B7D43342DF3}" dt="2023-11-22T02:08:22.228" v="53" actId="47"/>
        <pc:sldMkLst>
          <pc:docMk/>
          <pc:sldMk cId="1623341764" sldId="2147470371"/>
        </pc:sldMkLst>
      </pc:sldChg>
      <pc:sldChg chg="add del setBg">
        <pc:chgData name="Andreza Pivato Susin Hamada" userId="330dde671dcdf94e" providerId="LiveId" clId="{105633D9-B335-41FA-BB83-5B7D43342DF3}" dt="2023-11-22T02:16:04.813" v="181" actId="47"/>
        <pc:sldMkLst>
          <pc:docMk/>
          <pc:sldMk cId="2929358159" sldId="2147470373"/>
        </pc:sldMkLst>
      </pc:sldChg>
      <pc:sldChg chg="modSp mod">
        <pc:chgData name="Andreza Pivato Susin Hamada" userId="330dde671dcdf94e" providerId="LiveId" clId="{105633D9-B335-41FA-BB83-5B7D43342DF3}" dt="2023-11-22T02:10:06.082" v="80" actId="20577"/>
        <pc:sldMkLst>
          <pc:docMk/>
          <pc:sldMk cId="171307574" sldId="2147470374"/>
        </pc:sldMkLst>
        <pc:spChg chg="mod">
          <ac:chgData name="Andreza Pivato Susin Hamada" userId="330dde671dcdf94e" providerId="LiveId" clId="{105633D9-B335-41FA-BB83-5B7D43342DF3}" dt="2023-11-22T02:10:06.082" v="80" actId="20577"/>
          <ac:spMkLst>
            <pc:docMk/>
            <pc:sldMk cId="171307574" sldId="2147470374"/>
            <ac:spMk id="49" creationId="{45F573A1-573D-78C3-3232-01B72461CEA5}"/>
          </ac:spMkLst>
        </pc:spChg>
      </pc:sldChg>
      <pc:sldChg chg="delSp del mod">
        <pc:chgData name="Andreza Pivato Susin Hamada" userId="330dde671dcdf94e" providerId="LiveId" clId="{105633D9-B335-41FA-BB83-5B7D43342DF3}" dt="2023-11-22T02:15:27.085" v="177" actId="47"/>
        <pc:sldMkLst>
          <pc:docMk/>
          <pc:sldMk cId="2452562143" sldId="2147470375"/>
        </pc:sldMkLst>
        <pc:picChg chg="del">
          <ac:chgData name="Andreza Pivato Susin Hamada" userId="330dde671dcdf94e" providerId="LiveId" clId="{105633D9-B335-41FA-BB83-5B7D43342DF3}" dt="2023-11-22T02:06:26.213" v="0" actId="478"/>
          <ac:picMkLst>
            <pc:docMk/>
            <pc:sldMk cId="2452562143" sldId="2147470375"/>
            <ac:picMk id="3" creationId="{D89E66AF-9617-D4AD-2068-12E2244FEEDA}"/>
          </ac:picMkLst>
        </pc:picChg>
      </pc:sldChg>
      <pc:sldChg chg="delSp mod">
        <pc:chgData name="Andreza Pivato Susin Hamada" userId="330dde671dcdf94e" providerId="LiveId" clId="{105633D9-B335-41FA-BB83-5B7D43342DF3}" dt="2023-11-22T02:09:57.190" v="73" actId="478"/>
        <pc:sldMkLst>
          <pc:docMk/>
          <pc:sldMk cId="1377101394" sldId="2147470383"/>
        </pc:sldMkLst>
        <pc:picChg chg="del">
          <ac:chgData name="Andreza Pivato Susin Hamada" userId="330dde671dcdf94e" providerId="LiveId" clId="{105633D9-B335-41FA-BB83-5B7D43342DF3}" dt="2023-11-22T02:09:57.190" v="73" actId="478"/>
          <ac:picMkLst>
            <pc:docMk/>
            <pc:sldMk cId="1377101394" sldId="2147470383"/>
            <ac:picMk id="2" creationId="{2A9C9294-849D-4724-5011-3405350F0424}"/>
          </ac:picMkLst>
        </pc:picChg>
      </pc:sldChg>
      <pc:sldChg chg="delSp mod ord">
        <pc:chgData name="Andreza Pivato Susin Hamada" userId="330dde671dcdf94e" providerId="LiveId" clId="{105633D9-B335-41FA-BB83-5B7D43342DF3}" dt="2023-11-22T02:15:48.856" v="180"/>
        <pc:sldMkLst>
          <pc:docMk/>
          <pc:sldMk cId="6732094" sldId="2147470384"/>
        </pc:sldMkLst>
        <pc:picChg chg="del">
          <ac:chgData name="Andreza Pivato Susin Hamada" userId="330dde671dcdf94e" providerId="LiveId" clId="{105633D9-B335-41FA-BB83-5B7D43342DF3}" dt="2023-11-22T02:12:38.594" v="172" actId="478"/>
          <ac:picMkLst>
            <pc:docMk/>
            <pc:sldMk cId="6732094" sldId="2147470384"/>
            <ac:picMk id="4" creationId="{37F926CC-67C3-6332-5315-E34F37D50731}"/>
          </ac:picMkLst>
        </pc:picChg>
        <pc:picChg chg="del">
          <ac:chgData name="Andreza Pivato Susin Hamada" userId="330dde671dcdf94e" providerId="LiveId" clId="{105633D9-B335-41FA-BB83-5B7D43342DF3}" dt="2023-11-22T02:12:39.571" v="173" actId="478"/>
          <ac:picMkLst>
            <pc:docMk/>
            <pc:sldMk cId="6732094" sldId="2147470384"/>
            <ac:picMk id="52" creationId="{DB827DCE-7CE0-CC6A-072C-1D028C74F8AA}"/>
          </ac:picMkLst>
        </pc:picChg>
      </pc:sldChg>
      <pc:sldChg chg="add del setBg delCm">
        <pc:chgData name="Andreza Pivato Susin Hamada" userId="330dde671dcdf94e" providerId="LiveId" clId="{105633D9-B335-41FA-BB83-5B7D43342DF3}" dt="2023-11-22T02:16:26.529" v="183" actId="47"/>
        <pc:sldMkLst>
          <pc:docMk/>
          <pc:sldMk cId="346492119" sldId="2147470385"/>
        </pc:sldMkLst>
      </pc:sldChg>
      <pc:sldChg chg="del">
        <pc:chgData name="Andreza Pivato Susin Hamada" userId="330dde671dcdf94e" providerId="LiveId" clId="{105633D9-B335-41FA-BB83-5B7D43342DF3}" dt="2023-11-22T02:08:09.225" v="46" actId="47"/>
        <pc:sldMkLst>
          <pc:docMk/>
          <pc:sldMk cId="2597368224" sldId="2147470388"/>
        </pc:sldMkLst>
      </pc:sldChg>
      <pc:sldChg chg="del">
        <pc:chgData name="Andreza Pivato Susin Hamada" userId="330dde671dcdf94e" providerId="LiveId" clId="{105633D9-B335-41FA-BB83-5B7D43342DF3}" dt="2023-11-22T02:08:21.222" v="52" actId="47"/>
        <pc:sldMkLst>
          <pc:docMk/>
          <pc:sldMk cId="2404157299" sldId="2147470390"/>
        </pc:sldMkLst>
      </pc:sldChg>
      <pc:sldChg chg="del">
        <pc:chgData name="Andreza Pivato Susin Hamada" userId="330dde671dcdf94e" providerId="LiveId" clId="{105633D9-B335-41FA-BB83-5B7D43342DF3}" dt="2023-11-22T02:10:13.059" v="82" actId="47"/>
        <pc:sldMkLst>
          <pc:docMk/>
          <pc:sldMk cId="2361562505" sldId="2147470391"/>
        </pc:sldMkLst>
      </pc:sldChg>
      <pc:sldChg chg="addSp modSp mod">
        <pc:chgData name="Andreza Pivato Susin Hamada" userId="330dde671dcdf94e" providerId="LiveId" clId="{105633D9-B335-41FA-BB83-5B7D43342DF3}" dt="2023-11-22T02:09:31.710" v="64" actId="108"/>
        <pc:sldMkLst>
          <pc:docMk/>
          <pc:sldMk cId="3076924188" sldId="2147470395"/>
        </pc:sldMkLst>
        <pc:spChg chg="mod">
          <ac:chgData name="Andreza Pivato Susin Hamada" userId="330dde671dcdf94e" providerId="LiveId" clId="{105633D9-B335-41FA-BB83-5B7D43342DF3}" dt="2023-11-22T02:09:31.710" v="64" actId="108"/>
          <ac:spMkLst>
            <pc:docMk/>
            <pc:sldMk cId="3076924188" sldId="2147470395"/>
            <ac:spMk id="6" creationId="{36B49895-2277-8F97-C598-D0E6DCCF4AD6}"/>
          </ac:spMkLst>
        </pc:spChg>
        <pc:spChg chg="mod">
          <ac:chgData name="Andreza Pivato Susin Hamada" userId="330dde671dcdf94e" providerId="LiveId" clId="{105633D9-B335-41FA-BB83-5B7D43342DF3}" dt="2023-11-22T02:07:47.918" v="43" actId="20577"/>
          <ac:spMkLst>
            <pc:docMk/>
            <pc:sldMk cId="3076924188" sldId="2147470395"/>
            <ac:spMk id="59" creationId="{C1D18131-1450-FF62-0491-A84272C370FE}"/>
          </ac:spMkLst>
        </pc:spChg>
        <pc:picChg chg="add mod">
          <ac:chgData name="Andreza Pivato Susin Hamada" userId="330dde671dcdf94e" providerId="LiveId" clId="{105633D9-B335-41FA-BB83-5B7D43342DF3}" dt="2023-11-22T02:08:33.516" v="55"/>
          <ac:picMkLst>
            <pc:docMk/>
            <pc:sldMk cId="3076924188" sldId="2147470395"/>
            <ac:picMk id="2" creationId="{113866E0-6CBB-917B-4F30-C5837D5045B9}"/>
          </ac:picMkLst>
        </pc:picChg>
      </pc:sldChg>
      <pc:sldChg chg="del">
        <pc:chgData name="Andreza Pivato Susin Hamada" userId="330dde671dcdf94e" providerId="LiveId" clId="{105633D9-B335-41FA-BB83-5B7D43342DF3}" dt="2023-11-22T02:08:13.704" v="48" actId="47"/>
        <pc:sldMkLst>
          <pc:docMk/>
          <pc:sldMk cId="576948917" sldId="2147470396"/>
        </pc:sldMkLst>
      </pc:sldChg>
      <pc:sldChg chg="del">
        <pc:chgData name="Andreza Pivato Susin Hamada" userId="330dde671dcdf94e" providerId="LiveId" clId="{105633D9-B335-41FA-BB83-5B7D43342DF3}" dt="2023-11-22T02:08:20.306" v="51" actId="47"/>
        <pc:sldMkLst>
          <pc:docMk/>
          <pc:sldMk cId="77221186" sldId="2147470397"/>
        </pc:sldMkLst>
      </pc:sldChg>
      <pc:sldChg chg="addSp modSp mod">
        <pc:chgData name="Andreza Pivato Susin Hamada" userId="330dde671dcdf94e" providerId="LiveId" clId="{105633D9-B335-41FA-BB83-5B7D43342DF3}" dt="2023-11-22T02:09:16.463" v="61" actId="404"/>
        <pc:sldMkLst>
          <pc:docMk/>
          <pc:sldMk cId="3528976294" sldId="2147470398"/>
        </pc:sldMkLst>
        <pc:spChg chg="mod">
          <ac:chgData name="Andreza Pivato Susin Hamada" userId="330dde671dcdf94e" providerId="LiveId" clId="{105633D9-B335-41FA-BB83-5B7D43342DF3}" dt="2023-11-22T02:09:16.463" v="61" actId="404"/>
          <ac:spMkLst>
            <pc:docMk/>
            <pc:sldMk cId="3528976294" sldId="2147470398"/>
            <ac:spMk id="6" creationId="{36B49895-2277-8F97-C598-D0E6DCCF4AD6}"/>
          </ac:spMkLst>
        </pc:spChg>
        <pc:picChg chg="add mod">
          <ac:chgData name="Andreza Pivato Susin Hamada" userId="330dde671dcdf94e" providerId="LiveId" clId="{105633D9-B335-41FA-BB83-5B7D43342DF3}" dt="2023-11-22T02:08:30.693" v="54"/>
          <ac:picMkLst>
            <pc:docMk/>
            <pc:sldMk cId="3528976294" sldId="2147470398"/>
            <ac:picMk id="2" creationId="{630C3835-1FC8-FE78-614E-0CE9B636F328}"/>
          </ac:picMkLst>
        </pc:picChg>
      </pc:sldChg>
      <pc:sldChg chg="delSp modSp add mod modClrScheme chgLayout">
        <pc:chgData name="Andreza Pivato Susin Hamada" userId="330dde671dcdf94e" providerId="LiveId" clId="{105633D9-B335-41FA-BB83-5B7D43342DF3}" dt="2023-11-22T02:11:05.729" v="152" actId="1038"/>
        <pc:sldMkLst>
          <pc:docMk/>
          <pc:sldMk cId="1504446281" sldId="2147470399"/>
        </pc:sldMkLst>
        <pc:spChg chg="mod">
          <ac:chgData name="Andreza Pivato Susin Hamada" userId="330dde671dcdf94e" providerId="LiveId" clId="{105633D9-B335-41FA-BB83-5B7D43342DF3}" dt="2023-11-22T02:11:05.729" v="152" actId="1038"/>
          <ac:spMkLst>
            <pc:docMk/>
            <pc:sldMk cId="1504446281" sldId="2147470399"/>
            <ac:spMk id="64" creationId="{53671CB1-C9BD-E075-D5F7-FA2B076C2A68}"/>
          </ac:spMkLst>
        </pc:spChg>
        <pc:spChg chg="mod">
          <ac:chgData name="Andreza Pivato Susin Hamada" userId="330dde671dcdf94e" providerId="LiveId" clId="{105633D9-B335-41FA-BB83-5B7D43342DF3}" dt="2023-11-22T02:11:05.729" v="152" actId="1038"/>
          <ac:spMkLst>
            <pc:docMk/>
            <pc:sldMk cId="1504446281" sldId="2147470399"/>
            <ac:spMk id="69" creationId="{1D48ADE4-0C42-1499-E72A-C0BCCFFA12EE}"/>
          </ac:spMkLst>
        </pc:spChg>
        <pc:spChg chg="del">
          <ac:chgData name="Andreza Pivato Susin Hamada" userId="330dde671dcdf94e" providerId="LiveId" clId="{105633D9-B335-41FA-BB83-5B7D43342DF3}" dt="2023-11-22T02:10:49.639" v="90" actId="478"/>
          <ac:spMkLst>
            <pc:docMk/>
            <pc:sldMk cId="1504446281" sldId="2147470399"/>
            <ac:spMk id="70" creationId="{071C0091-20FE-5C78-D1AA-D6491161E5E0}"/>
          </ac:spMkLst>
        </pc:spChg>
        <pc:spChg chg="del">
          <ac:chgData name="Andreza Pivato Susin Hamada" userId="330dde671dcdf94e" providerId="LiveId" clId="{105633D9-B335-41FA-BB83-5B7D43342DF3}" dt="2023-11-22T02:10:51.092" v="91" actId="478"/>
          <ac:spMkLst>
            <pc:docMk/>
            <pc:sldMk cId="1504446281" sldId="2147470399"/>
            <ac:spMk id="71" creationId="{E47DD8ED-F9FF-0E30-6BE3-31F80877F372}"/>
          </ac:spMkLst>
        </pc:spChg>
        <pc:grpChg chg="mod">
          <ac:chgData name="Andreza Pivato Susin Hamada" userId="330dde671dcdf94e" providerId="LiveId" clId="{105633D9-B335-41FA-BB83-5B7D43342DF3}" dt="2023-11-22T02:11:05.729" v="152" actId="1038"/>
          <ac:grpSpMkLst>
            <pc:docMk/>
            <pc:sldMk cId="1504446281" sldId="2147470399"/>
            <ac:grpSpMk id="59" creationId="{A2378BC3-90BB-A74F-7563-57B85B6FB935}"/>
          </ac:grpSpMkLst>
        </pc:grpChg>
        <pc:grpChg chg="mod">
          <ac:chgData name="Andreza Pivato Susin Hamada" userId="330dde671dcdf94e" providerId="LiveId" clId="{105633D9-B335-41FA-BB83-5B7D43342DF3}" dt="2023-11-22T02:11:05.729" v="152" actId="1038"/>
          <ac:grpSpMkLst>
            <pc:docMk/>
            <pc:sldMk cId="1504446281" sldId="2147470399"/>
            <ac:grpSpMk id="60" creationId="{83B24CDE-6DBB-3F88-3BE0-0D832EA7D3D9}"/>
          </ac:grpSpMkLst>
        </pc:grpChg>
        <pc:grpChg chg="mod">
          <ac:chgData name="Andreza Pivato Susin Hamada" userId="330dde671dcdf94e" providerId="LiveId" clId="{105633D9-B335-41FA-BB83-5B7D43342DF3}" dt="2023-11-22T02:11:05.729" v="152" actId="1038"/>
          <ac:grpSpMkLst>
            <pc:docMk/>
            <pc:sldMk cId="1504446281" sldId="2147470399"/>
            <ac:grpSpMk id="61" creationId="{F2625676-87D2-A5C4-4897-8CA6853714D8}"/>
          </ac:grpSpMkLst>
        </pc:grpChg>
      </pc:sldChg>
      <pc:sldChg chg="del">
        <pc:chgData name="Andreza Pivato Susin Hamada" userId="330dde671dcdf94e" providerId="LiveId" clId="{105633D9-B335-41FA-BB83-5B7D43342DF3}" dt="2023-11-22T02:09:42.929" v="67" actId="47"/>
        <pc:sldMkLst>
          <pc:docMk/>
          <pc:sldMk cId="2574429888" sldId="2147470399"/>
        </pc:sldMkLst>
      </pc:sldChg>
      <pc:sldChg chg="delSp modSp add mod modClrScheme chgLayout">
        <pc:chgData name="Andreza Pivato Susin Hamada" userId="330dde671dcdf94e" providerId="LiveId" clId="{105633D9-B335-41FA-BB83-5B7D43342DF3}" dt="2023-11-22T02:11:48.695" v="160" actId="1076"/>
        <pc:sldMkLst>
          <pc:docMk/>
          <pc:sldMk cId="459461946" sldId="2147470400"/>
        </pc:sldMkLst>
        <pc:spChg chg="mod">
          <ac:chgData name="Andreza Pivato Susin Hamada" userId="330dde671dcdf94e" providerId="LiveId" clId="{105633D9-B335-41FA-BB83-5B7D43342DF3}" dt="2023-11-22T02:11:48.695" v="160" actId="1076"/>
          <ac:spMkLst>
            <pc:docMk/>
            <pc:sldMk cId="459461946" sldId="2147470400"/>
            <ac:spMk id="48" creationId="{BAA51778-84A7-40E7-C7CF-9BFA59BA29FA}"/>
          </ac:spMkLst>
        </pc:spChg>
        <pc:spChg chg="del">
          <ac:chgData name="Andreza Pivato Susin Hamada" userId="330dde671dcdf94e" providerId="LiveId" clId="{105633D9-B335-41FA-BB83-5B7D43342DF3}" dt="2023-11-22T02:11:44.472" v="159" actId="478"/>
          <ac:spMkLst>
            <pc:docMk/>
            <pc:sldMk cId="459461946" sldId="2147470400"/>
            <ac:spMk id="49" creationId="{F723044C-3C06-335E-AF7C-52DC79F1DB66}"/>
          </ac:spMkLst>
        </pc:spChg>
        <pc:spChg chg="del">
          <ac:chgData name="Andreza Pivato Susin Hamada" userId="330dde671dcdf94e" providerId="LiveId" clId="{105633D9-B335-41FA-BB83-5B7D43342DF3}" dt="2023-11-22T02:11:35.512" v="157" actId="478"/>
          <ac:spMkLst>
            <pc:docMk/>
            <pc:sldMk cId="459461946" sldId="2147470400"/>
            <ac:spMk id="70" creationId="{071C0091-20FE-5C78-D1AA-D6491161E5E0}"/>
          </ac:spMkLst>
        </pc:spChg>
        <pc:spChg chg="del mod">
          <ac:chgData name="Andreza Pivato Susin Hamada" userId="330dde671dcdf94e" providerId="LiveId" clId="{105633D9-B335-41FA-BB83-5B7D43342DF3}" dt="2023-11-22T02:11:36.212" v="158" actId="478"/>
          <ac:spMkLst>
            <pc:docMk/>
            <pc:sldMk cId="459461946" sldId="2147470400"/>
            <ac:spMk id="71" creationId="{E47DD8ED-F9FF-0E30-6BE3-31F80877F372}"/>
          </ac:spMkLst>
        </pc:spChg>
      </pc:sldChg>
      <pc:sldChg chg="del">
        <pc:chgData name="Andreza Pivato Susin Hamada" userId="330dde671dcdf94e" providerId="LiveId" clId="{105633D9-B335-41FA-BB83-5B7D43342DF3}" dt="2023-11-22T02:09:47.776" v="71" actId="47"/>
        <pc:sldMkLst>
          <pc:docMk/>
          <pc:sldMk cId="2597746960" sldId="2147470400"/>
        </pc:sldMkLst>
      </pc:sldChg>
      <pc:sldChg chg="del">
        <pc:chgData name="Andreza Pivato Susin Hamada" userId="330dde671dcdf94e" providerId="LiveId" clId="{105633D9-B335-41FA-BB83-5B7D43342DF3}" dt="2023-11-22T02:07:19.122" v="18" actId="47"/>
        <pc:sldMkLst>
          <pc:docMk/>
          <pc:sldMk cId="3208630165" sldId="2147470401"/>
        </pc:sldMkLst>
      </pc:sldChg>
      <pc:sldChg chg="delSp modSp add mod">
        <pc:chgData name="Andreza Pivato Susin Hamada" userId="330dde671dcdf94e" providerId="LiveId" clId="{105633D9-B335-41FA-BB83-5B7D43342DF3}" dt="2023-11-22T02:12:26.797" v="168" actId="1076"/>
        <pc:sldMkLst>
          <pc:docMk/>
          <pc:sldMk cId="4219631405" sldId="2147470401"/>
        </pc:sldMkLst>
        <pc:spChg chg="mod">
          <ac:chgData name="Andreza Pivato Susin Hamada" userId="330dde671dcdf94e" providerId="LiveId" clId="{105633D9-B335-41FA-BB83-5B7D43342DF3}" dt="2023-11-22T02:12:26.797" v="168" actId="1076"/>
          <ac:spMkLst>
            <pc:docMk/>
            <pc:sldMk cId="4219631405" sldId="2147470401"/>
            <ac:spMk id="49" creationId="{F723044C-3C06-335E-AF7C-52DC79F1DB66}"/>
          </ac:spMkLst>
        </pc:spChg>
        <pc:spChg chg="mod">
          <ac:chgData name="Andreza Pivato Susin Hamada" userId="330dde671dcdf94e" providerId="LiveId" clId="{105633D9-B335-41FA-BB83-5B7D43342DF3}" dt="2023-11-22T02:12:02.755" v="162" actId="6549"/>
          <ac:spMkLst>
            <pc:docMk/>
            <pc:sldMk cId="4219631405" sldId="2147470401"/>
            <ac:spMk id="54" creationId="{512B66B4-5623-6DA7-B6E4-28322C55E812}"/>
          </ac:spMkLst>
        </pc:spChg>
        <pc:spChg chg="del">
          <ac:chgData name="Andreza Pivato Susin Hamada" userId="330dde671dcdf94e" providerId="LiveId" clId="{105633D9-B335-41FA-BB83-5B7D43342DF3}" dt="2023-11-22T02:12:01.731" v="161" actId="478"/>
          <ac:spMkLst>
            <pc:docMk/>
            <pc:sldMk cId="4219631405" sldId="2147470401"/>
            <ac:spMk id="64" creationId="{53671CB1-C9BD-E075-D5F7-FA2B076C2A68}"/>
          </ac:spMkLst>
        </pc:spChg>
        <pc:spChg chg="del">
          <ac:chgData name="Andreza Pivato Susin Hamada" userId="330dde671dcdf94e" providerId="LiveId" clId="{105633D9-B335-41FA-BB83-5B7D43342DF3}" dt="2023-11-22T02:12:01.731" v="161" actId="478"/>
          <ac:spMkLst>
            <pc:docMk/>
            <pc:sldMk cId="4219631405" sldId="2147470401"/>
            <ac:spMk id="69" creationId="{1D48ADE4-0C42-1499-E72A-C0BCCFFA12EE}"/>
          </ac:spMkLst>
        </pc:spChg>
        <pc:spChg chg="del">
          <ac:chgData name="Andreza Pivato Susin Hamada" userId="330dde671dcdf94e" providerId="LiveId" clId="{105633D9-B335-41FA-BB83-5B7D43342DF3}" dt="2023-11-22T02:12:01.731" v="161" actId="478"/>
          <ac:spMkLst>
            <pc:docMk/>
            <pc:sldMk cId="4219631405" sldId="2147470401"/>
            <ac:spMk id="70" creationId="{071C0091-20FE-5C78-D1AA-D6491161E5E0}"/>
          </ac:spMkLst>
        </pc:spChg>
        <pc:spChg chg="del">
          <ac:chgData name="Andreza Pivato Susin Hamada" userId="330dde671dcdf94e" providerId="LiveId" clId="{105633D9-B335-41FA-BB83-5B7D43342DF3}" dt="2023-11-22T02:12:01.731" v="161" actId="478"/>
          <ac:spMkLst>
            <pc:docMk/>
            <pc:sldMk cId="4219631405" sldId="2147470401"/>
            <ac:spMk id="71" creationId="{E47DD8ED-F9FF-0E30-6BE3-31F80877F372}"/>
          </ac:spMkLst>
        </pc:spChg>
        <pc:grpChg chg="del">
          <ac:chgData name="Andreza Pivato Susin Hamada" userId="330dde671dcdf94e" providerId="LiveId" clId="{105633D9-B335-41FA-BB83-5B7D43342DF3}" dt="2023-11-22T02:12:07.074" v="165" actId="478"/>
          <ac:grpSpMkLst>
            <pc:docMk/>
            <pc:sldMk cId="4219631405" sldId="2147470401"/>
            <ac:grpSpMk id="59" creationId="{A2378BC3-90BB-A74F-7563-57B85B6FB935}"/>
          </ac:grpSpMkLst>
        </pc:grpChg>
        <pc:grpChg chg="del">
          <ac:chgData name="Andreza Pivato Susin Hamada" userId="330dde671dcdf94e" providerId="LiveId" clId="{105633D9-B335-41FA-BB83-5B7D43342DF3}" dt="2023-11-22T02:12:06.173" v="164" actId="478"/>
          <ac:grpSpMkLst>
            <pc:docMk/>
            <pc:sldMk cId="4219631405" sldId="2147470401"/>
            <ac:grpSpMk id="60" creationId="{83B24CDE-6DBB-3F88-3BE0-0D832EA7D3D9}"/>
          </ac:grpSpMkLst>
        </pc:grpChg>
        <pc:grpChg chg="del">
          <ac:chgData name="Andreza Pivato Susin Hamada" userId="330dde671dcdf94e" providerId="LiveId" clId="{105633D9-B335-41FA-BB83-5B7D43342DF3}" dt="2023-11-22T02:12:05.333" v="163" actId="478"/>
          <ac:grpSpMkLst>
            <pc:docMk/>
            <pc:sldMk cId="4219631405" sldId="2147470401"/>
            <ac:grpSpMk id="61" creationId="{F2625676-87D2-A5C4-4897-8CA6853714D8}"/>
          </ac:grpSpMkLst>
        </pc:grpChg>
      </pc:sldChg>
      <pc:sldChg chg="add del">
        <pc:chgData name="Andreza Pivato Susin Hamada" userId="330dde671dcdf94e" providerId="LiveId" clId="{105633D9-B335-41FA-BB83-5B7D43342DF3}" dt="2023-11-22T02:12:31.390" v="169" actId="47"/>
        <pc:sldMkLst>
          <pc:docMk/>
          <pc:sldMk cId="6810436" sldId="2147470402"/>
        </pc:sldMkLst>
      </pc:sldChg>
      <pc:sldChg chg="add ord">
        <pc:chgData name="Andreza Pivato Susin Hamada" userId="330dde671dcdf94e" providerId="LiveId" clId="{105633D9-B335-41FA-BB83-5B7D43342DF3}" dt="2023-11-22T02:15:22.048" v="176"/>
        <pc:sldMkLst>
          <pc:docMk/>
          <pc:sldMk cId="103894554" sldId="2147470402"/>
        </pc:sldMkLst>
      </pc:sldChg>
      <pc:sldChg chg="delSp modSp del mod">
        <pc:chgData name="Andreza Pivato Susin Hamada" userId="330dde671dcdf94e" providerId="LiveId" clId="{105633D9-B335-41FA-BB83-5B7D43342DF3}" dt="2023-11-22T02:07:14.039" v="16" actId="47"/>
        <pc:sldMkLst>
          <pc:docMk/>
          <pc:sldMk cId="477626637" sldId="2147470402"/>
        </pc:sldMkLst>
        <pc:spChg chg="del mod">
          <ac:chgData name="Andreza Pivato Susin Hamada" userId="330dde671dcdf94e" providerId="LiveId" clId="{105633D9-B335-41FA-BB83-5B7D43342DF3}" dt="2023-11-22T02:07:08.466" v="15" actId="478"/>
          <ac:spMkLst>
            <pc:docMk/>
            <pc:sldMk cId="477626637" sldId="2147470402"/>
            <ac:spMk id="2" creationId="{5994284F-E7A8-D4E7-6A03-A0C218C39FF0}"/>
          </ac:spMkLst>
        </pc:spChg>
      </pc:sldChg>
      <pc:sldChg chg="add">
        <pc:chgData name="Andreza Pivato Susin Hamada" userId="330dde671dcdf94e" providerId="LiveId" clId="{105633D9-B335-41FA-BB83-5B7D43342DF3}" dt="2023-11-22T02:15:13.894" v="174"/>
        <pc:sldMkLst>
          <pc:docMk/>
          <pc:sldMk cId="1202890298" sldId="2147470403"/>
        </pc:sldMkLst>
      </pc:sldChg>
      <pc:sldChg chg="add del">
        <pc:chgData name="Andreza Pivato Susin Hamada" userId="330dde671dcdf94e" providerId="LiveId" clId="{105633D9-B335-41FA-BB83-5B7D43342DF3}" dt="2023-11-22T02:12:31.936" v="170" actId="47"/>
        <pc:sldMkLst>
          <pc:docMk/>
          <pc:sldMk cId="3119443649" sldId="2147470403"/>
        </pc:sldMkLst>
      </pc:sldChg>
      <pc:sldChg chg="add del">
        <pc:chgData name="Andreza Pivato Susin Hamada" userId="330dde671dcdf94e" providerId="LiveId" clId="{105633D9-B335-41FA-BB83-5B7D43342DF3}" dt="2023-11-22T02:12:32.674" v="171" actId="47"/>
        <pc:sldMkLst>
          <pc:docMk/>
          <pc:sldMk cId="2552082070" sldId="2147470404"/>
        </pc:sldMkLst>
      </pc:sldChg>
      <pc:sldChg chg="add setBg">
        <pc:chgData name="Andreza Pivato Susin Hamada" userId="330dde671dcdf94e" providerId="LiveId" clId="{105633D9-B335-41FA-BB83-5B7D43342DF3}" dt="2023-11-22T02:15:13.894" v="174"/>
        <pc:sldMkLst>
          <pc:docMk/>
          <pc:sldMk cId="4126245913" sldId="2147470404"/>
        </pc:sldMkLst>
      </pc:sldChg>
      <pc:sldChg chg="delSp modSp add del mod">
        <pc:chgData name="Andreza Pivato Susin Hamada" userId="330dde671dcdf94e" providerId="LiveId" clId="{105633D9-B335-41FA-BB83-5B7D43342DF3}" dt="2023-11-22T02:18:29.482" v="192" actId="478"/>
        <pc:sldMkLst>
          <pc:docMk/>
          <pc:sldMk cId="2580730616" sldId="2147470483"/>
        </pc:sldMkLst>
        <pc:spChg chg="mod">
          <ac:chgData name="Andreza Pivato Susin Hamada" userId="330dde671dcdf94e" providerId="LiveId" clId="{105633D9-B335-41FA-BB83-5B7D43342DF3}" dt="2023-11-22T02:18:26.456" v="191" actId="20577"/>
          <ac:spMkLst>
            <pc:docMk/>
            <pc:sldMk cId="2580730616" sldId="2147470483"/>
            <ac:spMk id="2" creationId="{91AA0E30-89C1-ADAE-3612-F3B13803B0DC}"/>
          </ac:spMkLst>
        </pc:spChg>
        <pc:spChg chg="del">
          <ac:chgData name="Andreza Pivato Susin Hamada" userId="330dde671dcdf94e" providerId="LiveId" clId="{105633D9-B335-41FA-BB83-5B7D43342DF3}" dt="2023-11-22T02:18:29.482" v="192" actId="478"/>
          <ac:spMkLst>
            <pc:docMk/>
            <pc:sldMk cId="2580730616" sldId="2147470483"/>
            <ac:spMk id="3" creationId="{12E95BFC-0E85-F9DF-BA60-B736403D19B8}"/>
          </ac:spMkLst>
        </pc:spChg>
      </pc:sldChg>
      <pc:sldChg chg="modSp add mod modClrScheme chgLayout">
        <pc:chgData name="Andreza Pivato Susin Hamada" userId="330dde671dcdf94e" providerId="LiveId" clId="{105633D9-B335-41FA-BB83-5B7D43342DF3}" dt="2023-11-22T02:18:49.582" v="195" actId="1076"/>
        <pc:sldMkLst>
          <pc:docMk/>
          <pc:sldMk cId="3720026432" sldId="2147470484"/>
        </pc:sldMkLst>
        <pc:spChg chg="mod">
          <ac:chgData name="Andreza Pivato Susin Hamada" userId="330dde671dcdf94e" providerId="LiveId" clId="{105633D9-B335-41FA-BB83-5B7D43342DF3}" dt="2023-11-22T02:18:49.582" v="195" actId="1076"/>
          <ac:spMkLst>
            <pc:docMk/>
            <pc:sldMk cId="3720026432" sldId="2147470484"/>
            <ac:spMk id="2" creationId="{91AA0E30-89C1-ADAE-3612-F3B13803B0DC}"/>
          </ac:spMkLst>
        </pc:spChg>
      </pc:sldChg>
      <pc:sldChg chg="add mod modClrScheme chgLayout">
        <pc:chgData name="Andreza Pivato Susin Hamada" userId="330dde671dcdf94e" providerId="LiveId" clId="{105633D9-B335-41FA-BB83-5B7D43342DF3}" dt="2023-11-22T02:19:05.499" v="198" actId="700"/>
        <pc:sldMkLst>
          <pc:docMk/>
          <pc:sldMk cId="1679688550" sldId="2147470485"/>
        </pc:sldMkLst>
      </pc:sldChg>
      <pc:sldChg chg="add mod chgLayout">
        <pc:chgData name="Andreza Pivato Susin Hamada" userId="330dde671dcdf94e" providerId="LiveId" clId="{105633D9-B335-41FA-BB83-5B7D43342DF3}" dt="2023-11-22T02:19:19.842" v="199" actId="700"/>
        <pc:sldMkLst>
          <pc:docMk/>
          <pc:sldMk cId="1692446241" sldId="2147470486"/>
        </pc:sldMkLst>
      </pc:sldChg>
      <pc:sldMasterChg chg="delSldLayout">
        <pc:chgData name="Andreza Pivato Susin Hamada" userId="330dde671dcdf94e" providerId="LiveId" clId="{105633D9-B335-41FA-BB83-5B7D43342DF3}" dt="2023-11-22T02:09:50.336" v="72" actId="47"/>
        <pc:sldMasterMkLst>
          <pc:docMk/>
          <pc:sldMasterMk cId="1458704203" sldId="2147483648"/>
        </pc:sldMasterMkLst>
        <pc:sldLayoutChg chg="del">
          <pc:chgData name="Andreza Pivato Susin Hamada" userId="330dde671dcdf94e" providerId="LiveId" clId="{105633D9-B335-41FA-BB83-5B7D43342DF3}" dt="2023-11-22T02:09:50.336" v="72" actId="47"/>
          <pc:sldLayoutMkLst>
            <pc:docMk/>
            <pc:sldMasterMk cId="1458704203" sldId="2147483648"/>
            <pc:sldLayoutMk cId="852184409" sldId="2147483657"/>
          </pc:sldLayoutMkLst>
        </pc:sldLayoutChg>
      </pc:sldMasterChg>
      <pc:sldMasterChg chg="del delSldLayout">
        <pc:chgData name="Andreza Pivato Susin Hamada" userId="330dde671dcdf94e" providerId="LiveId" clId="{105633D9-B335-41FA-BB83-5B7D43342DF3}" dt="2023-11-22T02:08:21.222" v="52" actId="47"/>
        <pc:sldMasterMkLst>
          <pc:docMk/>
          <pc:sldMasterMk cId="3735001573" sldId="2147483658"/>
        </pc:sldMasterMkLst>
        <pc:sldLayoutChg chg="del">
          <pc:chgData name="Andreza Pivato Susin Hamada" userId="330dde671dcdf94e" providerId="LiveId" clId="{105633D9-B335-41FA-BB83-5B7D43342DF3}" dt="2023-11-22T02:08:21.222" v="52" actId="47"/>
          <pc:sldLayoutMkLst>
            <pc:docMk/>
            <pc:sldMasterMk cId="3735001573" sldId="2147483658"/>
            <pc:sldLayoutMk cId="3957483004" sldId="2147483659"/>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1312205690" sldId="2147483660"/>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1072068049" sldId="2147483661"/>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1324709035" sldId="2147483662"/>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2344442701" sldId="2147483663"/>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1967060451" sldId="2147483664"/>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678558576" sldId="2147483665"/>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1046870721" sldId="2147483666"/>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428260755" sldId="2147483667"/>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2216601450" sldId="2147483668"/>
          </pc:sldLayoutMkLst>
        </pc:sldLayoutChg>
        <pc:sldLayoutChg chg="del">
          <pc:chgData name="Andreza Pivato Susin Hamada" userId="330dde671dcdf94e" providerId="LiveId" clId="{105633D9-B335-41FA-BB83-5B7D43342DF3}" dt="2023-11-22T02:08:21.222" v="52" actId="47"/>
          <pc:sldLayoutMkLst>
            <pc:docMk/>
            <pc:sldMasterMk cId="3735001573" sldId="2147483658"/>
            <pc:sldLayoutMk cId="1169602349" sldId="214748366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B3FF3B-C2D7-4F6F-8926-ADC364663FD4}" type="datetimeFigureOut">
              <a:rPr lang="pt-BR" smtClean="0"/>
              <a:t>04/06/2024</a:t>
            </a:fld>
            <a:endParaRPr lang="pt-B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31239D-2F14-4EE1-9743-D4563A36472A}" type="slidenum">
              <a:rPr lang="pt-BR" smtClean="0"/>
              <a:t>‹nº›</a:t>
            </a:fld>
            <a:endParaRPr lang="pt-BR"/>
          </a:p>
        </p:txBody>
      </p:sp>
    </p:spTree>
    <p:extLst>
      <p:ext uri="{BB962C8B-B14F-4D97-AF65-F5344CB8AC3E}">
        <p14:creationId xmlns:p14="http://schemas.microsoft.com/office/powerpoint/2010/main" val="17205965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7131239D-2F14-4EE1-9743-D4563A36472A}" type="slidenum">
              <a:rPr lang="pt-BR" smtClean="0"/>
              <a:t>3</a:t>
            </a:fld>
            <a:endParaRPr lang="pt-BR"/>
          </a:p>
        </p:txBody>
      </p:sp>
    </p:spTree>
    <p:extLst>
      <p:ext uri="{BB962C8B-B14F-4D97-AF65-F5344CB8AC3E}">
        <p14:creationId xmlns:p14="http://schemas.microsoft.com/office/powerpoint/2010/main" val="1459710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7131239D-2F14-4EE1-9743-D4563A36472A}" type="slidenum">
              <a:rPr lang="pt-BR" smtClean="0"/>
              <a:t>10</a:t>
            </a:fld>
            <a:endParaRPr lang="pt-BR"/>
          </a:p>
        </p:txBody>
      </p:sp>
    </p:spTree>
    <p:extLst>
      <p:ext uri="{BB962C8B-B14F-4D97-AF65-F5344CB8AC3E}">
        <p14:creationId xmlns:p14="http://schemas.microsoft.com/office/powerpoint/2010/main" val="38807192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de Título">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5CD3BB-5BCC-5F30-5EC7-595E38B16A7E}"/>
              </a:ext>
            </a:extLst>
          </p:cNvPr>
          <p:cNvGraphicFramePr>
            <a:graphicFrameLocks noChangeAspect="1"/>
          </p:cNvGraphicFramePr>
          <p:nvPr userDrawn="1">
            <p:custDataLst>
              <p:tags r:id="rId1"/>
            </p:custDataLst>
            <p:extLst>
              <p:ext uri="{D42A27DB-BD31-4B8C-83A1-F6EECF244321}">
                <p14:modId xmlns:p14="http://schemas.microsoft.com/office/powerpoint/2010/main" val="183477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7" name="think-cell data - do not delete" hidden="1">
                        <a:extLst>
                          <a:ext uri="{FF2B5EF4-FFF2-40B4-BE49-F238E27FC236}">
                            <a16:creationId xmlns:a16="http://schemas.microsoft.com/office/drawing/2014/main" id="{CC5CD3BB-5BCC-5F30-5EC7-595E38B16A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134472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1_Em Branc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11915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3_Em Branc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Imagem 2" descr="Forma, Retângulo&#10;&#10;Descrição gerada automaticamente">
            <a:extLst>
              <a:ext uri="{FF2B5EF4-FFF2-40B4-BE49-F238E27FC236}">
                <a16:creationId xmlns:a16="http://schemas.microsoft.com/office/drawing/2014/main" id="{F1D90280-F455-2171-F602-DCCA6FD001F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688413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2_Em Branc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Imagem 2" descr="Desenho de uma pessoa&#10;&#10;Descrição gerada automaticamente com confiança média">
            <a:extLst>
              <a:ext uri="{FF2B5EF4-FFF2-40B4-BE49-F238E27FC236}">
                <a16:creationId xmlns:a16="http://schemas.microsoft.com/office/drawing/2014/main" id="{2D70C1F2-F4AF-199B-9A0C-67A0B5DB5A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944780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4_Em Branc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2D70C1F2-F4AF-199B-9A0C-67A0B5DB5A2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9965273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lide de Título">
    <p:spTree>
      <p:nvGrpSpPr>
        <p:cNvPr id="1" name=""/>
        <p:cNvGrpSpPr/>
        <p:nvPr/>
      </p:nvGrpSpPr>
      <p:grpSpPr>
        <a:xfrm>
          <a:off x="0" y="0"/>
          <a:ext cx="0" cy="0"/>
          <a:chOff x="0" y="0"/>
          <a:chExt cx="0" cy="0"/>
        </a:xfrm>
      </p:grpSpPr>
      <p:grpSp>
        <p:nvGrpSpPr>
          <p:cNvPr id="2" name="Group 30">
            <a:extLst>
              <a:ext uri="{FF2B5EF4-FFF2-40B4-BE49-F238E27FC236}">
                <a16:creationId xmlns:a16="http://schemas.microsoft.com/office/drawing/2014/main" id="{5076063F-FDDB-2923-90C2-BA3842B37BE0}"/>
              </a:ext>
            </a:extLst>
          </p:cNvPr>
          <p:cNvGrpSpPr/>
          <p:nvPr userDrawn="1"/>
        </p:nvGrpSpPr>
        <p:grpSpPr>
          <a:xfrm>
            <a:off x="2667000" y="321699"/>
            <a:ext cx="6858000" cy="6214602"/>
            <a:chOff x="3680883" y="1240042"/>
            <a:chExt cx="4832300" cy="4378947"/>
          </a:xfrm>
          <a:solidFill>
            <a:schemeClr val="bg1">
              <a:lumMod val="85000"/>
            </a:schemeClr>
          </a:solidFill>
        </p:grpSpPr>
        <p:sp>
          <p:nvSpPr>
            <p:cNvPr id="3" name="Graphic 2">
              <a:extLst>
                <a:ext uri="{FF2B5EF4-FFF2-40B4-BE49-F238E27FC236}">
                  <a16:creationId xmlns:a16="http://schemas.microsoft.com/office/drawing/2014/main" id="{42F76223-D271-7382-2FC4-F5CC3CE88F41}"/>
                </a:ext>
              </a:extLst>
            </p:cNvPr>
            <p:cNvSpPr/>
            <p:nvPr/>
          </p:nvSpPr>
          <p:spPr>
            <a:xfrm>
              <a:off x="6173152" y="2350804"/>
              <a:ext cx="533217" cy="886800"/>
            </a:xfrm>
            <a:custGeom>
              <a:avLst/>
              <a:gdLst>
                <a:gd name="connsiteX0" fmla="*/ 525980 w 533217"/>
                <a:gd name="connsiteY0" fmla="*/ 554153 h 886800"/>
                <a:gd name="connsiteX1" fmla="*/ 513057 w 533217"/>
                <a:gd name="connsiteY1" fmla="*/ 552603 h 886800"/>
                <a:gd name="connsiteX2" fmla="*/ 506725 w 533217"/>
                <a:gd name="connsiteY2" fmla="*/ 549630 h 886800"/>
                <a:gd name="connsiteX3" fmla="*/ 504786 w 533217"/>
                <a:gd name="connsiteY3" fmla="*/ 548596 h 886800"/>
                <a:gd name="connsiteX4" fmla="*/ 504398 w 533217"/>
                <a:gd name="connsiteY4" fmla="*/ 548209 h 886800"/>
                <a:gd name="connsiteX5" fmla="*/ 503623 w 533217"/>
                <a:gd name="connsiteY5" fmla="*/ 547433 h 886800"/>
                <a:gd name="connsiteX6" fmla="*/ 499746 w 533217"/>
                <a:gd name="connsiteY6" fmla="*/ 542264 h 886800"/>
                <a:gd name="connsiteX7" fmla="*/ 497937 w 533217"/>
                <a:gd name="connsiteY7" fmla="*/ 540842 h 886800"/>
                <a:gd name="connsiteX8" fmla="*/ 486952 w 533217"/>
                <a:gd name="connsiteY8" fmla="*/ 537353 h 886800"/>
                <a:gd name="connsiteX9" fmla="*/ 484238 w 533217"/>
                <a:gd name="connsiteY9" fmla="*/ 537094 h 886800"/>
                <a:gd name="connsiteX10" fmla="*/ 483592 w 533217"/>
                <a:gd name="connsiteY10" fmla="*/ 537094 h 886800"/>
                <a:gd name="connsiteX11" fmla="*/ 477001 w 533217"/>
                <a:gd name="connsiteY11" fmla="*/ 538645 h 886800"/>
                <a:gd name="connsiteX12" fmla="*/ 475967 w 533217"/>
                <a:gd name="connsiteY12" fmla="*/ 538645 h 886800"/>
                <a:gd name="connsiteX13" fmla="*/ 474546 w 533217"/>
                <a:gd name="connsiteY13" fmla="*/ 538387 h 886800"/>
                <a:gd name="connsiteX14" fmla="*/ 471961 w 533217"/>
                <a:gd name="connsiteY14" fmla="*/ 537741 h 886800"/>
                <a:gd name="connsiteX15" fmla="*/ 470798 w 533217"/>
                <a:gd name="connsiteY15" fmla="*/ 537224 h 886800"/>
                <a:gd name="connsiteX16" fmla="*/ 470022 w 533217"/>
                <a:gd name="connsiteY16" fmla="*/ 536707 h 886800"/>
                <a:gd name="connsiteX17" fmla="*/ 468084 w 533217"/>
                <a:gd name="connsiteY17" fmla="*/ 532830 h 886800"/>
                <a:gd name="connsiteX18" fmla="*/ 466533 w 533217"/>
                <a:gd name="connsiteY18" fmla="*/ 531408 h 886800"/>
                <a:gd name="connsiteX19" fmla="*/ 464724 w 533217"/>
                <a:gd name="connsiteY19" fmla="*/ 529987 h 886800"/>
                <a:gd name="connsiteX20" fmla="*/ 463302 w 533217"/>
                <a:gd name="connsiteY20" fmla="*/ 528565 h 886800"/>
                <a:gd name="connsiteX21" fmla="*/ 461881 w 533217"/>
                <a:gd name="connsiteY21" fmla="*/ 524817 h 886800"/>
                <a:gd name="connsiteX22" fmla="*/ 461235 w 533217"/>
                <a:gd name="connsiteY22" fmla="*/ 523913 h 886800"/>
                <a:gd name="connsiteX23" fmla="*/ 460588 w 533217"/>
                <a:gd name="connsiteY23" fmla="*/ 523137 h 886800"/>
                <a:gd name="connsiteX24" fmla="*/ 457616 w 533217"/>
                <a:gd name="connsiteY24" fmla="*/ 520423 h 886800"/>
                <a:gd name="connsiteX25" fmla="*/ 457228 w 533217"/>
                <a:gd name="connsiteY25" fmla="*/ 519906 h 886800"/>
                <a:gd name="connsiteX26" fmla="*/ 456970 w 533217"/>
                <a:gd name="connsiteY26" fmla="*/ 519390 h 886800"/>
                <a:gd name="connsiteX27" fmla="*/ 456841 w 533217"/>
                <a:gd name="connsiteY27" fmla="*/ 518873 h 886800"/>
                <a:gd name="connsiteX28" fmla="*/ 456841 w 533217"/>
                <a:gd name="connsiteY28" fmla="*/ 518485 h 886800"/>
                <a:gd name="connsiteX29" fmla="*/ 456841 w 533217"/>
                <a:gd name="connsiteY29" fmla="*/ 518356 h 886800"/>
                <a:gd name="connsiteX30" fmla="*/ 456841 w 533217"/>
                <a:gd name="connsiteY30" fmla="*/ 517968 h 886800"/>
                <a:gd name="connsiteX31" fmla="*/ 457357 w 533217"/>
                <a:gd name="connsiteY31" fmla="*/ 515642 h 886800"/>
                <a:gd name="connsiteX32" fmla="*/ 457616 w 533217"/>
                <a:gd name="connsiteY32" fmla="*/ 512799 h 886800"/>
                <a:gd name="connsiteX33" fmla="*/ 457487 w 533217"/>
                <a:gd name="connsiteY33" fmla="*/ 510860 h 886800"/>
                <a:gd name="connsiteX34" fmla="*/ 457228 w 533217"/>
                <a:gd name="connsiteY34" fmla="*/ 509697 h 886800"/>
                <a:gd name="connsiteX35" fmla="*/ 455419 w 533217"/>
                <a:gd name="connsiteY35" fmla="*/ 506078 h 886800"/>
                <a:gd name="connsiteX36" fmla="*/ 454127 w 533217"/>
                <a:gd name="connsiteY36" fmla="*/ 504269 h 886800"/>
                <a:gd name="connsiteX37" fmla="*/ 452834 w 533217"/>
                <a:gd name="connsiteY37" fmla="*/ 502977 h 886800"/>
                <a:gd name="connsiteX38" fmla="*/ 445209 w 533217"/>
                <a:gd name="connsiteY38" fmla="*/ 498324 h 886800"/>
                <a:gd name="connsiteX39" fmla="*/ 440945 w 533217"/>
                <a:gd name="connsiteY39" fmla="*/ 494318 h 886800"/>
                <a:gd name="connsiteX40" fmla="*/ 439782 w 533217"/>
                <a:gd name="connsiteY40" fmla="*/ 493672 h 886800"/>
                <a:gd name="connsiteX41" fmla="*/ 438748 w 533217"/>
                <a:gd name="connsiteY41" fmla="*/ 493155 h 886800"/>
                <a:gd name="connsiteX42" fmla="*/ 437843 w 533217"/>
                <a:gd name="connsiteY42" fmla="*/ 493026 h 886800"/>
                <a:gd name="connsiteX43" fmla="*/ 436422 w 533217"/>
                <a:gd name="connsiteY43" fmla="*/ 492380 h 886800"/>
                <a:gd name="connsiteX44" fmla="*/ 435905 w 533217"/>
                <a:gd name="connsiteY44" fmla="*/ 491734 h 886800"/>
                <a:gd name="connsiteX45" fmla="*/ 435517 w 533217"/>
                <a:gd name="connsiteY45" fmla="*/ 491087 h 886800"/>
                <a:gd name="connsiteX46" fmla="*/ 435129 w 533217"/>
                <a:gd name="connsiteY46" fmla="*/ 488503 h 886800"/>
                <a:gd name="connsiteX47" fmla="*/ 435129 w 533217"/>
                <a:gd name="connsiteY47" fmla="*/ 487210 h 886800"/>
                <a:gd name="connsiteX48" fmla="*/ 435388 w 533217"/>
                <a:gd name="connsiteY48" fmla="*/ 485918 h 886800"/>
                <a:gd name="connsiteX49" fmla="*/ 435905 w 533217"/>
                <a:gd name="connsiteY49" fmla="*/ 484238 h 886800"/>
                <a:gd name="connsiteX50" fmla="*/ 436551 w 533217"/>
                <a:gd name="connsiteY50" fmla="*/ 483333 h 886800"/>
                <a:gd name="connsiteX51" fmla="*/ 436809 w 533217"/>
                <a:gd name="connsiteY51" fmla="*/ 482946 h 886800"/>
                <a:gd name="connsiteX52" fmla="*/ 437197 w 533217"/>
                <a:gd name="connsiteY52" fmla="*/ 482558 h 886800"/>
                <a:gd name="connsiteX53" fmla="*/ 437714 w 533217"/>
                <a:gd name="connsiteY53" fmla="*/ 482299 h 886800"/>
                <a:gd name="connsiteX54" fmla="*/ 438231 w 533217"/>
                <a:gd name="connsiteY54" fmla="*/ 482041 h 886800"/>
                <a:gd name="connsiteX55" fmla="*/ 438748 w 533217"/>
                <a:gd name="connsiteY55" fmla="*/ 482041 h 886800"/>
                <a:gd name="connsiteX56" fmla="*/ 439911 w 533217"/>
                <a:gd name="connsiteY56" fmla="*/ 482170 h 886800"/>
                <a:gd name="connsiteX57" fmla="*/ 440557 w 533217"/>
                <a:gd name="connsiteY57" fmla="*/ 482170 h 886800"/>
                <a:gd name="connsiteX58" fmla="*/ 441074 w 533217"/>
                <a:gd name="connsiteY58" fmla="*/ 481912 h 886800"/>
                <a:gd name="connsiteX59" fmla="*/ 441591 w 533217"/>
                <a:gd name="connsiteY59" fmla="*/ 481783 h 886800"/>
                <a:gd name="connsiteX60" fmla="*/ 442108 w 533217"/>
                <a:gd name="connsiteY60" fmla="*/ 481524 h 886800"/>
                <a:gd name="connsiteX61" fmla="*/ 442496 w 533217"/>
                <a:gd name="connsiteY61" fmla="*/ 481266 h 886800"/>
                <a:gd name="connsiteX62" fmla="*/ 442883 w 533217"/>
                <a:gd name="connsiteY62" fmla="*/ 480878 h 886800"/>
                <a:gd name="connsiteX63" fmla="*/ 443271 w 533217"/>
                <a:gd name="connsiteY63" fmla="*/ 479715 h 886800"/>
                <a:gd name="connsiteX64" fmla="*/ 444046 w 533217"/>
                <a:gd name="connsiteY64" fmla="*/ 476613 h 886800"/>
                <a:gd name="connsiteX65" fmla="*/ 444176 w 533217"/>
                <a:gd name="connsiteY65" fmla="*/ 476096 h 886800"/>
                <a:gd name="connsiteX66" fmla="*/ 444822 w 533217"/>
                <a:gd name="connsiteY66" fmla="*/ 475192 h 886800"/>
                <a:gd name="connsiteX67" fmla="*/ 445468 w 533217"/>
                <a:gd name="connsiteY67" fmla="*/ 474416 h 886800"/>
                <a:gd name="connsiteX68" fmla="*/ 447665 w 533217"/>
                <a:gd name="connsiteY68" fmla="*/ 472090 h 886800"/>
                <a:gd name="connsiteX69" fmla="*/ 448957 w 533217"/>
                <a:gd name="connsiteY69" fmla="*/ 471185 h 886800"/>
                <a:gd name="connsiteX70" fmla="*/ 449345 w 533217"/>
                <a:gd name="connsiteY70" fmla="*/ 470798 h 886800"/>
                <a:gd name="connsiteX71" fmla="*/ 449733 w 533217"/>
                <a:gd name="connsiteY71" fmla="*/ 470410 h 886800"/>
                <a:gd name="connsiteX72" fmla="*/ 449991 w 533217"/>
                <a:gd name="connsiteY72" fmla="*/ 469893 h 886800"/>
                <a:gd name="connsiteX73" fmla="*/ 450120 w 533217"/>
                <a:gd name="connsiteY73" fmla="*/ 469376 h 886800"/>
                <a:gd name="connsiteX74" fmla="*/ 450120 w 533217"/>
                <a:gd name="connsiteY74" fmla="*/ 468471 h 886800"/>
                <a:gd name="connsiteX75" fmla="*/ 449991 w 533217"/>
                <a:gd name="connsiteY75" fmla="*/ 467567 h 886800"/>
                <a:gd name="connsiteX76" fmla="*/ 449603 w 533217"/>
                <a:gd name="connsiteY76" fmla="*/ 466275 h 886800"/>
                <a:gd name="connsiteX77" fmla="*/ 449087 w 533217"/>
                <a:gd name="connsiteY77" fmla="*/ 465628 h 886800"/>
                <a:gd name="connsiteX78" fmla="*/ 448699 w 533217"/>
                <a:gd name="connsiteY78" fmla="*/ 465111 h 886800"/>
                <a:gd name="connsiteX79" fmla="*/ 447277 w 533217"/>
                <a:gd name="connsiteY79" fmla="*/ 464207 h 886800"/>
                <a:gd name="connsiteX80" fmla="*/ 446243 w 533217"/>
                <a:gd name="connsiteY80" fmla="*/ 463819 h 886800"/>
                <a:gd name="connsiteX81" fmla="*/ 444434 w 533217"/>
                <a:gd name="connsiteY81" fmla="*/ 463302 h 886800"/>
                <a:gd name="connsiteX82" fmla="*/ 435775 w 533217"/>
                <a:gd name="connsiteY82" fmla="*/ 459942 h 886800"/>
                <a:gd name="connsiteX83" fmla="*/ 426471 w 533217"/>
                <a:gd name="connsiteY83" fmla="*/ 454902 h 886800"/>
                <a:gd name="connsiteX84" fmla="*/ 422335 w 533217"/>
                <a:gd name="connsiteY84" fmla="*/ 451671 h 886800"/>
                <a:gd name="connsiteX85" fmla="*/ 420655 w 533217"/>
                <a:gd name="connsiteY85" fmla="*/ 449733 h 886800"/>
                <a:gd name="connsiteX86" fmla="*/ 418587 w 533217"/>
                <a:gd name="connsiteY86" fmla="*/ 445726 h 886800"/>
                <a:gd name="connsiteX87" fmla="*/ 418458 w 533217"/>
                <a:gd name="connsiteY87" fmla="*/ 445209 h 886800"/>
                <a:gd name="connsiteX88" fmla="*/ 418200 w 533217"/>
                <a:gd name="connsiteY88" fmla="*/ 443917 h 886800"/>
                <a:gd name="connsiteX89" fmla="*/ 418200 w 533217"/>
                <a:gd name="connsiteY89" fmla="*/ 441074 h 886800"/>
                <a:gd name="connsiteX90" fmla="*/ 418458 w 533217"/>
                <a:gd name="connsiteY90" fmla="*/ 436938 h 886800"/>
                <a:gd name="connsiteX91" fmla="*/ 418329 w 533217"/>
                <a:gd name="connsiteY91" fmla="*/ 435517 h 886800"/>
                <a:gd name="connsiteX92" fmla="*/ 416778 w 533217"/>
                <a:gd name="connsiteY92" fmla="*/ 429831 h 886800"/>
                <a:gd name="connsiteX93" fmla="*/ 416390 w 533217"/>
                <a:gd name="connsiteY93" fmla="*/ 428797 h 886800"/>
                <a:gd name="connsiteX94" fmla="*/ 412384 w 533217"/>
                <a:gd name="connsiteY94" fmla="*/ 422723 h 886800"/>
                <a:gd name="connsiteX95" fmla="*/ 411609 w 533217"/>
                <a:gd name="connsiteY95" fmla="*/ 421947 h 886800"/>
                <a:gd name="connsiteX96" fmla="*/ 406181 w 533217"/>
                <a:gd name="connsiteY96" fmla="*/ 418329 h 886800"/>
                <a:gd name="connsiteX97" fmla="*/ 405664 w 533217"/>
                <a:gd name="connsiteY97" fmla="*/ 418070 h 886800"/>
                <a:gd name="connsiteX98" fmla="*/ 404372 w 533217"/>
                <a:gd name="connsiteY98" fmla="*/ 417812 h 886800"/>
                <a:gd name="connsiteX99" fmla="*/ 402950 w 533217"/>
                <a:gd name="connsiteY99" fmla="*/ 417812 h 886800"/>
                <a:gd name="connsiteX100" fmla="*/ 398298 w 533217"/>
                <a:gd name="connsiteY100" fmla="*/ 418200 h 886800"/>
                <a:gd name="connsiteX101" fmla="*/ 396876 w 533217"/>
                <a:gd name="connsiteY101" fmla="*/ 418070 h 886800"/>
                <a:gd name="connsiteX102" fmla="*/ 395584 w 533217"/>
                <a:gd name="connsiteY102" fmla="*/ 417812 h 886800"/>
                <a:gd name="connsiteX103" fmla="*/ 394808 w 533217"/>
                <a:gd name="connsiteY103" fmla="*/ 417424 h 886800"/>
                <a:gd name="connsiteX104" fmla="*/ 393775 w 533217"/>
                <a:gd name="connsiteY104" fmla="*/ 416778 h 886800"/>
                <a:gd name="connsiteX105" fmla="*/ 391965 w 533217"/>
                <a:gd name="connsiteY105" fmla="*/ 415357 h 886800"/>
                <a:gd name="connsiteX106" fmla="*/ 391190 w 533217"/>
                <a:gd name="connsiteY106" fmla="*/ 414452 h 886800"/>
                <a:gd name="connsiteX107" fmla="*/ 390931 w 533217"/>
                <a:gd name="connsiteY107" fmla="*/ 413677 h 886800"/>
                <a:gd name="connsiteX108" fmla="*/ 390931 w 533217"/>
                <a:gd name="connsiteY108" fmla="*/ 412901 h 886800"/>
                <a:gd name="connsiteX109" fmla="*/ 391319 w 533217"/>
                <a:gd name="connsiteY109" fmla="*/ 411867 h 886800"/>
                <a:gd name="connsiteX110" fmla="*/ 391836 w 533217"/>
                <a:gd name="connsiteY110" fmla="*/ 410704 h 886800"/>
                <a:gd name="connsiteX111" fmla="*/ 392094 w 533217"/>
                <a:gd name="connsiteY111" fmla="*/ 409670 h 886800"/>
                <a:gd name="connsiteX112" fmla="*/ 392353 w 533217"/>
                <a:gd name="connsiteY112" fmla="*/ 409153 h 886800"/>
                <a:gd name="connsiteX113" fmla="*/ 392741 w 533217"/>
                <a:gd name="connsiteY113" fmla="*/ 408636 h 886800"/>
                <a:gd name="connsiteX114" fmla="*/ 392999 w 533217"/>
                <a:gd name="connsiteY114" fmla="*/ 408249 h 886800"/>
                <a:gd name="connsiteX115" fmla="*/ 395325 w 533217"/>
                <a:gd name="connsiteY115" fmla="*/ 406181 h 886800"/>
                <a:gd name="connsiteX116" fmla="*/ 396747 w 533217"/>
                <a:gd name="connsiteY116" fmla="*/ 404630 h 886800"/>
                <a:gd name="connsiteX117" fmla="*/ 398298 w 533217"/>
                <a:gd name="connsiteY117" fmla="*/ 403209 h 886800"/>
                <a:gd name="connsiteX118" fmla="*/ 399590 w 533217"/>
                <a:gd name="connsiteY118" fmla="*/ 401529 h 886800"/>
                <a:gd name="connsiteX119" fmla="*/ 400365 w 533217"/>
                <a:gd name="connsiteY119" fmla="*/ 400753 h 886800"/>
                <a:gd name="connsiteX120" fmla="*/ 401399 w 533217"/>
                <a:gd name="connsiteY120" fmla="*/ 399461 h 886800"/>
                <a:gd name="connsiteX121" fmla="*/ 402046 w 533217"/>
                <a:gd name="connsiteY121" fmla="*/ 398685 h 886800"/>
                <a:gd name="connsiteX122" fmla="*/ 404242 w 533217"/>
                <a:gd name="connsiteY122" fmla="*/ 397135 h 886800"/>
                <a:gd name="connsiteX123" fmla="*/ 404630 w 533217"/>
                <a:gd name="connsiteY123" fmla="*/ 396747 h 886800"/>
                <a:gd name="connsiteX124" fmla="*/ 405406 w 533217"/>
                <a:gd name="connsiteY124" fmla="*/ 396101 h 886800"/>
                <a:gd name="connsiteX125" fmla="*/ 406827 w 533217"/>
                <a:gd name="connsiteY125" fmla="*/ 395325 h 886800"/>
                <a:gd name="connsiteX126" fmla="*/ 408895 w 533217"/>
                <a:gd name="connsiteY126" fmla="*/ 393645 h 886800"/>
                <a:gd name="connsiteX127" fmla="*/ 409929 w 533217"/>
                <a:gd name="connsiteY127" fmla="*/ 392482 h 886800"/>
                <a:gd name="connsiteX128" fmla="*/ 410316 w 533217"/>
                <a:gd name="connsiteY128" fmla="*/ 392095 h 886800"/>
                <a:gd name="connsiteX129" fmla="*/ 410446 w 533217"/>
                <a:gd name="connsiteY129" fmla="*/ 391578 h 886800"/>
                <a:gd name="connsiteX130" fmla="*/ 410575 w 533217"/>
                <a:gd name="connsiteY130" fmla="*/ 390931 h 886800"/>
                <a:gd name="connsiteX131" fmla="*/ 410446 w 533217"/>
                <a:gd name="connsiteY131" fmla="*/ 390414 h 886800"/>
                <a:gd name="connsiteX132" fmla="*/ 408120 w 533217"/>
                <a:gd name="connsiteY132" fmla="*/ 383048 h 886800"/>
                <a:gd name="connsiteX133" fmla="*/ 408120 w 533217"/>
                <a:gd name="connsiteY133" fmla="*/ 382402 h 886800"/>
                <a:gd name="connsiteX134" fmla="*/ 408249 w 533217"/>
                <a:gd name="connsiteY134" fmla="*/ 381885 h 886800"/>
                <a:gd name="connsiteX135" fmla="*/ 410058 w 533217"/>
                <a:gd name="connsiteY135" fmla="*/ 378396 h 886800"/>
                <a:gd name="connsiteX136" fmla="*/ 410446 w 533217"/>
                <a:gd name="connsiteY136" fmla="*/ 377491 h 886800"/>
                <a:gd name="connsiteX137" fmla="*/ 410704 w 533217"/>
                <a:gd name="connsiteY137" fmla="*/ 374906 h 886800"/>
                <a:gd name="connsiteX138" fmla="*/ 411092 w 533217"/>
                <a:gd name="connsiteY138" fmla="*/ 373873 h 886800"/>
                <a:gd name="connsiteX139" fmla="*/ 411221 w 533217"/>
                <a:gd name="connsiteY139" fmla="*/ 373226 h 886800"/>
                <a:gd name="connsiteX140" fmla="*/ 411350 w 533217"/>
                <a:gd name="connsiteY140" fmla="*/ 370642 h 886800"/>
                <a:gd name="connsiteX141" fmla="*/ 412384 w 533217"/>
                <a:gd name="connsiteY141" fmla="*/ 365731 h 886800"/>
                <a:gd name="connsiteX142" fmla="*/ 413806 w 533217"/>
                <a:gd name="connsiteY142" fmla="*/ 361854 h 886800"/>
                <a:gd name="connsiteX143" fmla="*/ 414840 w 533217"/>
                <a:gd name="connsiteY143" fmla="*/ 360562 h 886800"/>
                <a:gd name="connsiteX144" fmla="*/ 416132 w 533217"/>
                <a:gd name="connsiteY144" fmla="*/ 357589 h 886800"/>
                <a:gd name="connsiteX145" fmla="*/ 416520 w 533217"/>
                <a:gd name="connsiteY145" fmla="*/ 356168 h 886800"/>
                <a:gd name="connsiteX146" fmla="*/ 417037 w 533217"/>
                <a:gd name="connsiteY146" fmla="*/ 355134 h 886800"/>
                <a:gd name="connsiteX147" fmla="*/ 417554 w 533217"/>
                <a:gd name="connsiteY147" fmla="*/ 354229 h 886800"/>
                <a:gd name="connsiteX148" fmla="*/ 418200 w 533217"/>
                <a:gd name="connsiteY148" fmla="*/ 353324 h 886800"/>
                <a:gd name="connsiteX149" fmla="*/ 421560 w 533217"/>
                <a:gd name="connsiteY149" fmla="*/ 350352 h 886800"/>
                <a:gd name="connsiteX150" fmla="*/ 422077 w 533217"/>
                <a:gd name="connsiteY150" fmla="*/ 349964 h 886800"/>
                <a:gd name="connsiteX151" fmla="*/ 429831 w 533217"/>
                <a:gd name="connsiteY151" fmla="*/ 346863 h 886800"/>
                <a:gd name="connsiteX152" fmla="*/ 436034 w 533217"/>
                <a:gd name="connsiteY152" fmla="*/ 345829 h 886800"/>
                <a:gd name="connsiteX153" fmla="*/ 436680 w 533217"/>
                <a:gd name="connsiteY153" fmla="*/ 345829 h 886800"/>
                <a:gd name="connsiteX154" fmla="*/ 439394 w 533217"/>
                <a:gd name="connsiteY154" fmla="*/ 346087 h 886800"/>
                <a:gd name="connsiteX155" fmla="*/ 440040 w 533217"/>
                <a:gd name="connsiteY155" fmla="*/ 346087 h 886800"/>
                <a:gd name="connsiteX156" fmla="*/ 442625 w 533217"/>
                <a:gd name="connsiteY156" fmla="*/ 345829 h 886800"/>
                <a:gd name="connsiteX157" fmla="*/ 453093 w 533217"/>
                <a:gd name="connsiteY157" fmla="*/ 345700 h 886800"/>
                <a:gd name="connsiteX158" fmla="*/ 453480 w 533217"/>
                <a:gd name="connsiteY158" fmla="*/ 345700 h 886800"/>
                <a:gd name="connsiteX159" fmla="*/ 453868 w 533217"/>
                <a:gd name="connsiteY159" fmla="*/ 345570 h 886800"/>
                <a:gd name="connsiteX160" fmla="*/ 454256 w 533217"/>
                <a:gd name="connsiteY160" fmla="*/ 345053 h 886800"/>
                <a:gd name="connsiteX161" fmla="*/ 454127 w 533217"/>
                <a:gd name="connsiteY161" fmla="*/ 344666 h 886800"/>
                <a:gd name="connsiteX162" fmla="*/ 453868 w 533217"/>
                <a:gd name="connsiteY162" fmla="*/ 344149 h 886800"/>
                <a:gd name="connsiteX163" fmla="*/ 452576 w 533217"/>
                <a:gd name="connsiteY163" fmla="*/ 343373 h 886800"/>
                <a:gd name="connsiteX164" fmla="*/ 452317 w 533217"/>
                <a:gd name="connsiteY164" fmla="*/ 343244 h 886800"/>
                <a:gd name="connsiteX165" fmla="*/ 451930 w 533217"/>
                <a:gd name="connsiteY165" fmla="*/ 342986 h 886800"/>
                <a:gd name="connsiteX166" fmla="*/ 451671 w 533217"/>
                <a:gd name="connsiteY166" fmla="*/ 342727 h 886800"/>
                <a:gd name="connsiteX167" fmla="*/ 451283 w 533217"/>
                <a:gd name="connsiteY167" fmla="*/ 342081 h 886800"/>
                <a:gd name="connsiteX168" fmla="*/ 450250 w 533217"/>
                <a:gd name="connsiteY168" fmla="*/ 340013 h 886800"/>
                <a:gd name="connsiteX169" fmla="*/ 449087 w 533217"/>
                <a:gd name="connsiteY169" fmla="*/ 338333 h 886800"/>
                <a:gd name="connsiteX170" fmla="*/ 448569 w 533217"/>
                <a:gd name="connsiteY170" fmla="*/ 337299 h 886800"/>
                <a:gd name="connsiteX171" fmla="*/ 448569 w 533217"/>
                <a:gd name="connsiteY171" fmla="*/ 336524 h 886800"/>
                <a:gd name="connsiteX172" fmla="*/ 448828 w 533217"/>
                <a:gd name="connsiteY172" fmla="*/ 336007 h 886800"/>
                <a:gd name="connsiteX173" fmla="*/ 449216 w 533217"/>
                <a:gd name="connsiteY173" fmla="*/ 335749 h 886800"/>
                <a:gd name="connsiteX174" fmla="*/ 450767 w 533217"/>
                <a:gd name="connsiteY174" fmla="*/ 335103 h 886800"/>
                <a:gd name="connsiteX175" fmla="*/ 451154 w 533217"/>
                <a:gd name="connsiteY175" fmla="*/ 334844 h 886800"/>
                <a:gd name="connsiteX176" fmla="*/ 451542 w 533217"/>
                <a:gd name="connsiteY176" fmla="*/ 334456 h 886800"/>
                <a:gd name="connsiteX177" fmla="*/ 451800 w 533217"/>
                <a:gd name="connsiteY177" fmla="*/ 333939 h 886800"/>
                <a:gd name="connsiteX178" fmla="*/ 452059 w 533217"/>
                <a:gd name="connsiteY178" fmla="*/ 333423 h 886800"/>
                <a:gd name="connsiteX179" fmla="*/ 452317 w 533217"/>
                <a:gd name="connsiteY179" fmla="*/ 332906 h 886800"/>
                <a:gd name="connsiteX180" fmla="*/ 452576 w 533217"/>
                <a:gd name="connsiteY180" fmla="*/ 329416 h 886800"/>
                <a:gd name="connsiteX181" fmla="*/ 452834 w 533217"/>
                <a:gd name="connsiteY181" fmla="*/ 328253 h 886800"/>
                <a:gd name="connsiteX182" fmla="*/ 454127 w 533217"/>
                <a:gd name="connsiteY182" fmla="*/ 325539 h 886800"/>
                <a:gd name="connsiteX183" fmla="*/ 454256 w 533217"/>
                <a:gd name="connsiteY183" fmla="*/ 324764 h 886800"/>
                <a:gd name="connsiteX184" fmla="*/ 454256 w 533217"/>
                <a:gd name="connsiteY184" fmla="*/ 324118 h 886800"/>
                <a:gd name="connsiteX185" fmla="*/ 453997 w 533217"/>
                <a:gd name="connsiteY185" fmla="*/ 323601 h 886800"/>
                <a:gd name="connsiteX186" fmla="*/ 453222 w 533217"/>
                <a:gd name="connsiteY186" fmla="*/ 322567 h 886800"/>
                <a:gd name="connsiteX187" fmla="*/ 452705 w 533217"/>
                <a:gd name="connsiteY187" fmla="*/ 321662 h 886800"/>
                <a:gd name="connsiteX188" fmla="*/ 452576 w 533217"/>
                <a:gd name="connsiteY188" fmla="*/ 321016 h 886800"/>
                <a:gd name="connsiteX189" fmla="*/ 452705 w 533217"/>
                <a:gd name="connsiteY189" fmla="*/ 320370 h 886800"/>
                <a:gd name="connsiteX190" fmla="*/ 453480 w 533217"/>
                <a:gd name="connsiteY190" fmla="*/ 319465 h 886800"/>
                <a:gd name="connsiteX191" fmla="*/ 453610 w 533217"/>
                <a:gd name="connsiteY191" fmla="*/ 318948 h 886800"/>
                <a:gd name="connsiteX192" fmla="*/ 454514 w 533217"/>
                <a:gd name="connsiteY192" fmla="*/ 316105 h 886800"/>
                <a:gd name="connsiteX193" fmla="*/ 454902 w 533217"/>
                <a:gd name="connsiteY193" fmla="*/ 314167 h 886800"/>
                <a:gd name="connsiteX194" fmla="*/ 455031 w 533217"/>
                <a:gd name="connsiteY194" fmla="*/ 313650 h 886800"/>
                <a:gd name="connsiteX195" fmla="*/ 455290 w 533217"/>
                <a:gd name="connsiteY195" fmla="*/ 313133 h 886800"/>
                <a:gd name="connsiteX196" fmla="*/ 456065 w 533217"/>
                <a:gd name="connsiteY196" fmla="*/ 312228 h 886800"/>
                <a:gd name="connsiteX197" fmla="*/ 456582 w 533217"/>
                <a:gd name="connsiteY197" fmla="*/ 311711 h 886800"/>
                <a:gd name="connsiteX198" fmla="*/ 456711 w 533217"/>
                <a:gd name="connsiteY198" fmla="*/ 310419 h 886800"/>
                <a:gd name="connsiteX199" fmla="*/ 456453 w 533217"/>
                <a:gd name="connsiteY199" fmla="*/ 309256 h 886800"/>
                <a:gd name="connsiteX200" fmla="*/ 455807 w 533217"/>
                <a:gd name="connsiteY200" fmla="*/ 307447 h 886800"/>
                <a:gd name="connsiteX201" fmla="*/ 455419 w 533217"/>
                <a:gd name="connsiteY201" fmla="*/ 305896 h 886800"/>
                <a:gd name="connsiteX202" fmla="*/ 454773 w 533217"/>
                <a:gd name="connsiteY202" fmla="*/ 301243 h 886800"/>
                <a:gd name="connsiteX203" fmla="*/ 454514 w 533217"/>
                <a:gd name="connsiteY203" fmla="*/ 299951 h 886800"/>
                <a:gd name="connsiteX204" fmla="*/ 453997 w 533217"/>
                <a:gd name="connsiteY204" fmla="*/ 299176 h 886800"/>
                <a:gd name="connsiteX205" fmla="*/ 448182 w 533217"/>
                <a:gd name="connsiteY205" fmla="*/ 296720 h 886800"/>
                <a:gd name="connsiteX206" fmla="*/ 447536 w 533217"/>
                <a:gd name="connsiteY206" fmla="*/ 296332 h 886800"/>
                <a:gd name="connsiteX207" fmla="*/ 446890 w 533217"/>
                <a:gd name="connsiteY207" fmla="*/ 295686 h 886800"/>
                <a:gd name="connsiteX208" fmla="*/ 445597 w 533217"/>
                <a:gd name="connsiteY208" fmla="*/ 293619 h 886800"/>
                <a:gd name="connsiteX209" fmla="*/ 445080 w 533217"/>
                <a:gd name="connsiteY209" fmla="*/ 293102 h 886800"/>
                <a:gd name="connsiteX210" fmla="*/ 444693 w 533217"/>
                <a:gd name="connsiteY210" fmla="*/ 292714 h 886800"/>
                <a:gd name="connsiteX211" fmla="*/ 444176 w 533217"/>
                <a:gd name="connsiteY211" fmla="*/ 292585 h 886800"/>
                <a:gd name="connsiteX212" fmla="*/ 443659 w 533217"/>
                <a:gd name="connsiteY212" fmla="*/ 292326 h 886800"/>
                <a:gd name="connsiteX213" fmla="*/ 443013 w 533217"/>
                <a:gd name="connsiteY213" fmla="*/ 292197 h 886800"/>
                <a:gd name="connsiteX214" fmla="*/ 442366 w 533217"/>
                <a:gd name="connsiteY214" fmla="*/ 292197 h 886800"/>
                <a:gd name="connsiteX215" fmla="*/ 441720 w 533217"/>
                <a:gd name="connsiteY215" fmla="*/ 292197 h 886800"/>
                <a:gd name="connsiteX216" fmla="*/ 441203 w 533217"/>
                <a:gd name="connsiteY216" fmla="*/ 292455 h 886800"/>
                <a:gd name="connsiteX217" fmla="*/ 440816 w 533217"/>
                <a:gd name="connsiteY217" fmla="*/ 292714 h 886800"/>
                <a:gd name="connsiteX218" fmla="*/ 440299 w 533217"/>
                <a:gd name="connsiteY218" fmla="*/ 292972 h 886800"/>
                <a:gd name="connsiteX219" fmla="*/ 439782 w 533217"/>
                <a:gd name="connsiteY219" fmla="*/ 293231 h 886800"/>
                <a:gd name="connsiteX220" fmla="*/ 438619 w 533217"/>
                <a:gd name="connsiteY220" fmla="*/ 293619 h 886800"/>
                <a:gd name="connsiteX221" fmla="*/ 437456 w 533217"/>
                <a:gd name="connsiteY221" fmla="*/ 293748 h 886800"/>
                <a:gd name="connsiteX222" fmla="*/ 430348 w 533217"/>
                <a:gd name="connsiteY222" fmla="*/ 294136 h 886800"/>
                <a:gd name="connsiteX223" fmla="*/ 426729 w 533217"/>
                <a:gd name="connsiteY223" fmla="*/ 294911 h 886800"/>
                <a:gd name="connsiteX224" fmla="*/ 425824 w 533217"/>
                <a:gd name="connsiteY224" fmla="*/ 295557 h 886800"/>
                <a:gd name="connsiteX225" fmla="*/ 425178 w 533217"/>
                <a:gd name="connsiteY225" fmla="*/ 296332 h 886800"/>
                <a:gd name="connsiteX226" fmla="*/ 424791 w 533217"/>
                <a:gd name="connsiteY226" fmla="*/ 296720 h 886800"/>
                <a:gd name="connsiteX227" fmla="*/ 424403 w 533217"/>
                <a:gd name="connsiteY227" fmla="*/ 296979 h 886800"/>
                <a:gd name="connsiteX228" fmla="*/ 423240 w 533217"/>
                <a:gd name="connsiteY228" fmla="*/ 297366 h 886800"/>
                <a:gd name="connsiteX229" fmla="*/ 417941 w 533217"/>
                <a:gd name="connsiteY229" fmla="*/ 298400 h 886800"/>
                <a:gd name="connsiteX230" fmla="*/ 417424 w 533217"/>
                <a:gd name="connsiteY230" fmla="*/ 298271 h 886800"/>
                <a:gd name="connsiteX231" fmla="*/ 417037 w 533217"/>
                <a:gd name="connsiteY231" fmla="*/ 298271 h 886800"/>
                <a:gd name="connsiteX232" fmla="*/ 416390 w 533217"/>
                <a:gd name="connsiteY232" fmla="*/ 298271 h 886800"/>
                <a:gd name="connsiteX233" fmla="*/ 413418 w 533217"/>
                <a:gd name="connsiteY233" fmla="*/ 298788 h 886800"/>
                <a:gd name="connsiteX234" fmla="*/ 412901 w 533217"/>
                <a:gd name="connsiteY234" fmla="*/ 299046 h 886800"/>
                <a:gd name="connsiteX235" fmla="*/ 412513 w 533217"/>
                <a:gd name="connsiteY235" fmla="*/ 299305 h 886800"/>
                <a:gd name="connsiteX236" fmla="*/ 411738 w 533217"/>
                <a:gd name="connsiteY236" fmla="*/ 300080 h 886800"/>
                <a:gd name="connsiteX237" fmla="*/ 411350 w 533217"/>
                <a:gd name="connsiteY237" fmla="*/ 300468 h 886800"/>
                <a:gd name="connsiteX238" fmla="*/ 410833 w 533217"/>
                <a:gd name="connsiteY238" fmla="*/ 300597 h 886800"/>
                <a:gd name="connsiteX239" fmla="*/ 409799 w 533217"/>
                <a:gd name="connsiteY239" fmla="*/ 300597 h 886800"/>
                <a:gd name="connsiteX240" fmla="*/ 409283 w 533217"/>
                <a:gd name="connsiteY240" fmla="*/ 300726 h 886800"/>
                <a:gd name="connsiteX241" fmla="*/ 407861 w 533217"/>
                <a:gd name="connsiteY241" fmla="*/ 302148 h 886800"/>
                <a:gd name="connsiteX242" fmla="*/ 406956 w 533217"/>
                <a:gd name="connsiteY242" fmla="*/ 302665 h 886800"/>
                <a:gd name="connsiteX243" fmla="*/ 406181 w 533217"/>
                <a:gd name="connsiteY243" fmla="*/ 303053 h 886800"/>
                <a:gd name="connsiteX244" fmla="*/ 405923 w 533217"/>
                <a:gd name="connsiteY244" fmla="*/ 303182 h 886800"/>
                <a:gd name="connsiteX245" fmla="*/ 405793 w 533217"/>
                <a:gd name="connsiteY245" fmla="*/ 303440 h 886800"/>
                <a:gd name="connsiteX246" fmla="*/ 405406 w 533217"/>
                <a:gd name="connsiteY246" fmla="*/ 304216 h 886800"/>
                <a:gd name="connsiteX247" fmla="*/ 404113 w 533217"/>
                <a:gd name="connsiteY247" fmla="*/ 305896 h 886800"/>
                <a:gd name="connsiteX248" fmla="*/ 403726 w 533217"/>
                <a:gd name="connsiteY248" fmla="*/ 306283 h 886800"/>
                <a:gd name="connsiteX249" fmla="*/ 403338 w 533217"/>
                <a:gd name="connsiteY249" fmla="*/ 306542 h 886800"/>
                <a:gd name="connsiteX250" fmla="*/ 401399 w 533217"/>
                <a:gd name="connsiteY250" fmla="*/ 307576 h 886800"/>
                <a:gd name="connsiteX251" fmla="*/ 399202 w 533217"/>
                <a:gd name="connsiteY251" fmla="*/ 307963 h 886800"/>
                <a:gd name="connsiteX252" fmla="*/ 398686 w 533217"/>
                <a:gd name="connsiteY252" fmla="*/ 307963 h 886800"/>
                <a:gd name="connsiteX253" fmla="*/ 397910 w 533217"/>
                <a:gd name="connsiteY253" fmla="*/ 307834 h 886800"/>
                <a:gd name="connsiteX254" fmla="*/ 397264 w 533217"/>
                <a:gd name="connsiteY254" fmla="*/ 307447 h 886800"/>
                <a:gd name="connsiteX255" fmla="*/ 396359 w 533217"/>
                <a:gd name="connsiteY255" fmla="*/ 306542 h 886800"/>
                <a:gd name="connsiteX256" fmla="*/ 395842 w 533217"/>
                <a:gd name="connsiteY256" fmla="*/ 305767 h 886800"/>
                <a:gd name="connsiteX257" fmla="*/ 395584 w 533217"/>
                <a:gd name="connsiteY257" fmla="*/ 304862 h 886800"/>
                <a:gd name="connsiteX258" fmla="*/ 395325 w 533217"/>
                <a:gd name="connsiteY258" fmla="*/ 303828 h 886800"/>
                <a:gd name="connsiteX259" fmla="*/ 394938 w 533217"/>
                <a:gd name="connsiteY259" fmla="*/ 302923 h 886800"/>
                <a:gd name="connsiteX260" fmla="*/ 394421 w 533217"/>
                <a:gd name="connsiteY260" fmla="*/ 302277 h 886800"/>
                <a:gd name="connsiteX261" fmla="*/ 393904 w 533217"/>
                <a:gd name="connsiteY261" fmla="*/ 301890 h 886800"/>
                <a:gd name="connsiteX262" fmla="*/ 393258 w 533217"/>
                <a:gd name="connsiteY262" fmla="*/ 301631 h 886800"/>
                <a:gd name="connsiteX263" fmla="*/ 391965 w 533217"/>
                <a:gd name="connsiteY263" fmla="*/ 301373 h 886800"/>
                <a:gd name="connsiteX264" fmla="*/ 391061 w 533217"/>
                <a:gd name="connsiteY264" fmla="*/ 300597 h 886800"/>
                <a:gd name="connsiteX265" fmla="*/ 390544 w 533217"/>
                <a:gd name="connsiteY265" fmla="*/ 299563 h 886800"/>
                <a:gd name="connsiteX266" fmla="*/ 389639 w 533217"/>
                <a:gd name="connsiteY266" fmla="*/ 297237 h 886800"/>
                <a:gd name="connsiteX267" fmla="*/ 388993 w 533217"/>
                <a:gd name="connsiteY267" fmla="*/ 295945 h 886800"/>
                <a:gd name="connsiteX268" fmla="*/ 383307 w 533217"/>
                <a:gd name="connsiteY268" fmla="*/ 287674 h 886800"/>
                <a:gd name="connsiteX269" fmla="*/ 382790 w 533217"/>
                <a:gd name="connsiteY269" fmla="*/ 287157 h 886800"/>
                <a:gd name="connsiteX270" fmla="*/ 382402 w 533217"/>
                <a:gd name="connsiteY270" fmla="*/ 286898 h 886800"/>
                <a:gd name="connsiteX271" fmla="*/ 380205 w 533217"/>
                <a:gd name="connsiteY271" fmla="*/ 285994 h 886800"/>
                <a:gd name="connsiteX272" fmla="*/ 378913 w 533217"/>
                <a:gd name="connsiteY272" fmla="*/ 285218 h 886800"/>
                <a:gd name="connsiteX273" fmla="*/ 377233 w 533217"/>
                <a:gd name="connsiteY273" fmla="*/ 283280 h 886800"/>
                <a:gd name="connsiteX274" fmla="*/ 375294 w 533217"/>
                <a:gd name="connsiteY274" fmla="*/ 278886 h 886800"/>
                <a:gd name="connsiteX275" fmla="*/ 374390 w 533217"/>
                <a:gd name="connsiteY275" fmla="*/ 277335 h 886800"/>
                <a:gd name="connsiteX276" fmla="*/ 373873 w 533217"/>
                <a:gd name="connsiteY276" fmla="*/ 276560 h 886800"/>
                <a:gd name="connsiteX277" fmla="*/ 373356 w 533217"/>
                <a:gd name="connsiteY277" fmla="*/ 276043 h 886800"/>
                <a:gd name="connsiteX278" fmla="*/ 372839 w 533217"/>
                <a:gd name="connsiteY278" fmla="*/ 275784 h 886800"/>
                <a:gd name="connsiteX279" fmla="*/ 372322 w 533217"/>
                <a:gd name="connsiteY279" fmla="*/ 275655 h 886800"/>
                <a:gd name="connsiteX280" fmla="*/ 371676 w 533217"/>
                <a:gd name="connsiteY280" fmla="*/ 275526 h 886800"/>
                <a:gd name="connsiteX281" fmla="*/ 370900 w 533217"/>
                <a:gd name="connsiteY281" fmla="*/ 275397 h 886800"/>
                <a:gd name="connsiteX282" fmla="*/ 370254 w 533217"/>
                <a:gd name="connsiteY282" fmla="*/ 275267 h 886800"/>
                <a:gd name="connsiteX283" fmla="*/ 369608 w 533217"/>
                <a:gd name="connsiteY283" fmla="*/ 274750 h 886800"/>
                <a:gd name="connsiteX284" fmla="*/ 369349 w 533217"/>
                <a:gd name="connsiteY284" fmla="*/ 274363 h 886800"/>
                <a:gd name="connsiteX285" fmla="*/ 369349 w 533217"/>
                <a:gd name="connsiteY285" fmla="*/ 273717 h 886800"/>
                <a:gd name="connsiteX286" fmla="*/ 369479 w 533217"/>
                <a:gd name="connsiteY286" fmla="*/ 273070 h 886800"/>
                <a:gd name="connsiteX287" fmla="*/ 369608 w 533217"/>
                <a:gd name="connsiteY287" fmla="*/ 272424 h 886800"/>
                <a:gd name="connsiteX288" fmla="*/ 369608 w 533217"/>
                <a:gd name="connsiteY288" fmla="*/ 271520 h 886800"/>
                <a:gd name="connsiteX289" fmla="*/ 369220 w 533217"/>
                <a:gd name="connsiteY289" fmla="*/ 270873 h 886800"/>
                <a:gd name="connsiteX290" fmla="*/ 368832 w 533217"/>
                <a:gd name="connsiteY290" fmla="*/ 270486 h 886800"/>
                <a:gd name="connsiteX291" fmla="*/ 367669 w 533217"/>
                <a:gd name="connsiteY291" fmla="*/ 269840 h 886800"/>
                <a:gd name="connsiteX292" fmla="*/ 367411 w 533217"/>
                <a:gd name="connsiteY292" fmla="*/ 269323 h 886800"/>
                <a:gd name="connsiteX293" fmla="*/ 367411 w 533217"/>
                <a:gd name="connsiteY293" fmla="*/ 268935 h 886800"/>
                <a:gd name="connsiteX294" fmla="*/ 367669 w 533217"/>
                <a:gd name="connsiteY294" fmla="*/ 268547 h 886800"/>
                <a:gd name="connsiteX295" fmla="*/ 367928 w 533217"/>
                <a:gd name="connsiteY295" fmla="*/ 268289 h 886800"/>
                <a:gd name="connsiteX296" fmla="*/ 368057 w 533217"/>
                <a:gd name="connsiteY296" fmla="*/ 267643 h 886800"/>
                <a:gd name="connsiteX297" fmla="*/ 367799 w 533217"/>
                <a:gd name="connsiteY297" fmla="*/ 267126 h 886800"/>
                <a:gd name="connsiteX298" fmla="*/ 365860 w 533217"/>
                <a:gd name="connsiteY298" fmla="*/ 264799 h 886800"/>
                <a:gd name="connsiteX299" fmla="*/ 365472 w 533217"/>
                <a:gd name="connsiteY299" fmla="*/ 264412 h 886800"/>
                <a:gd name="connsiteX300" fmla="*/ 364956 w 533217"/>
                <a:gd name="connsiteY300" fmla="*/ 264283 h 886800"/>
                <a:gd name="connsiteX301" fmla="*/ 364568 w 533217"/>
                <a:gd name="connsiteY301" fmla="*/ 264412 h 886800"/>
                <a:gd name="connsiteX302" fmla="*/ 364309 w 533217"/>
                <a:gd name="connsiteY302" fmla="*/ 264929 h 886800"/>
                <a:gd name="connsiteX303" fmla="*/ 364439 w 533217"/>
                <a:gd name="connsiteY303" fmla="*/ 265704 h 886800"/>
                <a:gd name="connsiteX304" fmla="*/ 364439 w 533217"/>
                <a:gd name="connsiteY304" fmla="*/ 266350 h 886800"/>
                <a:gd name="connsiteX305" fmla="*/ 364309 w 533217"/>
                <a:gd name="connsiteY305" fmla="*/ 266867 h 886800"/>
                <a:gd name="connsiteX306" fmla="*/ 364051 w 533217"/>
                <a:gd name="connsiteY306" fmla="*/ 267255 h 886800"/>
                <a:gd name="connsiteX307" fmla="*/ 363534 w 533217"/>
                <a:gd name="connsiteY307" fmla="*/ 267255 h 886800"/>
                <a:gd name="connsiteX308" fmla="*/ 363017 w 533217"/>
                <a:gd name="connsiteY308" fmla="*/ 266996 h 886800"/>
                <a:gd name="connsiteX309" fmla="*/ 362500 w 533217"/>
                <a:gd name="connsiteY309" fmla="*/ 266609 h 886800"/>
                <a:gd name="connsiteX310" fmla="*/ 362242 w 533217"/>
                <a:gd name="connsiteY310" fmla="*/ 266092 h 886800"/>
                <a:gd name="connsiteX311" fmla="*/ 362242 w 533217"/>
                <a:gd name="connsiteY311" fmla="*/ 265446 h 886800"/>
                <a:gd name="connsiteX312" fmla="*/ 362371 w 533217"/>
                <a:gd name="connsiteY312" fmla="*/ 264799 h 886800"/>
                <a:gd name="connsiteX313" fmla="*/ 362112 w 533217"/>
                <a:gd name="connsiteY313" fmla="*/ 263636 h 886800"/>
                <a:gd name="connsiteX314" fmla="*/ 360691 w 533217"/>
                <a:gd name="connsiteY314" fmla="*/ 260147 h 886800"/>
                <a:gd name="connsiteX315" fmla="*/ 360174 w 533217"/>
                <a:gd name="connsiteY315" fmla="*/ 259113 h 886800"/>
                <a:gd name="connsiteX316" fmla="*/ 359528 w 533217"/>
                <a:gd name="connsiteY316" fmla="*/ 258467 h 886800"/>
                <a:gd name="connsiteX317" fmla="*/ 359011 w 533217"/>
                <a:gd name="connsiteY317" fmla="*/ 258338 h 886800"/>
                <a:gd name="connsiteX318" fmla="*/ 357589 w 533217"/>
                <a:gd name="connsiteY318" fmla="*/ 258338 h 886800"/>
                <a:gd name="connsiteX319" fmla="*/ 356943 w 533217"/>
                <a:gd name="connsiteY319" fmla="*/ 258209 h 886800"/>
                <a:gd name="connsiteX320" fmla="*/ 356297 w 533217"/>
                <a:gd name="connsiteY320" fmla="*/ 257821 h 886800"/>
                <a:gd name="connsiteX321" fmla="*/ 356168 w 533217"/>
                <a:gd name="connsiteY321" fmla="*/ 257304 h 886800"/>
                <a:gd name="connsiteX322" fmla="*/ 356426 w 533217"/>
                <a:gd name="connsiteY322" fmla="*/ 256141 h 886800"/>
                <a:gd name="connsiteX323" fmla="*/ 356426 w 533217"/>
                <a:gd name="connsiteY323" fmla="*/ 255236 h 886800"/>
                <a:gd name="connsiteX324" fmla="*/ 356168 w 533217"/>
                <a:gd name="connsiteY324" fmla="*/ 253815 h 886800"/>
                <a:gd name="connsiteX325" fmla="*/ 355651 w 533217"/>
                <a:gd name="connsiteY325" fmla="*/ 253298 h 886800"/>
                <a:gd name="connsiteX326" fmla="*/ 355134 w 533217"/>
                <a:gd name="connsiteY326" fmla="*/ 253039 h 886800"/>
                <a:gd name="connsiteX327" fmla="*/ 353195 w 533217"/>
                <a:gd name="connsiteY327" fmla="*/ 252910 h 886800"/>
                <a:gd name="connsiteX328" fmla="*/ 352549 w 533217"/>
                <a:gd name="connsiteY328" fmla="*/ 253039 h 886800"/>
                <a:gd name="connsiteX329" fmla="*/ 352161 w 533217"/>
                <a:gd name="connsiteY329" fmla="*/ 253169 h 886800"/>
                <a:gd name="connsiteX330" fmla="*/ 351644 w 533217"/>
                <a:gd name="connsiteY330" fmla="*/ 253427 h 886800"/>
                <a:gd name="connsiteX331" fmla="*/ 351127 w 533217"/>
                <a:gd name="connsiteY331" fmla="*/ 253556 h 886800"/>
                <a:gd name="connsiteX332" fmla="*/ 350481 w 533217"/>
                <a:gd name="connsiteY332" fmla="*/ 253556 h 886800"/>
                <a:gd name="connsiteX333" fmla="*/ 349447 w 533217"/>
                <a:gd name="connsiteY333" fmla="*/ 252910 h 886800"/>
                <a:gd name="connsiteX334" fmla="*/ 348801 w 533217"/>
                <a:gd name="connsiteY334" fmla="*/ 251876 h 886800"/>
                <a:gd name="connsiteX335" fmla="*/ 347250 w 533217"/>
                <a:gd name="connsiteY335" fmla="*/ 249033 h 886800"/>
                <a:gd name="connsiteX336" fmla="*/ 347121 w 533217"/>
                <a:gd name="connsiteY336" fmla="*/ 248775 h 886800"/>
                <a:gd name="connsiteX337" fmla="*/ 346863 w 533217"/>
                <a:gd name="connsiteY337" fmla="*/ 248258 h 886800"/>
                <a:gd name="connsiteX338" fmla="*/ 346475 w 533217"/>
                <a:gd name="connsiteY338" fmla="*/ 245544 h 886800"/>
                <a:gd name="connsiteX339" fmla="*/ 346217 w 533217"/>
                <a:gd name="connsiteY339" fmla="*/ 244768 h 886800"/>
                <a:gd name="connsiteX340" fmla="*/ 345958 w 533217"/>
                <a:gd name="connsiteY340" fmla="*/ 244381 h 886800"/>
                <a:gd name="connsiteX341" fmla="*/ 345829 w 533217"/>
                <a:gd name="connsiteY341" fmla="*/ 244122 h 886800"/>
                <a:gd name="connsiteX342" fmla="*/ 345312 w 533217"/>
                <a:gd name="connsiteY342" fmla="*/ 243993 h 886800"/>
                <a:gd name="connsiteX343" fmla="*/ 344795 w 533217"/>
                <a:gd name="connsiteY343" fmla="*/ 243864 h 886800"/>
                <a:gd name="connsiteX344" fmla="*/ 344278 w 533217"/>
                <a:gd name="connsiteY344" fmla="*/ 243734 h 886800"/>
                <a:gd name="connsiteX345" fmla="*/ 341823 w 533217"/>
                <a:gd name="connsiteY345" fmla="*/ 243993 h 886800"/>
                <a:gd name="connsiteX346" fmla="*/ 339238 w 533217"/>
                <a:gd name="connsiteY346" fmla="*/ 244381 h 886800"/>
                <a:gd name="connsiteX347" fmla="*/ 338850 w 533217"/>
                <a:gd name="connsiteY347" fmla="*/ 244510 h 886800"/>
                <a:gd name="connsiteX348" fmla="*/ 337816 w 533217"/>
                <a:gd name="connsiteY348" fmla="*/ 244768 h 886800"/>
                <a:gd name="connsiteX349" fmla="*/ 336136 w 533217"/>
                <a:gd name="connsiteY349" fmla="*/ 243864 h 886800"/>
                <a:gd name="connsiteX350" fmla="*/ 339497 w 533217"/>
                <a:gd name="connsiteY350" fmla="*/ 241021 h 886800"/>
                <a:gd name="connsiteX351" fmla="*/ 343632 w 533217"/>
                <a:gd name="connsiteY351" fmla="*/ 239211 h 886800"/>
                <a:gd name="connsiteX352" fmla="*/ 346992 w 533217"/>
                <a:gd name="connsiteY352" fmla="*/ 237014 h 886800"/>
                <a:gd name="connsiteX353" fmla="*/ 348414 w 533217"/>
                <a:gd name="connsiteY353" fmla="*/ 232491 h 886800"/>
                <a:gd name="connsiteX354" fmla="*/ 347380 w 533217"/>
                <a:gd name="connsiteY354" fmla="*/ 228485 h 886800"/>
                <a:gd name="connsiteX355" fmla="*/ 344407 w 533217"/>
                <a:gd name="connsiteY355" fmla="*/ 226159 h 886800"/>
                <a:gd name="connsiteX356" fmla="*/ 340530 w 533217"/>
                <a:gd name="connsiteY356" fmla="*/ 225125 h 886800"/>
                <a:gd name="connsiteX357" fmla="*/ 336395 w 533217"/>
                <a:gd name="connsiteY357" fmla="*/ 224866 h 886800"/>
                <a:gd name="connsiteX358" fmla="*/ 334715 w 533217"/>
                <a:gd name="connsiteY358" fmla="*/ 226029 h 886800"/>
                <a:gd name="connsiteX359" fmla="*/ 332389 w 533217"/>
                <a:gd name="connsiteY359" fmla="*/ 228226 h 886800"/>
                <a:gd name="connsiteX360" fmla="*/ 330321 w 533217"/>
                <a:gd name="connsiteY360" fmla="*/ 229260 h 886800"/>
                <a:gd name="connsiteX361" fmla="*/ 328641 w 533217"/>
                <a:gd name="connsiteY361" fmla="*/ 224349 h 886800"/>
                <a:gd name="connsiteX362" fmla="*/ 326702 w 533217"/>
                <a:gd name="connsiteY362" fmla="*/ 222669 h 886800"/>
                <a:gd name="connsiteX363" fmla="*/ 322696 w 533217"/>
                <a:gd name="connsiteY363" fmla="*/ 220472 h 886800"/>
                <a:gd name="connsiteX364" fmla="*/ 319982 w 533217"/>
                <a:gd name="connsiteY364" fmla="*/ 216854 h 886800"/>
                <a:gd name="connsiteX365" fmla="*/ 321662 w 533217"/>
                <a:gd name="connsiteY365" fmla="*/ 213494 h 886800"/>
                <a:gd name="connsiteX366" fmla="*/ 325927 w 533217"/>
                <a:gd name="connsiteY366" fmla="*/ 211814 h 886800"/>
                <a:gd name="connsiteX367" fmla="*/ 330838 w 533217"/>
                <a:gd name="connsiteY367" fmla="*/ 213106 h 886800"/>
                <a:gd name="connsiteX368" fmla="*/ 336653 w 533217"/>
                <a:gd name="connsiteY368" fmla="*/ 203543 h 886800"/>
                <a:gd name="connsiteX369" fmla="*/ 344278 w 533217"/>
                <a:gd name="connsiteY369" fmla="*/ 197081 h 886800"/>
                <a:gd name="connsiteX370" fmla="*/ 345441 w 533217"/>
                <a:gd name="connsiteY370" fmla="*/ 194367 h 886800"/>
                <a:gd name="connsiteX371" fmla="*/ 345700 w 533217"/>
                <a:gd name="connsiteY371" fmla="*/ 192299 h 886800"/>
                <a:gd name="connsiteX372" fmla="*/ 347121 w 533217"/>
                <a:gd name="connsiteY372" fmla="*/ 185967 h 886800"/>
                <a:gd name="connsiteX373" fmla="*/ 347380 w 533217"/>
                <a:gd name="connsiteY373" fmla="*/ 185062 h 886800"/>
                <a:gd name="connsiteX374" fmla="*/ 347638 w 533217"/>
                <a:gd name="connsiteY374" fmla="*/ 184158 h 886800"/>
                <a:gd name="connsiteX375" fmla="*/ 347250 w 533217"/>
                <a:gd name="connsiteY375" fmla="*/ 183253 h 886800"/>
                <a:gd name="connsiteX376" fmla="*/ 346734 w 533217"/>
                <a:gd name="connsiteY376" fmla="*/ 182607 h 886800"/>
                <a:gd name="connsiteX377" fmla="*/ 346346 w 533217"/>
                <a:gd name="connsiteY377" fmla="*/ 181832 h 886800"/>
                <a:gd name="connsiteX378" fmla="*/ 346217 w 533217"/>
                <a:gd name="connsiteY378" fmla="*/ 180927 h 886800"/>
                <a:gd name="connsiteX379" fmla="*/ 346087 w 533217"/>
                <a:gd name="connsiteY379" fmla="*/ 180281 h 886800"/>
                <a:gd name="connsiteX380" fmla="*/ 346217 w 533217"/>
                <a:gd name="connsiteY380" fmla="*/ 173690 h 886800"/>
                <a:gd name="connsiteX381" fmla="*/ 346863 w 533217"/>
                <a:gd name="connsiteY381" fmla="*/ 170717 h 886800"/>
                <a:gd name="connsiteX382" fmla="*/ 348284 w 533217"/>
                <a:gd name="connsiteY382" fmla="*/ 167487 h 886800"/>
                <a:gd name="connsiteX383" fmla="*/ 346992 w 533217"/>
                <a:gd name="connsiteY383" fmla="*/ 163739 h 886800"/>
                <a:gd name="connsiteX384" fmla="*/ 347767 w 533217"/>
                <a:gd name="connsiteY384" fmla="*/ 159862 h 886800"/>
                <a:gd name="connsiteX385" fmla="*/ 350481 w 533217"/>
                <a:gd name="connsiteY385" fmla="*/ 152883 h 886800"/>
                <a:gd name="connsiteX386" fmla="*/ 350740 w 533217"/>
                <a:gd name="connsiteY386" fmla="*/ 148877 h 886800"/>
                <a:gd name="connsiteX387" fmla="*/ 350998 w 533217"/>
                <a:gd name="connsiteY387" fmla="*/ 147197 h 886800"/>
                <a:gd name="connsiteX388" fmla="*/ 351774 w 533217"/>
                <a:gd name="connsiteY388" fmla="*/ 145517 h 886800"/>
                <a:gd name="connsiteX389" fmla="*/ 354617 w 533217"/>
                <a:gd name="connsiteY389" fmla="*/ 142028 h 886800"/>
                <a:gd name="connsiteX390" fmla="*/ 355521 w 533217"/>
                <a:gd name="connsiteY390" fmla="*/ 140348 h 886800"/>
                <a:gd name="connsiteX391" fmla="*/ 354100 w 533217"/>
                <a:gd name="connsiteY391" fmla="*/ 137892 h 886800"/>
                <a:gd name="connsiteX392" fmla="*/ 354100 w 533217"/>
                <a:gd name="connsiteY392" fmla="*/ 135437 h 886800"/>
                <a:gd name="connsiteX393" fmla="*/ 356297 w 533217"/>
                <a:gd name="connsiteY393" fmla="*/ 130138 h 886800"/>
                <a:gd name="connsiteX394" fmla="*/ 355134 w 533217"/>
                <a:gd name="connsiteY394" fmla="*/ 126520 h 886800"/>
                <a:gd name="connsiteX395" fmla="*/ 358623 w 533217"/>
                <a:gd name="connsiteY395" fmla="*/ 118636 h 886800"/>
                <a:gd name="connsiteX396" fmla="*/ 359140 w 533217"/>
                <a:gd name="connsiteY396" fmla="*/ 113984 h 886800"/>
                <a:gd name="connsiteX397" fmla="*/ 358106 w 533217"/>
                <a:gd name="connsiteY397" fmla="*/ 111916 h 886800"/>
                <a:gd name="connsiteX398" fmla="*/ 355263 w 533217"/>
                <a:gd name="connsiteY398" fmla="*/ 108427 h 886800"/>
                <a:gd name="connsiteX399" fmla="*/ 354746 w 533217"/>
                <a:gd name="connsiteY399" fmla="*/ 106230 h 886800"/>
                <a:gd name="connsiteX400" fmla="*/ 354487 w 533217"/>
                <a:gd name="connsiteY400" fmla="*/ 104033 h 886800"/>
                <a:gd name="connsiteX401" fmla="*/ 353454 w 533217"/>
                <a:gd name="connsiteY401" fmla="*/ 100156 h 886800"/>
                <a:gd name="connsiteX402" fmla="*/ 353324 w 533217"/>
                <a:gd name="connsiteY402" fmla="*/ 86328 h 886800"/>
                <a:gd name="connsiteX403" fmla="*/ 354617 w 533217"/>
                <a:gd name="connsiteY403" fmla="*/ 79479 h 886800"/>
                <a:gd name="connsiteX404" fmla="*/ 354617 w 533217"/>
                <a:gd name="connsiteY404" fmla="*/ 75085 h 886800"/>
                <a:gd name="connsiteX405" fmla="*/ 354229 w 533217"/>
                <a:gd name="connsiteY405" fmla="*/ 74051 h 886800"/>
                <a:gd name="connsiteX406" fmla="*/ 353324 w 533217"/>
                <a:gd name="connsiteY406" fmla="*/ 72758 h 886800"/>
                <a:gd name="connsiteX407" fmla="*/ 352937 w 533217"/>
                <a:gd name="connsiteY407" fmla="*/ 70820 h 886800"/>
                <a:gd name="connsiteX408" fmla="*/ 351774 w 533217"/>
                <a:gd name="connsiteY408" fmla="*/ 69398 h 886800"/>
                <a:gd name="connsiteX409" fmla="*/ 351644 w 533217"/>
                <a:gd name="connsiteY409" fmla="*/ 68106 h 886800"/>
                <a:gd name="connsiteX410" fmla="*/ 351515 w 533217"/>
                <a:gd name="connsiteY410" fmla="*/ 67072 h 886800"/>
                <a:gd name="connsiteX411" fmla="*/ 351257 w 533217"/>
                <a:gd name="connsiteY411" fmla="*/ 66038 h 886800"/>
                <a:gd name="connsiteX412" fmla="*/ 350740 w 533217"/>
                <a:gd name="connsiteY412" fmla="*/ 65134 h 886800"/>
                <a:gd name="connsiteX413" fmla="*/ 350223 w 533217"/>
                <a:gd name="connsiteY413" fmla="*/ 64100 h 886800"/>
                <a:gd name="connsiteX414" fmla="*/ 347638 w 533217"/>
                <a:gd name="connsiteY414" fmla="*/ 62291 h 886800"/>
                <a:gd name="connsiteX415" fmla="*/ 347250 w 533217"/>
                <a:gd name="connsiteY415" fmla="*/ 61644 h 886800"/>
                <a:gd name="connsiteX416" fmla="*/ 348672 w 533217"/>
                <a:gd name="connsiteY416" fmla="*/ 45102 h 886800"/>
                <a:gd name="connsiteX417" fmla="*/ 345571 w 533217"/>
                <a:gd name="connsiteY417" fmla="*/ 38512 h 886800"/>
                <a:gd name="connsiteX418" fmla="*/ 343632 w 533217"/>
                <a:gd name="connsiteY418" fmla="*/ 35410 h 886800"/>
                <a:gd name="connsiteX419" fmla="*/ 341306 w 533217"/>
                <a:gd name="connsiteY419" fmla="*/ 33342 h 886800"/>
                <a:gd name="connsiteX420" fmla="*/ 339497 w 533217"/>
                <a:gd name="connsiteY420" fmla="*/ 32955 h 886800"/>
                <a:gd name="connsiteX421" fmla="*/ 335232 w 533217"/>
                <a:gd name="connsiteY421" fmla="*/ 32438 h 886800"/>
                <a:gd name="connsiteX422" fmla="*/ 333552 w 533217"/>
                <a:gd name="connsiteY422" fmla="*/ 31662 h 886800"/>
                <a:gd name="connsiteX423" fmla="*/ 331613 w 533217"/>
                <a:gd name="connsiteY423" fmla="*/ 29982 h 886800"/>
                <a:gd name="connsiteX424" fmla="*/ 321404 w 533217"/>
                <a:gd name="connsiteY424" fmla="*/ 24167 h 886800"/>
                <a:gd name="connsiteX425" fmla="*/ 319594 w 533217"/>
                <a:gd name="connsiteY425" fmla="*/ 23520 h 886800"/>
                <a:gd name="connsiteX426" fmla="*/ 317398 w 533217"/>
                <a:gd name="connsiteY426" fmla="*/ 23262 h 886800"/>
                <a:gd name="connsiteX427" fmla="*/ 313520 w 533217"/>
                <a:gd name="connsiteY427" fmla="*/ 23908 h 886800"/>
                <a:gd name="connsiteX428" fmla="*/ 311194 w 533217"/>
                <a:gd name="connsiteY428" fmla="*/ 23908 h 886800"/>
                <a:gd name="connsiteX429" fmla="*/ 308997 w 533217"/>
                <a:gd name="connsiteY429" fmla="*/ 23262 h 886800"/>
                <a:gd name="connsiteX430" fmla="*/ 307576 w 533217"/>
                <a:gd name="connsiteY430" fmla="*/ 21711 h 886800"/>
                <a:gd name="connsiteX431" fmla="*/ 306930 w 533217"/>
                <a:gd name="connsiteY431" fmla="*/ 19643 h 886800"/>
                <a:gd name="connsiteX432" fmla="*/ 306800 w 533217"/>
                <a:gd name="connsiteY432" fmla="*/ 14862 h 886800"/>
                <a:gd name="connsiteX433" fmla="*/ 306154 w 533217"/>
                <a:gd name="connsiteY433" fmla="*/ 12406 h 886800"/>
                <a:gd name="connsiteX434" fmla="*/ 304603 w 533217"/>
                <a:gd name="connsiteY434" fmla="*/ 10597 h 886800"/>
                <a:gd name="connsiteX435" fmla="*/ 302406 w 533217"/>
                <a:gd name="connsiteY435" fmla="*/ 9434 h 886800"/>
                <a:gd name="connsiteX436" fmla="*/ 298142 w 533217"/>
                <a:gd name="connsiteY436" fmla="*/ 8013 h 886800"/>
                <a:gd name="connsiteX437" fmla="*/ 294006 w 533217"/>
                <a:gd name="connsiteY437" fmla="*/ 7366 h 886800"/>
                <a:gd name="connsiteX438" fmla="*/ 291680 w 533217"/>
                <a:gd name="connsiteY438" fmla="*/ 7237 h 886800"/>
                <a:gd name="connsiteX439" fmla="*/ 289742 w 533217"/>
                <a:gd name="connsiteY439" fmla="*/ 7754 h 886800"/>
                <a:gd name="connsiteX440" fmla="*/ 287028 w 533217"/>
                <a:gd name="connsiteY440" fmla="*/ 10209 h 886800"/>
                <a:gd name="connsiteX441" fmla="*/ 284831 w 533217"/>
                <a:gd name="connsiteY441" fmla="*/ 10856 h 886800"/>
                <a:gd name="connsiteX442" fmla="*/ 279661 w 533217"/>
                <a:gd name="connsiteY442" fmla="*/ 10856 h 886800"/>
                <a:gd name="connsiteX443" fmla="*/ 275267 w 533217"/>
                <a:gd name="connsiteY443" fmla="*/ 9951 h 886800"/>
                <a:gd name="connsiteX444" fmla="*/ 258209 w 533217"/>
                <a:gd name="connsiteY444" fmla="*/ 1939 h 886800"/>
                <a:gd name="connsiteX445" fmla="*/ 256399 w 533217"/>
                <a:gd name="connsiteY445" fmla="*/ 775 h 886800"/>
                <a:gd name="connsiteX446" fmla="*/ 256012 w 533217"/>
                <a:gd name="connsiteY446" fmla="*/ 258 h 886800"/>
                <a:gd name="connsiteX447" fmla="*/ 255495 w 533217"/>
                <a:gd name="connsiteY447" fmla="*/ 0 h 886800"/>
                <a:gd name="connsiteX448" fmla="*/ 247094 w 533217"/>
                <a:gd name="connsiteY448" fmla="*/ 258 h 886800"/>
                <a:gd name="connsiteX449" fmla="*/ 242571 w 533217"/>
                <a:gd name="connsiteY449" fmla="*/ 1034 h 886800"/>
                <a:gd name="connsiteX450" fmla="*/ 238307 w 533217"/>
                <a:gd name="connsiteY450" fmla="*/ 2455 h 886800"/>
                <a:gd name="connsiteX451" fmla="*/ 234817 w 533217"/>
                <a:gd name="connsiteY451" fmla="*/ 4394 h 886800"/>
                <a:gd name="connsiteX452" fmla="*/ 233525 w 533217"/>
                <a:gd name="connsiteY452" fmla="*/ 5815 h 886800"/>
                <a:gd name="connsiteX453" fmla="*/ 232362 w 533217"/>
                <a:gd name="connsiteY453" fmla="*/ 7496 h 886800"/>
                <a:gd name="connsiteX454" fmla="*/ 229390 w 533217"/>
                <a:gd name="connsiteY454" fmla="*/ 14733 h 886800"/>
                <a:gd name="connsiteX455" fmla="*/ 229002 w 533217"/>
                <a:gd name="connsiteY455" fmla="*/ 15379 h 886800"/>
                <a:gd name="connsiteX456" fmla="*/ 227580 w 533217"/>
                <a:gd name="connsiteY456" fmla="*/ 16930 h 886800"/>
                <a:gd name="connsiteX457" fmla="*/ 226546 w 533217"/>
                <a:gd name="connsiteY457" fmla="*/ 17705 h 886800"/>
                <a:gd name="connsiteX458" fmla="*/ 226030 w 533217"/>
                <a:gd name="connsiteY458" fmla="*/ 17317 h 886800"/>
                <a:gd name="connsiteX459" fmla="*/ 225125 w 533217"/>
                <a:gd name="connsiteY459" fmla="*/ 15508 h 886800"/>
                <a:gd name="connsiteX460" fmla="*/ 223057 w 533217"/>
                <a:gd name="connsiteY460" fmla="*/ 14991 h 886800"/>
                <a:gd name="connsiteX461" fmla="*/ 219051 w 533217"/>
                <a:gd name="connsiteY461" fmla="*/ 15379 h 886800"/>
                <a:gd name="connsiteX462" fmla="*/ 218017 w 533217"/>
                <a:gd name="connsiteY462" fmla="*/ 16154 h 886800"/>
                <a:gd name="connsiteX463" fmla="*/ 214269 w 533217"/>
                <a:gd name="connsiteY463" fmla="*/ 20548 h 886800"/>
                <a:gd name="connsiteX464" fmla="*/ 218146 w 533217"/>
                <a:gd name="connsiteY464" fmla="*/ 20807 h 886800"/>
                <a:gd name="connsiteX465" fmla="*/ 223832 w 533217"/>
                <a:gd name="connsiteY465" fmla="*/ 24167 h 886800"/>
                <a:gd name="connsiteX466" fmla="*/ 228743 w 533217"/>
                <a:gd name="connsiteY466" fmla="*/ 25330 h 886800"/>
                <a:gd name="connsiteX467" fmla="*/ 230423 w 533217"/>
                <a:gd name="connsiteY467" fmla="*/ 26234 h 886800"/>
                <a:gd name="connsiteX468" fmla="*/ 232233 w 533217"/>
                <a:gd name="connsiteY468" fmla="*/ 26622 h 886800"/>
                <a:gd name="connsiteX469" fmla="*/ 234946 w 533217"/>
                <a:gd name="connsiteY469" fmla="*/ 25588 h 886800"/>
                <a:gd name="connsiteX470" fmla="*/ 249162 w 533217"/>
                <a:gd name="connsiteY470" fmla="*/ 24167 h 886800"/>
                <a:gd name="connsiteX471" fmla="*/ 251359 w 533217"/>
                <a:gd name="connsiteY471" fmla="*/ 24554 h 886800"/>
                <a:gd name="connsiteX472" fmla="*/ 252522 w 533217"/>
                <a:gd name="connsiteY472" fmla="*/ 25459 h 886800"/>
                <a:gd name="connsiteX473" fmla="*/ 257562 w 533217"/>
                <a:gd name="connsiteY473" fmla="*/ 34635 h 886800"/>
                <a:gd name="connsiteX474" fmla="*/ 259889 w 533217"/>
                <a:gd name="connsiteY474" fmla="*/ 37736 h 886800"/>
                <a:gd name="connsiteX475" fmla="*/ 262861 w 533217"/>
                <a:gd name="connsiteY475" fmla="*/ 39545 h 886800"/>
                <a:gd name="connsiteX476" fmla="*/ 264929 w 533217"/>
                <a:gd name="connsiteY476" fmla="*/ 39675 h 886800"/>
                <a:gd name="connsiteX477" fmla="*/ 267384 w 533217"/>
                <a:gd name="connsiteY477" fmla="*/ 39675 h 886800"/>
                <a:gd name="connsiteX478" fmla="*/ 269323 w 533217"/>
                <a:gd name="connsiteY478" fmla="*/ 39933 h 886800"/>
                <a:gd name="connsiteX479" fmla="*/ 270227 w 533217"/>
                <a:gd name="connsiteY479" fmla="*/ 41355 h 886800"/>
                <a:gd name="connsiteX480" fmla="*/ 270744 w 533217"/>
                <a:gd name="connsiteY480" fmla="*/ 42776 h 886800"/>
                <a:gd name="connsiteX481" fmla="*/ 271907 w 533217"/>
                <a:gd name="connsiteY481" fmla="*/ 44069 h 886800"/>
                <a:gd name="connsiteX482" fmla="*/ 274621 w 533217"/>
                <a:gd name="connsiteY482" fmla="*/ 46007 h 886800"/>
                <a:gd name="connsiteX483" fmla="*/ 275914 w 533217"/>
                <a:gd name="connsiteY483" fmla="*/ 47558 h 886800"/>
                <a:gd name="connsiteX484" fmla="*/ 276689 w 533217"/>
                <a:gd name="connsiteY484" fmla="*/ 49367 h 886800"/>
                <a:gd name="connsiteX485" fmla="*/ 276560 w 533217"/>
                <a:gd name="connsiteY485" fmla="*/ 51435 h 886800"/>
                <a:gd name="connsiteX486" fmla="*/ 275009 w 533217"/>
                <a:gd name="connsiteY486" fmla="*/ 53761 h 886800"/>
                <a:gd name="connsiteX487" fmla="*/ 271907 w 533217"/>
                <a:gd name="connsiteY487" fmla="*/ 57380 h 886800"/>
                <a:gd name="connsiteX488" fmla="*/ 270098 w 533217"/>
                <a:gd name="connsiteY488" fmla="*/ 58414 h 886800"/>
                <a:gd name="connsiteX489" fmla="*/ 267255 w 533217"/>
                <a:gd name="connsiteY489" fmla="*/ 59189 h 886800"/>
                <a:gd name="connsiteX490" fmla="*/ 263119 w 533217"/>
                <a:gd name="connsiteY490" fmla="*/ 59318 h 886800"/>
                <a:gd name="connsiteX491" fmla="*/ 260923 w 533217"/>
                <a:gd name="connsiteY491" fmla="*/ 60094 h 886800"/>
                <a:gd name="connsiteX492" fmla="*/ 260018 w 533217"/>
                <a:gd name="connsiteY492" fmla="*/ 62549 h 886800"/>
                <a:gd name="connsiteX493" fmla="*/ 260147 w 533217"/>
                <a:gd name="connsiteY493" fmla="*/ 68623 h 886800"/>
                <a:gd name="connsiteX494" fmla="*/ 260664 w 533217"/>
                <a:gd name="connsiteY494" fmla="*/ 70949 h 886800"/>
                <a:gd name="connsiteX495" fmla="*/ 262344 w 533217"/>
                <a:gd name="connsiteY495" fmla="*/ 73146 h 886800"/>
                <a:gd name="connsiteX496" fmla="*/ 267126 w 533217"/>
                <a:gd name="connsiteY496" fmla="*/ 77799 h 886800"/>
                <a:gd name="connsiteX497" fmla="*/ 268030 w 533217"/>
                <a:gd name="connsiteY497" fmla="*/ 80125 h 886800"/>
                <a:gd name="connsiteX498" fmla="*/ 267513 w 533217"/>
                <a:gd name="connsiteY498" fmla="*/ 82322 h 886800"/>
                <a:gd name="connsiteX499" fmla="*/ 266092 w 533217"/>
                <a:gd name="connsiteY499" fmla="*/ 83356 h 886800"/>
                <a:gd name="connsiteX500" fmla="*/ 259501 w 533217"/>
                <a:gd name="connsiteY500" fmla="*/ 84519 h 886800"/>
                <a:gd name="connsiteX501" fmla="*/ 257692 w 533217"/>
                <a:gd name="connsiteY501" fmla="*/ 85423 h 886800"/>
                <a:gd name="connsiteX502" fmla="*/ 256270 w 533217"/>
                <a:gd name="connsiteY502" fmla="*/ 86716 h 886800"/>
                <a:gd name="connsiteX503" fmla="*/ 255624 w 533217"/>
                <a:gd name="connsiteY503" fmla="*/ 88913 h 886800"/>
                <a:gd name="connsiteX504" fmla="*/ 256270 w 533217"/>
                <a:gd name="connsiteY504" fmla="*/ 91885 h 886800"/>
                <a:gd name="connsiteX505" fmla="*/ 257692 w 533217"/>
                <a:gd name="connsiteY505" fmla="*/ 92660 h 886800"/>
                <a:gd name="connsiteX506" fmla="*/ 259630 w 533217"/>
                <a:gd name="connsiteY506" fmla="*/ 93177 h 886800"/>
                <a:gd name="connsiteX507" fmla="*/ 261569 w 533217"/>
                <a:gd name="connsiteY507" fmla="*/ 95116 h 886800"/>
                <a:gd name="connsiteX508" fmla="*/ 261569 w 533217"/>
                <a:gd name="connsiteY508" fmla="*/ 99768 h 886800"/>
                <a:gd name="connsiteX509" fmla="*/ 257304 w 533217"/>
                <a:gd name="connsiteY509" fmla="*/ 102224 h 886800"/>
                <a:gd name="connsiteX510" fmla="*/ 247611 w 533217"/>
                <a:gd name="connsiteY510" fmla="*/ 104808 h 886800"/>
                <a:gd name="connsiteX511" fmla="*/ 246448 w 533217"/>
                <a:gd name="connsiteY511" fmla="*/ 106101 h 886800"/>
                <a:gd name="connsiteX512" fmla="*/ 246061 w 533217"/>
                <a:gd name="connsiteY512" fmla="*/ 107652 h 886800"/>
                <a:gd name="connsiteX513" fmla="*/ 246578 w 533217"/>
                <a:gd name="connsiteY513" fmla="*/ 115535 h 886800"/>
                <a:gd name="connsiteX514" fmla="*/ 247741 w 533217"/>
                <a:gd name="connsiteY514" fmla="*/ 120058 h 886800"/>
                <a:gd name="connsiteX515" fmla="*/ 248387 w 533217"/>
                <a:gd name="connsiteY515" fmla="*/ 121350 h 886800"/>
                <a:gd name="connsiteX516" fmla="*/ 249162 w 533217"/>
                <a:gd name="connsiteY516" fmla="*/ 122126 h 886800"/>
                <a:gd name="connsiteX517" fmla="*/ 250971 w 533217"/>
                <a:gd name="connsiteY517" fmla="*/ 123289 h 886800"/>
                <a:gd name="connsiteX518" fmla="*/ 251618 w 533217"/>
                <a:gd name="connsiteY518" fmla="*/ 124323 h 886800"/>
                <a:gd name="connsiteX519" fmla="*/ 251618 w 533217"/>
                <a:gd name="connsiteY519" fmla="*/ 125486 h 886800"/>
                <a:gd name="connsiteX520" fmla="*/ 251359 w 533217"/>
                <a:gd name="connsiteY520" fmla="*/ 127812 h 886800"/>
                <a:gd name="connsiteX521" fmla="*/ 250325 w 533217"/>
                <a:gd name="connsiteY521" fmla="*/ 128070 h 886800"/>
                <a:gd name="connsiteX522" fmla="*/ 242571 w 533217"/>
                <a:gd name="connsiteY522" fmla="*/ 126003 h 886800"/>
                <a:gd name="connsiteX523" fmla="*/ 238436 w 533217"/>
                <a:gd name="connsiteY523" fmla="*/ 126907 h 886800"/>
                <a:gd name="connsiteX524" fmla="*/ 235464 w 533217"/>
                <a:gd name="connsiteY524" fmla="*/ 128975 h 886800"/>
                <a:gd name="connsiteX525" fmla="*/ 230165 w 533217"/>
                <a:gd name="connsiteY525" fmla="*/ 134144 h 886800"/>
                <a:gd name="connsiteX526" fmla="*/ 227193 w 533217"/>
                <a:gd name="connsiteY526" fmla="*/ 135954 h 886800"/>
                <a:gd name="connsiteX527" fmla="*/ 226934 w 533217"/>
                <a:gd name="connsiteY527" fmla="*/ 136729 h 886800"/>
                <a:gd name="connsiteX528" fmla="*/ 226546 w 533217"/>
                <a:gd name="connsiteY528" fmla="*/ 137763 h 886800"/>
                <a:gd name="connsiteX529" fmla="*/ 225900 w 533217"/>
                <a:gd name="connsiteY529" fmla="*/ 138797 h 886800"/>
                <a:gd name="connsiteX530" fmla="*/ 222540 w 533217"/>
                <a:gd name="connsiteY530" fmla="*/ 143191 h 886800"/>
                <a:gd name="connsiteX531" fmla="*/ 221377 w 533217"/>
                <a:gd name="connsiteY531" fmla="*/ 145258 h 886800"/>
                <a:gd name="connsiteX532" fmla="*/ 220602 w 533217"/>
                <a:gd name="connsiteY532" fmla="*/ 147326 h 886800"/>
                <a:gd name="connsiteX533" fmla="*/ 221506 w 533217"/>
                <a:gd name="connsiteY533" fmla="*/ 147714 h 886800"/>
                <a:gd name="connsiteX534" fmla="*/ 221894 w 533217"/>
                <a:gd name="connsiteY534" fmla="*/ 149523 h 886800"/>
                <a:gd name="connsiteX535" fmla="*/ 222023 w 533217"/>
                <a:gd name="connsiteY535" fmla="*/ 154305 h 886800"/>
                <a:gd name="connsiteX536" fmla="*/ 221635 w 533217"/>
                <a:gd name="connsiteY536" fmla="*/ 156889 h 886800"/>
                <a:gd name="connsiteX537" fmla="*/ 220602 w 533217"/>
                <a:gd name="connsiteY537" fmla="*/ 158828 h 886800"/>
                <a:gd name="connsiteX538" fmla="*/ 218922 w 533217"/>
                <a:gd name="connsiteY538" fmla="*/ 160379 h 886800"/>
                <a:gd name="connsiteX539" fmla="*/ 204577 w 533217"/>
                <a:gd name="connsiteY539" fmla="*/ 166453 h 886800"/>
                <a:gd name="connsiteX540" fmla="*/ 201475 w 533217"/>
                <a:gd name="connsiteY540" fmla="*/ 168650 h 886800"/>
                <a:gd name="connsiteX541" fmla="*/ 199278 w 533217"/>
                <a:gd name="connsiteY541" fmla="*/ 168521 h 886800"/>
                <a:gd name="connsiteX542" fmla="*/ 196564 w 533217"/>
                <a:gd name="connsiteY542" fmla="*/ 169037 h 886800"/>
                <a:gd name="connsiteX543" fmla="*/ 184029 w 533217"/>
                <a:gd name="connsiteY543" fmla="*/ 173044 h 886800"/>
                <a:gd name="connsiteX544" fmla="*/ 182090 w 533217"/>
                <a:gd name="connsiteY544" fmla="*/ 174207 h 886800"/>
                <a:gd name="connsiteX545" fmla="*/ 180022 w 533217"/>
                <a:gd name="connsiteY545" fmla="*/ 176145 h 886800"/>
                <a:gd name="connsiteX546" fmla="*/ 163868 w 533217"/>
                <a:gd name="connsiteY546" fmla="*/ 186226 h 886800"/>
                <a:gd name="connsiteX547" fmla="*/ 161930 w 533217"/>
                <a:gd name="connsiteY547" fmla="*/ 188552 h 886800"/>
                <a:gd name="connsiteX548" fmla="*/ 161542 w 533217"/>
                <a:gd name="connsiteY548" fmla="*/ 192816 h 886800"/>
                <a:gd name="connsiteX549" fmla="*/ 164902 w 533217"/>
                <a:gd name="connsiteY549" fmla="*/ 205481 h 886800"/>
                <a:gd name="connsiteX550" fmla="*/ 165419 w 533217"/>
                <a:gd name="connsiteY550" fmla="*/ 220731 h 886800"/>
                <a:gd name="connsiteX551" fmla="*/ 165031 w 533217"/>
                <a:gd name="connsiteY551" fmla="*/ 223057 h 886800"/>
                <a:gd name="connsiteX552" fmla="*/ 161930 w 533217"/>
                <a:gd name="connsiteY552" fmla="*/ 229777 h 886800"/>
                <a:gd name="connsiteX553" fmla="*/ 145129 w 533217"/>
                <a:gd name="connsiteY553" fmla="*/ 250325 h 886800"/>
                <a:gd name="connsiteX554" fmla="*/ 144225 w 533217"/>
                <a:gd name="connsiteY554" fmla="*/ 252522 h 886800"/>
                <a:gd name="connsiteX555" fmla="*/ 143578 w 533217"/>
                <a:gd name="connsiteY555" fmla="*/ 255365 h 886800"/>
                <a:gd name="connsiteX556" fmla="*/ 143578 w 533217"/>
                <a:gd name="connsiteY556" fmla="*/ 260793 h 886800"/>
                <a:gd name="connsiteX557" fmla="*/ 145129 w 533217"/>
                <a:gd name="connsiteY557" fmla="*/ 265446 h 886800"/>
                <a:gd name="connsiteX558" fmla="*/ 148102 w 533217"/>
                <a:gd name="connsiteY558" fmla="*/ 269452 h 886800"/>
                <a:gd name="connsiteX559" fmla="*/ 152237 w 533217"/>
                <a:gd name="connsiteY559" fmla="*/ 273200 h 886800"/>
                <a:gd name="connsiteX560" fmla="*/ 161413 w 533217"/>
                <a:gd name="connsiteY560" fmla="*/ 279532 h 886800"/>
                <a:gd name="connsiteX561" fmla="*/ 165936 w 533217"/>
                <a:gd name="connsiteY561" fmla="*/ 280954 h 886800"/>
                <a:gd name="connsiteX562" fmla="*/ 167487 w 533217"/>
                <a:gd name="connsiteY562" fmla="*/ 281988 h 886800"/>
                <a:gd name="connsiteX563" fmla="*/ 167874 w 533217"/>
                <a:gd name="connsiteY563" fmla="*/ 282763 h 886800"/>
                <a:gd name="connsiteX564" fmla="*/ 167874 w 533217"/>
                <a:gd name="connsiteY564" fmla="*/ 283538 h 886800"/>
                <a:gd name="connsiteX565" fmla="*/ 167228 w 533217"/>
                <a:gd name="connsiteY565" fmla="*/ 285218 h 886800"/>
                <a:gd name="connsiteX566" fmla="*/ 167228 w 533217"/>
                <a:gd name="connsiteY566" fmla="*/ 286511 h 886800"/>
                <a:gd name="connsiteX567" fmla="*/ 167487 w 533217"/>
                <a:gd name="connsiteY567" fmla="*/ 290388 h 886800"/>
                <a:gd name="connsiteX568" fmla="*/ 167228 w 533217"/>
                <a:gd name="connsiteY568" fmla="*/ 293102 h 886800"/>
                <a:gd name="connsiteX569" fmla="*/ 166841 w 533217"/>
                <a:gd name="connsiteY569" fmla="*/ 295299 h 886800"/>
                <a:gd name="connsiteX570" fmla="*/ 165160 w 533217"/>
                <a:gd name="connsiteY570" fmla="*/ 299563 h 886800"/>
                <a:gd name="connsiteX571" fmla="*/ 164644 w 533217"/>
                <a:gd name="connsiteY571" fmla="*/ 301760 h 886800"/>
                <a:gd name="connsiteX572" fmla="*/ 164514 w 533217"/>
                <a:gd name="connsiteY572" fmla="*/ 308739 h 886800"/>
                <a:gd name="connsiteX573" fmla="*/ 164256 w 533217"/>
                <a:gd name="connsiteY573" fmla="*/ 310160 h 886800"/>
                <a:gd name="connsiteX574" fmla="*/ 163351 w 533217"/>
                <a:gd name="connsiteY574" fmla="*/ 311065 h 886800"/>
                <a:gd name="connsiteX575" fmla="*/ 162446 w 533217"/>
                <a:gd name="connsiteY575" fmla="*/ 311840 h 886800"/>
                <a:gd name="connsiteX576" fmla="*/ 161671 w 533217"/>
                <a:gd name="connsiteY576" fmla="*/ 312874 h 886800"/>
                <a:gd name="connsiteX577" fmla="*/ 161283 w 533217"/>
                <a:gd name="connsiteY577" fmla="*/ 313908 h 886800"/>
                <a:gd name="connsiteX578" fmla="*/ 160896 w 533217"/>
                <a:gd name="connsiteY578" fmla="*/ 317268 h 886800"/>
                <a:gd name="connsiteX579" fmla="*/ 153271 w 533217"/>
                <a:gd name="connsiteY579" fmla="*/ 341177 h 886800"/>
                <a:gd name="connsiteX580" fmla="*/ 153012 w 533217"/>
                <a:gd name="connsiteY580" fmla="*/ 343373 h 886800"/>
                <a:gd name="connsiteX581" fmla="*/ 152366 w 533217"/>
                <a:gd name="connsiteY581" fmla="*/ 344924 h 886800"/>
                <a:gd name="connsiteX582" fmla="*/ 150816 w 533217"/>
                <a:gd name="connsiteY582" fmla="*/ 346346 h 886800"/>
                <a:gd name="connsiteX583" fmla="*/ 147843 w 533217"/>
                <a:gd name="connsiteY583" fmla="*/ 348284 h 886800"/>
                <a:gd name="connsiteX584" fmla="*/ 144871 w 533217"/>
                <a:gd name="connsiteY584" fmla="*/ 350869 h 886800"/>
                <a:gd name="connsiteX585" fmla="*/ 142932 w 533217"/>
                <a:gd name="connsiteY585" fmla="*/ 354229 h 886800"/>
                <a:gd name="connsiteX586" fmla="*/ 139831 w 533217"/>
                <a:gd name="connsiteY586" fmla="*/ 362888 h 886800"/>
                <a:gd name="connsiteX587" fmla="*/ 135695 w 533217"/>
                <a:gd name="connsiteY587" fmla="*/ 369608 h 886800"/>
                <a:gd name="connsiteX588" fmla="*/ 134532 w 533217"/>
                <a:gd name="connsiteY588" fmla="*/ 370383 h 886800"/>
                <a:gd name="connsiteX589" fmla="*/ 131689 w 533217"/>
                <a:gd name="connsiteY589" fmla="*/ 376199 h 886800"/>
                <a:gd name="connsiteX590" fmla="*/ 132464 w 533217"/>
                <a:gd name="connsiteY590" fmla="*/ 377620 h 886800"/>
                <a:gd name="connsiteX591" fmla="*/ 132464 w 533217"/>
                <a:gd name="connsiteY591" fmla="*/ 378913 h 886800"/>
                <a:gd name="connsiteX592" fmla="*/ 131818 w 533217"/>
                <a:gd name="connsiteY592" fmla="*/ 380205 h 886800"/>
                <a:gd name="connsiteX593" fmla="*/ 126390 w 533217"/>
                <a:gd name="connsiteY593" fmla="*/ 387313 h 886800"/>
                <a:gd name="connsiteX594" fmla="*/ 126003 w 533217"/>
                <a:gd name="connsiteY594" fmla="*/ 388476 h 886800"/>
                <a:gd name="connsiteX595" fmla="*/ 125227 w 533217"/>
                <a:gd name="connsiteY595" fmla="*/ 391190 h 886800"/>
                <a:gd name="connsiteX596" fmla="*/ 123547 w 533217"/>
                <a:gd name="connsiteY596" fmla="*/ 393258 h 886800"/>
                <a:gd name="connsiteX597" fmla="*/ 121350 w 533217"/>
                <a:gd name="connsiteY597" fmla="*/ 395067 h 886800"/>
                <a:gd name="connsiteX598" fmla="*/ 119282 w 533217"/>
                <a:gd name="connsiteY598" fmla="*/ 396230 h 886800"/>
                <a:gd name="connsiteX599" fmla="*/ 112692 w 533217"/>
                <a:gd name="connsiteY599" fmla="*/ 397651 h 886800"/>
                <a:gd name="connsiteX600" fmla="*/ 110882 w 533217"/>
                <a:gd name="connsiteY600" fmla="*/ 398685 h 886800"/>
                <a:gd name="connsiteX601" fmla="*/ 104938 w 533217"/>
                <a:gd name="connsiteY601" fmla="*/ 403209 h 886800"/>
                <a:gd name="connsiteX602" fmla="*/ 103128 w 533217"/>
                <a:gd name="connsiteY602" fmla="*/ 405147 h 886800"/>
                <a:gd name="connsiteX603" fmla="*/ 102353 w 533217"/>
                <a:gd name="connsiteY603" fmla="*/ 406698 h 886800"/>
                <a:gd name="connsiteX604" fmla="*/ 101965 w 533217"/>
                <a:gd name="connsiteY604" fmla="*/ 407603 h 886800"/>
                <a:gd name="connsiteX605" fmla="*/ 101836 w 533217"/>
                <a:gd name="connsiteY605" fmla="*/ 408378 h 886800"/>
                <a:gd name="connsiteX606" fmla="*/ 101319 w 533217"/>
                <a:gd name="connsiteY606" fmla="*/ 409153 h 886800"/>
                <a:gd name="connsiteX607" fmla="*/ 99251 w 533217"/>
                <a:gd name="connsiteY607" fmla="*/ 411092 h 886800"/>
                <a:gd name="connsiteX608" fmla="*/ 98864 w 533217"/>
                <a:gd name="connsiteY608" fmla="*/ 412126 h 886800"/>
                <a:gd name="connsiteX609" fmla="*/ 98218 w 533217"/>
                <a:gd name="connsiteY609" fmla="*/ 414581 h 886800"/>
                <a:gd name="connsiteX610" fmla="*/ 96667 w 533217"/>
                <a:gd name="connsiteY610" fmla="*/ 416778 h 886800"/>
                <a:gd name="connsiteX611" fmla="*/ 93048 w 533217"/>
                <a:gd name="connsiteY611" fmla="*/ 420655 h 886800"/>
                <a:gd name="connsiteX612" fmla="*/ 86586 w 533217"/>
                <a:gd name="connsiteY612" fmla="*/ 429960 h 886800"/>
                <a:gd name="connsiteX613" fmla="*/ 84131 w 533217"/>
                <a:gd name="connsiteY613" fmla="*/ 432415 h 886800"/>
                <a:gd name="connsiteX614" fmla="*/ 81029 w 533217"/>
                <a:gd name="connsiteY614" fmla="*/ 435000 h 886800"/>
                <a:gd name="connsiteX615" fmla="*/ 79608 w 533217"/>
                <a:gd name="connsiteY615" fmla="*/ 436680 h 886800"/>
                <a:gd name="connsiteX616" fmla="*/ 79091 w 533217"/>
                <a:gd name="connsiteY616" fmla="*/ 438748 h 886800"/>
                <a:gd name="connsiteX617" fmla="*/ 78574 w 533217"/>
                <a:gd name="connsiteY617" fmla="*/ 439652 h 886800"/>
                <a:gd name="connsiteX618" fmla="*/ 75472 w 533217"/>
                <a:gd name="connsiteY618" fmla="*/ 442754 h 886800"/>
                <a:gd name="connsiteX619" fmla="*/ 73017 w 533217"/>
                <a:gd name="connsiteY619" fmla="*/ 445985 h 886800"/>
                <a:gd name="connsiteX620" fmla="*/ 72500 w 533217"/>
                <a:gd name="connsiteY620" fmla="*/ 447277 h 886800"/>
                <a:gd name="connsiteX621" fmla="*/ 71983 w 533217"/>
                <a:gd name="connsiteY621" fmla="*/ 449474 h 886800"/>
                <a:gd name="connsiteX622" fmla="*/ 71854 w 533217"/>
                <a:gd name="connsiteY622" fmla="*/ 452059 h 886800"/>
                <a:gd name="connsiteX623" fmla="*/ 71595 w 533217"/>
                <a:gd name="connsiteY623" fmla="*/ 453222 h 886800"/>
                <a:gd name="connsiteX624" fmla="*/ 70561 w 533217"/>
                <a:gd name="connsiteY624" fmla="*/ 455160 h 886800"/>
                <a:gd name="connsiteX625" fmla="*/ 68235 w 533217"/>
                <a:gd name="connsiteY625" fmla="*/ 463561 h 886800"/>
                <a:gd name="connsiteX626" fmla="*/ 67460 w 533217"/>
                <a:gd name="connsiteY626" fmla="*/ 472736 h 886800"/>
                <a:gd name="connsiteX627" fmla="*/ 66943 w 533217"/>
                <a:gd name="connsiteY627" fmla="*/ 474933 h 886800"/>
                <a:gd name="connsiteX628" fmla="*/ 64617 w 533217"/>
                <a:gd name="connsiteY628" fmla="*/ 479715 h 886800"/>
                <a:gd name="connsiteX629" fmla="*/ 63583 w 533217"/>
                <a:gd name="connsiteY629" fmla="*/ 482687 h 886800"/>
                <a:gd name="connsiteX630" fmla="*/ 63195 w 533217"/>
                <a:gd name="connsiteY630" fmla="*/ 484755 h 886800"/>
                <a:gd name="connsiteX631" fmla="*/ 63066 w 533217"/>
                <a:gd name="connsiteY631" fmla="*/ 486047 h 886800"/>
                <a:gd name="connsiteX632" fmla="*/ 62808 w 533217"/>
                <a:gd name="connsiteY632" fmla="*/ 487210 h 886800"/>
                <a:gd name="connsiteX633" fmla="*/ 62290 w 533217"/>
                <a:gd name="connsiteY633" fmla="*/ 487857 h 886800"/>
                <a:gd name="connsiteX634" fmla="*/ 61903 w 533217"/>
                <a:gd name="connsiteY634" fmla="*/ 488373 h 886800"/>
                <a:gd name="connsiteX635" fmla="*/ 61257 w 533217"/>
                <a:gd name="connsiteY635" fmla="*/ 489666 h 886800"/>
                <a:gd name="connsiteX636" fmla="*/ 59448 w 533217"/>
                <a:gd name="connsiteY636" fmla="*/ 490829 h 886800"/>
                <a:gd name="connsiteX637" fmla="*/ 58672 w 533217"/>
                <a:gd name="connsiteY637" fmla="*/ 491604 h 886800"/>
                <a:gd name="connsiteX638" fmla="*/ 58155 w 533217"/>
                <a:gd name="connsiteY638" fmla="*/ 492638 h 886800"/>
                <a:gd name="connsiteX639" fmla="*/ 57250 w 533217"/>
                <a:gd name="connsiteY639" fmla="*/ 495998 h 886800"/>
                <a:gd name="connsiteX640" fmla="*/ 55441 w 533217"/>
                <a:gd name="connsiteY640" fmla="*/ 500004 h 886800"/>
                <a:gd name="connsiteX641" fmla="*/ 53761 w 533217"/>
                <a:gd name="connsiteY641" fmla="*/ 502718 h 886800"/>
                <a:gd name="connsiteX642" fmla="*/ 51176 w 533217"/>
                <a:gd name="connsiteY642" fmla="*/ 506595 h 886800"/>
                <a:gd name="connsiteX643" fmla="*/ 49238 w 533217"/>
                <a:gd name="connsiteY643" fmla="*/ 510860 h 886800"/>
                <a:gd name="connsiteX644" fmla="*/ 47170 w 533217"/>
                <a:gd name="connsiteY644" fmla="*/ 517839 h 886800"/>
                <a:gd name="connsiteX645" fmla="*/ 47041 w 533217"/>
                <a:gd name="connsiteY645" fmla="*/ 520165 h 886800"/>
                <a:gd name="connsiteX646" fmla="*/ 46524 w 533217"/>
                <a:gd name="connsiteY646" fmla="*/ 521845 h 886800"/>
                <a:gd name="connsiteX647" fmla="*/ 45232 w 533217"/>
                <a:gd name="connsiteY647" fmla="*/ 523525 h 886800"/>
                <a:gd name="connsiteX648" fmla="*/ 39416 w 533217"/>
                <a:gd name="connsiteY648" fmla="*/ 529728 h 886800"/>
                <a:gd name="connsiteX649" fmla="*/ 38641 w 533217"/>
                <a:gd name="connsiteY649" fmla="*/ 530891 h 886800"/>
                <a:gd name="connsiteX650" fmla="*/ 37736 w 533217"/>
                <a:gd name="connsiteY650" fmla="*/ 533218 h 886800"/>
                <a:gd name="connsiteX651" fmla="*/ 37219 w 533217"/>
                <a:gd name="connsiteY651" fmla="*/ 534251 h 886800"/>
                <a:gd name="connsiteX652" fmla="*/ 36573 w 533217"/>
                <a:gd name="connsiteY652" fmla="*/ 536190 h 886800"/>
                <a:gd name="connsiteX653" fmla="*/ 36702 w 533217"/>
                <a:gd name="connsiteY653" fmla="*/ 538645 h 886800"/>
                <a:gd name="connsiteX654" fmla="*/ 37478 w 533217"/>
                <a:gd name="connsiteY654" fmla="*/ 542652 h 886800"/>
                <a:gd name="connsiteX655" fmla="*/ 36961 w 533217"/>
                <a:gd name="connsiteY655" fmla="*/ 547045 h 886800"/>
                <a:gd name="connsiteX656" fmla="*/ 35668 w 533217"/>
                <a:gd name="connsiteY656" fmla="*/ 551827 h 886800"/>
                <a:gd name="connsiteX657" fmla="*/ 33471 w 533217"/>
                <a:gd name="connsiteY657" fmla="*/ 556480 h 886800"/>
                <a:gd name="connsiteX658" fmla="*/ 31016 w 533217"/>
                <a:gd name="connsiteY658" fmla="*/ 559710 h 886800"/>
                <a:gd name="connsiteX659" fmla="*/ 27656 w 533217"/>
                <a:gd name="connsiteY659" fmla="*/ 562941 h 886800"/>
                <a:gd name="connsiteX660" fmla="*/ 26364 w 533217"/>
                <a:gd name="connsiteY660" fmla="*/ 564751 h 886800"/>
                <a:gd name="connsiteX661" fmla="*/ 25847 w 533217"/>
                <a:gd name="connsiteY661" fmla="*/ 566818 h 886800"/>
                <a:gd name="connsiteX662" fmla="*/ 25976 w 533217"/>
                <a:gd name="connsiteY662" fmla="*/ 570566 h 886800"/>
                <a:gd name="connsiteX663" fmla="*/ 25847 w 533217"/>
                <a:gd name="connsiteY663" fmla="*/ 571600 h 886800"/>
                <a:gd name="connsiteX664" fmla="*/ 25330 w 533217"/>
                <a:gd name="connsiteY664" fmla="*/ 572892 h 886800"/>
                <a:gd name="connsiteX665" fmla="*/ 23650 w 533217"/>
                <a:gd name="connsiteY665" fmla="*/ 574960 h 886800"/>
                <a:gd name="connsiteX666" fmla="*/ 23004 w 533217"/>
                <a:gd name="connsiteY666" fmla="*/ 576123 h 886800"/>
                <a:gd name="connsiteX667" fmla="*/ 23650 w 533217"/>
                <a:gd name="connsiteY667" fmla="*/ 578578 h 886800"/>
                <a:gd name="connsiteX668" fmla="*/ 23650 w 533217"/>
                <a:gd name="connsiteY668" fmla="*/ 580000 h 886800"/>
                <a:gd name="connsiteX669" fmla="*/ 22616 w 533217"/>
                <a:gd name="connsiteY669" fmla="*/ 580646 h 886800"/>
                <a:gd name="connsiteX670" fmla="*/ 22228 w 533217"/>
                <a:gd name="connsiteY670" fmla="*/ 581163 h 886800"/>
                <a:gd name="connsiteX671" fmla="*/ 20548 w 533217"/>
                <a:gd name="connsiteY671" fmla="*/ 584782 h 886800"/>
                <a:gd name="connsiteX672" fmla="*/ 19644 w 533217"/>
                <a:gd name="connsiteY672" fmla="*/ 585169 h 886800"/>
                <a:gd name="connsiteX673" fmla="*/ 18739 w 533217"/>
                <a:gd name="connsiteY673" fmla="*/ 585428 h 886800"/>
                <a:gd name="connsiteX674" fmla="*/ 17963 w 533217"/>
                <a:gd name="connsiteY674" fmla="*/ 585815 h 886800"/>
                <a:gd name="connsiteX675" fmla="*/ 17447 w 533217"/>
                <a:gd name="connsiteY675" fmla="*/ 586462 h 886800"/>
                <a:gd name="connsiteX676" fmla="*/ 16930 w 533217"/>
                <a:gd name="connsiteY676" fmla="*/ 587883 h 886800"/>
                <a:gd name="connsiteX677" fmla="*/ 16413 w 533217"/>
                <a:gd name="connsiteY677" fmla="*/ 588788 h 886800"/>
                <a:gd name="connsiteX678" fmla="*/ 15120 w 533217"/>
                <a:gd name="connsiteY678" fmla="*/ 590597 h 886800"/>
                <a:gd name="connsiteX679" fmla="*/ 14991 w 533217"/>
                <a:gd name="connsiteY679" fmla="*/ 591243 h 886800"/>
                <a:gd name="connsiteX680" fmla="*/ 14991 w 533217"/>
                <a:gd name="connsiteY680" fmla="*/ 592794 h 886800"/>
                <a:gd name="connsiteX681" fmla="*/ 16283 w 533217"/>
                <a:gd name="connsiteY681" fmla="*/ 595637 h 886800"/>
                <a:gd name="connsiteX682" fmla="*/ 16542 w 533217"/>
                <a:gd name="connsiteY682" fmla="*/ 596542 h 886800"/>
                <a:gd name="connsiteX683" fmla="*/ 16413 w 533217"/>
                <a:gd name="connsiteY683" fmla="*/ 601065 h 886800"/>
                <a:gd name="connsiteX684" fmla="*/ 16025 w 533217"/>
                <a:gd name="connsiteY684" fmla="*/ 603133 h 886800"/>
                <a:gd name="connsiteX685" fmla="*/ 14991 w 533217"/>
                <a:gd name="connsiteY685" fmla="*/ 604942 h 886800"/>
                <a:gd name="connsiteX686" fmla="*/ 14991 w 533217"/>
                <a:gd name="connsiteY686" fmla="*/ 605330 h 886800"/>
                <a:gd name="connsiteX687" fmla="*/ 14216 w 533217"/>
                <a:gd name="connsiteY687" fmla="*/ 606105 h 886800"/>
                <a:gd name="connsiteX688" fmla="*/ 13828 w 533217"/>
                <a:gd name="connsiteY688" fmla="*/ 606364 h 886800"/>
                <a:gd name="connsiteX689" fmla="*/ 13053 w 533217"/>
                <a:gd name="connsiteY689" fmla="*/ 607139 h 886800"/>
                <a:gd name="connsiteX690" fmla="*/ 12148 w 533217"/>
                <a:gd name="connsiteY690" fmla="*/ 608561 h 886800"/>
                <a:gd name="connsiteX691" fmla="*/ 12019 w 533217"/>
                <a:gd name="connsiteY691" fmla="*/ 609078 h 886800"/>
                <a:gd name="connsiteX692" fmla="*/ 12019 w 533217"/>
                <a:gd name="connsiteY692" fmla="*/ 609853 h 886800"/>
                <a:gd name="connsiteX693" fmla="*/ 12665 w 533217"/>
                <a:gd name="connsiteY693" fmla="*/ 611662 h 886800"/>
                <a:gd name="connsiteX694" fmla="*/ 13570 w 533217"/>
                <a:gd name="connsiteY694" fmla="*/ 613730 h 886800"/>
                <a:gd name="connsiteX695" fmla="*/ 13699 w 533217"/>
                <a:gd name="connsiteY695" fmla="*/ 614505 h 886800"/>
                <a:gd name="connsiteX696" fmla="*/ 13699 w 533217"/>
                <a:gd name="connsiteY696" fmla="*/ 615281 h 886800"/>
                <a:gd name="connsiteX697" fmla="*/ 13311 w 533217"/>
                <a:gd name="connsiteY697" fmla="*/ 616315 h 886800"/>
                <a:gd name="connsiteX698" fmla="*/ 13053 w 533217"/>
                <a:gd name="connsiteY698" fmla="*/ 617090 h 886800"/>
                <a:gd name="connsiteX699" fmla="*/ 12794 w 533217"/>
                <a:gd name="connsiteY699" fmla="*/ 617736 h 886800"/>
                <a:gd name="connsiteX700" fmla="*/ 11502 w 533217"/>
                <a:gd name="connsiteY700" fmla="*/ 619416 h 886800"/>
                <a:gd name="connsiteX701" fmla="*/ 11373 w 533217"/>
                <a:gd name="connsiteY701" fmla="*/ 620062 h 886800"/>
                <a:gd name="connsiteX702" fmla="*/ 11373 w 533217"/>
                <a:gd name="connsiteY702" fmla="*/ 620838 h 886800"/>
                <a:gd name="connsiteX703" fmla="*/ 12148 w 533217"/>
                <a:gd name="connsiteY703" fmla="*/ 623810 h 886800"/>
                <a:gd name="connsiteX704" fmla="*/ 13182 w 533217"/>
                <a:gd name="connsiteY704" fmla="*/ 629238 h 886800"/>
                <a:gd name="connsiteX705" fmla="*/ 13570 w 533217"/>
                <a:gd name="connsiteY705" fmla="*/ 630401 h 886800"/>
                <a:gd name="connsiteX706" fmla="*/ 13699 w 533217"/>
                <a:gd name="connsiteY706" fmla="*/ 631177 h 886800"/>
                <a:gd name="connsiteX707" fmla="*/ 13828 w 533217"/>
                <a:gd name="connsiteY707" fmla="*/ 634407 h 886800"/>
                <a:gd name="connsiteX708" fmla="*/ 13570 w 533217"/>
                <a:gd name="connsiteY708" fmla="*/ 635958 h 886800"/>
                <a:gd name="connsiteX709" fmla="*/ 13311 w 533217"/>
                <a:gd name="connsiteY709" fmla="*/ 636863 h 886800"/>
                <a:gd name="connsiteX710" fmla="*/ 12794 w 533217"/>
                <a:gd name="connsiteY710" fmla="*/ 637380 h 886800"/>
                <a:gd name="connsiteX711" fmla="*/ 12406 w 533217"/>
                <a:gd name="connsiteY711" fmla="*/ 637638 h 886800"/>
                <a:gd name="connsiteX712" fmla="*/ 11889 w 533217"/>
                <a:gd name="connsiteY712" fmla="*/ 637897 h 886800"/>
                <a:gd name="connsiteX713" fmla="*/ 11114 w 533217"/>
                <a:gd name="connsiteY713" fmla="*/ 638543 h 886800"/>
                <a:gd name="connsiteX714" fmla="*/ 10726 w 533217"/>
                <a:gd name="connsiteY714" fmla="*/ 638930 h 886800"/>
                <a:gd name="connsiteX715" fmla="*/ 10339 w 533217"/>
                <a:gd name="connsiteY715" fmla="*/ 639318 h 886800"/>
                <a:gd name="connsiteX716" fmla="*/ 8659 w 533217"/>
                <a:gd name="connsiteY716" fmla="*/ 642291 h 886800"/>
                <a:gd name="connsiteX717" fmla="*/ 8271 w 533217"/>
                <a:gd name="connsiteY717" fmla="*/ 643325 h 886800"/>
                <a:gd name="connsiteX718" fmla="*/ 8012 w 533217"/>
                <a:gd name="connsiteY718" fmla="*/ 652371 h 886800"/>
                <a:gd name="connsiteX719" fmla="*/ 7625 w 533217"/>
                <a:gd name="connsiteY719" fmla="*/ 655989 h 886800"/>
                <a:gd name="connsiteX720" fmla="*/ 7366 w 533217"/>
                <a:gd name="connsiteY720" fmla="*/ 656377 h 886800"/>
                <a:gd name="connsiteX721" fmla="*/ 6591 w 533217"/>
                <a:gd name="connsiteY721" fmla="*/ 658703 h 886800"/>
                <a:gd name="connsiteX722" fmla="*/ 6074 w 533217"/>
                <a:gd name="connsiteY722" fmla="*/ 659608 h 886800"/>
                <a:gd name="connsiteX723" fmla="*/ 5686 w 533217"/>
                <a:gd name="connsiteY723" fmla="*/ 660125 h 886800"/>
                <a:gd name="connsiteX724" fmla="*/ 5040 w 533217"/>
                <a:gd name="connsiteY724" fmla="*/ 661029 h 886800"/>
                <a:gd name="connsiteX725" fmla="*/ 1809 w 533217"/>
                <a:gd name="connsiteY725" fmla="*/ 671497 h 886800"/>
                <a:gd name="connsiteX726" fmla="*/ 1422 w 533217"/>
                <a:gd name="connsiteY726" fmla="*/ 674082 h 886800"/>
                <a:gd name="connsiteX727" fmla="*/ 1034 w 533217"/>
                <a:gd name="connsiteY727" fmla="*/ 675374 h 886800"/>
                <a:gd name="connsiteX728" fmla="*/ 517 w 533217"/>
                <a:gd name="connsiteY728" fmla="*/ 677054 h 886800"/>
                <a:gd name="connsiteX729" fmla="*/ 129 w 533217"/>
                <a:gd name="connsiteY729" fmla="*/ 678993 h 886800"/>
                <a:gd name="connsiteX730" fmla="*/ 0 w 533217"/>
                <a:gd name="connsiteY730" fmla="*/ 682224 h 886800"/>
                <a:gd name="connsiteX731" fmla="*/ 259 w 533217"/>
                <a:gd name="connsiteY731" fmla="*/ 683516 h 886800"/>
                <a:gd name="connsiteX732" fmla="*/ 1292 w 533217"/>
                <a:gd name="connsiteY732" fmla="*/ 685325 h 886800"/>
                <a:gd name="connsiteX733" fmla="*/ 2326 w 533217"/>
                <a:gd name="connsiteY733" fmla="*/ 686618 h 886800"/>
                <a:gd name="connsiteX734" fmla="*/ 2714 w 533217"/>
                <a:gd name="connsiteY734" fmla="*/ 687135 h 886800"/>
                <a:gd name="connsiteX735" fmla="*/ 3231 w 533217"/>
                <a:gd name="connsiteY735" fmla="*/ 688039 h 886800"/>
                <a:gd name="connsiteX736" fmla="*/ 3619 w 533217"/>
                <a:gd name="connsiteY736" fmla="*/ 688427 h 886800"/>
                <a:gd name="connsiteX737" fmla="*/ 4135 w 533217"/>
                <a:gd name="connsiteY737" fmla="*/ 688685 h 886800"/>
                <a:gd name="connsiteX738" fmla="*/ 8529 w 533217"/>
                <a:gd name="connsiteY738" fmla="*/ 691141 h 886800"/>
                <a:gd name="connsiteX739" fmla="*/ 8917 w 533217"/>
                <a:gd name="connsiteY739" fmla="*/ 691399 h 886800"/>
                <a:gd name="connsiteX740" fmla="*/ 9305 w 533217"/>
                <a:gd name="connsiteY740" fmla="*/ 691787 h 886800"/>
                <a:gd name="connsiteX741" fmla="*/ 9693 w 533217"/>
                <a:gd name="connsiteY741" fmla="*/ 692175 h 886800"/>
                <a:gd name="connsiteX742" fmla="*/ 9822 w 533217"/>
                <a:gd name="connsiteY742" fmla="*/ 692821 h 886800"/>
                <a:gd name="connsiteX743" fmla="*/ 9951 w 533217"/>
                <a:gd name="connsiteY743" fmla="*/ 693726 h 886800"/>
                <a:gd name="connsiteX744" fmla="*/ 9434 w 533217"/>
                <a:gd name="connsiteY744" fmla="*/ 698636 h 886800"/>
                <a:gd name="connsiteX745" fmla="*/ 9305 w 533217"/>
                <a:gd name="connsiteY745" fmla="*/ 699282 h 886800"/>
                <a:gd name="connsiteX746" fmla="*/ 9046 w 533217"/>
                <a:gd name="connsiteY746" fmla="*/ 699800 h 886800"/>
                <a:gd name="connsiteX747" fmla="*/ 8788 w 533217"/>
                <a:gd name="connsiteY747" fmla="*/ 700187 h 886800"/>
                <a:gd name="connsiteX748" fmla="*/ 8400 w 533217"/>
                <a:gd name="connsiteY748" fmla="*/ 700575 h 886800"/>
                <a:gd name="connsiteX749" fmla="*/ 7625 w 533217"/>
                <a:gd name="connsiteY749" fmla="*/ 701221 h 886800"/>
                <a:gd name="connsiteX750" fmla="*/ 6462 w 533217"/>
                <a:gd name="connsiteY750" fmla="*/ 702384 h 886800"/>
                <a:gd name="connsiteX751" fmla="*/ 5686 w 533217"/>
                <a:gd name="connsiteY751" fmla="*/ 703030 h 886800"/>
                <a:gd name="connsiteX752" fmla="*/ 4911 w 533217"/>
                <a:gd name="connsiteY752" fmla="*/ 703806 h 886800"/>
                <a:gd name="connsiteX753" fmla="*/ 3877 w 533217"/>
                <a:gd name="connsiteY753" fmla="*/ 704969 h 886800"/>
                <a:gd name="connsiteX754" fmla="*/ 3619 w 533217"/>
                <a:gd name="connsiteY754" fmla="*/ 705486 h 886800"/>
                <a:gd name="connsiteX755" fmla="*/ 3360 w 533217"/>
                <a:gd name="connsiteY755" fmla="*/ 706261 h 886800"/>
                <a:gd name="connsiteX756" fmla="*/ 3231 w 533217"/>
                <a:gd name="connsiteY756" fmla="*/ 707941 h 886800"/>
                <a:gd name="connsiteX757" fmla="*/ 3360 w 533217"/>
                <a:gd name="connsiteY757" fmla="*/ 708717 h 886800"/>
                <a:gd name="connsiteX758" fmla="*/ 3360 w 533217"/>
                <a:gd name="connsiteY758" fmla="*/ 709363 h 886800"/>
                <a:gd name="connsiteX759" fmla="*/ 3877 w 533217"/>
                <a:gd name="connsiteY759" fmla="*/ 710138 h 886800"/>
                <a:gd name="connsiteX760" fmla="*/ 4782 w 533217"/>
                <a:gd name="connsiteY760" fmla="*/ 711043 h 886800"/>
                <a:gd name="connsiteX761" fmla="*/ 5040 w 533217"/>
                <a:gd name="connsiteY761" fmla="*/ 711689 h 886800"/>
                <a:gd name="connsiteX762" fmla="*/ 5299 w 533217"/>
                <a:gd name="connsiteY762" fmla="*/ 712594 h 886800"/>
                <a:gd name="connsiteX763" fmla="*/ 5428 w 533217"/>
                <a:gd name="connsiteY763" fmla="*/ 714274 h 886800"/>
                <a:gd name="connsiteX764" fmla="*/ 6203 w 533217"/>
                <a:gd name="connsiteY764" fmla="*/ 716471 h 886800"/>
                <a:gd name="connsiteX765" fmla="*/ 6591 w 533217"/>
                <a:gd name="connsiteY765" fmla="*/ 717117 h 886800"/>
                <a:gd name="connsiteX766" fmla="*/ 6720 w 533217"/>
                <a:gd name="connsiteY766" fmla="*/ 717763 h 886800"/>
                <a:gd name="connsiteX767" fmla="*/ 6849 w 533217"/>
                <a:gd name="connsiteY767" fmla="*/ 720348 h 886800"/>
                <a:gd name="connsiteX768" fmla="*/ 7108 w 533217"/>
                <a:gd name="connsiteY768" fmla="*/ 721381 h 886800"/>
                <a:gd name="connsiteX769" fmla="*/ 7754 w 533217"/>
                <a:gd name="connsiteY769" fmla="*/ 722286 h 886800"/>
                <a:gd name="connsiteX770" fmla="*/ 8400 w 533217"/>
                <a:gd name="connsiteY770" fmla="*/ 722545 h 886800"/>
                <a:gd name="connsiteX771" fmla="*/ 9563 w 533217"/>
                <a:gd name="connsiteY771" fmla="*/ 722932 h 886800"/>
                <a:gd name="connsiteX772" fmla="*/ 10080 w 533217"/>
                <a:gd name="connsiteY772" fmla="*/ 723191 h 886800"/>
                <a:gd name="connsiteX773" fmla="*/ 10468 w 533217"/>
                <a:gd name="connsiteY773" fmla="*/ 723708 h 886800"/>
                <a:gd name="connsiteX774" fmla="*/ 10597 w 533217"/>
                <a:gd name="connsiteY774" fmla="*/ 724354 h 886800"/>
                <a:gd name="connsiteX775" fmla="*/ 10597 w 533217"/>
                <a:gd name="connsiteY775" fmla="*/ 725646 h 886800"/>
                <a:gd name="connsiteX776" fmla="*/ 10339 w 533217"/>
                <a:gd name="connsiteY776" fmla="*/ 726551 h 886800"/>
                <a:gd name="connsiteX777" fmla="*/ 9951 w 533217"/>
                <a:gd name="connsiteY777" fmla="*/ 727068 h 886800"/>
                <a:gd name="connsiteX778" fmla="*/ 9434 w 533217"/>
                <a:gd name="connsiteY778" fmla="*/ 727455 h 886800"/>
                <a:gd name="connsiteX779" fmla="*/ 9046 w 533217"/>
                <a:gd name="connsiteY779" fmla="*/ 727714 h 886800"/>
                <a:gd name="connsiteX780" fmla="*/ 8659 w 533217"/>
                <a:gd name="connsiteY780" fmla="*/ 728102 h 886800"/>
                <a:gd name="connsiteX781" fmla="*/ 8400 w 533217"/>
                <a:gd name="connsiteY781" fmla="*/ 728619 h 886800"/>
                <a:gd name="connsiteX782" fmla="*/ 8400 w 533217"/>
                <a:gd name="connsiteY782" fmla="*/ 729265 h 886800"/>
                <a:gd name="connsiteX783" fmla="*/ 8659 w 533217"/>
                <a:gd name="connsiteY783" fmla="*/ 730040 h 886800"/>
                <a:gd name="connsiteX784" fmla="*/ 9046 w 533217"/>
                <a:gd name="connsiteY784" fmla="*/ 731074 h 886800"/>
                <a:gd name="connsiteX785" fmla="*/ 9305 w 533217"/>
                <a:gd name="connsiteY785" fmla="*/ 731979 h 886800"/>
                <a:gd name="connsiteX786" fmla="*/ 9175 w 533217"/>
                <a:gd name="connsiteY786" fmla="*/ 733271 h 886800"/>
                <a:gd name="connsiteX787" fmla="*/ 8917 w 533217"/>
                <a:gd name="connsiteY787" fmla="*/ 734046 h 886800"/>
                <a:gd name="connsiteX788" fmla="*/ 8659 w 533217"/>
                <a:gd name="connsiteY788" fmla="*/ 734563 h 886800"/>
                <a:gd name="connsiteX789" fmla="*/ 7237 w 533217"/>
                <a:gd name="connsiteY789" fmla="*/ 735468 h 886800"/>
                <a:gd name="connsiteX790" fmla="*/ 6979 w 533217"/>
                <a:gd name="connsiteY790" fmla="*/ 735856 h 886800"/>
                <a:gd name="connsiteX791" fmla="*/ 6591 w 533217"/>
                <a:gd name="connsiteY791" fmla="*/ 736243 h 886800"/>
                <a:gd name="connsiteX792" fmla="*/ 6591 w 533217"/>
                <a:gd name="connsiteY792" fmla="*/ 736373 h 886800"/>
                <a:gd name="connsiteX793" fmla="*/ 6720 w 533217"/>
                <a:gd name="connsiteY793" fmla="*/ 738570 h 886800"/>
                <a:gd name="connsiteX794" fmla="*/ 6462 w 533217"/>
                <a:gd name="connsiteY794" fmla="*/ 740896 h 886800"/>
                <a:gd name="connsiteX795" fmla="*/ 7754 w 533217"/>
                <a:gd name="connsiteY795" fmla="*/ 757179 h 886800"/>
                <a:gd name="connsiteX796" fmla="*/ 8142 w 533217"/>
                <a:gd name="connsiteY796" fmla="*/ 758342 h 886800"/>
                <a:gd name="connsiteX797" fmla="*/ 9175 w 533217"/>
                <a:gd name="connsiteY797" fmla="*/ 760152 h 886800"/>
                <a:gd name="connsiteX798" fmla="*/ 10985 w 533217"/>
                <a:gd name="connsiteY798" fmla="*/ 761573 h 886800"/>
                <a:gd name="connsiteX799" fmla="*/ 11243 w 533217"/>
                <a:gd name="connsiteY799" fmla="*/ 762090 h 886800"/>
                <a:gd name="connsiteX800" fmla="*/ 12794 w 533217"/>
                <a:gd name="connsiteY800" fmla="*/ 765967 h 886800"/>
                <a:gd name="connsiteX801" fmla="*/ 13053 w 533217"/>
                <a:gd name="connsiteY801" fmla="*/ 767130 h 886800"/>
                <a:gd name="connsiteX802" fmla="*/ 12923 w 533217"/>
                <a:gd name="connsiteY802" fmla="*/ 768164 h 886800"/>
                <a:gd name="connsiteX803" fmla="*/ 12406 w 533217"/>
                <a:gd name="connsiteY803" fmla="*/ 769327 h 886800"/>
                <a:gd name="connsiteX804" fmla="*/ 12277 w 533217"/>
                <a:gd name="connsiteY804" fmla="*/ 769844 h 886800"/>
                <a:gd name="connsiteX805" fmla="*/ 14216 w 533217"/>
                <a:gd name="connsiteY805" fmla="*/ 783284 h 886800"/>
                <a:gd name="connsiteX806" fmla="*/ 14216 w 533217"/>
                <a:gd name="connsiteY806" fmla="*/ 783930 h 886800"/>
                <a:gd name="connsiteX807" fmla="*/ 14086 w 533217"/>
                <a:gd name="connsiteY807" fmla="*/ 784577 h 886800"/>
                <a:gd name="connsiteX808" fmla="*/ 13699 w 533217"/>
                <a:gd name="connsiteY808" fmla="*/ 784964 h 886800"/>
                <a:gd name="connsiteX809" fmla="*/ 13311 w 533217"/>
                <a:gd name="connsiteY809" fmla="*/ 785223 h 886800"/>
                <a:gd name="connsiteX810" fmla="*/ 12794 w 533217"/>
                <a:gd name="connsiteY810" fmla="*/ 785352 h 886800"/>
                <a:gd name="connsiteX811" fmla="*/ 12277 w 533217"/>
                <a:gd name="connsiteY811" fmla="*/ 785481 h 886800"/>
                <a:gd name="connsiteX812" fmla="*/ 11889 w 533217"/>
                <a:gd name="connsiteY812" fmla="*/ 786127 h 886800"/>
                <a:gd name="connsiteX813" fmla="*/ 11889 w 533217"/>
                <a:gd name="connsiteY813" fmla="*/ 787161 h 886800"/>
                <a:gd name="connsiteX814" fmla="*/ 12019 w 533217"/>
                <a:gd name="connsiteY814" fmla="*/ 789100 h 886800"/>
                <a:gd name="connsiteX815" fmla="*/ 12148 w 533217"/>
                <a:gd name="connsiteY815" fmla="*/ 790651 h 886800"/>
                <a:gd name="connsiteX816" fmla="*/ 11631 w 533217"/>
                <a:gd name="connsiteY816" fmla="*/ 792331 h 886800"/>
                <a:gd name="connsiteX817" fmla="*/ 11502 w 533217"/>
                <a:gd name="connsiteY817" fmla="*/ 793623 h 886800"/>
                <a:gd name="connsiteX818" fmla="*/ 11243 w 533217"/>
                <a:gd name="connsiteY818" fmla="*/ 794140 h 886800"/>
                <a:gd name="connsiteX819" fmla="*/ 10339 w 533217"/>
                <a:gd name="connsiteY819" fmla="*/ 796208 h 886800"/>
                <a:gd name="connsiteX820" fmla="*/ 10209 w 533217"/>
                <a:gd name="connsiteY820" fmla="*/ 796854 h 886800"/>
                <a:gd name="connsiteX821" fmla="*/ 10080 w 533217"/>
                <a:gd name="connsiteY821" fmla="*/ 797500 h 886800"/>
                <a:gd name="connsiteX822" fmla="*/ 10080 w 533217"/>
                <a:gd name="connsiteY822" fmla="*/ 798405 h 886800"/>
                <a:gd name="connsiteX823" fmla="*/ 10468 w 533217"/>
                <a:gd name="connsiteY823" fmla="*/ 800731 h 886800"/>
                <a:gd name="connsiteX824" fmla="*/ 10339 w 533217"/>
                <a:gd name="connsiteY824" fmla="*/ 801506 h 886800"/>
                <a:gd name="connsiteX825" fmla="*/ 10209 w 533217"/>
                <a:gd name="connsiteY825" fmla="*/ 802152 h 886800"/>
                <a:gd name="connsiteX826" fmla="*/ 9822 w 533217"/>
                <a:gd name="connsiteY826" fmla="*/ 802411 h 886800"/>
                <a:gd name="connsiteX827" fmla="*/ 9434 w 533217"/>
                <a:gd name="connsiteY827" fmla="*/ 802282 h 886800"/>
                <a:gd name="connsiteX828" fmla="*/ 9175 w 533217"/>
                <a:gd name="connsiteY828" fmla="*/ 801894 h 886800"/>
                <a:gd name="connsiteX829" fmla="*/ 8659 w 533217"/>
                <a:gd name="connsiteY829" fmla="*/ 801636 h 886800"/>
                <a:gd name="connsiteX830" fmla="*/ 8142 w 533217"/>
                <a:gd name="connsiteY830" fmla="*/ 801636 h 886800"/>
                <a:gd name="connsiteX831" fmla="*/ 7754 w 533217"/>
                <a:gd name="connsiteY831" fmla="*/ 802023 h 886800"/>
                <a:gd name="connsiteX832" fmla="*/ 7496 w 533217"/>
                <a:gd name="connsiteY832" fmla="*/ 802540 h 886800"/>
                <a:gd name="connsiteX833" fmla="*/ 7625 w 533217"/>
                <a:gd name="connsiteY833" fmla="*/ 803315 h 886800"/>
                <a:gd name="connsiteX834" fmla="*/ 7883 w 533217"/>
                <a:gd name="connsiteY834" fmla="*/ 804220 h 886800"/>
                <a:gd name="connsiteX835" fmla="*/ 8529 w 533217"/>
                <a:gd name="connsiteY835" fmla="*/ 805125 h 886800"/>
                <a:gd name="connsiteX836" fmla="*/ 10209 w 533217"/>
                <a:gd name="connsiteY836" fmla="*/ 806288 h 886800"/>
                <a:gd name="connsiteX837" fmla="*/ 12019 w 533217"/>
                <a:gd name="connsiteY837" fmla="*/ 807193 h 886800"/>
                <a:gd name="connsiteX838" fmla="*/ 12406 w 533217"/>
                <a:gd name="connsiteY838" fmla="*/ 807580 h 886800"/>
                <a:gd name="connsiteX839" fmla="*/ 12794 w 533217"/>
                <a:gd name="connsiteY839" fmla="*/ 808097 h 886800"/>
                <a:gd name="connsiteX840" fmla="*/ 12923 w 533217"/>
                <a:gd name="connsiteY840" fmla="*/ 810553 h 886800"/>
                <a:gd name="connsiteX841" fmla="*/ 13053 w 533217"/>
                <a:gd name="connsiteY841" fmla="*/ 811199 h 886800"/>
                <a:gd name="connsiteX842" fmla="*/ 14086 w 533217"/>
                <a:gd name="connsiteY842" fmla="*/ 813008 h 886800"/>
                <a:gd name="connsiteX843" fmla="*/ 14216 w 533217"/>
                <a:gd name="connsiteY843" fmla="*/ 813525 h 886800"/>
                <a:gd name="connsiteX844" fmla="*/ 14474 w 533217"/>
                <a:gd name="connsiteY844" fmla="*/ 814817 h 886800"/>
                <a:gd name="connsiteX845" fmla="*/ 14733 w 533217"/>
                <a:gd name="connsiteY845" fmla="*/ 816756 h 886800"/>
                <a:gd name="connsiteX846" fmla="*/ 14733 w 533217"/>
                <a:gd name="connsiteY846" fmla="*/ 818048 h 886800"/>
                <a:gd name="connsiteX847" fmla="*/ 14603 w 533217"/>
                <a:gd name="connsiteY847" fmla="*/ 819470 h 886800"/>
                <a:gd name="connsiteX848" fmla="*/ 14603 w 533217"/>
                <a:gd name="connsiteY848" fmla="*/ 820116 h 886800"/>
                <a:gd name="connsiteX849" fmla="*/ 14862 w 533217"/>
                <a:gd name="connsiteY849" fmla="*/ 820891 h 886800"/>
                <a:gd name="connsiteX850" fmla="*/ 15379 w 533217"/>
                <a:gd name="connsiteY850" fmla="*/ 821925 h 886800"/>
                <a:gd name="connsiteX851" fmla="*/ 15637 w 533217"/>
                <a:gd name="connsiteY851" fmla="*/ 823476 h 886800"/>
                <a:gd name="connsiteX852" fmla="*/ 15767 w 533217"/>
                <a:gd name="connsiteY852" fmla="*/ 823993 h 886800"/>
                <a:gd name="connsiteX853" fmla="*/ 16154 w 533217"/>
                <a:gd name="connsiteY853" fmla="*/ 824251 h 886800"/>
                <a:gd name="connsiteX854" fmla="*/ 16930 w 533217"/>
                <a:gd name="connsiteY854" fmla="*/ 824122 h 886800"/>
                <a:gd name="connsiteX855" fmla="*/ 17963 w 533217"/>
                <a:gd name="connsiteY855" fmla="*/ 823734 h 886800"/>
                <a:gd name="connsiteX856" fmla="*/ 18610 w 533217"/>
                <a:gd name="connsiteY856" fmla="*/ 823734 h 886800"/>
                <a:gd name="connsiteX857" fmla="*/ 19256 w 533217"/>
                <a:gd name="connsiteY857" fmla="*/ 823864 h 886800"/>
                <a:gd name="connsiteX858" fmla="*/ 19514 w 533217"/>
                <a:gd name="connsiteY858" fmla="*/ 823993 h 886800"/>
                <a:gd name="connsiteX859" fmla="*/ 19256 w 533217"/>
                <a:gd name="connsiteY859" fmla="*/ 824381 h 886800"/>
                <a:gd name="connsiteX860" fmla="*/ 18997 w 533217"/>
                <a:gd name="connsiteY860" fmla="*/ 824768 h 886800"/>
                <a:gd name="connsiteX861" fmla="*/ 18868 w 533217"/>
                <a:gd name="connsiteY861" fmla="*/ 825285 h 886800"/>
                <a:gd name="connsiteX862" fmla="*/ 18997 w 533217"/>
                <a:gd name="connsiteY862" fmla="*/ 825802 h 886800"/>
                <a:gd name="connsiteX863" fmla="*/ 19256 w 533217"/>
                <a:gd name="connsiteY863" fmla="*/ 826190 h 886800"/>
                <a:gd name="connsiteX864" fmla="*/ 19773 w 533217"/>
                <a:gd name="connsiteY864" fmla="*/ 826707 h 886800"/>
                <a:gd name="connsiteX865" fmla="*/ 20548 w 533217"/>
                <a:gd name="connsiteY865" fmla="*/ 827095 h 886800"/>
                <a:gd name="connsiteX866" fmla="*/ 21970 w 533217"/>
                <a:gd name="connsiteY866" fmla="*/ 827611 h 886800"/>
                <a:gd name="connsiteX867" fmla="*/ 23262 w 533217"/>
                <a:gd name="connsiteY867" fmla="*/ 827870 h 886800"/>
                <a:gd name="connsiteX868" fmla="*/ 26622 w 533217"/>
                <a:gd name="connsiteY868" fmla="*/ 827870 h 886800"/>
                <a:gd name="connsiteX869" fmla="*/ 28044 w 533217"/>
                <a:gd name="connsiteY869" fmla="*/ 828258 h 886800"/>
                <a:gd name="connsiteX870" fmla="*/ 30111 w 533217"/>
                <a:gd name="connsiteY870" fmla="*/ 824122 h 886800"/>
                <a:gd name="connsiteX871" fmla="*/ 30628 w 533217"/>
                <a:gd name="connsiteY871" fmla="*/ 821408 h 886800"/>
                <a:gd name="connsiteX872" fmla="*/ 30628 w 533217"/>
                <a:gd name="connsiteY872" fmla="*/ 820245 h 886800"/>
                <a:gd name="connsiteX873" fmla="*/ 30758 w 533217"/>
                <a:gd name="connsiteY873" fmla="*/ 819211 h 886800"/>
                <a:gd name="connsiteX874" fmla="*/ 31404 w 533217"/>
                <a:gd name="connsiteY874" fmla="*/ 817144 h 886800"/>
                <a:gd name="connsiteX875" fmla="*/ 31533 w 533217"/>
                <a:gd name="connsiteY875" fmla="*/ 816110 h 886800"/>
                <a:gd name="connsiteX876" fmla="*/ 31404 w 533217"/>
                <a:gd name="connsiteY876" fmla="*/ 814947 h 886800"/>
                <a:gd name="connsiteX877" fmla="*/ 32050 w 533217"/>
                <a:gd name="connsiteY877" fmla="*/ 812491 h 886800"/>
                <a:gd name="connsiteX878" fmla="*/ 32825 w 533217"/>
                <a:gd name="connsiteY878" fmla="*/ 811716 h 886800"/>
                <a:gd name="connsiteX879" fmla="*/ 33988 w 533217"/>
                <a:gd name="connsiteY879" fmla="*/ 810940 h 886800"/>
                <a:gd name="connsiteX880" fmla="*/ 35022 w 533217"/>
                <a:gd name="connsiteY880" fmla="*/ 810036 h 886800"/>
                <a:gd name="connsiteX881" fmla="*/ 35539 w 533217"/>
                <a:gd name="connsiteY881" fmla="*/ 808614 h 886800"/>
                <a:gd name="connsiteX882" fmla="*/ 35798 w 533217"/>
                <a:gd name="connsiteY882" fmla="*/ 807322 h 886800"/>
                <a:gd name="connsiteX883" fmla="*/ 35798 w 533217"/>
                <a:gd name="connsiteY883" fmla="*/ 806159 h 886800"/>
                <a:gd name="connsiteX884" fmla="*/ 36315 w 533217"/>
                <a:gd name="connsiteY884" fmla="*/ 804737 h 886800"/>
                <a:gd name="connsiteX885" fmla="*/ 37090 w 533217"/>
                <a:gd name="connsiteY885" fmla="*/ 803057 h 886800"/>
                <a:gd name="connsiteX886" fmla="*/ 40192 w 533217"/>
                <a:gd name="connsiteY886" fmla="*/ 799309 h 886800"/>
                <a:gd name="connsiteX887" fmla="*/ 41226 w 533217"/>
                <a:gd name="connsiteY887" fmla="*/ 798405 h 886800"/>
                <a:gd name="connsiteX888" fmla="*/ 41613 w 533217"/>
                <a:gd name="connsiteY888" fmla="*/ 797500 h 886800"/>
                <a:gd name="connsiteX889" fmla="*/ 41872 w 533217"/>
                <a:gd name="connsiteY889" fmla="*/ 796466 h 886800"/>
                <a:gd name="connsiteX890" fmla="*/ 42259 w 533217"/>
                <a:gd name="connsiteY890" fmla="*/ 795303 h 886800"/>
                <a:gd name="connsiteX891" fmla="*/ 43422 w 533217"/>
                <a:gd name="connsiteY891" fmla="*/ 794528 h 886800"/>
                <a:gd name="connsiteX892" fmla="*/ 44327 w 533217"/>
                <a:gd name="connsiteY892" fmla="*/ 794140 h 886800"/>
                <a:gd name="connsiteX893" fmla="*/ 44973 w 533217"/>
                <a:gd name="connsiteY893" fmla="*/ 793494 h 886800"/>
                <a:gd name="connsiteX894" fmla="*/ 45232 w 533217"/>
                <a:gd name="connsiteY894" fmla="*/ 792718 h 886800"/>
                <a:gd name="connsiteX895" fmla="*/ 45619 w 533217"/>
                <a:gd name="connsiteY895" fmla="*/ 792072 h 886800"/>
                <a:gd name="connsiteX896" fmla="*/ 46266 w 533217"/>
                <a:gd name="connsiteY896" fmla="*/ 791685 h 886800"/>
                <a:gd name="connsiteX897" fmla="*/ 47041 w 533217"/>
                <a:gd name="connsiteY897" fmla="*/ 791555 h 886800"/>
                <a:gd name="connsiteX898" fmla="*/ 47687 w 533217"/>
                <a:gd name="connsiteY898" fmla="*/ 790780 h 886800"/>
                <a:gd name="connsiteX899" fmla="*/ 47816 w 533217"/>
                <a:gd name="connsiteY899" fmla="*/ 790521 h 886800"/>
                <a:gd name="connsiteX900" fmla="*/ 48075 w 533217"/>
                <a:gd name="connsiteY900" fmla="*/ 790134 h 886800"/>
                <a:gd name="connsiteX901" fmla="*/ 49884 w 533217"/>
                <a:gd name="connsiteY901" fmla="*/ 788712 h 886800"/>
                <a:gd name="connsiteX902" fmla="*/ 52469 w 533217"/>
                <a:gd name="connsiteY902" fmla="*/ 787161 h 886800"/>
                <a:gd name="connsiteX903" fmla="*/ 54537 w 533217"/>
                <a:gd name="connsiteY903" fmla="*/ 785352 h 886800"/>
                <a:gd name="connsiteX904" fmla="*/ 63712 w 533217"/>
                <a:gd name="connsiteY904" fmla="*/ 779666 h 886800"/>
                <a:gd name="connsiteX905" fmla="*/ 65004 w 533217"/>
                <a:gd name="connsiteY905" fmla="*/ 780829 h 886800"/>
                <a:gd name="connsiteX906" fmla="*/ 65909 w 533217"/>
                <a:gd name="connsiteY906" fmla="*/ 781734 h 886800"/>
                <a:gd name="connsiteX907" fmla="*/ 66297 w 533217"/>
                <a:gd name="connsiteY907" fmla="*/ 782638 h 886800"/>
                <a:gd name="connsiteX908" fmla="*/ 66426 w 533217"/>
                <a:gd name="connsiteY908" fmla="*/ 783930 h 886800"/>
                <a:gd name="connsiteX909" fmla="*/ 66297 w 533217"/>
                <a:gd name="connsiteY909" fmla="*/ 785869 h 886800"/>
                <a:gd name="connsiteX910" fmla="*/ 65780 w 533217"/>
                <a:gd name="connsiteY910" fmla="*/ 787161 h 886800"/>
                <a:gd name="connsiteX911" fmla="*/ 65134 w 533217"/>
                <a:gd name="connsiteY911" fmla="*/ 788195 h 886800"/>
                <a:gd name="connsiteX912" fmla="*/ 59577 w 533217"/>
                <a:gd name="connsiteY912" fmla="*/ 794140 h 886800"/>
                <a:gd name="connsiteX913" fmla="*/ 58801 w 533217"/>
                <a:gd name="connsiteY913" fmla="*/ 795174 h 886800"/>
                <a:gd name="connsiteX914" fmla="*/ 58284 w 533217"/>
                <a:gd name="connsiteY914" fmla="*/ 796337 h 886800"/>
                <a:gd name="connsiteX915" fmla="*/ 58026 w 533217"/>
                <a:gd name="connsiteY915" fmla="*/ 797241 h 886800"/>
                <a:gd name="connsiteX916" fmla="*/ 58026 w 533217"/>
                <a:gd name="connsiteY916" fmla="*/ 798405 h 886800"/>
                <a:gd name="connsiteX917" fmla="*/ 58801 w 533217"/>
                <a:gd name="connsiteY917" fmla="*/ 803445 h 886800"/>
                <a:gd name="connsiteX918" fmla="*/ 58801 w 533217"/>
                <a:gd name="connsiteY918" fmla="*/ 805512 h 886800"/>
                <a:gd name="connsiteX919" fmla="*/ 58414 w 533217"/>
                <a:gd name="connsiteY919" fmla="*/ 807451 h 886800"/>
                <a:gd name="connsiteX920" fmla="*/ 57638 w 533217"/>
                <a:gd name="connsiteY920" fmla="*/ 808873 h 886800"/>
                <a:gd name="connsiteX921" fmla="*/ 51952 w 533217"/>
                <a:gd name="connsiteY921" fmla="*/ 817144 h 886800"/>
                <a:gd name="connsiteX922" fmla="*/ 51176 w 533217"/>
                <a:gd name="connsiteY922" fmla="*/ 818823 h 886800"/>
                <a:gd name="connsiteX923" fmla="*/ 50660 w 533217"/>
                <a:gd name="connsiteY923" fmla="*/ 820374 h 886800"/>
                <a:gd name="connsiteX924" fmla="*/ 50401 w 533217"/>
                <a:gd name="connsiteY924" fmla="*/ 822054 h 886800"/>
                <a:gd name="connsiteX925" fmla="*/ 51047 w 533217"/>
                <a:gd name="connsiteY925" fmla="*/ 833556 h 886800"/>
                <a:gd name="connsiteX926" fmla="*/ 51564 w 533217"/>
                <a:gd name="connsiteY926" fmla="*/ 835236 h 886800"/>
                <a:gd name="connsiteX927" fmla="*/ 52340 w 533217"/>
                <a:gd name="connsiteY927" fmla="*/ 836529 h 886800"/>
                <a:gd name="connsiteX928" fmla="*/ 54278 w 533217"/>
                <a:gd name="connsiteY928" fmla="*/ 837821 h 886800"/>
                <a:gd name="connsiteX929" fmla="*/ 74438 w 533217"/>
                <a:gd name="connsiteY929" fmla="*/ 847384 h 886800"/>
                <a:gd name="connsiteX930" fmla="*/ 79866 w 533217"/>
                <a:gd name="connsiteY930" fmla="*/ 847513 h 886800"/>
                <a:gd name="connsiteX931" fmla="*/ 80900 w 533217"/>
                <a:gd name="connsiteY931" fmla="*/ 847126 h 886800"/>
                <a:gd name="connsiteX932" fmla="*/ 81805 w 533217"/>
                <a:gd name="connsiteY932" fmla="*/ 847384 h 886800"/>
                <a:gd name="connsiteX933" fmla="*/ 83226 w 533217"/>
                <a:gd name="connsiteY933" fmla="*/ 848030 h 886800"/>
                <a:gd name="connsiteX934" fmla="*/ 89430 w 533217"/>
                <a:gd name="connsiteY934" fmla="*/ 852941 h 886800"/>
                <a:gd name="connsiteX935" fmla="*/ 113726 w 533217"/>
                <a:gd name="connsiteY935" fmla="*/ 864185 h 886800"/>
                <a:gd name="connsiteX936" fmla="*/ 126520 w 533217"/>
                <a:gd name="connsiteY936" fmla="*/ 865477 h 886800"/>
                <a:gd name="connsiteX937" fmla="*/ 131560 w 533217"/>
                <a:gd name="connsiteY937" fmla="*/ 866898 h 886800"/>
                <a:gd name="connsiteX938" fmla="*/ 142157 w 533217"/>
                <a:gd name="connsiteY938" fmla="*/ 871809 h 886800"/>
                <a:gd name="connsiteX939" fmla="*/ 144483 w 533217"/>
                <a:gd name="connsiteY939" fmla="*/ 872197 h 886800"/>
                <a:gd name="connsiteX940" fmla="*/ 146034 w 533217"/>
                <a:gd name="connsiteY940" fmla="*/ 872068 h 886800"/>
                <a:gd name="connsiteX941" fmla="*/ 146680 w 533217"/>
                <a:gd name="connsiteY941" fmla="*/ 871034 h 886800"/>
                <a:gd name="connsiteX942" fmla="*/ 147068 w 533217"/>
                <a:gd name="connsiteY942" fmla="*/ 870259 h 886800"/>
                <a:gd name="connsiteX943" fmla="*/ 147326 w 533217"/>
                <a:gd name="connsiteY943" fmla="*/ 869483 h 886800"/>
                <a:gd name="connsiteX944" fmla="*/ 147456 w 533217"/>
                <a:gd name="connsiteY944" fmla="*/ 868708 h 886800"/>
                <a:gd name="connsiteX945" fmla="*/ 147456 w 533217"/>
                <a:gd name="connsiteY945" fmla="*/ 865218 h 886800"/>
                <a:gd name="connsiteX946" fmla="*/ 147714 w 533217"/>
                <a:gd name="connsiteY946" fmla="*/ 863151 h 886800"/>
                <a:gd name="connsiteX947" fmla="*/ 148748 w 533217"/>
                <a:gd name="connsiteY947" fmla="*/ 859661 h 886800"/>
                <a:gd name="connsiteX948" fmla="*/ 155209 w 533217"/>
                <a:gd name="connsiteY948" fmla="*/ 845187 h 886800"/>
                <a:gd name="connsiteX949" fmla="*/ 172139 w 533217"/>
                <a:gd name="connsiteY949" fmla="*/ 815981 h 886800"/>
                <a:gd name="connsiteX950" fmla="*/ 180281 w 533217"/>
                <a:gd name="connsiteY950" fmla="*/ 809907 h 886800"/>
                <a:gd name="connsiteX951" fmla="*/ 185062 w 533217"/>
                <a:gd name="connsiteY951" fmla="*/ 807193 h 886800"/>
                <a:gd name="connsiteX952" fmla="*/ 185579 w 533217"/>
                <a:gd name="connsiteY952" fmla="*/ 807063 h 886800"/>
                <a:gd name="connsiteX953" fmla="*/ 186096 w 533217"/>
                <a:gd name="connsiteY953" fmla="*/ 807063 h 886800"/>
                <a:gd name="connsiteX954" fmla="*/ 186484 w 533217"/>
                <a:gd name="connsiteY954" fmla="*/ 807063 h 886800"/>
                <a:gd name="connsiteX955" fmla="*/ 186613 w 533217"/>
                <a:gd name="connsiteY955" fmla="*/ 807322 h 886800"/>
                <a:gd name="connsiteX956" fmla="*/ 186613 w 533217"/>
                <a:gd name="connsiteY956" fmla="*/ 807710 h 886800"/>
                <a:gd name="connsiteX957" fmla="*/ 185450 w 533217"/>
                <a:gd name="connsiteY957" fmla="*/ 812750 h 886800"/>
                <a:gd name="connsiteX958" fmla="*/ 185321 w 533217"/>
                <a:gd name="connsiteY958" fmla="*/ 813783 h 886800"/>
                <a:gd name="connsiteX959" fmla="*/ 185321 w 533217"/>
                <a:gd name="connsiteY959" fmla="*/ 814688 h 886800"/>
                <a:gd name="connsiteX960" fmla="*/ 185709 w 533217"/>
                <a:gd name="connsiteY960" fmla="*/ 815593 h 886800"/>
                <a:gd name="connsiteX961" fmla="*/ 186096 w 533217"/>
                <a:gd name="connsiteY961" fmla="*/ 816497 h 886800"/>
                <a:gd name="connsiteX962" fmla="*/ 186613 w 533217"/>
                <a:gd name="connsiteY962" fmla="*/ 817014 h 886800"/>
                <a:gd name="connsiteX963" fmla="*/ 187259 w 533217"/>
                <a:gd name="connsiteY963" fmla="*/ 817402 h 886800"/>
                <a:gd name="connsiteX964" fmla="*/ 195013 w 533217"/>
                <a:gd name="connsiteY964" fmla="*/ 821279 h 886800"/>
                <a:gd name="connsiteX965" fmla="*/ 201863 w 533217"/>
                <a:gd name="connsiteY965" fmla="*/ 826578 h 886800"/>
                <a:gd name="connsiteX966" fmla="*/ 204060 w 533217"/>
                <a:gd name="connsiteY966" fmla="*/ 828645 h 886800"/>
                <a:gd name="connsiteX967" fmla="*/ 205740 w 533217"/>
                <a:gd name="connsiteY967" fmla="*/ 830971 h 886800"/>
                <a:gd name="connsiteX968" fmla="*/ 207420 w 533217"/>
                <a:gd name="connsiteY968" fmla="*/ 833815 h 886800"/>
                <a:gd name="connsiteX969" fmla="*/ 208583 w 533217"/>
                <a:gd name="connsiteY969" fmla="*/ 837045 h 886800"/>
                <a:gd name="connsiteX970" fmla="*/ 208971 w 533217"/>
                <a:gd name="connsiteY970" fmla="*/ 838467 h 886800"/>
                <a:gd name="connsiteX971" fmla="*/ 208971 w 533217"/>
                <a:gd name="connsiteY971" fmla="*/ 840018 h 886800"/>
                <a:gd name="connsiteX972" fmla="*/ 208066 w 533217"/>
                <a:gd name="connsiteY972" fmla="*/ 844541 h 886800"/>
                <a:gd name="connsiteX973" fmla="*/ 208066 w 533217"/>
                <a:gd name="connsiteY973" fmla="*/ 845058 h 886800"/>
                <a:gd name="connsiteX974" fmla="*/ 208066 w 533217"/>
                <a:gd name="connsiteY974" fmla="*/ 845963 h 886800"/>
                <a:gd name="connsiteX975" fmla="*/ 208324 w 533217"/>
                <a:gd name="connsiteY975" fmla="*/ 847126 h 886800"/>
                <a:gd name="connsiteX976" fmla="*/ 208841 w 533217"/>
                <a:gd name="connsiteY976" fmla="*/ 848547 h 886800"/>
                <a:gd name="connsiteX977" fmla="*/ 211168 w 533217"/>
                <a:gd name="connsiteY977" fmla="*/ 853200 h 886800"/>
                <a:gd name="connsiteX978" fmla="*/ 211814 w 533217"/>
                <a:gd name="connsiteY978" fmla="*/ 855397 h 886800"/>
                <a:gd name="connsiteX979" fmla="*/ 212589 w 533217"/>
                <a:gd name="connsiteY979" fmla="*/ 867803 h 886800"/>
                <a:gd name="connsiteX980" fmla="*/ 210780 w 533217"/>
                <a:gd name="connsiteY980" fmla="*/ 876333 h 886800"/>
                <a:gd name="connsiteX981" fmla="*/ 210651 w 533217"/>
                <a:gd name="connsiteY981" fmla="*/ 877883 h 886800"/>
                <a:gd name="connsiteX982" fmla="*/ 210651 w 533217"/>
                <a:gd name="connsiteY982" fmla="*/ 879305 h 886800"/>
                <a:gd name="connsiteX983" fmla="*/ 210780 w 533217"/>
                <a:gd name="connsiteY983" fmla="*/ 880597 h 886800"/>
                <a:gd name="connsiteX984" fmla="*/ 211426 w 533217"/>
                <a:gd name="connsiteY984" fmla="*/ 883182 h 886800"/>
                <a:gd name="connsiteX985" fmla="*/ 211814 w 533217"/>
                <a:gd name="connsiteY985" fmla="*/ 884345 h 886800"/>
                <a:gd name="connsiteX986" fmla="*/ 212460 w 533217"/>
                <a:gd name="connsiteY986" fmla="*/ 885508 h 886800"/>
                <a:gd name="connsiteX987" fmla="*/ 213235 w 533217"/>
                <a:gd name="connsiteY987" fmla="*/ 886413 h 886800"/>
                <a:gd name="connsiteX988" fmla="*/ 213882 w 533217"/>
                <a:gd name="connsiteY988" fmla="*/ 886800 h 886800"/>
                <a:gd name="connsiteX989" fmla="*/ 214528 w 533217"/>
                <a:gd name="connsiteY989" fmla="*/ 886800 h 886800"/>
                <a:gd name="connsiteX990" fmla="*/ 214915 w 533217"/>
                <a:gd name="connsiteY990" fmla="*/ 886671 h 886800"/>
                <a:gd name="connsiteX991" fmla="*/ 218663 w 533217"/>
                <a:gd name="connsiteY991" fmla="*/ 883957 h 886800"/>
                <a:gd name="connsiteX992" fmla="*/ 219826 w 533217"/>
                <a:gd name="connsiteY992" fmla="*/ 882794 h 886800"/>
                <a:gd name="connsiteX993" fmla="*/ 220472 w 533217"/>
                <a:gd name="connsiteY993" fmla="*/ 882148 h 886800"/>
                <a:gd name="connsiteX994" fmla="*/ 220860 w 533217"/>
                <a:gd name="connsiteY994" fmla="*/ 881631 h 886800"/>
                <a:gd name="connsiteX995" fmla="*/ 221119 w 533217"/>
                <a:gd name="connsiteY995" fmla="*/ 880856 h 886800"/>
                <a:gd name="connsiteX996" fmla="*/ 221635 w 533217"/>
                <a:gd name="connsiteY996" fmla="*/ 879176 h 886800"/>
                <a:gd name="connsiteX997" fmla="*/ 222540 w 533217"/>
                <a:gd name="connsiteY997" fmla="*/ 874006 h 886800"/>
                <a:gd name="connsiteX998" fmla="*/ 222928 w 533217"/>
                <a:gd name="connsiteY998" fmla="*/ 867932 h 886800"/>
                <a:gd name="connsiteX999" fmla="*/ 223445 w 533217"/>
                <a:gd name="connsiteY999" fmla="*/ 865089 h 886800"/>
                <a:gd name="connsiteX1000" fmla="*/ 223832 w 533217"/>
                <a:gd name="connsiteY1000" fmla="*/ 864055 h 886800"/>
                <a:gd name="connsiteX1001" fmla="*/ 224349 w 533217"/>
                <a:gd name="connsiteY1001" fmla="*/ 863151 h 886800"/>
                <a:gd name="connsiteX1002" fmla="*/ 225125 w 533217"/>
                <a:gd name="connsiteY1002" fmla="*/ 862504 h 886800"/>
                <a:gd name="connsiteX1003" fmla="*/ 226288 w 533217"/>
                <a:gd name="connsiteY1003" fmla="*/ 861858 h 886800"/>
                <a:gd name="connsiteX1004" fmla="*/ 227580 w 533217"/>
                <a:gd name="connsiteY1004" fmla="*/ 861471 h 886800"/>
                <a:gd name="connsiteX1005" fmla="*/ 229648 w 533217"/>
                <a:gd name="connsiteY1005" fmla="*/ 861471 h 886800"/>
                <a:gd name="connsiteX1006" fmla="*/ 231070 w 533217"/>
                <a:gd name="connsiteY1006" fmla="*/ 861729 h 886800"/>
                <a:gd name="connsiteX1007" fmla="*/ 233008 w 533217"/>
                <a:gd name="connsiteY1007" fmla="*/ 862504 h 886800"/>
                <a:gd name="connsiteX1008" fmla="*/ 239082 w 533217"/>
                <a:gd name="connsiteY1008" fmla="*/ 865218 h 886800"/>
                <a:gd name="connsiteX1009" fmla="*/ 242571 w 533217"/>
                <a:gd name="connsiteY1009" fmla="*/ 865865 h 886800"/>
                <a:gd name="connsiteX1010" fmla="*/ 250713 w 533217"/>
                <a:gd name="connsiteY1010" fmla="*/ 865865 h 886800"/>
                <a:gd name="connsiteX1011" fmla="*/ 252910 w 533217"/>
                <a:gd name="connsiteY1011" fmla="*/ 865606 h 886800"/>
                <a:gd name="connsiteX1012" fmla="*/ 254849 w 533217"/>
                <a:gd name="connsiteY1012" fmla="*/ 865089 h 886800"/>
                <a:gd name="connsiteX1013" fmla="*/ 256529 w 533217"/>
                <a:gd name="connsiteY1013" fmla="*/ 864572 h 886800"/>
                <a:gd name="connsiteX1014" fmla="*/ 259113 w 533217"/>
                <a:gd name="connsiteY1014" fmla="*/ 863151 h 886800"/>
                <a:gd name="connsiteX1015" fmla="*/ 269969 w 533217"/>
                <a:gd name="connsiteY1015" fmla="*/ 854880 h 886800"/>
                <a:gd name="connsiteX1016" fmla="*/ 272424 w 533217"/>
                <a:gd name="connsiteY1016" fmla="*/ 853329 h 886800"/>
                <a:gd name="connsiteX1017" fmla="*/ 276301 w 533217"/>
                <a:gd name="connsiteY1017" fmla="*/ 851649 h 886800"/>
                <a:gd name="connsiteX1018" fmla="*/ 278111 w 533217"/>
                <a:gd name="connsiteY1018" fmla="*/ 851778 h 886800"/>
                <a:gd name="connsiteX1019" fmla="*/ 278498 w 533217"/>
                <a:gd name="connsiteY1019" fmla="*/ 852037 h 886800"/>
                <a:gd name="connsiteX1020" fmla="*/ 278886 w 533217"/>
                <a:gd name="connsiteY1020" fmla="*/ 852553 h 886800"/>
                <a:gd name="connsiteX1021" fmla="*/ 278886 w 533217"/>
                <a:gd name="connsiteY1021" fmla="*/ 853200 h 886800"/>
                <a:gd name="connsiteX1022" fmla="*/ 278886 w 533217"/>
                <a:gd name="connsiteY1022" fmla="*/ 853846 h 886800"/>
                <a:gd name="connsiteX1023" fmla="*/ 278498 w 533217"/>
                <a:gd name="connsiteY1023" fmla="*/ 855009 h 886800"/>
                <a:gd name="connsiteX1024" fmla="*/ 276172 w 533217"/>
                <a:gd name="connsiteY1024" fmla="*/ 860695 h 886800"/>
                <a:gd name="connsiteX1025" fmla="*/ 275526 w 533217"/>
                <a:gd name="connsiteY1025" fmla="*/ 863280 h 886800"/>
                <a:gd name="connsiteX1026" fmla="*/ 275655 w 533217"/>
                <a:gd name="connsiteY1026" fmla="*/ 863926 h 886800"/>
                <a:gd name="connsiteX1027" fmla="*/ 276043 w 533217"/>
                <a:gd name="connsiteY1027" fmla="*/ 864185 h 886800"/>
                <a:gd name="connsiteX1028" fmla="*/ 278240 w 533217"/>
                <a:gd name="connsiteY1028" fmla="*/ 864055 h 886800"/>
                <a:gd name="connsiteX1029" fmla="*/ 280566 w 533217"/>
                <a:gd name="connsiteY1029" fmla="*/ 864314 h 886800"/>
                <a:gd name="connsiteX1030" fmla="*/ 283538 w 533217"/>
                <a:gd name="connsiteY1030" fmla="*/ 864960 h 886800"/>
                <a:gd name="connsiteX1031" fmla="*/ 285994 w 533217"/>
                <a:gd name="connsiteY1031" fmla="*/ 865865 h 886800"/>
                <a:gd name="connsiteX1032" fmla="*/ 289871 w 533217"/>
                <a:gd name="connsiteY1032" fmla="*/ 868449 h 886800"/>
                <a:gd name="connsiteX1033" fmla="*/ 293877 w 533217"/>
                <a:gd name="connsiteY1033" fmla="*/ 871680 h 886800"/>
                <a:gd name="connsiteX1034" fmla="*/ 295816 w 533217"/>
                <a:gd name="connsiteY1034" fmla="*/ 872843 h 886800"/>
                <a:gd name="connsiteX1035" fmla="*/ 297366 w 533217"/>
                <a:gd name="connsiteY1035" fmla="*/ 872972 h 886800"/>
                <a:gd name="connsiteX1036" fmla="*/ 298142 w 533217"/>
                <a:gd name="connsiteY1036" fmla="*/ 872326 h 886800"/>
                <a:gd name="connsiteX1037" fmla="*/ 299176 w 533217"/>
                <a:gd name="connsiteY1037" fmla="*/ 871163 h 886800"/>
                <a:gd name="connsiteX1038" fmla="*/ 299822 w 533217"/>
                <a:gd name="connsiteY1038" fmla="*/ 870775 h 886800"/>
                <a:gd name="connsiteX1039" fmla="*/ 300726 w 533217"/>
                <a:gd name="connsiteY1039" fmla="*/ 871034 h 886800"/>
                <a:gd name="connsiteX1040" fmla="*/ 302536 w 533217"/>
                <a:gd name="connsiteY1040" fmla="*/ 871938 h 886800"/>
                <a:gd name="connsiteX1041" fmla="*/ 305120 w 533217"/>
                <a:gd name="connsiteY1041" fmla="*/ 874006 h 886800"/>
                <a:gd name="connsiteX1042" fmla="*/ 309514 w 533217"/>
                <a:gd name="connsiteY1042" fmla="*/ 876591 h 886800"/>
                <a:gd name="connsiteX1043" fmla="*/ 328253 w 533217"/>
                <a:gd name="connsiteY1043" fmla="*/ 883053 h 886800"/>
                <a:gd name="connsiteX1044" fmla="*/ 329804 w 533217"/>
                <a:gd name="connsiteY1044" fmla="*/ 883182 h 886800"/>
                <a:gd name="connsiteX1045" fmla="*/ 330838 w 533217"/>
                <a:gd name="connsiteY1045" fmla="*/ 882923 h 886800"/>
                <a:gd name="connsiteX1046" fmla="*/ 330967 w 533217"/>
                <a:gd name="connsiteY1046" fmla="*/ 882148 h 886800"/>
                <a:gd name="connsiteX1047" fmla="*/ 330838 w 533217"/>
                <a:gd name="connsiteY1047" fmla="*/ 880856 h 886800"/>
                <a:gd name="connsiteX1048" fmla="*/ 330450 w 533217"/>
                <a:gd name="connsiteY1048" fmla="*/ 879563 h 886800"/>
                <a:gd name="connsiteX1049" fmla="*/ 324376 w 533217"/>
                <a:gd name="connsiteY1049" fmla="*/ 865865 h 886800"/>
                <a:gd name="connsiteX1050" fmla="*/ 323601 w 533217"/>
                <a:gd name="connsiteY1050" fmla="*/ 863668 h 886800"/>
                <a:gd name="connsiteX1051" fmla="*/ 323472 w 533217"/>
                <a:gd name="connsiteY1051" fmla="*/ 862763 h 886800"/>
                <a:gd name="connsiteX1052" fmla="*/ 323601 w 533217"/>
                <a:gd name="connsiteY1052" fmla="*/ 861988 h 886800"/>
                <a:gd name="connsiteX1053" fmla="*/ 323988 w 533217"/>
                <a:gd name="connsiteY1053" fmla="*/ 861083 h 886800"/>
                <a:gd name="connsiteX1054" fmla="*/ 324505 w 533217"/>
                <a:gd name="connsiteY1054" fmla="*/ 860437 h 886800"/>
                <a:gd name="connsiteX1055" fmla="*/ 325022 w 533217"/>
                <a:gd name="connsiteY1055" fmla="*/ 859920 h 886800"/>
                <a:gd name="connsiteX1056" fmla="*/ 329546 w 533217"/>
                <a:gd name="connsiteY1056" fmla="*/ 856043 h 886800"/>
                <a:gd name="connsiteX1057" fmla="*/ 330192 w 533217"/>
                <a:gd name="connsiteY1057" fmla="*/ 855784 h 886800"/>
                <a:gd name="connsiteX1058" fmla="*/ 330967 w 533217"/>
                <a:gd name="connsiteY1058" fmla="*/ 855526 h 886800"/>
                <a:gd name="connsiteX1059" fmla="*/ 331484 w 533217"/>
                <a:gd name="connsiteY1059" fmla="*/ 855655 h 886800"/>
                <a:gd name="connsiteX1060" fmla="*/ 331872 w 533217"/>
                <a:gd name="connsiteY1060" fmla="*/ 855914 h 886800"/>
                <a:gd name="connsiteX1061" fmla="*/ 332259 w 533217"/>
                <a:gd name="connsiteY1061" fmla="*/ 856301 h 886800"/>
                <a:gd name="connsiteX1062" fmla="*/ 332518 w 533217"/>
                <a:gd name="connsiteY1062" fmla="*/ 856818 h 886800"/>
                <a:gd name="connsiteX1063" fmla="*/ 333423 w 533217"/>
                <a:gd name="connsiteY1063" fmla="*/ 858886 h 886800"/>
                <a:gd name="connsiteX1064" fmla="*/ 334069 w 533217"/>
                <a:gd name="connsiteY1064" fmla="*/ 860437 h 886800"/>
                <a:gd name="connsiteX1065" fmla="*/ 337300 w 533217"/>
                <a:gd name="connsiteY1065" fmla="*/ 863409 h 886800"/>
                <a:gd name="connsiteX1066" fmla="*/ 337558 w 533217"/>
                <a:gd name="connsiteY1066" fmla="*/ 863797 h 886800"/>
                <a:gd name="connsiteX1067" fmla="*/ 337946 w 533217"/>
                <a:gd name="connsiteY1067" fmla="*/ 864185 h 886800"/>
                <a:gd name="connsiteX1068" fmla="*/ 337946 w 533217"/>
                <a:gd name="connsiteY1068" fmla="*/ 864831 h 886800"/>
                <a:gd name="connsiteX1069" fmla="*/ 338075 w 533217"/>
                <a:gd name="connsiteY1069" fmla="*/ 866252 h 886800"/>
                <a:gd name="connsiteX1070" fmla="*/ 338204 w 533217"/>
                <a:gd name="connsiteY1070" fmla="*/ 866769 h 886800"/>
                <a:gd name="connsiteX1071" fmla="*/ 338463 w 533217"/>
                <a:gd name="connsiteY1071" fmla="*/ 867286 h 886800"/>
                <a:gd name="connsiteX1072" fmla="*/ 341693 w 533217"/>
                <a:gd name="connsiteY1072" fmla="*/ 870905 h 886800"/>
                <a:gd name="connsiteX1073" fmla="*/ 341952 w 533217"/>
                <a:gd name="connsiteY1073" fmla="*/ 871292 h 886800"/>
                <a:gd name="connsiteX1074" fmla="*/ 342210 w 533217"/>
                <a:gd name="connsiteY1074" fmla="*/ 871809 h 886800"/>
                <a:gd name="connsiteX1075" fmla="*/ 342210 w 533217"/>
                <a:gd name="connsiteY1075" fmla="*/ 872326 h 886800"/>
                <a:gd name="connsiteX1076" fmla="*/ 342081 w 533217"/>
                <a:gd name="connsiteY1076" fmla="*/ 872843 h 886800"/>
                <a:gd name="connsiteX1077" fmla="*/ 342081 w 533217"/>
                <a:gd name="connsiteY1077" fmla="*/ 873360 h 886800"/>
                <a:gd name="connsiteX1078" fmla="*/ 343115 w 533217"/>
                <a:gd name="connsiteY1078" fmla="*/ 876203 h 886800"/>
                <a:gd name="connsiteX1079" fmla="*/ 343632 w 533217"/>
                <a:gd name="connsiteY1079" fmla="*/ 876849 h 886800"/>
                <a:gd name="connsiteX1080" fmla="*/ 344020 w 533217"/>
                <a:gd name="connsiteY1080" fmla="*/ 876979 h 886800"/>
                <a:gd name="connsiteX1081" fmla="*/ 344537 w 533217"/>
                <a:gd name="connsiteY1081" fmla="*/ 876720 h 886800"/>
                <a:gd name="connsiteX1082" fmla="*/ 345183 w 533217"/>
                <a:gd name="connsiteY1082" fmla="*/ 875169 h 886800"/>
                <a:gd name="connsiteX1083" fmla="*/ 345571 w 533217"/>
                <a:gd name="connsiteY1083" fmla="*/ 874782 h 886800"/>
                <a:gd name="connsiteX1084" fmla="*/ 346087 w 533217"/>
                <a:gd name="connsiteY1084" fmla="*/ 874523 h 886800"/>
                <a:gd name="connsiteX1085" fmla="*/ 346217 w 533217"/>
                <a:gd name="connsiteY1085" fmla="*/ 874265 h 886800"/>
                <a:gd name="connsiteX1086" fmla="*/ 346217 w 533217"/>
                <a:gd name="connsiteY1086" fmla="*/ 874006 h 886800"/>
                <a:gd name="connsiteX1087" fmla="*/ 346217 w 533217"/>
                <a:gd name="connsiteY1087" fmla="*/ 873619 h 886800"/>
                <a:gd name="connsiteX1088" fmla="*/ 346346 w 533217"/>
                <a:gd name="connsiteY1088" fmla="*/ 873360 h 886800"/>
                <a:gd name="connsiteX1089" fmla="*/ 346734 w 533217"/>
                <a:gd name="connsiteY1089" fmla="*/ 872455 h 886800"/>
                <a:gd name="connsiteX1090" fmla="*/ 353841 w 533217"/>
                <a:gd name="connsiteY1090" fmla="*/ 871551 h 886800"/>
                <a:gd name="connsiteX1091" fmla="*/ 356555 w 533217"/>
                <a:gd name="connsiteY1091" fmla="*/ 870388 h 886800"/>
                <a:gd name="connsiteX1092" fmla="*/ 358365 w 533217"/>
                <a:gd name="connsiteY1092" fmla="*/ 869095 h 886800"/>
                <a:gd name="connsiteX1093" fmla="*/ 365472 w 533217"/>
                <a:gd name="connsiteY1093" fmla="*/ 865994 h 886800"/>
                <a:gd name="connsiteX1094" fmla="*/ 367153 w 533217"/>
                <a:gd name="connsiteY1094" fmla="*/ 865606 h 886800"/>
                <a:gd name="connsiteX1095" fmla="*/ 368057 w 533217"/>
                <a:gd name="connsiteY1095" fmla="*/ 865735 h 886800"/>
                <a:gd name="connsiteX1096" fmla="*/ 369737 w 533217"/>
                <a:gd name="connsiteY1096" fmla="*/ 865865 h 886800"/>
                <a:gd name="connsiteX1097" fmla="*/ 370513 w 533217"/>
                <a:gd name="connsiteY1097" fmla="*/ 865606 h 886800"/>
                <a:gd name="connsiteX1098" fmla="*/ 371159 w 533217"/>
                <a:gd name="connsiteY1098" fmla="*/ 865348 h 886800"/>
                <a:gd name="connsiteX1099" fmla="*/ 371934 w 533217"/>
                <a:gd name="connsiteY1099" fmla="*/ 864701 h 886800"/>
                <a:gd name="connsiteX1100" fmla="*/ 391190 w 533217"/>
                <a:gd name="connsiteY1100" fmla="*/ 854621 h 886800"/>
                <a:gd name="connsiteX1101" fmla="*/ 395842 w 533217"/>
                <a:gd name="connsiteY1101" fmla="*/ 853329 h 886800"/>
                <a:gd name="connsiteX1102" fmla="*/ 403984 w 533217"/>
                <a:gd name="connsiteY1102" fmla="*/ 851649 h 886800"/>
                <a:gd name="connsiteX1103" fmla="*/ 405018 w 533217"/>
                <a:gd name="connsiteY1103" fmla="*/ 851649 h 886800"/>
                <a:gd name="connsiteX1104" fmla="*/ 406698 w 533217"/>
                <a:gd name="connsiteY1104" fmla="*/ 851778 h 886800"/>
                <a:gd name="connsiteX1105" fmla="*/ 409283 w 533217"/>
                <a:gd name="connsiteY1105" fmla="*/ 852424 h 886800"/>
                <a:gd name="connsiteX1106" fmla="*/ 414194 w 533217"/>
                <a:gd name="connsiteY1106" fmla="*/ 852424 h 886800"/>
                <a:gd name="connsiteX1107" fmla="*/ 419492 w 533217"/>
                <a:gd name="connsiteY1107" fmla="*/ 851649 h 886800"/>
                <a:gd name="connsiteX1108" fmla="*/ 422464 w 533217"/>
                <a:gd name="connsiteY1108" fmla="*/ 851003 h 886800"/>
                <a:gd name="connsiteX1109" fmla="*/ 424791 w 533217"/>
                <a:gd name="connsiteY1109" fmla="*/ 850098 h 886800"/>
                <a:gd name="connsiteX1110" fmla="*/ 426342 w 533217"/>
                <a:gd name="connsiteY1110" fmla="*/ 849064 h 886800"/>
                <a:gd name="connsiteX1111" fmla="*/ 427763 w 533217"/>
                <a:gd name="connsiteY1111" fmla="*/ 848030 h 886800"/>
                <a:gd name="connsiteX1112" fmla="*/ 438877 w 533217"/>
                <a:gd name="connsiteY1112" fmla="*/ 835882 h 886800"/>
                <a:gd name="connsiteX1113" fmla="*/ 440169 w 533217"/>
                <a:gd name="connsiteY1113" fmla="*/ 834848 h 886800"/>
                <a:gd name="connsiteX1114" fmla="*/ 441849 w 533217"/>
                <a:gd name="connsiteY1114" fmla="*/ 833685 h 886800"/>
                <a:gd name="connsiteX1115" fmla="*/ 444822 w 533217"/>
                <a:gd name="connsiteY1115" fmla="*/ 832522 h 886800"/>
                <a:gd name="connsiteX1116" fmla="*/ 451800 w 533217"/>
                <a:gd name="connsiteY1116" fmla="*/ 831101 h 886800"/>
                <a:gd name="connsiteX1117" fmla="*/ 455677 w 533217"/>
                <a:gd name="connsiteY1117" fmla="*/ 829938 h 886800"/>
                <a:gd name="connsiteX1118" fmla="*/ 459296 w 533217"/>
                <a:gd name="connsiteY1118" fmla="*/ 827870 h 886800"/>
                <a:gd name="connsiteX1119" fmla="*/ 460330 w 533217"/>
                <a:gd name="connsiteY1119" fmla="*/ 827482 h 886800"/>
                <a:gd name="connsiteX1120" fmla="*/ 461622 w 533217"/>
                <a:gd name="connsiteY1120" fmla="*/ 827224 h 886800"/>
                <a:gd name="connsiteX1121" fmla="*/ 470927 w 533217"/>
                <a:gd name="connsiteY1121" fmla="*/ 826965 h 886800"/>
                <a:gd name="connsiteX1122" fmla="*/ 475838 w 533217"/>
                <a:gd name="connsiteY1122" fmla="*/ 825802 h 886800"/>
                <a:gd name="connsiteX1123" fmla="*/ 483075 w 533217"/>
                <a:gd name="connsiteY1123" fmla="*/ 821796 h 886800"/>
                <a:gd name="connsiteX1124" fmla="*/ 482041 w 533217"/>
                <a:gd name="connsiteY1124" fmla="*/ 819857 h 886800"/>
                <a:gd name="connsiteX1125" fmla="*/ 481783 w 533217"/>
                <a:gd name="connsiteY1125" fmla="*/ 818048 h 886800"/>
                <a:gd name="connsiteX1126" fmla="*/ 481783 w 533217"/>
                <a:gd name="connsiteY1126" fmla="*/ 817273 h 886800"/>
                <a:gd name="connsiteX1127" fmla="*/ 481783 w 533217"/>
                <a:gd name="connsiteY1127" fmla="*/ 816368 h 886800"/>
                <a:gd name="connsiteX1128" fmla="*/ 482299 w 533217"/>
                <a:gd name="connsiteY1128" fmla="*/ 814171 h 886800"/>
                <a:gd name="connsiteX1129" fmla="*/ 482946 w 533217"/>
                <a:gd name="connsiteY1129" fmla="*/ 812620 h 886800"/>
                <a:gd name="connsiteX1130" fmla="*/ 490829 w 533217"/>
                <a:gd name="connsiteY1130" fmla="*/ 800602 h 886800"/>
                <a:gd name="connsiteX1131" fmla="*/ 491217 w 533217"/>
                <a:gd name="connsiteY1131" fmla="*/ 799826 h 886800"/>
                <a:gd name="connsiteX1132" fmla="*/ 491346 w 533217"/>
                <a:gd name="connsiteY1132" fmla="*/ 798922 h 886800"/>
                <a:gd name="connsiteX1133" fmla="*/ 490829 w 533217"/>
                <a:gd name="connsiteY1133" fmla="*/ 789746 h 886800"/>
                <a:gd name="connsiteX1134" fmla="*/ 490829 w 533217"/>
                <a:gd name="connsiteY1134" fmla="*/ 789358 h 886800"/>
                <a:gd name="connsiteX1135" fmla="*/ 490570 w 533217"/>
                <a:gd name="connsiteY1135" fmla="*/ 788841 h 886800"/>
                <a:gd name="connsiteX1136" fmla="*/ 490312 w 533217"/>
                <a:gd name="connsiteY1136" fmla="*/ 788454 h 886800"/>
                <a:gd name="connsiteX1137" fmla="*/ 489924 w 533217"/>
                <a:gd name="connsiteY1137" fmla="*/ 788066 h 886800"/>
                <a:gd name="connsiteX1138" fmla="*/ 489537 w 533217"/>
                <a:gd name="connsiteY1138" fmla="*/ 787678 h 886800"/>
                <a:gd name="connsiteX1139" fmla="*/ 487598 w 533217"/>
                <a:gd name="connsiteY1139" fmla="*/ 786644 h 886800"/>
                <a:gd name="connsiteX1140" fmla="*/ 486435 w 533217"/>
                <a:gd name="connsiteY1140" fmla="*/ 786127 h 886800"/>
                <a:gd name="connsiteX1141" fmla="*/ 479586 w 533217"/>
                <a:gd name="connsiteY1141" fmla="*/ 784577 h 886800"/>
                <a:gd name="connsiteX1142" fmla="*/ 475579 w 533217"/>
                <a:gd name="connsiteY1142" fmla="*/ 782638 h 886800"/>
                <a:gd name="connsiteX1143" fmla="*/ 474675 w 533217"/>
                <a:gd name="connsiteY1143" fmla="*/ 781992 h 886800"/>
                <a:gd name="connsiteX1144" fmla="*/ 474029 w 533217"/>
                <a:gd name="connsiteY1144" fmla="*/ 781087 h 886800"/>
                <a:gd name="connsiteX1145" fmla="*/ 472865 w 533217"/>
                <a:gd name="connsiteY1145" fmla="*/ 778503 h 886800"/>
                <a:gd name="connsiteX1146" fmla="*/ 471185 w 533217"/>
                <a:gd name="connsiteY1146" fmla="*/ 773333 h 886800"/>
                <a:gd name="connsiteX1147" fmla="*/ 470927 w 533217"/>
                <a:gd name="connsiteY1147" fmla="*/ 772300 h 886800"/>
                <a:gd name="connsiteX1148" fmla="*/ 471573 w 533217"/>
                <a:gd name="connsiteY1148" fmla="*/ 749167 h 886800"/>
                <a:gd name="connsiteX1149" fmla="*/ 471961 w 533217"/>
                <a:gd name="connsiteY1149" fmla="*/ 746970 h 886800"/>
                <a:gd name="connsiteX1150" fmla="*/ 472219 w 533217"/>
                <a:gd name="connsiteY1150" fmla="*/ 746324 h 886800"/>
                <a:gd name="connsiteX1151" fmla="*/ 472349 w 533217"/>
                <a:gd name="connsiteY1151" fmla="*/ 745807 h 886800"/>
                <a:gd name="connsiteX1152" fmla="*/ 472736 w 533217"/>
                <a:gd name="connsiteY1152" fmla="*/ 745419 h 886800"/>
                <a:gd name="connsiteX1153" fmla="*/ 473124 w 533217"/>
                <a:gd name="connsiteY1153" fmla="*/ 745031 h 886800"/>
                <a:gd name="connsiteX1154" fmla="*/ 478939 w 533217"/>
                <a:gd name="connsiteY1154" fmla="*/ 742059 h 886800"/>
                <a:gd name="connsiteX1155" fmla="*/ 480361 w 533217"/>
                <a:gd name="connsiteY1155" fmla="*/ 741154 h 886800"/>
                <a:gd name="connsiteX1156" fmla="*/ 481136 w 533217"/>
                <a:gd name="connsiteY1156" fmla="*/ 740379 h 886800"/>
                <a:gd name="connsiteX1157" fmla="*/ 484884 w 533217"/>
                <a:gd name="connsiteY1157" fmla="*/ 735080 h 886800"/>
                <a:gd name="connsiteX1158" fmla="*/ 484884 w 533217"/>
                <a:gd name="connsiteY1158" fmla="*/ 734951 h 886800"/>
                <a:gd name="connsiteX1159" fmla="*/ 485272 w 533217"/>
                <a:gd name="connsiteY1159" fmla="*/ 734693 h 886800"/>
                <a:gd name="connsiteX1160" fmla="*/ 486694 w 533217"/>
                <a:gd name="connsiteY1160" fmla="*/ 733917 h 886800"/>
                <a:gd name="connsiteX1161" fmla="*/ 493284 w 533217"/>
                <a:gd name="connsiteY1161" fmla="*/ 731720 h 886800"/>
                <a:gd name="connsiteX1162" fmla="*/ 494189 w 533217"/>
                <a:gd name="connsiteY1162" fmla="*/ 731074 h 886800"/>
                <a:gd name="connsiteX1163" fmla="*/ 496515 w 533217"/>
                <a:gd name="connsiteY1163" fmla="*/ 728877 h 886800"/>
                <a:gd name="connsiteX1164" fmla="*/ 497291 w 533217"/>
                <a:gd name="connsiteY1164" fmla="*/ 728360 h 886800"/>
                <a:gd name="connsiteX1165" fmla="*/ 497808 w 533217"/>
                <a:gd name="connsiteY1165" fmla="*/ 727972 h 886800"/>
                <a:gd name="connsiteX1166" fmla="*/ 498971 w 533217"/>
                <a:gd name="connsiteY1166" fmla="*/ 727455 h 886800"/>
                <a:gd name="connsiteX1167" fmla="*/ 499617 w 533217"/>
                <a:gd name="connsiteY1167" fmla="*/ 727197 h 886800"/>
                <a:gd name="connsiteX1168" fmla="*/ 500134 w 533217"/>
                <a:gd name="connsiteY1168" fmla="*/ 726422 h 886800"/>
                <a:gd name="connsiteX1169" fmla="*/ 500263 w 533217"/>
                <a:gd name="connsiteY1169" fmla="*/ 725775 h 886800"/>
                <a:gd name="connsiteX1170" fmla="*/ 500134 w 533217"/>
                <a:gd name="connsiteY1170" fmla="*/ 725129 h 886800"/>
                <a:gd name="connsiteX1171" fmla="*/ 497937 w 533217"/>
                <a:gd name="connsiteY1171" fmla="*/ 721511 h 886800"/>
                <a:gd name="connsiteX1172" fmla="*/ 496774 w 533217"/>
                <a:gd name="connsiteY1172" fmla="*/ 720348 h 886800"/>
                <a:gd name="connsiteX1173" fmla="*/ 495094 w 533217"/>
                <a:gd name="connsiteY1173" fmla="*/ 719055 h 886800"/>
                <a:gd name="connsiteX1174" fmla="*/ 493155 w 533217"/>
                <a:gd name="connsiteY1174" fmla="*/ 718021 h 886800"/>
                <a:gd name="connsiteX1175" fmla="*/ 490958 w 533217"/>
                <a:gd name="connsiteY1175" fmla="*/ 717117 h 886800"/>
                <a:gd name="connsiteX1176" fmla="*/ 489666 w 533217"/>
                <a:gd name="connsiteY1176" fmla="*/ 716858 h 886800"/>
                <a:gd name="connsiteX1177" fmla="*/ 488373 w 533217"/>
                <a:gd name="connsiteY1177" fmla="*/ 716729 h 886800"/>
                <a:gd name="connsiteX1178" fmla="*/ 486952 w 533217"/>
                <a:gd name="connsiteY1178" fmla="*/ 716729 h 886800"/>
                <a:gd name="connsiteX1179" fmla="*/ 484497 w 533217"/>
                <a:gd name="connsiteY1179" fmla="*/ 717246 h 886800"/>
                <a:gd name="connsiteX1180" fmla="*/ 482170 w 533217"/>
                <a:gd name="connsiteY1180" fmla="*/ 717892 h 886800"/>
                <a:gd name="connsiteX1181" fmla="*/ 481007 w 533217"/>
                <a:gd name="connsiteY1181" fmla="*/ 718021 h 886800"/>
                <a:gd name="connsiteX1182" fmla="*/ 480361 w 533217"/>
                <a:gd name="connsiteY1182" fmla="*/ 718021 h 886800"/>
                <a:gd name="connsiteX1183" fmla="*/ 479844 w 533217"/>
                <a:gd name="connsiteY1183" fmla="*/ 717763 h 886800"/>
                <a:gd name="connsiteX1184" fmla="*/ 479327 w 533217"/>
                <a:gd name="connsiteY1184" fmla="*/ 716858 h 886800"/>
                <a:gd name="connsiteX1185" fmla="*/ 478939 w 533217"/>
                <a:gd name="connsiteY1185" fmla="*/ 715437 h 886800"/>
                <a:gd name="connsiteX1186" fmla="*/ 478293 w 533217"/>
                <a:gd name="connsiteY1186" fmla="*/ 710655 h 886800"/>
                <a:gd name="connsiteX1187" fmla="*/ 478293 w 533217"/>
                <a:gd name="connsiteY1187" fmla="*/ 709492 h 886800"/>
                <a:gd name="connsiteX1188" fmla="*/ 478552 w 533217"/>
                <a:gd name="connsiteY1188" fmla="*/ 708329 h 886800"/>
                <a:gd name="connsiteX1189" fmla="*/ 478810 w 533217"/>
                <a:gd name="connsiteY1189" fmla="*/ 707812 h 886800"/>
                <a:gd name="connsiteX1190" fmla="*/ 479198 w 533217"/>
                <a:gd name="connsiteY1190" fmla="*/ 707295 h 886800"/>
                <a:gd name="connsiteX1191" fmla="*/ 479844 w 533217"/>
                <a:gd name="connsiteY1191" fmla="*/ 706520 h 886800"/>
                <a:gd name="connsiteX1192" fmla="*/ 480620 w 533217"/>
                <a:gd name="connsiteY1192" fmla="*/ 705744 h 886800"/>
                <a:gd name="connsiteX1193" fmla="*/ 481524 w 533217"/>
                <a:gd name="connsiteY1193" fmla="*/ 705227 h 886800"/>
                <a:gd name="connsiteX1194" fmla="*/ 487210 w 533217"/>
                <a:gd name="connsiteY1194" fmla="*/ 702772 h 886800"/>
                <a:gd name="connsiteX1195" fmla="*/ 494318 w 533217"/>
                <a:gd name="connsiteY1195" fmla="*/ 700316 h 886800"/>
                <a:gd name="connsiteX1196" fmla="*/ 495223 w 533217"/>
                <a:gd name="connsiteY1196" fmla="*/ 699670 h 886800"/>
                <a:gd name="connsiteX1197" fmla="*/ 495611 w 533217"/>
                <a:gd name="connsiteY1197" fmla="*/ 699282 h 886800"/>
                <a:gd name="connsiteX1198" fmla="*/ 495998 w 533217"/>
                <a:gd name="connsiteY1198" fmla="*/ 699024 h 886800"/>
                <a:gd name="connsiteX1199" fmla="*/ 496515 w 533217"/>
                <a:gd name="connsiteY1199" fmla="*/ 698636 h 886800"/>
                <a:gd name="connsiteX1200" fmla="*/ 497161 w 533217"/>
                <a:gd name="connsiteY1200" fmla="*/ 697990 h 886800"/>
                <a:gd name="connsiteX1201" fmla="*/ 497678 w 533217"/>
                <a:gd name="connsiteY1201" fmla="*/ 696827 h 886800"/>
                <a:gd name="connsiteX1202" fmla="*/ 498583 w 533217"/>
                <a:gd name="connsiteY1202" fmla="*/ 693855 h 886800"/>
                <a:gd name="connsiteX1203" fmla="*/ 498712 w 533217"/>
                <a:gd name="connsiteY1203" fmla="*/ 692562 h 886800"/>
                <a:gd name="connsiteX1204" fmla="*/ 498583 w 533217"/>
                <a:gd name="connsiteY1204" fmla="*/ 691658 h 886800"/>
                <a:gd name="connsiteX1205" fmla="*/ 498195 w 533217"/>
                <a:gd name="connsiteY1205" fmla="*/ 691270 h 886800"/>
                <a:gd name="connsiteX1206" fmla="*/ 496774 w 533217"/>
                <a:gd name="connsiteY1206" fmla="*/ 690366 h 886800"/>
                <a:gd name="connsiteX1207" fmla="*/ 495481 w 533217"/>
                <a:gd name="connsiteY1207" fmla="*/ 689461 h 886800"/>
                <a:gd name="connsiteX1208" fmla="*/ 487210 w 533217"/>
                <a:gd name="connsiteY1208" fmla="*/ 685584 h 886800"/>
                <a:gd name="connsiteX1209" fmla="*/ 477776 w 533217"/>
                <a:gd name="connsiteY1209" fmla="*/ 682870 h 886800"/>
                <a:gd name="connsiteX1210" fmla="*/ 461881 w 533217"/>
                <a:gd name="connsiteY1210" fmla="*/ 680802 h 886800"/>
                <a:gd name="connsiteX1211" fmla="*/ 461364 w 533217"/>
                <a:gd name="connsiteY1211" fmla="*/ 680673 h 886800"/>
                <a:gd name="connsiteX1212" fmla="*/ 460330 w 533217"/>
                <a:gd name="connsiteY1212" fmla="*/ 680285 h 886800"/>
                <a:gd name="connsiteX1213" fmla="*/ 459425 w 533217"/>
                <a:gd name="connsiteY1213" fmla="*/ 679639 h 886800"/>
                <a:gd name="connsiteX1214" fmla="*/ 458650 w 533217"/>
                <a:gd name="connsiteY1214" fmla="*/ 678993 h 886800"/>
                <a:gd name="connsiteX1215" fmla="*/ 458262 w 533217"/>
                <a:gd name="connsiteY1215" fmla="*/ 678605 h 886800"/>
                <a:gd name="connsiteX1216" fmla="*/ 458004 w 533217"/>
                <a:gd name="connsiteY1216" fmla="*/ 678088 h 886800"/>
                <a:gd name="connsiteX1217" fmla="*/ 456453 w 533217"/>
                <a:gd name="connsiteY1217" fmla="*/ 674857 h 886800"/>
                <a:gd name="connsiteX1218" fmla="*/ 455807 w 533217"/>
                <a:gd name="connsiteY1218" fmla="*/ 673048 h 886800"/>
                <a:gd name="connsiteX1219" fmla="*/ 455290 w 533217"/>
                <a:gd name="connsiteY1219" fmla="*/ 671885 h 886800"/>
                <a:gd name="connsiteX1220" fmla="*/ 455031 w 533217"/>
                <a:gd name="connsiteY1220" fmla="*/ 671497 h 886800"/>
                <a:gd name="connsiteX1221" fmla="*/ 454385 w 533217"/>
                <a:gd name="connsiteY1221" fmla="*/ 670722 h 886800"/>
                <a:gd name="connsiteX1222" fmla="*/ 454127 w 533217"/>
                <a:gd name="connsiteY1222" fmla="*/ 670593 h 886800"/>
                <a:gd name="connsiteX1223" fmla="*/ 453351 w 533217"/>
                <a:gd name="connsiteY1223" fmla="*/ 670076 h 886800"/>
                <a:gd name="connsiteX1224" fmla="*/ 449216 w 533217"/>
                <a:gd name="connsiteY1224" fmla="*/ 668137 h 886800"/>
                <a:gd name="connsiteX1225" fmla="*/ 448440 w 533217"/>
                <a:gd name="connsiteY1225" fmla="*/ 667491 h 886800"/>
                <a:gd name="connsiteX1226" fmla="*/ 447536 w 533217"/>
                <a:gd name="connsiteY1226" fmla="*/ 665940 h 886800"/>
                <a:gd name="connsiteX1227" fmla="*/ 446760 w 533217"/>
                <a:gd name="connsiteY1227" fmla="*/ 664260 h 886800"/>
                <a:gd name="connsiteX1228" fmla="*/ 446502 w 533217"/>
                <a:gd name="connsiteY1228" fmla="*/ 663097 h 886800"/>
                <a:gd name="connsiteX1229" fmla="*/ 446373 w 533217"/>
                <a:gd name="connsiteY1229" fmla="*/ 662193 h 886800"/>
                <a:gd name="connsiteX1230" fmla="*/ 446373 w 533217"/>
                <a:gd name="connsiteY1230" fmla="*/ 661546 h 886800"/>
                <a:gd name="connsiteX1231" fmla="*/ 446502 w 533217"/>
                <a:gd name="connsiteY1231" fmla="*/ 660900 h 886800"/>
                <a:gd name="connsiteX1232" fmla="*/ 447406 w 533217"/>
                <a:gd name="connsiteY1232" fmla="*/ 658057 h 886800"/>
                <a:gd name="connsiteX1233" fmla="*/ 447923 w 533217"/>
                <a:gd name="connsiteY1233" fmla="*/ 656894 h 886800"/>
                <a:gd name="connsiteX1234" fmla="*/ 450767 w 533217"/>
                <a:gd name="connsiteY1234" fmla="*/ 651983 h 886800"/>
                <a:gd name="connsiteX1235" fmla="*/ 452059 w 533217"/>
                <a:gd name="connsiteY1235" fmla="*/ 650562 h 886800"/>
                <a:gd name="connsiteX1236" fmla="*/ 453093 w 533217"/>
                <a:gd name="connsiteY1236" fmla="*/ 650174 h 886800"/>
                <a:gd name="connsiteX1237" fmla="*/ 453868 w 533217"/>
                <a:gd name="connsiteY1237" fmla="*/ 649786 h 886800"/>
                <a:gd name="connsiteX1238" fmla="*/ 456582 w 533217"/>
                <a:gd name="connsiteY1238" fmla="*/ 647589 h 886800"/>
                <a:gd name="connsiteX1239" fmla="*/ 457357 w 533217"/>
                <a:gd name="connsiteY1239" fmla="*/ 646685 h 886800"/>
                <a:gd name="connsiteX1240" fmla="*/ 457874 w 533217"/>
                <a:gd name="connsiteY1240" fmla="*/ 646038 h 886800"/>
                <a:gd name="connsiteX1241" fmla="*/ 461105 w 533217"/>
                <a:gd name="connsiteY1241" fmla="*/ 636992 h 886800"/>
                <a:gd name="connsiteX1242" fmla="*/ 466404 w 533217"/>
                <a:gd name="connsiteY1242" fmla="*/ 625490 h 886800"/>
                <a:gd name="connsiteX1243" fmla="*/ 467825 w 533217"/>
                <a:gd name="connsiteY1243" fmla="*/ 623293 h 886800"/>
                <a:gd name="connsiteX1244" fmla="*/ 468730 w 533217"/>
                <a:gd name="connsiteY1244" fmla="*/ 622518 h 886800"/>
                <a:gd name="connsiteX1245" fmla="*/ 470410 w 533217"/>
                <a:gd name="connsiteY1245" fmla="*/ 621355 h 886800"/>
                <a:gd name="connsiteX1246" fmla="*/ 473382 w 533217"/>
                <a:gd name="connsiteY1246" fmla="*/ 619804 h 886800"/>
                <a:gd name="connsiteX1247" fmla="*/ 477130 w 533217"/>
                <a:gd name="connsiteY1247" fmla="*/ 618512 h 886800"/>
                <a:gd name="connsiteX1248" fmla="*/ 479069 w 533217"/>
                <a:gd name="connsiteY1248" fmla="*/ 618124 h 886800"/>
                <a:gd name="connsiteX1249" fmla="*/ 479844 w 533217"/>
                <a:gd name="connsiteY1249" fmla="*/ 617866 h 886800"/>
                <a:gd name="connsiteX1250" fmla="*/ 480749 w 533217"/>
                <a:gd name="connsiteY1250" fmla="*/ 617348 h 886800"/>
                <a:gd name="connsiteX1251" fmla="*/ 482170 w 533217"/>
                <a:gd name="connsiteY1251" fmla="*/ 616315 h 886800"/>
                <a:gd name="connsiteX1252" fmla="*/ 482687 w 533217"/>
                <a:gd name="connsiteY1252" fmla="*/ 615539 h 886800"/>
                <a:gd name="connsiteX1253" fmla="*/ 482816 w 533217"/>
                <a:gd name="connsiteY1253" fmla="*/ 614764 h 886800"/>
                <a:gd name="connsiteX1254" fmla="*/ 482687 w 533217"/>
                <a:gd name="connsiteY1254" fmla="*/ 614247 h 886800"/>
                <a:gd name="connsiteX1255" fmla="*/ 482429 w 533217"/>
                <a:gd name="connsiteY1255" fmla="*/ 613730 h 886800"/>
                <a:gd name="connsiteX1256" fmla="*/ 478939 w 533217"/>
                <a:gd name="connsiteY1256" fmla="*/ 609078 h 886800"/>
                <a:gd name="connsiteX1257" fmla="*/ 478423 w 533217"/>
                <a:gd name="connsiteY1257" fmla="*/ 608044 h 886800"/>
                <a:gd name="connsiteX1258" fmla="*/ 478293 w 533217"/>
                <a:gd name="connsiteY1258" fmla="*/ 607527 h 886800"/>
                <a:gd name="connsiteX1259" fmla="*/ 478293 w 533217"/>
                <a:gd name="connsiteY1259" fmla="*/ 606881 h 886800"/>
                <a:gd name="connsiteX1260" fmla="*/ 478293 w 533217"/>
                <a:gd name="connsiteY1260" fmla="*/ 606234 h 886800"/>
                <a:gd name="connsiteX1261" fmla="*/ 478035 w 533217"/>
                <a:gd name="connsiteY1261" fmla="*/ 605718 h 886800"/>
                <a:gd name="connsiteX1262" fmla="*/ 477776 w 533217"/>
                <a:gd name="connsiteY1262" fmla="*/ 605330 h 886800"/>
                <a:gd name="connsiteX1263" fmla="*/ 477389 w 533217"/>
                <a:gd name="connsiteY1263" fmla="*/ 605071 h 886800"/>
                <a:gd name="connsiteX1264" fmla="*/ 476226 w 533217"/>
                <a:gd name="connsiteY1264" fmla="*/ 604554 h 886800"/>
                <a:gd name="connsiteX1265" fmla="*/ 474933 w 533217"/>
                <a:gd name="connsiteY1265" fmla="*/ 604296 h 886800"/>
                <a:gd name="connsiteX1266" fmla="*/ 474546 w 533217"/>
                <a:gd name="connsiteY1266" fmla="*/ 603908 h 886800"/>
                <a:gd name="connsiteX1267" fmla="*/ 474158 w 533217"/>
                <a:gd name="connsiteY1267" fmla="*/ 603133 h 886800"/>
                <a:gd name="connsiteX1268" fmla="*/ 474416 w 533217"/>
                <a:gd name="connsiteY1268" fmla="*/ 601711 h 886800"/>
                <a:gd name="connsiteX1269" fmla="*/ 474675 w 533217"/>
                <a:gd name="connsiteY1269" fmla="*/ 600936 h 886800"/>
                <a:gd name="connsiteX1270" fmla="*/ 475062 w 533217"/>
                <a:gd name="connsiteY1270" fmla="*/ 600290 h 886800"/>
                <a:gd name="connsiteX1271" fmla="*/ 478423 w 533217"/>
                <a:gd name="connsiteY1271" fmla="*/ 597705 h 886800"/>
                <a:gd name="connsiteX1272" fmla="*/ 479844 w 533217"/>
                <a:gd name="connsiteY1272" fmla="*/ 596800 h 886800"/>
                <a:gd name="connsiteX1273" fmla="*/ 481783 w 533217"/>
                <a:gd name="connsiteY1273" fmla="*/ 595120 h 886800"/>
                <a:gd name="connsiteX1274" fmla="*/ 485918 w 533217"/>
                <a:gd name="connsiteY1274" fmla="*/ 590339 h 886800"/>
                <a:gd name="connsiteX1275" fmla="*/ 486694 w 533217"/>
                <a:gd name="connsiteY1275" fmla="*/ 589693 h 886800"/>
                <a:gd name="connsiteX1276" fmla="*/ 487081 w 533217"/>
                <a:gd name="connsiteY1276" fmla="*/ 589434 h 886800"/>
                <a:gd name="connsiteX1277" fmla="*/ 492638 w 533217"/>
                <a:gd name="connsiteY1277" fmla="*/ 586849 h 886800"/>
                <a:gd name="connsiteX1278" fmla="*/ 493672 w 533217"/>
                <a:gd name="connsiteY1278" fmla="*/ 586074 h 886800"/>
                <a:gd name="connsiteX1279" fmla="*/ 497937 w 533217"/>
                <a:gd name="connsiteY1279" fmla="*/ 581551 h 886800"/>
                <a:gd name="connsiteX1280" fmla="*/ 498324 w 533217"/>
                <a:gd name="connsiteY1280" fmla="*/ 581292 h 886800"/>
                <a:gd name="connsiteX1281" fmla="*/ 499875 w 533217"/>
                <a:gd name="connsiteY1281" fmla="*/ 580646 h 886800"/>
                <a:gd name="connsiteX1282" fmla="*/ 502589 w 533217"/>
                <a:gd name="connsiteY1282" fmla="*/ 580259 h 886800"/>
                <a:gd name="connsiteX1283" fmla="*/ 503235 w 533217"/>
                <a:gd name="connsiteY1283" fmla="*/ 580000 h 886800"/>
                <a:gd name="connsiteX1284" fmla="*/ 506595 w 533217"/>
                <a:gd name="connsiteY1284" fmla="*/ 577415 h 886800"/>
                <a:gd name="connsiteX1285" fmla="*/ 512153 w 533217"/>
                <a:gd name="connsiteY1285" fmla="*/ 574701 h 886800"/>
                <a:gd name="connsiteX1286" fmla="*/ 514996 w 533217"/>
                <a:gd name="connsiteY1286" fmla="*/ 572504 h 886800"/>
                <a:gd name="connsiteX1287" fmla="*/ 516029 w 533217"/>
                <a:gd name="connsiteY1287" fmla="*/ 571858 h 886800"/>
                <a:gd name="connsiteX1288" fmla="*/ 519131 w 533217"/>
                <a:gd name="connsiteY1288" fmla="*/ 570695 h 886800"/>
                <a:gd name="connsiteX1289" fmla="*/ 521070 w 533217"/>
                <a:gd name="connsiteY1289" fmla="*/ 569532 h 886800"/>
                <a:gd name="connsiteX1290" fmla="*/ 522491 w 533217"/>
                <a:gd name="connsiteY1290" fmla="*/ 568757 h 886800"/>
                <a:gd name="connsiteX1291" fmla="*/ 523008 w 533217"/>
                <a:gd name="connsiteY1291" fmla="*/ 568498 h 886800"/>
                <a:gd name="connsiteX1292" fmla="*/ 524171 w 533217"/>
                <a:gd name="connsiteY1292" fmla="*/ 567723 h 886800"/>
                <a:gd name="connsiteX1293" fmla="*/ 526627 w 533217"/>
                <a:gd name="connsiteY1293" fmla="*/ 565397 h 886800"/>
                <a:gd name="connsiteX1294" fmla="*/ 527402 w 533217"/>
                <a:gd name="connsiteY1294" fmla="*/ 564492 h 886800"/>
                <a:gd name="connsiteX1295" fmla="*/ 527790 w 533217"/>
                <a:gd name="connsiteY1295" fmla="*/ 563717 h 886800"/>
                <a:gd name="connsiteX1296" fmla="*/ 528048 w 533217"/>
                <a:gd name="connsiteY1296" fmla="*/ 563070 h 886800"/>
                <a:gd name="connsiteX1297" fmla="*/ 528307 w 533217"/>
                <a:gd name="connsiteY1297" fmla="*/ 561907 h 886800"/>
                <a:gd name="connsiteX1298" fmla="*/ 528565 w 533217"/>
                <a:gd name="connsiteY1298" fmla="*/ 559581 h 886800"/>
                <a:gd name="connsiteX1299" fmla="*/ 528953 w 533217"/>
                <a:gd name="connsiteY1299" fmla="*/ 558418 h 886800"/>
                <a:gd name="connsiteX1300" fmla="*/ 529728 w 533217"/>
                <a:gd name="connsiteY1300" fmla="*/ 556609 h 886800"/>
                <a:gd name="connsiteX1301" fmla="*/ 530374 w 533217"/>
                <a:gd name="connsiteY1301" fmla="*/ 555575 h 886800"/>
                <a:gd name="connsiteX1302" fmla="*/ 531021 w 533217"/>
                <a:gd name="connsiteY1302" fmla="*/ 554929 h 886800"/>
                <a:gd name="connsiteX1303" fmla="*/ 532054 w 533217"/>
                <a:gd name="connsiteY1303" fmla="*/ 554412 h 886800"/>
                <a:gd name="connsiteX1304" fmla="*/ 533218 w 533217"/>
                <a:gd name="connsiteY1304" fmla="*/ 553895 h 88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Lst>
              <a:rect l="l" t="t" r="r" b="b"/>
              <a:pathLst>
                <a:path w="533217" h="886800">
                  <a:moveTo>
                    <a:pt x="525980" y="554153"/>
                  </a:moveTo>
                  <a:lnTo>
                    <a:pt x="513057" y="552603"/>
                  </a:lnTo>
                  <a:lnTo>
                    <a:pt x="506725" y="549630"/>
                  </a:lnTo>
                  <a:lnTo>
                    <a:pt x="504786" y="548596"/>
                  </a:lnTo>
                  <a:lnTo>
                    <a:pt x="504398" y="548209"/>
                  </a:lnTo>
                  <a:lnTo>
                    <a:pt x="503623" y="547433"/>
                  </a:lnTo>
                  <a:lnTo>
                    <a:pt x="499746" y="542264"/>
                  </a:lnTo>
                  <a:lnTo>
                    <a:pt x="497937" y="540842"/>
                  </a:lnTo>
                  <a:lnTo>
                    <a:pt x="486952" y="537353"/>
                  </a:lnTo>
                  <a:lnTo>
                    <a:pt x="484238" y="537094"/>
                  </a:lnTo>
                  <a:lnTo>
                    <a:pt x="483592" y="537094"/>
                  </a:lnTo>
                  <a:lnTo>
                    <a:pt x="477001" y="538645"/>
                  </a:lnTo>
                  <a:lnTo>
                    <a:pt x="475967" y="538645"/>
                  </a:lnTo>
                  <a:lnTo>
                    <a:pt x="474546" y="538387"/>
                  </a:lnTo>
                  <a:lnTo>
                    <a:pt x="471961" y="537741"/>
                  </a:lnTo>
                  <a:lnTo>
                    <a:pt x="470798" y="537224"/>
                  </a:lnTo>
                  <a:lnTo>
                    <a:pt x="470022" y="536707"/>
                  </a:lnTo>
                  <a:lnTo>
                    <a:pt x="468084" y="532830"/>
                  </a:lnTo>
                  <a:lnTo>
                    <a:pt x="466533" y="531408"/>
                  </a:lnTo>
                  <a:lnTo>
                    <a:pt x="464724" y="529987"/>
                  </a:lnTo>
                  <a:lnTo>
                    <a:pt x="463302" y="528565"/>
                  </a:lnTo>
                  <a:lnTo>
                    <a:pt x="461881" y="524817"/>
                  </a:lnTo>
                  <a:lnTo>
                    <a:pt x="461235" y="523913"/>
                  </a:lnTo>
                  <a:lnTo>
                    <a:pt x="460588" y="523137"/>
                  </a:lnTo>
                  <a:lnTo>
                    <a:pt x="457616" y="520423"/>
                  </a:lnTo>
                  <a:lnTo>
                    <a:pt x="457228" y="519906"/>
                  </a:lnTo>
                  <a:lnTo>
                    <a:pt x="456970" y="519390"/>
                  </a:lnTo>
                  <a:lnTo>
                    <a:pt x="456841" y="518873"/>
                  </a:lnTo>
                  <a:lnTo>
                    <a:pt x="456841" y="518485"/>
                  </a:lnTo>
                  <a:lnTo>
                    <a:pt x="456841" y="518356"/>
                  </a:lnTo>
                  <a:lnTo>
                    <a:pt x="456841" y="517968"/>
                  </a:lnTo>
                  <a:lnTo>
                    <a:pt x="457357" y="515642"/>
                  </a:lnTo>
                  <a:lnTo>
                    <a:pt x="457616" y="512799"/>
                  </a:lnTo>
                  <a:lnTo>
                    <a:pt x="457487" y="510860"/>
                  </a:lnTo>
                  <a:lnTo>
                    <a:pt x="457228" y="509697"/>
                  </a:lnTo>
                  <a:lnTo>
                    <a:pt x="455419" y="506078"/>
                  </a:lnTo>
                  <a:lnTo>
                    <a:pt x="454127" y="504269"/>
                  </a:lnTo>
                  <a:lnTo>
                    <a:pt x="452834" y="502977"/>
                  </a:lnTo>
                  <a:lnTo>
                    <a:pt x="445209" y="498324"/>
                  </a:lnTo>
                  <a:lnTo>
                    <a:pt x="440945" y="494318"/>
                  </a:lnTo>
                  <a:lnTo>
                    <a:pt x="439782" y="493672"/>
                  </a:lnTo>
                  <a:lnTo>
                    <a:pt x="438748" y="493155"/>
                  </a:lnTo>
                  <a:lnTo>
                    <a:pt x="437843" y="493026"/>
                  </a:lnTo>
                  <a:lnTo>
                    <a:pt x="436422" y="492380"/>
                  </a:lnTo>
                  <a:lnTo>
                    <a:pt x="435905" y="491734"/>
                  </a:lnTo>
                  <a:lnTo>
                    <a:pt x="435517" y="491087"/>
                  </a:lnTo>
                  <a:lnTo>
                    <a:pt x="435129" y="488503"/>
                  </a:lnTo>
                  <a:lnTo>
                    <a:pt x="435129" y="487210"/>
                  </a:lnTo>
                  <a:lnTo>
                    <a:pt x="435388" y="485918"/>
                  </a:lnTo>
                  <a:lnTo>
                    <a:pt x="435905" y="484238"/>
                  </a:lnTo>
                  <a:lnTo>
                    <a:pt x="436551" y="483333"/>
                  </a:lnTo>
                  <a:lnTo>
                    <a:pt x="436809" y="482946"/>
                  </a:lnTo>
                  <a:lnTo>
                    <a:pt x="437197" y="482558"/>
                  </a:lnTo>
                  <a:lnTo>
                    <a:pt x="437714" y="482299"/>
                  </a:lnTo>
                  <a:lnTo>
                    <a:pt x="438231" y="482041"/>
                  </a:lnTo>
                  <a:lnTo>
                    <a:pt x="438748" y="482041"/>
                  </a:lnTo>
                  <a:lnTo>
                    <a:pt x="439911" y="482170"/>
                  </a:lnTo>
                  <a:lnTo>
                    <a:pt x="440557" y="482170"/>
                  </a:lnTo>
                  <a:lnTo>
                    <a:pt x="441074" y="481912"/>
                  </a:lnTo>
                  <a:lnTo>
                    <a:pt x="441591" y="481783"/>
                  </a:lnTo>
                  <a:lnTo>
                    <a:pt x="442108" y="481524"/>
                  </a:lnTo>
                  <a:lnTo>
                    <a:pt x="442496" y="481266"/>
                  </a:lnTo>
                  <a:lnTo>
                    <a:pt x="442883" y="480878"/>
                  </a:lnTo>
                  <a:lnTo>
                    <a:pt x="443271" y="479715"/>
                  </a:lnTo>
                  <a:lnTo>
                    <a:pt x="444046" y="476613"/>
                  </a:lnTo>
                  <a:lnTo>
                    <a:pt x="444176" y="476096"/>
                  </a:lnTo>
                  <a:lnTo>
                    <a:pt x="444822" y="475192"/>
                  </a:lnTo>
                  <a:lnTo>
                    <a:pt x="445468" y="474416"/>
                  </a:lnTo>
                  <a:lnTo>
                    <a:pt x="447665" y="472090"/>
                  </a:lnTo>
                  <a:lnTo>
                    <a:pt x="448957" y="471185"/>
                  </a:lnTo>
                  <a:lnTo>
                    <a:pt x="449345" y="470798"/>
                  </a:lnTo>
                  <a:lnTo>
                    <a:pt x="449733" y="470410"/>
                  </a:lnTo>
                  <a:lnTo>
                    <a:pt x="449991" y="469893"/>
                  </a:lnTo>
                  <a:lnTo>
                    <a:pt x="450120" y="469376"/>
                  </a:lnTo>
                  <a:lnTo>
                    <a:pt x="450120" y="468471"/>
                  </a:lnTo>
                  <a:lnTo>
                    <a:pt x="449991" y="467567"/>
                  </a:lnTo>
                  <a:lnTo>
                    <a:pt x="449603" y="466275"/>
                  </a:lnTo>
                  <a:lnTo>
                    <a:pt x="449087" y="465628"/>
                  </a:lnTo>
                  <a:lnTo>
                    <a:pt x="448699" y="465111"/>
                  </a:lnTo>
                  <a:lnTo>
                    <a:pt x="447277" y="464207"/>
                  </a:lnTo>
                  <a:lnTo>
                    <a:pt x="446243" y="463819"/>
                  </a:lnTo>
                  <a:lnTo>
                    <a:pt x="444434" y="463302"/>
                  </a:lnTo>
                  <a:lnTo>
                    <a:pt x="435775" y="459942"/>
                  </a:lnTo>
                  <a:lnTo>
                    <a:pt x="426471" y="454902"/>
                  </a:lnTo>
                  <a:lnTo>
                    <a:pt x="422335" y="451671"/>
                  </a:lnTo>
                  <a:lnTo>
                    <a:pt x="420655" y="449733"/>
                  </a:lnTo>
                  <a:lnTo>
                    <a:pt x="418587" y="445726"/>
                  </a:lnTo>
                  <a:lnTo>
                    <a:pt x="418458" y="445209"/>
                  </a:lnTo>
                  <a:lnTo>
                    <a:pt x="418200" y="443917"/>
                  </a:lnTo>
                  <a:lnTo>
                    <a:pt x="418200" y="441074"/>
                  </a:lnTo>
                  <a:lnTo>
                    <a:pt x="418458" y="436938"/>
                  </a:lnTo>
                  <a:lnTo>
                    <a:pt x="418329" y="435517"/>
                  </a:lnTo>
                  <a:lnTo>
                    <a:pt x="416778" y="429831"/>
                  </a:lnTo>
                  <a:lnTo>
                    <a:pt x="416390" y="428797"/>
                  </a:lnTo>
                  <a:lnTo>
                    <a:pt x="412384" y="422723"/>
                  </a:lnTo>
                  <a:lnTo>
                    <a:pt x="411609" y="421947"/>
                  </a:lnTo>
                  <a:lnTo>
                    <a:pt x="406181" y="418329"/>
                  </a:lnTo>
                  <a:lnTo>
                    <a:pt x="405664" y="418070"/>
                  </a:lnTo>
                  <a:lnTo>
                    <a:pt x="404372" y="417812"/>
                  </a:lnTo>
                  <a:lnTo>
                    <a:pt x="402950" y="417812"/>
                  </a:lnTo>
                  <a:lnTo>
                    <a:pt x="398298" y="418200"/>
                  </a:lnTo>
                  <a:lnTo>
                    <a:pt x="396876" y="418070"/>
                  </a:lnTo>
                  <a:lnTo>
                    <a:pt x="395584" y="417812"/>
                  </a:lnTo>
                  <a:lnTo>
                    <a:pt x="394808" y="417424"/>
                  </a:lnTo>
                  <a:lnTo>
                    <a:pt x="393775" y="416778"/>
                  </a:lnTo>
                  <a:lnTo>
                    <a:pt x="391965" y="415357"/>
                  </a:lnTo>
                  <a:lnTo>
                    <a:pt x="391190" y="414452"/>
                  </a:lnTo>
                  <a:lnTo>
                    <a:pt x="390931" y="413677"/>
                  </a:lnTo>
                  <a:lnTo>
                    <a:pt x="390931" y="412901"/>
                  </a:lnTo>
                  <a:lnTo>
                    <a:pt x="391319" y="411867"/>
                  </a:lnTo>
                  <a:lnTo>
                    <a:pt x="391836" y="410704"/>
                  </a:lnTo>
                  <a:lnTo>
                    <a:pt x="392094" y="409670"/>
                  </a:lnTo>
                  <a:lnTo>
                    <a:pt x="392353" y="409153"/>
                  </a:lnTo>
                  <a:lnTo>
                    <a:pt x="392741" y="408636"/>
                  </a:lnTo>
                  <a:lnTo>
                    <a:pt x="392999" y="408249"/>
                  </a:lnTo>
                  <a:lnTo>
                    <a:pt x="395325" y="406181"/>
                  </a:lnTo>
                  <a:lnTo>
                    <a:pt x="396747" y="404630"/>
                  </a:lnTo>
                  <a:lnTo>
                    <a:pt x="398298" y="403209"/>
                  </a:lnTo>
                  <a:lnTo>
                    <a:pt x="399590" y="401529"/>
                  </a:lnTo>
                  <a:lnTo>
                    <a:pt x="400365" y="400753"/>
                  </a:lnTo>
                  <a:lnTo>
                    <a:pt x="401399" y="399461"/>
                  </a:lnTo>
                  <a:lnTo>
                    <a:pt x="402046" y="398685"/>
                  </a:lnTo>
                  <a:lnTo>
                    <a:pt x="404242" y="397135"/>
                  </a:lnTo>
                  <a:lnTo>
                    <a:pt x="404630" y="396747"/>
                  </a:lnTo>
                  <a:lnTo>
                    <a:pt x="405406" y="396101"/>
                  </a:lnTo>
                  <a:lnTo>
                    <a:pt x="406827" y="395325"/>
                  </a:lnTo>
                  <a:lnTo>
                    <a:pt x="408895" y="393645"/>
                  </a:lnTo>
                  <a:lnTo>
                    <a:pt x="409929" y="392482"/>
                  </a:lnTo>
                  <a:lnTo>
                    <a:pt x="410316" y="392095"/>
                  </a:lnTo>
                  <a:lnTo>
                    <a:pt x="410446" y="391578"/>
                  </a:lnTo>
                  <a:lnTo>
                    <a:pt x="410575" y="390931"/>
                  </a:lnTo>
                  <a:lnTo>
                    <a:pt x="410446" y="390414"/>
                  </a:lnTo>
                  <a:lnTo>
                    <a:pt x="408120" y="383048"/>
                  </a:lnTo>
                  <a:lnTo>
                    <a:pt x="408120" y="382402"/>
                  </a:lnTo>
                  <a:lnTo>
                    <a:pt x="408249" y="381885"/>
                  </a:lnTo>
                  <a:lnTo>
                    <a:pt x="410058" y="378396"/>
                  </a:lnTo>
                  <a:lnTo>
                    <a:pt x="410446" y="377491"/>
                  </a:lnTo>
                  <a:lnTo>
                    <a:pt x="410704" y="374906"/>
                  </a:lnTo>
                  <a:lnTo>
                    <a:pt x="411092" y="373873"/>
                  </a:lnTo>
                  <a:lnTo>
                    <a:pt x="411221" y="373226"/>
                  </a:lnTo>
                  <a:lnTo>
                    <a:pt x="411350" y="370642"/>
                  </a:lnTo>
                  <a:lnTo>
                    <a:pt x="412384" y="365731"/>
                  </a:lnTo>
                  <a:lnTo>
                    <a:pt x="413806" y="361854"/>
                  </a:lnTo>
                  <a:lnTo>
                    <a:pt x="414840" y="360562"/>
                  </a:lnTo>
                  <a:lnTo>
                    <a:pt x="416132" y="357589"/>
                  </a:lnTo>
                  <a:lnTo>
                    <a:pt x="416520" y="356168"/>
                  </a:lnTo>
                  <a:lnTo>
                    <a:pt x="417037" y="355134"/>
                  </a:lnTo>
                  <a:lnTo>
                    <a:pt x="417554" y="354229"/>
                  </a:lnTo>
                  <a:lnTo>
                    <a:pt x="418200" y="353324"/>
                  </a:lnTo>
                  <a:lnTo>
                    <a:pt x="421560" y="350352"/>
                  </a:lnTo>
                  <a:lnTo>
                    <a:pt x="422077" y="349964"/>
                  </a:lnTo>
                  <a:lnTo>
                    <a:pt x="429831" y="346863"/>
                  </a:lnTo>
                  <a:lnTo>
                    <a:pt x="436034" y="345829"/>
                  </a:lnTo>
                  <a:lnTo>
                    <a:pt x="436680" y="345829"/>
                  </a:lnTo>
                  <a:lnTo>
                    <a:pt x="439394" y="346087"/>
                  </a:lnTo>
                  <a:lnTo>
                    <a:pt x="440040" y="346087"/>
                  </a:lnTo>
                  <a:lnTo>
                    <a:pt x="442625" y="345829"/>
                  </a:lnTo>
                  <a:lnTo>
                    <a:pt x="453093" y="345700"/>
                  </a:lnTo>
                  <a:lnTo>
                    <a:pt x="453480" y="345700"/>
                  </a:lnTo>
                  <a:lnTo>
                    <a:pt x="453868" y="345570"/>
                  </a:lnTo>
                  <a:lnTo>
                    <a:pt x="454256" y="345053"/>
                  </a:lnTo>
                  <a:lnTo>
                    <a:pt x="454127" y="344666"/>
                  </a:lnTo>
                  <a:lnTo>
                    <a:pt x="453868" y="344149"/>
                  </a:lnTo>
                  <a:lnTo>
                    <a:pt x="452576" y="343373"/>
                  </a:lnTo>
                  <a:lnTo>
                    <a:pt x="452317" y="343244"/>
                  </a:lnTo>
                  <a:lnTo>
                    <a:pt x="451930" y="342986"/>
                  </a:lnTo>
                  <a:lnTo>
                    <a:pt x="451671" y="342727"/>
                  </a:lnTo>
                  <a:lnTo>
                    <a:pt x="451283" y="342081"/>
                  </a:lnTo>
                  <a:lnTo>
                    <a:pt x="450250" y="340013"/>
                  </a:lnTo>
                  <a:lnTo>
                    <a:pt x="449087" y="338333"/>
                  </a:lnTo>
                  <a:lnTo>
                    <a:pt x="448569" y="337299"/>
                  </a:lnTo>
                  <a:lnTo>
                    <a:pt x="448569" y="336524"/>
                  </a:lnTo>
                  <a:lnTo>
                    <a:pt x="448828" y="336007"/>
                  </a:lnTo>
                  <a:lnTo>
                    <a:pt x="449216" y="335749"/>
                  </a:lnTo>
                  <a:lnTo>
                    <a:pt x="450767" y="335103"/>
                  </a:lnTo>
                  <a:lnTo>
                    <a:pt x="451154" y="334844"/>
                  </a:lnTo>
                  <a:lnTo>
                    <a:pt x="451542" y="334456"/>
                  </a:lnTo>
                  <a:lnTo>
                    <a:pt x="451800" y="333939"/>
                  </a:lnTo>
                  <a:lnTo>
                    <a:pt x="452059" y="333423"/>
                  </a:lnTo>
                  <a:lnTo>
                    <a:pt x="452317" y="332906"/>
                  </a:lnTo>
                  <a:lnTo>
                    <a:pt x="452576" y="329416"/>
                  </a:lnTo>
                  <a:lnTo>
                    <a:pt x="452834" y="328253"/>
                  </a:lnTo>
                  <a:lnTo>
                    <a:pt x="454127" y="325539"/>
                  </a:lnTo>
                  <a:lnTo>
                    <a:pt x="454256" y="324764"/>
                  </a:lnTo>
                  <a:lnTo>
                    <a:pt x="454256" y="324118"/>
                  </a:lnTo>
                  <a:lnTo>
                    <a:pt x="453997" y="323601"/>
                  </a:lnTo>
                  <a:lnTo>
                    <a:pt x="453222" y="322567"/>
                  </a:lnTo>
                  <a:lnTo>
                    <a:pt x="452705" y="321662"/>
                  </a:lnTo>
                  <a:lnTo>
                    <a:pt x="452576" y="321016"/>
                  </a:lnTo>
                  <a:lnTo>
                    <a:pt x="452705" y="320370"/>
                  </a:lnTo>
                  <a:lnTo>
                    <a:pt x="453480" y="319465"/>
                  </a:lnTo>
                  <a:lnTo>
                    <a:pt x="453610" y="318948"/>
                  </a:lnTo>
                  <a:lnTo>
                    <a:pt x="454514" y="316105"/>
                  </a:lnTo>
                  <a:lnTo>
                    <a:pt x="454902" y="314167"/>
                  </a:lnTo>
                  <a:lnTo>
                    <a:pt x="455031" y="313650"/>
                  </a:lnTo>
                  <a:lnTo>
                    <a:pt x="455290" y="313133"/>
                  </a:lnTo>
                  <a:lnTo>
                    <a:pt x="456065" y="312228"/>
                  </a:lnTo>
                  <a:lnTo>
                    <a:pt x="456582" y="311711"/>
                  </a:lnTo>
                  <a:lnTo>
                    <a:pt x="456711" y="310419"/>
                  </a:lnTo>
                  <a:lnTo>
                    <a:pt x="456453" y="309256"/>
                  </a:lnTo>
                  <a:lnTo>
                    <a:pt x="455807" y="307447"/>
                  </a:lnTo>
                  <a:lnTo>
                    <a:pt x="455419" y="305896"/>
                  </a:lnTo>
                  <a:lnTo>
                    <a:pt x="454773" y="301243"/>
                  </a:lnTo>
                  <a:lnTo>
                    <a:pt x="454514" y="299951"/>
                  </a:lnTo>
                  <a:lnTo>
                    <a:pt x="453997" y="299176"/>
                  </a:lnTo>
                  <a:lnTo>
                    <a:pt x="448182" y="296720"/>
                  </a:lnTo>
                  <a:lnTo>
                    <a:pt x="447536" y="296332"/>
                  </a:lnTo>
                  <a:lnTo>
                    <a:pt x="446890" y="295686"/>
                  </a:lnTo>
                  <a:lnTo>
                    <a:pt x="445597" y="293619"/>
                  </a:lnTo>
                  <a:lnTo>
                    <a:pt x="445080" y="293102"/>
                  </a:lnTo>
                  <a:lnTo>
                    <a:pt x="444693" y="292714"/>
                  </a:lnTo>
                  <a:lnTo>
                    <a:pt x="444176" y="292585"/>
                  </a:lnTo>
                  <a:lnTo>
                    <a:pt x="443659" y="292326"/>
                  </a:lnTo>
                  <a:lnTo>
                    <a:pt x="443013" y="292197"/>
                  </a:lnTo>
                  <a:lnTo>
                    <a:pt x="442366" y="292197"/>
                  </a:lnTo>
                  <a:lnTo>
                    <a:pt x="441720" y="292197"/>
                  </a:lnTo>
                  <a:lnTo>
                    <a:pt x="441203" y="292455"/>
                  </a:lnTo>
                  <a:lnTo>
                    <a:pt x="440816" y="292714"/>
                  </a:lnTo>
                  <a:lnTo>
                    <a:pt x="440299" y="292972"/>
                  </a:lnTo>
                  <a:lnTo>
                    <a:pt x="439782" y="293231"/>
                  </a:lnTo>
                  <a:lnTo>
                    <a:pt x="438619" y="293619"/>
                  </a:lnTo>
                  <a:lnTo>
                    <a:pt x="437456" y="293748"/>
                  </a:lnTo>
                  <a:lnTo>
                    <a:pt x="430348" y="294136"/>
                  </a:lnTo>
                  <a:lnTo>
                    <a:pt x="426729" y="294911"/>
                  </a:lnTo>
                  <a:lnTo>
                    <a:pt x="425824" y="295557"/>
                  </a:lnTo>
                  <a:lnTo>
                    <a:pt x="425178" y="296332"/>
                  </a:lnTo>
                  <a:lnTo>
                    <a:pt x="424791" y="296720"/>
                  </a:lnTo>
                  <a:lnTo>
                    <a:pt x="424403" y="296979"/>
                  </a:lnTo>
                  <a:lnTo>
                    <a:pt x="423240" y="297366"/>
                  </a:lnTo>
                  <a:lnTo>
                    <a:pt x="417941" y="298400"/>
                  </a:lnTo>
                  <a:lnTo>
                    <a:pt x="417424" y="298271"/>
                  </a:lnTo>
                  <a:lnTo>
                    <a:pt x="417037" y="298271"/>
                  </a:lnTo>
                  <a:lnTo>
                    <a:pt x="416390" y="298271"/>
                  </a:lnTo>
                  <a:lnTo>
                    <a:pt x="413418" y="298788"/>
                  </a:lnTo>
                  <a:lnTo>
                    <a:pt x="412901" y="299046"/>
                  </a:lnTo>
                  <a:lnTo>
                    <a:pt x="412513" y="299305"/>
                  </a:lnTo>
                  <a:lnTo>
                    <a:pt x="411738" y="300080"/>
                  </a:lnTo>
                  <a:lnTo>
                    <a:pt x="411350" y="300468"/>
                  </a:lnTo>
                  <a:lnTo>
                    <a:pt x="410833" y="300597"/>
                  </a:lnTo>
                  <a:lnTo>
                    <a:pt x="409799" y="300597"/>
                  </a:lnTo>
                  <a:lnTo>
                    <a:pt x="409283" y="300726"/>
                  </a:lnTo>
                  <a:lnTo>
                    <a:pt x="407861" y="302148"/>
                  </a:lnTo>
                  <a:lnTo>
                    <a:pt x="406956" y="302665"/>
                  </a:lnTo>
                  <a:lnTo>
                    <a:pt x="406181" y="303053"/>
                  </a:lnTo>
                  <a:lnTo>
                    <a:pt x="405923" y="303182"/>
                  </a:lnTo>
                  <a:lnTo>
                    <a:pt x="405793" y="303440"/>
                  </a:lnTo>
                  <a:lnTo>
                    <a:pt x="405406" y="304216"/>
                  </a:lnTo>
                  <a:lnTo>
                    <a:pt x="404113" y="305896"/>
                  </a:lnTo>
                  <a:lnTo>
                    <a:pt x="403726" y="306283"/>
                  </a:lnTo>
                  <a:lnTo>
                    <a:pt x="403338" y="306542"/>
                  </a:lnTo>
                  <a:lnTo>
                    <a:pt x="401399" y="307576"/>
                  </a:lnTo>
                  <a:lnTo>
                    <a:pt x="399202" y="307963"/>
                  </a:lnTo>
                  <a:lnTo>
                    <a:pt x="398686" y="307963"/>
                  </a:lnTo>
                  <a:lnTo>
                    <a:pt x="397910" y="307834"/>
                  </a:lnTo>
                  <a:lnTo>
                    <a:pt x="397264" y="307447"/>
                  </a:lnTo>
                  <a:lnTo>
                    <a:pt x="396359" y="306542"/>
                  </a:lnTo>
                  <a:lnTo>
                    <a:pt x="395842" y="305767"/>
                  </a:lnTo>
                  <a:lnTo>
                    <a:pt x="395584" y="304862"/>
                  </a:lnTo>
                  <a:lnTo>
                    <a:pt x="395325" y="303828"/>
                  </a:lnTo>
                  <a:lnTo>
                    <a:pt x="394938" y="302923"/>
                  </a:lnTo>
                  <a:lnTo>
                    <a:pt x="394421" y="302277"/>
                  </a:lnTo>
                  <a:lnTo>
                    <a:pt x="393904" y="301890"/>
                  </a:lnTo>
                  <a:lnTo>
                    <a:pt x="393258" y="301631"/>
                  </a:lnTo>
                  <a:lnTo>
                    <a:pt x="391965" y="301373"/>
                  </a:lnTo>
                  <a:lnTo>
                    <a:pt x="391061" y="300597"/>
                  </a:lnTo>
                  <a:lnTo>
                    <a:pt x="390544" y="299563"/>
                  </a:lnTo>
                  <a:lnTo>
                    <a:pt x="389639" y="297237"/>
                  </a:lnTo>
                  <a:lnTo>
                    <a:pt x="388993" y="295945"/>
                  </a:lnTo>
                  <a:lnTo>
                    <a:pt x="383307" y="287674"/>
                  </a:lnTo>
                  <a:lnTo>
                    <a:pt x="382790" y="287157"/>
                  </a:lnTo>
                  <a:lnTo>
                    <a:pt x="382402" y="286898"/>
                  </a:lnTo>
                  <a:lnTo>
                    <a:pt x="380205" y="285994"/>
                  </a:lnTo>
                  <a:lnTo>
                    <a:pt x="378913" y="285218"/>
                  </a:lnTo>
                  <a:lnTo>
                    <a:pt x="377233" y="283280"/>
                  </a:lnTo>
                  <a:lnTo>
                    <a:pt x="375294" y="278886"/>
                  </a:lnTo>
                  <a:lnTo>
                    <a:pt x="374390" y="277335"/>
                  </a:lnTo>
                  <a:lnTo>
                    <a:pt x="373873" y="276560"/>
                  </a:lnTo>
                  <a:lnTo>
                    <a:pt x="373356" y="276043"/>
                  </a:lnTo>
                  <a:lnTo>
                    <a:pt x="372839" y="275784"/>
                  </a:lnTo>
                  <a:lnTo>
                    <a:pt x="372322" y="275655"/>
                  </a:lnTo>
                  <a:lnTo>
                    <a:pt x="371676" y="275526"/>
                  </a:lnTo>
                  <a:lnTo>
                    <a:pt x="370900" y="275397"/>
                  </a:lnTo>
                  <a:lnTo>
                    <a:pt x="370254" y="275267"/>
                  </a:lnTo>
                  <a:lnTo>
                    <a:pt x="369608" y="274750"/>
                  </a:lnTo>
                  <a:lnTo>
                    <a:pt x="369349" y="274363"/>
                  </a:lnTo>
                  <a:lnTo>
                    <a:pt x="369349" y="273717"/>
                  </a:lnTo>
                  <a:lnTo>
                    <a:pt x="369479" y="273070"/>
                  </a:lnTo>
                  <a:lnTo>
                    <a:pt x="369608" y="272424"/>
                  </a:lnTo>
                  <a:lnTo>
                    <a:pt x="369608" y="271520"/>
                  </a:lnTo>
                  <a:lnTo>
                    <a:pt x="369220" y="270873"/>
                  </a:lnTo>
                  <a:lnTo>
                    <a:pt x="368832" y="270486"/>
                  </a:lnTo>
                  <a:lnTo>
                    <a:pt x="367669" y="269840"/>
                  </a:lnTo>
                  <a:lnTo>
                    <a:pt x="367411" y="269323"/>
                  </a:lnTo>
                  <a:lnTo>
                    <a:pt x="367411" y="268935"/>
                  </a:lnTo>
                  <a:lnTo>
                    <a:pt x="367669" y="268547"/>
                  </a:lnTo>
                  <a:lnTo>
                    <a:pt x="367928" y="268289"/>
                  </a:lnTo>
                  <a:lnTo>
                    <a:pt x="368057" y="267643"/>
                  </a:lnTo>
                  <a:lnTo>
                    <a:pt x="367799" y="267126"/>
                  </a:lnTo>
                  <a:lnTo>
                    <a:pt x="365860" y="264799"/>
                  </a:lnTo>
                  <a:lnTo>
                    <a:pt x="365472" y="264412"/>
                  </a:lnTo>
                  <a:lnTo>
                    <a:pt x="364956" y="264283"/>
                  </a:lnTo>
                  <a:lnTo>
                    <a:pt x="364568" y="264412"/>
                  </a:lnTo>
                  <a:lnTo>
                    <a:pt x="364309" y="264929"/>
                  </a:lnTo>
                  <a:lnTo>
                    <a:pt x="364439" y="265704"/>
                  </a:lnTo>
                  <a:lnTo>
                    <a:pt x="364439" y="266350"/>
                  </a:lnTo>
                  <a:lnTo>
                    <a:pt x="364309" y="266867"/>
                  </a:lnTo>
                  <a:lnTo>
                    <a:pt x="364051" y="267255"/>
                  </a:lnTo>
                  <a:lnTo>
                    <a:pt x="363534" y="267255"/>
                  </a:lnTo>
                  <a:lnTo>
                    <a:pt x="363017" y="266996"/>
                  </a:lnTo>
                  <a:lnTo>
                    <a:pt x="362500" y="266609"/>
                  </a:lnTo>
                  <a:lnTo>
                    <a:pt x="362242" y="266092"/>
                  </a:lnTo>
                  <a:lnTo>
                    <a:pt x="362242" y="265446"/>
                  </a:lnTo>
                  <a:lnTo>
                    <a:pt x="362371" y="264799"/>
                  </a:lnTo>
                  <a:lnTo>
                    <a:pt x="362112" y="263636"/>
                  </a:lnTo>
                  <a:lnTo>
                    <a:pt x="360691" y="260147"/>
                  </a:lnTo>
                  <a:lnTo>
                    <a:pt x="360174" y="259113"/>
                  </a:lnTo>
                  <a:lnTo>
                    <a:pt x="359528" y="258467"/>
                  </a:lnTo>
                  <a:lnTo>
                    <a:pt x="359011" y="258338"/>
                  </a:lnTo>
                  <a:lnTo>
                    <a:pt x="357589" y="258338"/>
                  </a:lnTo>
                  <a:lnTo>
                    <a:pt x="356943" y="258209"/>
                  </a:lnTo>
                  <a:lnTo>
                    <a:pt x="356297" y="257821"/>
                  </a:lnTo>
                  <a:lnTo>
                    <a:pt x="356168" y="257304"/>
                  </a:lnTo>
                  <a:lnTo>
                    <a:pt x="356426" y="256141"/>
                  </a:lnTo>
                  <a:lnTo>
                    <a:pt x="356426" y="255236"/>
                  </a:lnTo>
                  <a:lnTo>
                    <a:pt x="356168" y="253815"/>
                  </a:lnTo>
                  <a:lnTo>
                    <a:pt x="355651" y="253298"/>
                  </a:lnTo>
                  <a:lnTo>
                    <a:pt x="355134" y="253039"/>
                  </a:lnTo>
                  <a:lnTo>
                    <a:pt x="353195" y="252910"/>
                  </a:lnTo>
                  <a:lnTo>
                    <a:pt x="352549" y="253039"/>
                  </a:lnTo>
                  <a:lnTo>
                    <a:pt x="352161" y="253169"/>
                  </a:lnTo>
                  <a:lnTo>
                    <a:pt x="351644" y="253427"/>
                  </a:lnTo>
                  <a:lnTo>
                    <a:pt x="351127" y="253556"/>
                  </a:lnTo>
                  <a:lnTo>
                    <a:pt x="350481" y="253556"/>
                  </a:lnTo>
                  <a:lnTo>
                    <a:pt x="349447" y="252910"/>
                  </a:lnTo>
                  <a:lnTo>
                    <a:pt x="348801" y="251876"/>
                  </a:lnTo>
                  <a:lnTo>
                    <a:pt x="347250" y="249033"/>
                  </a:lnTo>
                  <a:lnTo>
                    <a:pt x="347121" y="248775"/>
                  </a:lnTo>
                  <a:lnTo>
                    <a:pt x="346863" y="248258"/>
                  </a:lnTo>
                  <a:lnTo>
                    <a:pt x="346475" y="245544"/>
                  </a:lnTo>
                  <a:lnTo>
                    <a:pt x="346217" y="244768"/>
                  </a:lnTo>
                  <a:lnTo>
                    <a:pt x="345958" y="244381"/>
                  </a:lnTo>
                  <a:lnTo>
                    <a:pt x="345829" y="244122"/>
                  </a:lnTo>
                  <a:lnTo>
                    <a:pt x="345312" y="243993"/>
                  </a:lnTo>
                  <a:lnTo>
                    <a:pt x="344795" y="243864"/>
                  </a:lnTo>
                  <a:lnTo>
                    <a:pt x="344278" y="243734"/>
                  </a:lnTo>
                  <a:lnTo>
                    <a:pt x="341823" y="243993"/>
                  </a:lnTo>
                  <a:lnTo>
                    <a:pt x="339238" y="244381"/>
                  </a:lnTo>
                  <a:lnTo>
                    <a:pt x="338850" y="244510"/>
                  </a:lnTo>
                  <a:lnTo>
                    <a:pt x="337816" y="244768"/>
                  </a:lnTo>
                  <a:lnTo>
                    <a:pt x="336136" y="243864"/>
                  </a:lnTo>
                  <a:lnTo>
                    <a:pt x="339497" y="241021"/>
                  </a:lnTo>
                  <a:lnTo>
                    <a:pt x="343632" y="239211"/>
                  </a:lnTo>
                  <a:lnTo>
                    <a:pt x="346992" y="237014"/>
                  </a:lnTo>
                  <a:lnTo>
                    <a:pt x="348414" y="232491"/>
                  </a:lnTo>
                  <a:lnTo>
                    <a:pt x="347380" y="228485"/>
                  </a:lnTo>
                  <a:lnTo>
                    <a:pt x="344407" y="226159"/>
                  </a:lnTo>
                  <a:lnTo>
                    <a:pt x="340530" y="225125"/>
                  </a:lnTo>
                  <a:lnTo>
                    <a:pt x="336395" y="224866"/>
                  </a:lnTo>
                  <a:lnTo>
                    <a:pt x="334715" y="226029"/>
                  </a:lnTo>
                  <a:lnTo>
                    <a:pt x="332389" y="228226"/>
                  </a:lnTo>
                  <a:lnTo>
                    <a:pt x="330321" y="229260"/>
                  </a:lnTo>
                  <a:lnTo>
                    <a:pt x="328641" y="224349"/>
                  </a:lnTo>
                  <a:lnTo>
                    <a:pt x="326702" y="222669"/>
                  </a:lnTo>
                  <a:lnTo>
                    <a:pt x="322696" y="220472"/>
                  </a:lnTo>
                  <a:lnTo>
                    <a:pt x="319982" y="216854"/>
                  </a:lnTo>
                  <a:lnTo>
                    <a:pt x="321662" y="213494"/>
                  </a:lnTo>
                  <a:lnTo>
                    <a:pt x="325927" y="211814"/>
                  </a:lnTo>
                  <a:lnTo>
                    <a:pt x="330838" y="213106"/>
                  </a:lnTo>
                  <a:lnTo>
                    <a:pt x="336653" y="203543"/>
                  </a:lnTo>
                  <a:lnTo>
                    <a:pt x="344278" y="197081"/>
                  </a:lnTo>
                  <a:lnTo>
                    <a:pt x="345441" y="194367"/>
                  </a:lnTo>
                  <a:lnTo>
                    <a:pt x="345700" y="192299"/>
                  </a:lnTo>
                  <a:lnTo>
                    <a:pt x="347121" y="185967"/>
                  </a:lnTo>
                  <a:lnTo>
                    <a:pt x="347380" y="185062"/>
                  </a:lnTo>
                  <a:lnTo>
                    <a:pt x="347638" y="184158"/>
                  </a:lnTo>
                  <a:lnTo>
                    <a:pt x="347250" y="183253"/>
                  </a:lnTo>
                  <a:lnTo>
                    <a:pt x="346734" y="182607"/>
                  </a:lnTo>
                  <a:lnTo>
                    <a:pt x="346346" y="181832"/>
                  </a:lnTo>
                  <a:lnTo>
                    <a:pt x="346217" y="180927"/>
                  </a:lnTo>
                  <a:lnTo>
                    <a:pt x="346087" y="180281"/>
                  </a:lnTo>
                  <a:lnTo>
                    <a:pt x="346217" y="173690"/>
                  </a:lnTo>
                  <a:lnTo>
                    <a:pt x="346863" y="170717"/>
                  </a:lnTo>
                  <a:lnTo>
                    <a:pt x="348284" y="167487"/>
                  </a:lnTo>
                  <a:lnTo>
                    <a:pt x="346992" y="163739"/>
                  </a:lnTo>
                  <a:lnTo>
                    <a:pt x="347767" y="159862"/>
                  </a:lnTo>
                  <a:lnTo>
                    <a:pt x="350481" y="152883"/>
                  </a:lnTo>
                  <a:lnTo>
                    <a:pt x="350740" y="148877"/>
                  </a:lnTo>
                  <a:lnTo>
                    <a:pt x="350998" y="147197"/>
                  </a:lnTo>
                  <a:lnTo>
                    <a:pt x="351774" y="145517"/>
                  </a:lnTo>
                  <a:lnTo>
                    <a:pt x="354617" y="142028"/>
                  </a:lnTo>
                  <a:lnTo>
                    <a:pt x="355521" y="140348"/>
                  </a:lnTo>
                  <a:lnTo>
                    <a:pt x="354100" y="137892"/>
                  </a:lnTo>
                  <a:lnTo>
                    <a:pt x="354100" y="135437"/>
                  </a:lnTo>
                  <a:lnTo>
                    <a:pt x="356297" y="130138"/>
                  </a:lnTo>
                  <a:lnTo>
                    <a:pt x="355134" y="126520"/>
                  </a:lnTo>
                  <a:lnTo>
                    <a:pt x="358623" y="118636"/>
                  </a:lnTo>
                  <a:lnTo>
                    <a:pt x="359140" y="113984"/>
                  </a:lnTo>
                  <a:lnTo>
                    <a:pt x="358106" y="111916"/>
                  </a:lnTo>
                  <a:lnTo>
                    <a:pt x="355263" y="108427"/>
                  </a:lnTo>
                  <a:lnTo>
                    <a:pt x="354746" y="106230"/>
                  </a:lnTo>
                  <a:lnTo>
                    <a:pt x="354487" y="104033"/>
                  </a:lnTo>
                  <a:lnTo>
                    <a:pt x="353454" y="100156"/>
                  </a:lnTo>
                  <a:lnTo>
                    <a:pt x="353324" y="86328"/>
                  </a:lnTo>
                  <a:lnTo>
                    <a:pt x="354617" y="79479"/>
                  </a:lnTo>
                  <a:lnTo>
                    <a:pt x="354617" y="75085"/>
                  </a:lnTo>
                  <a:lnTo>
                    <a:pt x="354229" y="74051"/>
                  </a:lnTo>
                  <a:lnTo>
                    <a:pt x="353324" y="72758"/>
                  </a:lnTo>
                  <a:lnTo>
                    <a:pt x="352937" y="70820"/>
                  </a:lnTo>
                  <a:lnTo>
                    <a:pt x="351774" y="69398"/>
                  </a:lnTo>
                  <a:lnTo>
                    <a:pt x="351644" y="68106"/>
                  </a:lnTo>
                  <a:lnTo>
                    <a:pt x="351515" y="67072"/>
                  </a:lnTo>
                  <a:lnTo>
                    <a:pt x="351257" y="66038"/>
                  </a:lnTo>
                  <a:lnTo>
                    <a:pt x="350740" y="65134"/>
                  </a:lnTo>
                  <a:lnTo>
                    <a:pt x="350223" y="64100"/>
                  </a:lnTo>
                  <a:lnTo>
                    <a:pt x="347638" y="62291"/>
                  </a:lnTo>
                  <a:lnTo>
                    <a:pt x="347250" y="61644"/>
                  </a:lnTo>
                  <a:lnTo>
                    <a:pt x="348672" y="45102"/>
                  </a:lnTo>
                  <a:lnTo>
                    <a:pt x="345571" y="38512"/>
                  </a:lnTo>
                  <a:lnTo>
                    <a:pt x="343632" y="35410"/>
                  </a:lnTo>
                  <a:lnTo>
                    <a:pt x="341306" y="33342"/>
                  </a:lnTo>
                  <a:lnTo>
                    <a:pt x="339497" y="32955"/>
                  </a:lnTo>
                  <a:lnTo>
                    <a:pt x="335232" y="32438"/>
                  </a:lnTo>
                  <a:lnTo>
                    <a:pt x="333552" y="31662"/>
                  </a:lnTo>
                  <a:lnTo>
                    <a:pt x="331613" y="29982"/>
                  </a:lnTo>
                  <a:lnTo>
                    <a:pt x="321404" y="24167"/>
                  </a:lnTo>
                  <a:lnTo>
                    <a:pt x="319594" y="23520"/>
                  </a:lnTo>
                  <a:lnTo>
                    <a:pt x="317398" y="23262"/>
                  </a:lnTo>
                  <a:lnTo>
                    <a:pt x="313520" y="23908"/>
                  </a:lnTo>
                  <a:lnTo>
                    <a:pt x="311194" y="23908"/>
                  </a:lnTo>
                  <a:lnTo>
                    <a:pt x="308997" y="23262"/>
                  </a:lnTo>
                  <a:lnTo>
                    <a:pt x="307576" y="21711"/>
                  </a:lnTo>
                  <a:lnTo>
                    <a:pt x="306930" y="19643"/>
                  </a:lnTo>
                  <a:lnTo>
                    <a:pt x="306800" y="14862"/>
                  </a:lnTo>
                  <a:lnTo>
                    <a:pt x="306154" y="12406"/>
                  </a:lnTo>
                  <a:lnTo>
                    <a:pt x="304603" y="10597"/>
                  </a:lnTo>
                  <a:lnTo>
                    <a:pt x="302406" y="9434"/>
                  </a:lnTo>
                  <a:lnTo>
                    <a:pt x="298142" y="8013"/>
                  </a:lnTo>
                  <a:lnTo>
                    <a:pt x="294006" y="7366"/>
                  </a:lnTo>
                  <a:lnTo>
                    <a:pt x="291680" y="7237"/>
                  </a:lnTo>
                  <a:lnTo>
                    <a:pt x="289742" y="7754"/>
                  </a:lnTo>
                  <a:lnTo>
                    <a:pt x="287028" y="10209"/>
                  </a:lnTo>
                  <a:lnTo>
                    <a:pt x="284831" y="10856"/>
                  </a:lnTo>
                  <a:lnTo>
                    <a:pt x="279661" y="10856"/>
                  </a:lnTo>
                  <a:lnTo>
                    <a:pt x="275267" y="9951"/>
                  </a:lnTo>
                  <a:lnTo>
                    <a:pt x="258209" y="1939"/>
                  </a:lnTo>
                  <a:lnTo>
                    <a:pt x="256399" y="775"/>
                  </a:lnTo>
                  <a:lnTo>
                    <a:pt x="256012" y="258"/>
                  </a:lnTo>
                  <a:lnTo>
                    <a:pt x="255495" y="0"/>
                  </a:lnTo>
                  <a:lnTo>
                    <a:pt x="247094" y="258"/>
                  </a:lnTo>
                  <a:lnTo>
                    <a:pt x="242571" y="1034"/>
                  </a:lnTo>
                  <a:lnTo>
                    <a:pt x="238307" y="2455"/>
                  </a:lnTo>
                  <a:lnTo>
                    <a:pt x="234817" y="4394"/>
                  </a:lnTo>
                  <a:lnTo>
                    <a:pt x="233525" y="5815"/>
                  </a:lnTo>
                  <a:lnTo>
                    <a:pt x="232362" y="7496"/>
                  </a:lnTo>
                  <a:lnTo>
                    <a:pt x="229390" y="14733"/>
                  </a:lnTo>
                  <a:lnTo>
                    <a:pt x="229002" y="15379"/>
                  </a:lnTo>
                  <a:lnTo>
                    <a:pt x="227580" y="16930"/>
                  </a:lnTo>
                  <a:lnTo>
                    <a:pt x="226546" y="17705"/>
                  </a:lnTo>
                  <a:lnTo>
                    <a:pt x="226030" y="17317"/>
                  </a:lnTo>
                  <a:lnTo>
                    <a:pt x="225125" y="15508"/>
                  </a:lnTo>
                  <a:lnTo>
                    <a:pt x="223057" y="14991"/>
                  </a:lnTo>
                  <a:lnTo>
                    <a:pt x="219051" y="15379"/>
                  </a:lnTo>
                  <a:lnTo>
                    <a:pt x="218017" y="16154"/>
                  </a:lnTo>
                  <a:lnTo>
                    <a:pt x="214269" y="20548"/>
                  </a:lnTo>
                  <a:lnTo>
                    <a:pt x="218146" y="20807"/>
                  </a:lnTo>
                  <a:lnTo>
                    <a:pt x="223832" y="24167"/>
                  </a:lnTo>
                  <a:lnTo>
                    <a:pt x="228743" y="25330"/>
                  </a:lnTo>
                  <a:lnTo>
                    <a:pt x="230423" y="26234"/>
                  </a:lnTo>
                  <a:lnTo>
                    <a:pt x="232233" y="26622"/>
                  </a:lnTo>
                  <a:lnTo>
                    <a:pt x="234946" y="25588"/>
                  </a:lnTo>
                  <a:lnTo>
                    <a:pt x="249162" y="24167"/>
                  </a:lnTo>
                  <a:lnTo>
                    <a:pt x="251359" y="24554"/>
                  </a:lnTo>
                  <a:lnTo>
                    <a:pt x="252522" y="25459"/>
                  </a:lnTo>
                  <a:lnTo>
                    <a:pt x="257562" y="34635"/>
                  </a:lnTo>
                  <a:lnTo>
                    <a:pt x="259889" y="37736"/>
                  </a:lnTo>
                  <a:lnTo>
                    <a:pt x="262861" y="39545"/>
                  </a:lnTo>
                  <a:lnTo>
                    <a:pt x="264929" y="39675"/>
                  </a:lnTo>
                  <a:lnTo>
                    <a:pt x="267384" y="39675"/>
                  </a:lnTo>
                  <a:lnTo>
                    <a:pt x="269323" y="39933"/>
                  </a:lnTo>
                  <a:lnTo>
                    <a:pt x="270227" y="41355"/>
                  </a:lnTo>
                  <a:lnTo>
                    <a:pt x="270744" y="42776"/>
                  </a:lnTo>
                  <a:lnTo>
                    <a:pt x="271907" y="44069"/>
                  </a:lnTo>
                  <a:lnTo>
                    <a:pt x="274621" y="46007"/>
                  </a:lnTo>
                  <a:lnTo>
                    <a:pt x="275914" y="47558"/>
                  </a:lnTo>
                  <a:lnTo>
                    <a:pt x="276689" y="49367"/>
                  </a:lnTo>
                  <a:lnTo>
                    <a:pt x="276560" y="51435"/>
                  </a:lnTo>
                  <a:lnTo>
                    <a:pt x="275009" y="53761"/>
                  </a:lnTo>
                  <a:lnTo>
                    <a:pt x="271907" y="57380"/>
                  </a:lnTo>
                  <a:lnTo>
                    <a:pt x="270098" y="58414"/>
                  </a:lnTo>
                  <a:lnTo>
                    <a:pt x="267255" y="59189"/>
                  </a:lnTo>
                  <a:lnTo>
                    <a:pt x="263119" y="59318"/>
                  </a:lnTo>
                  <a:lnTo>
                    <a:pt x="260923" y="60094"/>
                  </a:lnTo>
                  <a:lnTo>
                    <a:pt x="260018" y="62549"/>
                  </a:lnTo>
                  <a:lnTo>
                    <a:pt x="260147" y="68623"/>
                  </a:lnTo>
                  <a:lnTo>
                    <a:pt x="260664" y="70949"/>
                  </a:lnTo>
                  <a:lnTo>
                    <a:pt x="262344" y="73146"/>
                  </a:lnTo>
                  <a:lnTo>
                    <a:pt x="267126" y="77799"/>
                  </a:lnTo>
                  <a:lnTo>
                    <a:pt x="268030" y="80125"/>
                  </a:lnTo>
                  <a:lnTo>
                    <a:pt x="267513" y="82322"/>
                  </a:lnTo>
                  <a:lnTo>
                    <a:pt x="266092" y="83356"/>
                  </a:lnTo>
                  <a:lnTo>
                    <a:pt x="259501" y="84519"/>
                  </a:lnTo>
                  <a:lnTo>
                    <a:pt x="257692" y="85423"/>
                  </a:lnTo>
                  <a:lnTo>
                    <a:pt x="256270" y="86716"/>
                  </a:lnTo>
                  <a:lnTo>
                    <a:pt x="255624" y="88913"/>
                  </a:lnTo>
                  <a:lnTo>
                    <a:pt x="256270" y="91885"/>
                  </a:lnTo>
                  <a:lnTo>
                    <a:pt x="257692" y="92660"/>
                  </a:lnTo>
                  <a:lnTo>
                    <a:pt x="259630" y="93177"/>
                  </a:lnTo>
                  <a:lnTo>
                    <a:pt x="261569" y="95116"/>
                  </a:lnTo>
                  <a:lnTo>
                    <a:pt x="261569" y="99768"/>
                  </a:lnTo>
                  <a:lnTo>
                    <a:pt x="257304" y="102224"/>
                  </a:lnTo>
                  <a:lnTo>
                    <a:pt x="247611" y="104808"/>
                  </a:lnTo>
                  <a:lnTo>
                    <a:pt x="246448" y="106101"/>
                  </a:lnTo>
                  <a:lnTo>
                    <a:pt x="246061" y="107652"/>
                  </a:lnTo>
                  <a:lnTo>
                    <a:pt x="246578" y="115535"/>
                  </a:lnTo>
                  <a:lnTo>
                    <a:pt x="247741" y="120058"/>
                  </a:lnTo>
                  <a:lnTo>
                    <a:pt x="248387" y="121350"/>
                  </a:lnTo>
                  <a:lnTo>
                    <a:pt x="249162" y="122126"/>
                  </a:lnTo>
                  <a:lnTo>
                    <a:pt x="250971" y="123289"/>
                  </a:lnTo>
                  <a:lnTo>
                    <a:pt x="251618" y="124323"/>
                  </a:lnTo>
                  <a:lnTo>
                    <a:pt x="251618" y="125486"/>
                  </a:lnTo>
                  <a:lnTo>
                    <a:pt x="251359" y="127812"/>
                  </a:lnTo>
                  <a:lnTo>
                    <a:pt x="250325" y="128070"/>
                  </a:lnTo>
                  <a:lnTo>
                    <a:pt x="242571" y="126003"/>
                  </a:lnTo>
                  <a:lnTo>
                    <a:pt x="238436" y="126907"/>
                  </a:lnTo>
                  <a:lnTo>
                    <a:pt x="235464" y="128975"/>
                  </a:lnTo>
                  <a:lnTo>
                    <a:pt x="230165" y="134144"/>
                  </a:lnTo>
                  <a:lnTo>
                    <a:pt x="227193" y="135954"/>
                  </a:lnTo>
                  <a:lnTo>
                    <a:pt x="226934" y="136729"/>
                  </a:lnTo>
                  <a:lnTo>
                    <a:pt x="226546" y="137763"/>
                  </a:lnTo>
                  <a:lnTo>
                    <a:pt x="225900" y="138797"/>
                  </a:lnTo>
                  <a:lnTo>
                    <a:pt x="222540" y="143191"/>
                  </a:lnTo>
                  <a:lnTo>
                    <a:pt x="221377" y="145258"/>
                  </a:lnTo>
                  <a:lnTo>
                    <a:pt x="220602" y="147326"/>
                  </a:lnTo>
                  <a:lnTo>
                    <a:pt x="221506" y="147714"/>
                  </a:lnTo>
                  <a:lnTo>
                    <a:pt x="221894" y="149523"/>
                  </a:lnTo>
                  <a:lnTo>
                    <a:pt x="222023" y="154305"/>
                  </a:lnTo>
                  <a:lnTo>
                    <a:pt x="221635" y="156889"/>
                  </a:lnTo>
                  <a:lnTo>
                    <a:pt x="220602" y="158828"/>
                  </a:lnTo>
                  <a:lnTo>
                    <a:pt x="218922" y="160379"/>
                  </a:lnTo>
                  <a:lnTo>
                    <a:pt x="204577" y="166453"/>
                  </a:lnTo>
                  <a:lnTo>
                    <a:pt x="201475" y="168650"/>
                  </a:lnTo>
                  <a:lnTo>
                    <a:pt x="199278" y="168521"/>
                  </a:lnTo>
                  <a:lnTo>
                    <a:pt x="196564" y="169037"/>
                  </a:lnTo>
                  <a:lnTo>
                    <a:pt x="184029" y="173044"/>
                  </a:lnTo>
                  <a:lnTo>
                    <a:pt x="182090" y="174207"/>
                  </a:lnTo>
                  <a:lnTo>
                    <a:pt x="180022" y="176145"/>
                  </a:lnTo>
                  <a:lnTo>
                    <a:pt x="163868" y="186226"/>
                  </a:lnTo>
                  <a:lnTo>
                    <a:pt x="161930" y="188552"/>
                  </a:lnTo>
                  <a:lnTo>
                    <a:pt x="161542" y="192816"/>
                  </a:lnTo>
                  <a:lnTo>
                    <a:pt x="164902" y="205481"/>
                  </a:lnTo>
                  <a:lnTo>
                    <a:pt x="165419" y="220731"/>
                  </a:lnTo>
                  <a:lnTo>
                    <a:pt x="165031" y="223057"/>
                  </a:lnTo>
                  <a:lnTo>
                    <a:pt x="161930" y="229777"/>
                  </a:lnTo>
                  <a:lnTo>
                    <a:pt x="145129" y="250325"/>
                  </a:lnTo>
                  <a:lnTo>
                    <a:pt x="144225" y="252522"/>
                  </a:lnTo>
                  <a:lnTo>
                    <a:pt x="143578" y="255365"/>
                  </a:lnTo>
                  <a:lnTo>
                    <a:pt x="143578" y="260793"/>
                  </a:lnTo>
                  <a:lnTo>
                    <a:pt x="145129" y="265446"/>
                  </a:lnTo>
                  <a:lnTo>
                    <a:pt x="148102" y="269452"/>
                  </a:lnTo>
                  <a:lnTo>
                    <a:pt x="152237" y="273200"/>
                  </a:lnTo>
                  <a:lnTo>
                    <a:pt x="161413" y="279532"/>
                  </a:lnTo>
                  <a:lnTo>
                    <a:pt x="165936" y="280954"/>
                  </a:lnTo>
                  <a:lnTo>
                    <a:pt x="167487" y="281988"/>
                  </a:lnTo>
                  <a:lnTo>
                    <a:pt x="167874" y="282763"/>
                  </a:lnTo>
                  <a:lnTo>
                    <a:pt x="167874" y="283538"/>
                  </a:lnTo>
                  <a:lnTo>
                    <a:pt x="167228" y="285218"/>
                  </a:lnTo>
                  <a:lnTo>
                    <a:pt x="167228" y="286511"/>
                  </a:lnTo>
                  <a:lnTo>
                    <a:pt x="167487" y="290388"/>
                  </a:lnTo>
                  <a:lnTo>
                    <a:pt x="167228" y="293102"/>
                  </a:lnTo>
                  <a:lnTo>
                    <a:pt x="166841" y="295299"/>
                  </a:lnTo>
                  <a:lnTo>
                    <a:pt x="165160" y="299563"/>
                  </a:lnTo>
                  <a:lnTo>
                    <a:pt x="164644" y="301760"/>
                  </a:lnTo>
                  <a:lnTo>
                    <a:pt x="164514" y="308739"/>
                  </a:lnTo>
                  <a:lnTo>
                    <a:pt x="164256" y="310160"/>
                  </a:lnTo>
                  <a:lnTo>
                    <a:pt x="163351" y="311065"/>
                  </a:lnTo>
                  <a:lnTo>
                    <a:pt x="162446" y="311840"/>
                  </a:lnTo>
                  <a:lnTo>
                    <a:pt x="161671" y="312874"/>
                  </a:lnTo>
                  <a:lnTo>
                    <a:pt x="161283" y="313908"/>
                  </a:lnTo>
                  <a:lnTo>
                    <a:pt x="160896" y="317268"/>
                  </a:lnTo>
                  <a:lnTo>
                    <a:pt x="153271" y="341177"/>
                  </a:lnTo>
                  <a:lnTo>
                    <a:pt x="153012" y="343373"/>
                  </a:lnTo>
                  <a:lnTo>
                    <a:pt x="152366" y="344924"/>
                  </a:lnTo>
                  <a:lnTo>
                    <a:pt x="150816" y="346346"/>
                  </a:lnTo>
                  <a:lnTo>
                    <a:pt x="147843" y="348284"/>
                  </a:lnTo>
                  <a:lnTo>
                    <a:pt x="144871" y="350869"/>
                  </a:lnTo>
                  <a:lnTo>
                    <a:pt x="142932" y="354229"/>
                  </a:lnTo>
                  <a:lnTo>
                    <a:pt x="139831" y="362888"/>
                  </a:lnTo>
                  <a:lnTo>
                    <a:pt x="135695" y="369608"/>
                  </a:lnTo>
                  <a:lnTo>
                    <a:pt x="134532" y="370383"/>
                  </a:lnTo>
                  <a:lnTo>
                    <a:pt x="131689" y="376199"/>
                  </a:lnTo>
                  <a:lnTo>
                    <a:pt x="132464" y="377620"/>
                  </a:lnTo>
                  <a:lnTo>
                    <a:pt x="132464" y="378913"/>
                  </a:lnTo>
                  <a:lnTo>
                    <a:pt x="131818" y="380205"/>
                  </a:lnTo>
                  <a:lnTo>
                    <a:pt x="126390" y="387313"/>
                  </a:lnTo>
                  <a:lnTo>
                    <a:pt x="126003" y="388476"/>
                  </a:lnTo>
                  <a:lnTo>
                    <a:pt x="125227" y="391190"/>
                  </a:lnTo>
                  <a:lnTo>
                    <a:pt x="123547" y="393258"/>
                  </a:lnTo>
                  <a:lnTo>
                    <a:pt x="121350" y="395067"/>
                  </a:lnTo>
                  <a:lnTo>
                    <a:pt x="119282" y="396230"/>
                  </a:lnTo>
                  <a:lnTo>
                    <a:pt x="112692" y="397651"/>
                  </a:lnTo>
                  <a:lnTo>
                    <a:pt x="110882" y="398685"/>
                  </a:lnTo>
                  <a:lnTo>
                    <a:pt x="104938" y="403209"/>
                  </a:lnTo>
                  <a:lnTo>
                    <a:pt x="103128" y="405147"/>
                  </a:lnTo>
                  <a:lnTo>
                    <a:pt x="102353" y="406698"/>
                  </a:lnTo>
                  <a:lnTo>
                    <a:pt x="101965" y="407603"/>
                  </a:lnTo>
                  <a:lnTo>
                    <a:pt x="101836" y="408378"/>
                  </a:lnTo>
                  <a:lnTo>
                    <a:pt x="101319" y="409153"/>
                  </a:lnTo>
                  <a:lnTo>
                    <a:pt x="99251" y="411092"/>
                  </a:lnTo>
                  <a:lnTo>
                    <a:pt x="98864" y="412126"/>
                  </a:lnTo>
                  <a:lnTo>
                    <a:pt x="98218" y="414581"/>
                  </a:lnTo>
                  <a:lnTo>
                    <a:pt x="96667" y="416778"/>
                  </a:lnTo>
                  <a:lnTo>
                    <a:pt x="93048" y="420655"/>
                  </a:lnTo>
                  <a:lnTo>
                    <a:pt x="86586" y="429960"/>
                  </a:lnTo>
                  <a:lnTo>
                    <a:pt x="84131" y="432415"/>
                  </a:lnTo>
                  <a:lnTo>
                    <a:pt x="81029" y="435000"/>
                  </a:lnTo>
                  <a:lnTo>
                    <a:pt x="79608" y="436680"/>
                  </a:lnTo>
                  <a:lnTo>
                    <a:pt x="79091" y="438748"/>
                  </a:lnTo>
                  <a:lnTo>
                    <a:pt x="78574" y="439652"/>
                  </a:lnTo>
                  <a:lnTo>
                    <a:pt x="75472" y="442754"/>
                  </a:lnTo>
                  <a:lnTo>
                    <a:pt x="73017" y="445985"/>
                  </a:lnTo>
                  <a:lnTo>
                    <a:pt x="72500" y="447277"/>
                  </a:lnTo>
                  <a:lnTo>
                    <a:pt x="71983" y="449474"/>
                  </a:lnTo>
                  <a:lnTo>
                    <a:pt x="71854" y="452059"/>
                  </a:lnTo>
                  <a:lnTo>
                    <a:pt x="71595" y="453222"/>
                  </a:lnTo>
                  <a:lnTo>
                    <a:pt x="70561" y="455160"/>
                  </a:lnTo>
                  <a:lnTo>
                    <a:pt x="68235" y="463561"/>
                  </a:lnTo>
                  <a:lnTo>
                    <a:pt x="67460" y="472736"/>
                  </a:lnTo>
                  <a:lnTo>
                    <a:pt x="66943" y="474933"/>
                  </a:lnTo>
                  <a:lnTo>
                    <a:pt x="64617" y="479715"/>
                  </a:lnTo>
                  <a:lnTo>
                    <a:pt x="63583" y="482687"/>
                  </a:lnTo>
                  <a:lnTo>
                    <a:pt x="63195" y="484755"/>
                  </a:lnTo>
                  <a:lnTo>
                    <a:pt x="63066" y="486047"/>
                  </a:lnTo>
                  <a:lnTo>
                    <a:pt x="62808" y="487210"/>
                  </a:lnTo>
                  <a:lnTo>
                    <a:pt x="62290" y="487857"/>
                  </a:lnTo>
                  <a:lnTo>
                    <a:pt x="61903" y="488373"/>
                  </a:lnTo>
                  <a:lnTo>
                    <a:pt x="61257" y="489666"/>
                  </a:lnTo>
                  <a:lnTo>
                    <a:pt x="59448" y="490829"/>
                  </a:lnTo>
                  <a:lnTo>
                    <a:pt x="58672" y="491604"/>
                  </a:lnTo>
                  <a:lnTo>
                    <a:pt x="58155" y="492638"/>
                  </a:lnTo>
                  <a:lnTo>
                    <a:pt x="57250" y="495998"/>
                  </a:lnTo>
                  <a:lnTo>
                    <a:pt x="55441" y="500004"/>
                  </a:lnTo>
                  <a:lnTo>
                    <a:pt x="53761" y="502718"/>
                  </a:lnTo>
                  <a:lnTo>
                    <a:pt x="51176" y="506595"/>
                  </a:lnTo>
                  <a:lnTo>
                    <a:pt x="49238" y="510860"/>
                  </a:lnTo>
                  <a:lnTo>
                    <a:pt x="47170" y="517839"/>
                  </a:lnTo>
                  <a:lnTo>
                    <a:pt x="47041" y="520165"/>
                  </a:lnTo>
                  <a:lnTo>
                    <a:pt x="46524" y="521845"/>
                  </a:lnTo>
                  <a:lnTo>
                    <a:pt x="45232" y="523525"/>
                  </a:lnTo>
                  <a:lnTo>
                    <a:pt x="39416" y="529728"/>
                  </a:lnTo>
                  <a:lnTo>
                    <a:pt x="38641" y="530891"/>
                  </a:lnTo>
                  <a:lnTo>
                    <a:pt x="37736" y="533218"/>
                  </a:lnTo>
                  <a:lnTo>
                    <a:pt x="37219" y="534251"/>
                  </a:lnTo>
                  <a:lnTo>
                    <a:pt x="36573" y="536190"/>
                  </a:lnTo>
                  <a:lnTo>
                    <a:pt x="36702" y="538645"/>
                  </a:lnTo>
                  <a:lnTo>
                    <a:pt x="37478" y="542652"/>
                  </a:lnTo>
                  <a:lnTo>
                    <a:pt x="36961" y="547045"/>
                  </a:lnTo>
                  <a:lnTo>
                    <a:pt x="35668" y="551827"/>
                  </a:lnTo>
                  <a:lnTo>
                    <a:pt x="33471" y="556480"/>
                  </a:lnTo>
                  <a:lnTo>
                    <a:pt x="31016" y="559710"/>
                  </a:lnTo>
                  <a:lnTo>
                    <a:pt x="27656" y="562941"/>
                  </a:lnTo>
                  <a:lnTo>
                    <a:pt x="26364" y="564751"/>
                  </a:lnTo>
                  <a:lnTo>
                    <a:pt x="25847" y="566818"/>
                  </a:lnTo>
                  <a:lnTo>
                    <a:pt x="25976" y="570566"/>
                  </a:lnTo>
                  <a:lnTo>
                    <a:pt x="25847" y="571600"/>
                  </a:lnTo>
                  <a:lnTo>
                    <a:pt x="25330" y="572892"/>
                  </a:lnTo>
                  <a:lnTo>
                    <a:pt x="23650" y="574960"/>
                  </a:lnTo>
                  <a:lnTo>
                    <a:pt x="23004" y="576123"/>
                  </a:lnTo>
                  <a:lnTo>
                    <a:pt x="23650" y="578578"/>
                  </a:lnTo>
                  <a:lnTo>
                    <a:pt x="23650" y="580000"/>
                  </a:lnTo>
                  <a:lnTo>
                    <a:pt x="22616" y="580646"/>
                  </a:lnTo>
                  <a:lnTo>
                    <a:pt x="22228" y="581163"/>
                  </a:lnTo>
                  <a:lnTo>
                    <a:pt x="20548" y="584782"/>
                  </a:lnTo>
                  <a:lnTo>
                    <a:pt x="19644" y="585169"/>
                  </a:lnTo>
                  <a:lnTo>
                    <a:pt x="18739" y="585428"/>
                  </a:lnTo>
                  <a:lnTo>
                    <a:pt x="17963" y="585815"/>
                  </a:lnTo>
                  <a:lnTo>
                    <a:pt x="17447" y="586462"/>
                  </a:lnTo>
                  <a:lnTo>
                    <a:pt x="16930" y="587883"/>
                  </a:lnTo>
                  <a:lnTo>
                    <a:pt x="16413" y="588788"/>
                  </a:lnTo>
                  <a:lnTo>
                    <a:pt x="15120" y="590597"/>
                  </a:lnTo>
                  <a:lnTo>
                    <a:pt x="14991" y="591243"/>
                  </a:lnTo>
                  <a:lnTo>
                    <a:pt x="14991" y="592794"/>
                  </a:lnTo>
                  <a:lnTo>
                    <a:pt x="16283" y="595637"/>
                  </a:lnTo>
                  <a:lnTo>
                    <a:pt x="16542" y="596542"/>
                  </a:lnTo>
                  <a:lnTo>
                    <a:pt x="16413" y="601065"/>
                  </a:lnTo>
                  <a:lnTo>
                    <a:pt x="16025" y="603133"/>
                  </a:lnTo>
                  <a:lnTo>
                    <a:pt x="14991" y="604942"/>
                  </a:lnTo>
                  <a:lnTo>
                    <a:pt x="14991" y="605330"/>
                  </a:lnTo>
                  <a:lnTo>
                    <a:pt x="14216" y="606105"/>
                  </a:lnTo>
                  <a:lnTo>
                    <a:pt x="13828" y="606364"/>
                  </a:lnTo>
                  <a:lnTo>
                    <a:pt x="13053" y="607139"/>
                  </a:lnTo>
                  <a:lnTo>
                    <a:pt x="12148" y="608561"/>
                  </a:lnTo>
                  <a:lnTo>
                    <a:pt x="12019" y="609078"/>
                  </a:lnTo>
                  <a:lnTo>
                    <a:pt x="12019" y="609853"/>
                  </a:lnTo>
                  <a:lnTo>
                    <a:pt x="12665" y="611662"/>
                  </a:lnTo>
                  <a:lnTo>
                    <a:pt x="13570" y="613730"/>
                  </a:lnTo>
                  <a:lnTo>
                    <a:pt x="13699" y="614505"/>
                  </a:lnTo>
                  <a:lnTo>
                    <a:pt x="13699" y="615281"/>
                  </a:lnTo>
                  <a:lnTo>
                    <a:pt x="13311" y="616315"/>
                  </a:lnTo>
                  <a:lnTo>
                    <a:pt x="13053" y="617090"/>
                  </a:lnTo>
                  <a:lnTo>
                    <a:pt x="12794" y="617736"/>
                  </a:lnTo>
                  <a:lnTo>
                    <a:pt x="11502" y="619416"/>
                  </a:lnTo>
                  <a:lnTo>
                    <a:pt x="11373" y="620062"/>
                  </a:lnTo>
                  <a:lnTo>
                    <a:pt x="11373" y="620838"/>
                  </a:lnTo>
                  <a:lnTo>
                    <a:pt x="12148" y="623810"/>
                  </a:lnTo>
                  <a:lnTo>
                    <a:pt x="13182" y="629238"/>
                  </a:lnTo>
                  <a:lnTo>
                    <a:pt x="13570" y="630401"/>
                  </a:lnTo>
                  <a:lnTo>
                    <a:pt x="13699" y="631177"/>
                  </a:lnTo>
                  <a:lnTo>
                    <a:pt x="13828" y="634407"/>
                  </a:lnTo>
                  <a:lnTo>
                    <a:pt x="13570" y="635958"/>
                  </a:lnTo>
                  <a:lnTo>
                    <a:pt x="13311" y="636863"/>
                  </a:lnTo>
                  <a:lnTo>
                    <a:pt x="12794" y="637380"/>
                  </a:lnTo>
                  <a:lnTo>
                    <a:pt x="12406" y="637638"/>
                  </a:lnTo>
                  <a:lnTo>
                    <a:pt x="11889" y="637897"/>
                  </a:lnTo>
                  <a:lnTo>
                    <a:pt x="11114" y="638543"/>
                  </a:lnTo>
                  <a:lnTo>
                    <a:pt x="10726" y="638930"/>
                  </a:lnTo>
                  <a:lnTo>
                    <a:pt x="10339" y="639318"/>
                  </a:lnTo>
                  <a:lnTo>
                    <a:pt x="8659" y="642291"/>
                  </a:lnTo>
                  <a:lnTo>
                    <a:pt x="8271" y="643325"/>
                  </a:lnTo>
                  <a:lnTo>
                    <a:pt x="8012" y="652371"/>
                  </a:lnTo>
                  <a:lnTo>
                    <a:pt x="7625" y="655989"/>
                  </a:lnTo>
                  <a:lnTo>
                    <a:pt x="7366" y="656377"/>
                  </a:lnTo>
                  <a:lnTo>
                    <a:pt x="6591" y="658703"/>
                  </a:lnTo>
                  <a:lnTo>
                    <a:pt x="6074" y="659608"/>
                  </a:lnTo>
                  <a:lnTo>
                    <a:pt x="5686" y="660125"/>
                  </a:lnTo>
                  <a:lnTo>
                    <a:pt x="5040" y="661029"/>
                  </a:lnTo>
                  <a:lnTo>
                    <a:pt x="1809" y="671497"/>
                  </a:lnTo>
                  <a:lnTo>
                    <a:pt x="1422" y="674082"/>
                  </a:lnTo>
                  <a:lnTo>
                    <a:pt x="1034" y="675374"/>
                  </a:lnTo>
                  <a:lnTo>
                    <a:pt x="517" y="677054"/>
                  </a:lnTo>
                  <a:lnTo>
                    <a:pt x="129" y="678993"/>
                  </a:lnTo>
                  <a:lnTo>
                    <a:pt x="0" y="682224"/>
                  </a:lnTo>
                  <a:lnTo>
                    <a:pt x="259" y="683516"/>
                  </a:lnTo>
                  <a:lnTo>
                    <a:pt x="1292" y="685325"/>
                  </a:lnTo>
                  <a:lnTo>
                    <a:pt x="2326" y="686618"/>
                  </a:lnTo>
                  <a:lnTo>
                    <a:pt x="2714" y="687135"/>
                  </a:lnTo>
                  <a:lnTo>
                    <a:pt x="3231" y="688039"/>
                  </a:lnTo>
                  <a:lnTo>
                    <a:pt x="3619" y="688427"/>
                  </a:lnTo>
                  <a:lnTo>
                    <a:pt x="4135" y="688685"/>
                  </a:lnTo>
                  <a:lnTo>
                    <a:pt x="8529" y="691141"/>
                  </a:lnTo>
                  <a:lnTo>
                    <a:pt x="8917" y="691399"/>
                  </a:lnTo>
                  <a:lnTo>
                    <a:pt x="9305" y="691787"/>
                  </a:lnTo>
                  <a:lnTo>
                    <a:pt x="9693" y="692175"/>
                  </a:lnTo>
                  <a:lnTo>
                    <a:pt x="9822" y="692821"/>
                  </a:lnTo>
                  <a:lnTo>
                    <a:pt x="9951" y="693726"/>
                  </a:lnTo>
                  <a:lnTo>
                    <a:pt x="9434" y="698636"/>
                  </a:lnTo>
                  <a:lnTo>
                    <a:pt x="9305" y="699282"/>
                  </a:lnTo>
                  <a:lnTo>
                    <a:pt x="9046" y="699800"/>
                  </a:lnTo>
                  <a:lnTo>
                    <a:pt x="8788" y="700187"/>
                  </a:lnTo>
                  <a:lnTo>
                    <a:pt x="8400" y="700575"/>
                  </a:lnTo>
                  <a:lnTo>
                    <a:pt x="7625" y="701221"/>
                  </a:lnTo>
                  <a:lnTo>
                    <a:pt x="6462" y="702384"/>
                  </a:lnTo>
                  <a:lnTo>
                    <a:pt x="5686" y="703030"/>
                  </a:lnTo>
                  <a:lnTo>
                    <a:pt x="4911" y="703806"/>
                  </a:lnTo>
                  <a:lnTo>
                    <a:pt x="3877" y="704969"/>
                  </a:lnTo>
                  <a:lnTo>
                    <a:pt x="3619" y="705486"/>
                  </a:lnTo>
                  <a:lnTo>
                    <a:pt x="3360" y="706261"/>
                  </a:lnTo>
                  <a:lnTo>
                    <a:pt x="3231" y="707941"/>
                  </a:lnTo>
                  <a:lnTo>
                    <a:pt x="3360" y="708717"/>
                  </a:lnTo>
                  <a:lnTo>
                    <a:pt x="3360" y="709363"/>
                  </a:lnTo>
                  <a:lnTo>
                    <a:pt x="3877" y="710138"/>
                  </a:lnTo>
                  <a:lnTo>
                    <a:pt x="4782" y="711043"/>
                  </a:lnTo>
                  <a:lnTo>
                    <a:pt x="5040" y="711689"/>
                  </a:lnTo>
                  <a:lnTo>
                    <a:pt x="5299" y="712594"/>
                  </a:lnTo>
                  <a:lnTo>
                    <a:pt x="5428" y="714274"/>
                  </a:lnTo>
                  <a:lnTo>
                    <a:pt x="6203" y="716471"/>
                  </a:lnTo>
                  <a:lnTo>
                    <a:pt x="6591" y="717117"/>
                  </a:lnTo>
                  <a:lnTo>
                    <a:pt x="6720" y="717763"/>
                  </a:lnTo>
                  <a:lnTo>
                    <a:pt x="6849" y="720348"/>
                  </a:lnTo>
                  <a:lnTo>
                    <a:pt x="7108" y="721381"/>
                  </a:lnTo>
                  <a:lnTo>
                    <a:pt x="7754" y="722286"/>
                  </a:lnTo>
                  <a:lnTo>
                    <a:pt x="8400" y="722545"/>
                  </a:lnTo>
                  <a:lnTo>
                    <a:pt x="9563" y="722932"/>
                  </a:lnTo>
                  <a:lnTo>
                    <a:pt x="10080" y="723191"/>
                  </a:lnTo>
                  <a:lnTo>
                    <a:pt x="10468" y="723708"/>
                  </a:lnTo>
                  <a:lnTo>
                    <a:pt x="10597" y="724354"/>
                  </a:lnTo>
                  <a:lnTo>
                    <a:pt x="10597" y="725646"/>
                  </a:lnTo>
                  <a:lnTo>
                    <a:pt x="10339" y="726551"/>
                  </a:lnTo>
                  <a:lnTo>
                    <a:pt x="9951" y="727068"/>
                  </a:lnTo>
                  <a:lnTo>
                    <a:pt x="9434" y="727455"/>
                  </a:lnTo>
                  <a:lnTo>
                    <a:pt x="9046" y="727714"/>
                  </a:lnTo>
                  <a:lnTo>
                    <a:pt x="8659" y="728102"/>
                  </a:lnTo>
                  <a:lnTo>
                    <a:pt x="8400" y="728619"/>
                  </a:lnTo>
                  <a:lnTo>
                    <a:pt x="8400" y="729265"/>
                  </a:lnTo>
                  <a:lnTo>
                    <a:pt x="8659" y="730040"/>
                  </a:lnTo>
                  <a:lnTo>
                    <a:pt x="9046" y="731074"/>
                  </a:lnTo>
                  <a:lnTo>
                    <a:pt x="9305" y="731979"/>
                  </a:lnTo>
                  <a:lnTo>
                    <a:pt x="9175" y="733271"/>
                  </a:lnTo>
                  <a:lnTo>
                    <a:pt x="8917" y="734046"/>
                  </a:lnTo>
                  <a:lnTo>
                    <a:pt x="8659" y="734563"/>
                  </a:lnTo>
                  <a:lnTo>
                    <a:pt x="7237" y="735468"/>
                  </a:lnTo>
                  <a:lnTo>
                    <a:pt x="6979" y="735856"/>
                  </a:lnTo>
                  <a:lnTo>
                    <a:pt x="6591" y="736243"/>
                  </a:lnTo>
                  <a:lnTo>
                    <a:pt x="6591" y="736373"/>
                  </a:lnTo>
                  <a:lnTo>
                    <a:pt x="6720" y="738570"/>
                  </a:lnTo>
                  <a:lnTo>
                    <a:pt x="6462" y="740896"/>
                  </a:lnTo>
                  <a:lnTo>
                    <a:pt x="7754" y="757179"/>
                  </a:lnTo>
                  <a:lnTo>
                    <a:pt x="8142" y="758342"/>
                  </a:lnTo>
                  <a:lnTo>
                    <a:pt x="9175" y="760152"/>
                  </a:lnTo>
                  <a:lnTo>
                    <a:pt x="10985" y="761573"/>
                  </a:lnTo>
                  <a:lnTo>
                    <a:pt x="11243" y="762090"/>
                  </a:lnTo>
                  <a:lnTo>
                    <a:pt x="12794" y="765967"/>
                  </a:lnTo>
                  <a:lnTo>
                    <a:pt x="13053" y="767130"/>
                  </a:lnTo>
                  <a:lnTo>
                    <a:pt x="12923" y="768164"/>
                  </a:lnTo>
                  <a:lnTo>
                    <a:pt x="12406" y="769327"/>
                  </a:lnTo>
                  <a:lnTo>
                    <a:pt x="12277" y="769844"/>
                  </a:lnTo>
                  <a:lnTo>
                    <a:pt x="14216" y="783284"/>
                  </a:lnTo>
                  <a:lnTo>
                    <a:pt x="14216" y="783930"/>
                  </a:lnTo>
                  <a:lnTo>
                    <a:pt x="14086" y="784577"/>
                  </a:lnTo>
                  <a:lnTo>
                    <a:pt x="13699" y="784964"/>
                  </a:lnTo>
                  <a:lnTo>
                    <a:pt x="13311" y="785223"/>
                  </a:lnTo>
                  <a:lnTo>
                    <a:pt x="12794" y="785352"/>
                  </a:lnTo>
                  <a:lnTo>
                    <a:pt x="12277" y="785481"/>
                  </a:lnTo>
                  <a:lnTo>
                    <a:pt x="11889" y="786127"/>
                  </a:lnTo>
                  <a:lnTo>
                    <a:pt x="11889" y="787161"/>
                  </a:lnTo>
                  <a:lnTo>
                    <a:pt x="12019" y="789100"/>
                  </a:lnTo>
                  <a:lnTo>
                    <a:pt x="12148" y="790651"/>
                  </a:lnTo>
                  <a:lnTo>
                    <a:pt x="11631" y="792331"/>
                  </a:lnTo>
                  <a:lnTo>
                    <a:pt x="11502" y="793623"/>
                  </a:lnTo>
                  <a:lnTo>
                    <a:pt x="11243" y="794140"/>
                  </a:lnTo>
                  <a:lnTo>
                    <a:pt x="10339" y="796208"/>
                  </a:lnTo>
                  <a:lnTo>
                    <a:pt x="10209" y="796854"/>
                  </a:lnTo>
                  <a:lnTo>
                    <a:pt x="10080" y="797500"/>
                  </a:lnTo>
                  <a:lnTo>
                    <a:pt x="10080" y="798405"/>
                  </a:lnTo>
                  <a:lnTo>
                    <a:pt x="10468" y="800731"/>
                  </a:lnTo>
                  <a:lnTo>
                    <a:pt x="10339" y="801506"/>
                  </a:lnTo>
                  <a:lnTo>
                    <a:pt x="10209" y="802152"/>
                  </a:lnTo>
                  <a:lnTo>
                    <a:pt x="9822" y="802411"/>
                  </a:lnTo>
                  <a:lnTo>
                    <a:pt x="9434" y="802282"/>
                  </a:lnTo>
                  <a:lnTo>
                    <a:pt x="9175" y="801894"/>
                  </a:lnTo>
                  <a:lnTo>
                    <a:pt x="8659" y="801636"/>
                  </a:lnTo>
                  <a:lnTo>
                    <a:pt x="8142" y="801636"/>
                  </a:lnTo>
                  <a:lnTo>
                    <a:pt x="7754" y="802023"/>
                  </a:lnTo>
                  <a:lnTo>
                    <a:pt x="7496" y="802540"/>
                  </a:lnTo>
                  <a:lnTo>
                    <a:pt x="7625" y="803315"/>
                  </a:lnTo>
                  <a:lnTo>
                    <a:pt x="7883" y="804220"/>
                  </a:lnTo>
                  <a:lnTo>
                    <a:pt x="8529" y="805125"/>
                  </a:lnTo>
                  <a:lnTo>
                    <a:pt x="10209" y="806288"/>
                  </a:lnTo>
                  <a:lnTo>
                    <a:pt x="12019" y="807193"/>
                  </a:lnTo>
                  <a:lnTo>
                    <a:pt x="12406" y="807580"/>
                  </a:lnTo>
                  <a:lnTo>
                    <a:pt x="12794" y="808097"/>
                  </a:lnTo>
                  <a:lnTo>
                    <a:pt x="12923" y="810553"/>
                  </a:lnTo>
                  <a:lnTo>
                    <a:pt x="13053" y="811199"/>
                  </a:lnTo>
                  <a:lnTo>
                    <a:pt x="14086" y="813008"/>
                  </a:lnTo>
                  <a:lnTo>
                    <a:pt x="14216" y="813525"/>
                  </a:lnTo>
                  <a:lnTo>
                    <a:pt x="14474" y="814817"/>
                  </a:lnTo>
                  <a:lnTo>
                    <a:pt x="14733" y="816756"/>
                  </a:lnTo>
                  <a:lnTo>
                    <a:pt x="14733" y="818048"/>
                  </a:lnTo>
                  <a:lnTo>
                    <a:pt x="14603" y="819470"/>
                  </a:lnTo>
                  <a:lnTo>
                    <a:pt x="14603" y="820116"/>
                  </a:lnTo>
                  <a:lnTo>
                    <a:pt x="14862" y="820891"/>
                  </a:lnTo>
                  <a:lnTo>
                    <a:pt x="15379" y="821925"/>
                  </a:lnTo>
                  <a:lnTo>
                    <a:pt x="15637" y="823476"/>
                  </a:lnTo>
                  <a:lnTo>
                    <a:pt x="15767" y="823993"/>
                  </a:lnTo>
                  <a:lnTo>
                    <a:pt x="16154" y="824251"/>
                  </a:lnTo>
                  <a:lnTo>
                    <a:pt x="16930" y="824122"/>
                  </a:lnTo>
                  <a:lnTo>
                    <a:pt x="17963" y="823734"/>
                  </a:lnTo>
                  <a:lnTo>
                    <a:pt x="18610" y="823734"/>
                  </a:lnTo>
                  <a:lnTo>
                    <a:pt x="19256" y="823864"/>
                  </a:lnTo>
                  <a:lnTo>
                    <a:pt x="19514" y="823993"/>
                  </a:lnTo>
                  <a:lnTo>
                    <a:pt x="19256" y="824381"/>
                  </a:lnTo>
                  <a:lnTo>
                    <a:pt x="18997" y="824768"/>
                  </a:lnTo>
                  <a:lnTo>
                    <a:pt x="18868" y="825285"/>
                  </a:lnTo>
                  <a:lnTo>
                    <a:pt x="18997" y="825802"/>
                  </a:lnTo>
                  <a:lnTo>
                    <a:pt x="19256" y="826190"/>
                  </a:lnTo>
                  <a:lnTo>
                    <a:pt x="19773" y="826707"/>
                  </a:lnTo>
                  <a:lnTo>
                    <a:pt x="20548" y="827095"/>
                  </a:lnTo>
                  <a:lnTo>
                    <a:pt x="21970" y="827611"/>
                  </a:lnTo>
                  <a:lnTo>
                    <a:pt x="23262" y="827870"/>
                  </a:lnTo>
                  <a:lnTo>
                    <a:pt x="26622" y="827870"/>
                  </a:lnTo>
                  <a:lnTo>
                    <a:pt x="28044" y="828258"/>
                  </a:lnTo>
                  <a:lnTo>
                    <a:pt x="30111" y="824122"/>
                  </a:lnTo>
                  <a:lnTo>
                    <a:pt x="30628" y="821408"/>
                  </a:lnTo>
                  <a:lnTo>
                    <a:pt x="30628" y="820245"/>
                  </a:lnTo>
                  <a:lnTo>
                    <a:pt x="30758" y="819211"/>
                  </a:lnTo>
                  <a:lnTo>
                    <a:pt x="31404" y="817144"/>
                  </a:lnTo>
                  <a:lnTo>
                    <a:pt x="31533" y="816110"/>
                  </a:lnTo>
                  <a:lnTo>
                    <a:pt x="31404" y="814947"/>
                  </a:lnTo>
                  <a:lnTo>
                    <a:pt x="32050" y="812491"/>
                  </a:lnTo>
                  <a:lnTo>
                    <a:pt x="32825" y="811716"/>
                  </a:lnTo>
                  <a:lnTo>
                    <a:pt x="33988" y="810940"/>
                  </a:lnTo>
                  <a:lnTo>
                    <a:pt x="35022" y="810036"/>
                  </a:lnTo>
                  <a:lnTo>
                    <a:pt x="35539" y="808614"/>
                  </a:lnTo>
                  <a:lnTo>
                    <a:pt x="35798" y="807322"/>
                  </a:lnTo>
                  <a:lnTo>
                    <a:pt x="35798" y="806159"/>
                  </a:lnTo>
                  <a:lnTo>
                    <a:pt x="36315" y="804737"/>
                  </a:lnTo>
                  <a:lnTo>
                    <a:pt x="37090" y="803057"/>
                  </a:lnTo>
                  <a:lnTo>
                    <a:pt x="40192" y="799309"/>
                  </a:lnTo>
                  <a:lnTo>
                    <a:pt x="41226" y="798405"/>
                  </a:lnTo>
                  <a:lnTo>
                    <a:pt x="41613" y="797500"/>
                  </a:lnTo>
                  <a:lnTo>
                    <a:pt x="41872" y="796466"/>
                  </a:lnTo>
                  <a:lnTo>
                    <a:pt x="42259" y="795303"/>
                  </a:lnTo>
                  <a:lnTo>
                    <a:pt x="43422" y="794528"/>
                  </a:lnTo>
                  <a:lnTo>
                    <a:pt x="44327" y="794140"/>
                  </a:lnTo>
                  <a:lnTo>
                    <a:pt x="44973" y="793494"/>
                  </a:lnTo>
                  <a:lnTo>
                    <a:pt x="45232" y="792718"/>
                  </a:lnTo>
                  <a:lnTo>
                    <a:pt x="45619" y="792072"/>
                  </a:lnTo>
                  <a:lnTo>
                    <a:pt x="46266" y="791685"/>
                  </a:lnTo>
                  <a:lnTo>
                    <a:pt x="47041" y="791555"/>
                  </a:lnTo>
                  <a:lnTo>
                    <a:pt x="47687" y="790780"/>
                  </a:lnTo>
                  <a:lnTo>
                    <a:pt x="47816" y="790521"/>
                  </a:lnTo>
                  <a:lnTo>
                    <a:pt x="48075" y="790134"/>
                  </a:lnTo>
                  <a:lnTo>
                    <a:pt x="49884" y="788712"/>
                  </a:lnTo>
                  <a:lnTo>
                    <a:pt x="52469" y="787161"/>
                  </a:lnTo>
                  <a:lnTo>
                    <a:pt x="54537" y="785352"/>
                  </a:lnTo>
                  <a:lnTo>
                    <a:pt x="63712" y="779666"/>
                  </a:lnTo>
                  <a:lnTo>
                    <a:pt x="65004" y="780829"/>
                  </a:lnTo>
                  <a:lnTo>
                    <a:pt x="65909" y="781734"/>
                  </a:lnTo>
                  <a:lnTo>
                    <a:pt x="66297" y="782638"/>
                  </a:lnTo>
                  <a:lnTo>
                    <a:pt x="66426" y="783930"/>
                  </a:lnTo>
                  <a:lnTo>
                    <a:pt x="66297" y="785869"/>
                  </a:lnTo>
                  <a:lnTo>
                    <a:pt x="65780" y="787161"/>
                  </a:lnTo>
                  <a:lnTo>
                    <a:pt x="65134" y="788195"/>
                  </a:lnTo>
                  <a:lnTo>
                    <a:pt x="59577" y="794140"/>
                  </a:lnTo>
                  <a:lnTo>
                    <a:pt x="58801" y="795174"/>
                  </a:lnTo>
                  <a:lnTo>
                    <a:pt x="58284" y="796337"/>
                  </a:lnTo>
                  <a:lnTo>
                    <a:pt x="58026" y="797241"/>
                  </a:lnTo>
                  <a:lnTo>
                    <a:pt x="58026" y="798405"/>
                  </a:lnTo>
                  <a:lnTo>
                    <a:pt x="58801" y="803445"/>
                  </a:lnTo>
                  <a:lnTo>
                    <a:pt x="58801" y="805512"/>
                  </a:lnTo>
                  <a:lnTo>
                    <a:pt x="58414" y="807451"/>
                  </a:lnTo>
                  <a:lnTo>
                    <a:pt x="57638" y="808873"/>
                  </a:lnTo>
                  <a:lnTo>
                    <a:pt x="51952" y="817144"/>
                  </a:lnTo>
                  <a:lnTo>
                    <a:pt x="51176" y="818823"/>
                  </a:lnTo>
                  <a:lnTo>
                    <a:pt x="50660" y="820374"/>
                  </a:lnTo>
                  <a:lnTo>
                    <a:pt x="50401" y="822054"/>
                  </a:lnTo>
                  <a:lnTo>
                    <a:pt x="51047" y="833556"/>
                  </a:lnTo>
                  <a:lnTo>
                    <a:pt x="51564" y="835236"/>
                  </a:lnTo>
                  <a:lnTo>
                    <a:pt x="52340" y="836529"/>
                  </a:lnTo>
                  <a:lnTo>
                    <a:pt x="54278" y="837821"/>
                  </a:lnTo>
                  <a:lnTo>
                    <a:pt x="74438" y="847384"/>
                  </a:lnTo>
                  <a:lnTo>
                    <a:pt x="79866" y="847513"/>
                  </a:lnTo>
                  <a:lnTo>
                    <a:pt x="80900" y="847126"/>
                  </a:lnTo>
                  <a:lnTo>
                    <a:pt x="81805" y="847384"/>
                  </a:lnTo>
                  <a:lnTo>
                    <a:pt x="83226" y="848030"/>
                  </a:lnTo>
                  <a:lnTo>
                    <a:pt x="89430" y="852941"/>
                  </a:lnTo>
                  <a:lnTo>
                    <a:pt x="113726" y="864185"/>
                  </a:lnTo>
                  <a:lnTo>
                    <a:pt x="126520" y="865477"/>
                  </a:lnTo>
                  <a:lnTo>
                    <a:pt x="131560" y="866898"/>
                  </a:lnTo>
                  <a:lnTo>
                    <a:pt x="142157" y="871809"/>
                  </a:lnTo>
                  <a:lnTo>
                    <a:pt x="144483" y="872197"/>
                  </a:lnTo>
                  <a:lnTo>
                    <a:pt x="146034" y="872068"/>
                  </a:lnTo>
                  <a:lnTo>
                    <a:pt x="146680" y="871034"/>
                  </a:lnTo>
                  <a:lnTo>
                    <a:pt x="147068" y="870259"/>
                  </a:lnTo>
                  <a:lnTo>
                    <a:pt x="147326" y="869483"/>
                  </a:lnTo>
                  <a:lnTo>
                    <a:pt x="147456" y="868708"/>
                  </a:lnTo>
                  <a:lnTo>
                    <a:pt x="147456" y="865218"/>
                  </a:lnTo>
                  <a:lnTo>
                    <a:pt x="147714" y="863151"/>
                  </a:lnTo>
                  <a:lnTo>
                    <a:pt x="148748" y="859661"/>
                  </a:lnTo>
                  <a:lnTo>
                    <a:pt x="155209" y="845187"/>
                  </a:lnTo>
                  <a:lnTo>
                    <a:pt x="172139" y="815981"/>
                  </a:lnTo>
                  <a:lnTo>
                    <a:pt x="180281" y="809907"/>
                  </a:lnTo>
                  <a:lnTo>
                    <a:pt x="185062" y="807193"/>
                  </a:lnTo>
                  <a:lnTo>
                    <a:pt x="185579" y="807063"/>
                  </a:lnTo>
                  <a:lnTo>
                    <a:pt x="186096" y="807063"/>
                  </a:lnTo>
                  <a:lnTo>
                    <a:pt x="186484" y="807063"/>
                  </a:lnTo>
                  <a:lnTo>
                    <a:pt x="186613" y="807322"/>
                  </a:lnTo>
                  <a:lnTo>
                    <a:pt x="186613" y="807710"/>
                  </a:lnTo>
                  <a:lnTo>
                    <a:pt x="185450" y="812750"/>
                  </a:lnTo>
                  <a:lnTo>
                    <a:pt x="185321" y="813783"/>
                  </a:lnTo>
                  <a:lnTo>
                    <a:pt x="185321" y="814688"/>
                  </a:lnTo>
                  <a:lnTo>
                    <a:pt x="185709" y="815593"/>
                  </a:lnTo>
                  <a:lnTo>
                    <a:pt x="186096" y="816497"/>
                  </a:lnTo>
                  <a:lnTo>
                    <a:pt x="186613" y="817014"/>
                  </a:lnTo>
                  <a:lnTo>
                    <a:pt x="187259" y="817402"/>
                  </a:lnTo>
                  <a:lnTo>
                    <a:pt x="195013" y="821279"/>
                  </a:lnTo>
                  <a:lnTo>
                    <a:pt x="201863" y="826578"/>
                  </a:lnTo>
                  <a:lnTo>
                    <a:pt x="204060" y="828645"/>
                  </a:lnTo>
                  <a:lnTo>
                    <a:pt x="205740" y="830971"/>
                  </a:lnTo>
                  <a:lnTo>
                    <a:pt x="207420" y="833815"/>
                  </a:lnTo>
                  <a:lnTo>
                    <a:pt x="208583" y="837045"/>
                  </a:lnTo>
                  <a:lnTo>
                    <a:pt x="208971" y="838467"/>
                  </a:lnTo>
                  <a:lnTo>
                    <a:pt x="208971" y="840018"/>
                  </a:lnTo>
                  <a:lnTo>
                    <a:pt x="208066" y="844541"/>
                  </a:lnTo>
                  <a:lnTo>
                    <a:pt x="208066" y="845058"/>
                  </a:lnTo>
                  <a:lnTo>
                    <a:pt x="208066" y="845963"/>
                  </a:lnTo>
                  <a:lnTo>
                    <a:pt x="208324" y="847126"/>
                  </a:lnTo>
                  <a:lnTo>
                    <a:pt x="208841" y="848547"/>
                  </a:lnTo>
                  <a:lnTo>
                    <a:pt x="211168" y="853200"/>
                  </a:lnTo>
                  <a:lnTo>
                    <a:pt x="211814" y="855397"/>
                  </a:lnTo>
                  <a:lnTo>
                    <a:pt x="212589" y="867803"/>
                  </a:lnTo>
                  <a:lnTo>
                    <a:pt x="210780" y="876333"/>
                  </a:lnTo>
                  <a:lnTo>
                    <a:pt x="210651" y="877883"/>
                  </a:lnTo>
                  <a:lnTo>
                    <a:pt x="210651" y="879305"/>
                  </a:lnTo>
                  <a:lnTo>
                    <a:pt x="210780" y="880597"/>
                  </a:lnTo>
                  <a:lnTo>
                    <a:pt x="211426" y="883182"/>
                  </a:lnTo>
                  <a:lnTo>
                    <a:pt x="211814" y="884345"/>
                  </a:lnTo>
                  <a:lnTo>
                    <a:pt x="212460" y="885508"/>
                  </a:lnTo>
                  <a:lnTo>
                    <a:pt x="213235" y="886413"/>
                  </a:lnTo>
                  <a:lnTo>
                    <a:pt x="213882" y="886800"/>
                  </a:lnTo>
                  <a:lnTo>
                    <a:pt x="214528" y="886800"/>
                  </a:lnTo>
                  <a:lnTo>
                    <a:pt x="214915" y="886671"/>
                  </a:lnTo>
                  <a:lnTo>
                    <a:pt x="218663" y="883957"/>
                  </a:lnTo>
                  <a:lnTo>
                    <a:pt x="219826" y="882794"/>
                  </a:lnTo>
                  <a:lnTo>
                    <a:pt x="220472" y="882148"/>
                  </a:lnTo>
                  <a:lnTo>
                    <a:pt x="220860" y="881631"/>
                  </a:lnTo>
                  <a:lnTo>
                    <a:pt x="221119" y="880856"/>
                  </a:lnTo>
                  <a:lnTo>
                    <a:pt x="221635" y="879176"/>
                  </a:lnTo>
                  <a:lnTo>
                    <a:pt x="222540" y="874006"/>
                  </a:lnTo>
                  <a:lnTo>
                    <a:pt x="222928" y="867932"/>
                  </a:lnTo>
                  <a:lnTo>
                    <a:pt x="223445" y="865089"/>
                  </a:lnTo>
                  <a:lnTo>
                    <a:pt x="223832" y="864055"/>
                  </a:lnTo>
                  <a:lnTo>
                    <a:pt x="224349" y="863151"/>
                  </a:lnTo>
                  <a:lnTo>
                    <a:pt x="225125" y="862504"/>
                  </a:lnTo>
                  <a:lnTo>
                    <a:pt x="226288" y="861858"/>
                  </a:lnTo>
                  <a:lnTo>
                    <a:pt x="227580" y="861471"/>
                  </a:lnTo>
                  <a:lnTo>
                    <a:pt x="229648" y="861471"/>
                  </a:lnTo>
                  <a:lnTo>
                    <a:pt x="231070" y="861729"/>
                  </a:lnTo>
                  <a:lnTo>
                    <a:pt x="233008" y="862504"/>
                  </a:lnTo>
                  <a:lnTo>
                    <a:pt x="239082" y="865218"/>
                  </a:lnTo>
                  <a:lnTo>
                    <a:pt x="242571" y="865865"/>
                  </a:lnTo>
                  <a:lnTo>
                    <a:pt x="250713" y="865865"/>
                  </a:lnTo>
                  <a:lnTo>
                    <a:pt x="252910" y="865606"/>
                  </a:lnTo>
                  <a:lnTo>
                    <a:pt x="254849" y="865089"/>
                  </a:lnTo>
                  <a:lnTo>
                    <a:pt x="256529" y="864572"/>
                  </a:lnTo>
                  <a:lnTo>
                    <a:pt x="259113" y="863151"/>
                  </a:lnTo>
                  <a:lnTo>
                    <a:pt x="269969" y="854880"/>
                  </a:lnTo>
                  <a:lnTo>
                    <a:pt x="272424" y="853329"/>
                  </a:lnTo>
                  <a:lnTo>
                    <a:pt x="276301" y="851649"/>
                  </a:lnTo>
                  <a:lnTo>
                    <a:pt x="278111" y="851778"/>
                  </a:lnTo>
                  <a:lnTo>
                    <a:pt x="278498" y="852037"/>
                  </a:lnTo>
                  <a:lnTo>
                    <a:pt x="278886" y="852553"/>
                  </a:lnTo>
                  <a:lnTo>
                    <a:pt x="278886" y="853200"/>
                  </a:lnTo>
                  <a:lnTo>
                    <a:pt x="278886" y="853846"/>
                  </a:lnTo>
                  <a:lnTo>
                    <a:pt x="278498" y="855009"/>
                  </a:lnTo>
                  <a:lnTo>
                    <a:pt x="276172" y="860695"/>
                  </a:lnTo>
                  <a:lnTo>
                    <a:pt x="275526" y="863280"/>
                  </a:lnTo>
                  <a:lnTo>
                    <a:pt x="275655" y="863926"/>
                  </a:lnTo>
                  <a:lnTo>
                    <a:pt x="276043" y="864185"/>
                  </a:lnTo>
                  <a:lnTo>
                    <a:pt x="278240" y="864055"/>
                  </a:lnTo>
                  <a:lnTo>
                    <a:pt x="280566" y="864314"/>
                  </a:lnTo>
                  <a:lnTo>
                    <a:pt x="283538" y="864960"/>
                  </a:lnTo>
                  <a:lnTo>
                    <a:pt x="285994" y="865865"/>
                  </a:lnTo>
                  <a:lnTo>
                    <a:pt x="289871" y="868449"/>
                  </a:lnTo>
                  <a:lnTo>
                    <a:pt x="293877" y="871680"/>
                  </a:lnTo>
                  <a:lnTo>
                    <a:pt x="295816" y="872843"/>
                  </a:lnTo>
                  <a:lnTo>
                    <a:pt x="297366" y="872972"/>
                  </a:lnTo>
                  <a:lnTo>
                    <a:pt x="298142" y="872326"/>
                  </a:lnTo>
                  <a:lnTo>
                    <a:pt x="299176" y="871163"/>
                  </a:lnTo>
                  <a:lnTo>
                    <a:pt x="299822" y="870775"/>
                  </a:lnTo>
                  <a:lnTo>
                    <a:pt x="300726" y="871034"/>
                  </a:lnTo>
                  <a:lnTo>
                    <a:pt x="302536" y="871938"/>
                  </a:lnTo>
                  <a:lnTo>
                    <a:pt x="305120" y="874006"/>
                  </a:lnTo>
                  <a:lnTo>
                    <a:pt x="309514" y="876591"/>
                  </a:lnTo>
                  <a:lnTo>
                    <a:pt x="328253" y="883053"/>
                  </a:lnTo>
                  <a:lnTo>
                    <a:pt x="329804" y="883182"/>
                  </a:lnTo>
                  <a:lnTo>
                    <a:pt x="330838" y="882923"/>
                  </a:lnTo>
                  <a:lnTo>
                    <a:pt x="330967" y="882148"/>
                  </a:lnTo>
                  <a:lnTo>
                    <a:pt x="330838" y="880856"/>
                  </a:lnTo>
                  <a:lnTo>
                    <a:pt x="330450" y="879563"/>
                  </a:lnTo>
                  <a:lnTo>
                    <a:pt x="324376" y="865865"/>
                  </a:lnTo>
                  <a:lnTo>
                    <a:pt x="323601" y="863668"/>
                  </a:lnTo>
                  <a:lnTo>
                    <a:pt x="323472" y="862763"/>
                  </a:lnTo>
                  <a:lnTo>
                    <a:pt x="323601" y="861988"/>
                  </a:lnTo>
                  <a:lnTo>
                    <a:pt x="323988" y="861083"/>
                  </a:lnTo>
                  <a:lnTo>
                    <a:pt x="324505" y="860437"/>
                  </a:lnTo>
                  <a:lnTo>
                    <a:pt x="325022" y="859920"/>
                  </a:lnTo>
                  <a:lnTo>
                    <a:pt x="329546" y="856043"/>
                  </a:lnTo>
                  <a:lnTo>
                    <a:pt x="330192" y="855784"/>
                  </a:lnTo>
                  <a:lnTo>
                    <a:pt x="330967" y="855526"/>
                  </a:lnTo>
                  <a:lnTo>
                    <a:pt x="331484" y="855655"/>
                  </a:lnTo>
                  <a:lnTo>
                    <a:pt x="331872" y="855914"/>
                  </a:lnTo>
                  <a:lnTo>
                    <a:pt x="332259" y="856301"/>
                  </a:lnTo>
                  <a:lnTo>
                    <a:pt x="332518" y="856818"/>
                  </a:lnTo>
                  <a:lnTo>
                    <a:pt x="333423" y="858886"/>
                  </a:lnTo>
                  <a:lnTo>
                    <a:pt x="334069" y="860437"/>
                  </a:lnTo>
                  <a:lnTo>
                    <a:pt x="337300" y="863409"/>
                  </a:lnTo>
                  <a:lnTo>
                    <a:pt x="337558" y="863797"/>
                  </a:lnTo>
                  <a:lnTo>
                    <a:pt x="337946" y="864185"/>
                  </a:lnTo>
                  <a:lnTo>
                    <a:pt x="337946" y="864831"/>
                  </a:lnTo>
                  <a:lnTo>
                    <a:pt x="338075" y="866252"/>
                  </a:lnTo>
                  <a:lnTo>
                    <a:pt x="338204" y="866769"/>
                  </a:lnTo>
                  <a:lnTo>
                    <a:pt x="338463" y="867286"/>
                  </a:lnTo>
                  <a:lnTo>
                    <a:pt x="341693" y="870905"/>
                  </a:lnTo>
                  <a:lnTo>
                    <a:pt x="341952" y="871292"/>
                  </a:lnTo>
                  <a:lnTo>
                    <a:pt x="342210" y="871809"/>
                  </a:lnTo>
                  <a:lnTo>
                    <a:pt x="342210" y="872326"/>
                  </a:lnTo>
                  <a:lnTo>
                    <a:pt x="342081" y="872843"/>
                  </a:lnTo>
                  <a:lnTo>
                    <a:pt x="342081" y="873360"/>
                  </a:lnTo>
                  <a:lnTo>
                    <a:pt x="343115" y="876203"/>
                  </a:lnTo>
                  <a:lnTo>
                    <a:pt x="343632" y="876849"/>
                  </a:lnTo>
                  <a:lnTo>
                    <a:pt x="344020" y="876979"/>
                  </a:lnTo>
                  <a:lnTo>
                    <a:pt x="344537" y="876720"/>
                  </a:lnTo>
                  <a:lnTo>
                    <a:pt x="345183" y="875169"/>
                  </a:lnTo>
                  <a:lnTo>
                    <a:pt x="345571" y="874782"/>
                  </a:lnTo>
                  <a:lnTo>
                    <a:pt x="346087" y="874523"/>
                  </a:lnTo>
                  <a:lnTo>
                    <a:pt x="346217" y="874265"/>
                  </a:lnTo>
                  <a:lnTo>
                    <a:pt x="346217" y="874006"/>
                  </a:lnTo>
                  <a:lnTo>
                    <a:pt x="346217" y="873619"/>
                  </a:lnTo>
                  <a:lnTo>
                    <a:pt x="346346" y="873360"/>
                  </a:lnTo>
                  <a:lnTo>
                    <a:pt x="346734" y="872455"/>
                  </a:lnTo>
                  <a:lnTo>
                    <a:pt x="353841" y="871551"/>
                  </a:lnTo>
                  <a:lnTo>
                    <a:pt x="356555" y="870388"/>
                  </a:lnTo>
                  <a:lnTo>
                    <a:pt x="358365" y="869095"/>
                  </a:lnTo>
                  <a:lnTo>
                    <a:pt x="365472" y="865994"/>
                  </a:lnTo>
                  <a:lnTo>
                    <a:pt x="367153" y="865606"/>
                  </a:lnTo>
                  <a:lnTo>
                    <a:pt x="368057" y="865735"/>
                  </a:lnTo>
                  <a:lnTo>
                    <a:pt x="369737" y="865865"/>
                  </a:lnTo>
                  <a:lnTo>
                    <a:pt x="370513" y="865606"/>
                  </a:lnTo>
                  <a:lnTo>
                    <a:pt x="371159" y="865348"/>
                  </a:lnTo>
                  <a:lnTo>
                    <a:pt x="371934" y="864701"/>
                  </a:lnTo>
                  <a:lnTo>
                    <a:pt x="391190" y="854621"/>
                  </a:lnTo>
                  <a:lnTo>
                    <a:pt x="395842" y="853329"/>
                  </a:lnTo>
                  <a:lnTo>
                    <a:pt x="403984" y="851649"/>
                  </a:lnTo>
                  <a:lnTo>
                    <a:pt x="405018" y="851649"/>
                  </a:lnTo>
                  <a:lnTo>
                    <a:pt x="406698" y="851778"/>
                  </a:lnTo>
                  <a:lnTo>
                    <a:pt x="409283" y="852424"/>
                  </a:lnTo>
                  <a:lnTo>
                    <a:pt x="414194" y="852424"/>
                  </a:lnTo>
                  <a:lnTo>
                    <a:pt x="419492" y="851649"/>
                  </a:lnTo>
                  <a:lnTo>
                    <a:pt x="422464" y="851003"/>
                  </a:lnTo>
                  <a:lnTo>
                    <a:pt x="424791" y="850098"/>
                  </a:lnTo>
                  <a:lnTo>
                    <a:pt x="426342" y="849064"/>
                  </a:lnTo>
                  <a:lnTo>
                    <a:pt x="427763" y="848030"/>
                  </a:lnTo>
                  <a:lnTo>
                    <a:pt x="438877" y="835882"/>
                  </a:lnTo>
                  <a:lnTo>
                    <a:pt x="440169" y="834848"/>
                  </a:lnTo>
                  <a:lnTo>
                    <a:pt x="441849" y="833685"/>
                  </a:lnTo>
                  <a:lnTo>
                    <a:pt x="444822" y="832522"/>
                  </a:lnTo>
                  <a:lnTo>
                    <a:pt x="451800" y="831101"/>
                  </a:lnTo>
                  <a:lnTo>
                    <a:pt x="455677" y="829938"/>
                  </a:lnTo>
                  <a:lnTo>
                    <a:pt x="459296" y="827870"/>
                  </a:lnTo>
                  <a:lnTo>
                    <a:pt x="460330" y="827482"/>
                  </a:lnTo>
                  <a:lnTo>
                    <a:pt x="461622" y="827224"/>
                  </a:lnTo>
                  <a:lnTo>
                    <a:pt x="470927" y="826965"/>
                  </a:lnTo>
                  <a:lnTo>
                    <a:pt x="475838" y="825802"/>
                  </a:lnTo>
                  <a:lnTo>
                    <a:pt x="483075" y="821796"/>
                  </a:lnTo>
                  <a:lnTo>
                    <a:pt x="482041" y="819857"/>
                  </a:lnTo>
                  <a:lnTo>
                    <a:pt x="481783" y="818048"/>
                  </a:lnTo>
                  <a:lnTo>
                    <a:pt x="481783" y="817273"/>
                  </a:lnTo>
                  <a:lnTo>
                    <a:pt x="481783" y="816368"/>
                  </a:lnTo>
                  <a:lnTo>
                    <a:pt x="482299" y="814171"/>
                  </a:lnTo>
                  <a:lnTo>
                    <a:pt x="482946" y="812620"/>
                  </a:lnTo>
                  <a:lnTo>
                    <a:pt x="490829" y="800602"/>
                  </a:lnTo>
                  <a:lnTo>
                    <a:pt x="491217" y="799826"/>
                  </a:lnTo>
                  <a:lnTo>
                    <a:pt x="491346" y="798922"/>
                  </a:lnTo>
                  <a:lnTo>
                    <a:pt x="490829" y="789746"/>
                  </a:lnTo>
                  <a:lnTo>
                    <a:pt x="490829" y="789358"/>
                  </a:lnTo>
                  <a:lnTo>
                    <a:pt x="490570" y="788841"/>
                  </a:lnTo>
                  <a:lnTo>
                    <a:pt x="490312" y="788454"/>
                  </a:lnTo>
                  <a:lnTo>
                    <a:pt x="489924" y="788066"/>
                  </a:lnTo>
                  <a:lnTo>
                    <a:pt x="489537" y="787678"/>
                  </a:lnTo>
                  <a:lnTo>
                    <a:pt x="487598" y="786644"/>
                  </a:lnTo>
                  <a:lnTo>
                    <a:pt x="486435" y="786127"/>
                  </a:lnTo>
                  <a:lnTo>
                    <a:pt x="479586" y="784577"/>
                  </a:lnTo>
                  <a:lnTo>
                    <a:pt x="475579" y="782638"/>
                  </a:lnTo>
                  <a:lnTo>
                    <a:pt x="474675" y="781992"/>
                  </a:lnTo>
                  <a:lnTo>
                    <a:pt x="474029" y="781087"/>
                  </a:lnTo>
                  <a:lnTo>
                    <a:pt x="472865" y="778503"/>
                  </a:lnTo>
                  <a:lnTo>
                    <a:pt x="471185" y="773333"/>
                  </a:lnTo>
                  <a:lnTo>
                    <a:pt x="470927" y="772300"/>
                  </a:lnTo>
                  <a:lnTo>
                    <a:pt x="471573" y="749167"/>
                  </a:lnTo>
                  <a:lnTo>
                    <a:pt x="471961" y="746970"/>
                  </a:lnTo>
                  <a:lnTo>
                    <a:pt x="472219" y="746324"/>
                  </a:lnTo>
                  <a:lnTo>
                    <a:pt x="472349" y="745807"/>
                  </a:lnTo>
                  <a:lnTo>
                    <a:pt x="472736" y="745419"/>
                  </a:lnTo>
                  <a:lnTo>
                    <a:pt x="473124" y="745031"/>
                  </a:lnTo>
                  <a:lnTo>
                    <a:pt x="478939" y="742059"/>
                  </a:lnTo>
                  <a:lnTo>
                    <a:pt x="480361" y="741154"/>
                  </a:lnTo>
                  <a:lnTo>
                    <a:pt x="481136" y="740379"/>
                  </a:lnTo>
                  <a:lnTo>
                    <a:pt x="484884" y="735080"/>
                  </a:lnTo>
                  <a:lnTo>
                    <a:pt x="484884" y="734951"/>
                  </a:lnTo>
                  <a:lnTo>
                    <a:pt x="485272" y="734693"/>
                  </a:lnTo>
                  <a:lnTo>
                    <a:pt x="486694" y="733917"/>
                  </a:lnTo>
                  <a:lnTo>
                    <a:pt x="493284" y="731720"/>
                  </a:lnTo>
                  <a:lnTo>
                    <a:pt x="494189" y="731074"/>
                  </a:lnTo>
                  <a:lnTo>
                    <a:pt x="496515" y="728877"/>
                  </a:lnTo>
                  <a:lnTo>
                    <a:pt x="497291" y="728360"/>
                  </a:lnTo>
                  <a:lnTo>
                    <a:pt x="497808" y="727972"/>
                  </a:lnTo>
                  <a:lnTo>
                    <a:pt x="498971" y="727455"/>
                  </a:lnTo>
                  <a:lnTo>
                    <a:pt x="499617" y="727197"/>
                  </a:lnTo>
                  <a:lnTo>
                    <a:pt x="500134" y="726422"/>
                  </a:lnTo>
                  <a:lnTo>
                    <a:pt x="500263" y="725775"/>
                  </a:lnTo>
                  <a:lnTo>
                    <a:pt x="500134" y="725129"/>
                  </a:lnTo>
                  <a:lnTo>
                    <a:pt x="497937" y="721511"/>
                  </a:lnTo>
                  <a:lnTo>
                    <a:pt x="496774" y="720348"/>
                  </a:lnTo>
                  <a:lnTo>
                    <a:pt x="495094" y="719055"/>
                  </a:lnTo>
                  <a:lnTo>
                    <a:pt x="493155" y="718021"/>
                  </a:lnTo>
                  <a:lnTo>
                    <a:pt x="490958" y="717117"/>
                  </a:lnTo>
                  <a:lnTo>
                    <a:pt x="489666" y="716858"/>
                  </a:lnTo>
                  <a:lnTo>
                    <a:pt x="488373" y="716729"/>
                  </a:lnTo>
                  <a:lnTo>
                    <a:pt x="486952" y="716729"/>
                  </a:lnTo>
                  <a:lnTo>
                    <a:pt x="484497" y="717246"/>
                  </a:lnTo>
                  <a:lnTo>
                    <a:pt x="482170" y="717892"/>
                  </a:lnTo>
                  <a:lnTo>
                    <a:pt x="481007" y="718021"/>
                  </a:lnTo>
                  <a:lnTo>
                    <a:pt x="480361" y="718021"/>
                  </a:lnTo>
                  <a:lnTo>
                    <a:pt x="479844" y="717763"/>
                  </a:lnTo>
                  <a:lnTo>
                    <a:pt x="479327" y="716858"/>
                  </a:lnTo>
                  <a:lnTo>
                    <a:pt x="478939" y="715437"/>
                  </a:lnTo>
                  <a:lnTo>
                    <a:pt x="478293" y="710655"/>
                  </a:lnTo>
                  <a:lnTo>
                    <a:pt x="478293" y="709492"/>
                  </a:lnTo>
                  <a:lnTo>
                    <a:pt x="478552" y="708329"/>
                  </a:lnTo>
                  <a:lnTo>
                    <a:pt x="478810" y="707812"/>
                  </a:lnTo>
                  <a:lnTo>
                    <a:pt x="479198" y="707295"/>
                  </a:lnTo>
                  <a:lnTo>
                    <a:pt x="479844" y="706520"/>
                  </a:lnTo>
                  <a:lnTo>
                    <a:pt x="480620" y="705744"/>
                  </a:lnTo>
                  <a:lnTo>
                    <a:pt x="481524" y="705227"/>
                  </a:lnTo>
                  <a:lnTo>
                    <a:pt x="487210" y="702772"/>
                  </a:lnTo>
                  <a:lnTo>
                    <a:pt x="494318" y="700316"/>
                  </a:lnTo>
                  <a:lnTo>
                    <a:pt x="495223" y="699670"/>
                  </a:lnTo>
                  <a:lnTo>
                    <a:pt x="495611" y="699282"/>
                  </a:lnTo>
                  <a:lnTo>
                    <a:pt x="495998" y="699024"/>
                  </a:lnTo>
                  <a:lnTo>
                    <a:pt x="496515" y="698636"/>
                  </a:lnTo>
                  <a:lnTo>
                    <a:pt x="497161" y="697990"/>
                  </a:lnTo>
                  <a:lnTo>
                    <a:pt x="497678" y="696827"/>
                  </a:lnTo>
                  <a:lnTo>
                    <a:pt x="498583" y="693855"/>
                  </a:lnTo>
                  <a:lnTo>
                    <a:pt x="498712" y="692562"/>
                  </a:lnTo>
                  <a:lnTo>
                    <a:pt x="498583" y="691658"/>
                  </a:lnTo>
                  <a:lnTo>
                    <a:pt x="498195" y="691270"/>
                  </a:lnTo>
                  <a:lnTo>
                    <a:pt x="496774" y="690366"/>
                  </a:lnTo>
                  <a:lnTo>
                    <a:pt x="495481" y="689461"/>
                  </a:lnTo>
                  <a:lnTo>
                    <a:pt x="487210" y="685584"/>
                  </a:lnTo>
                  <a:lnTo>
                    <a:pt x="477776" y="682870"/>
                  </a:lnTo>
                  <a:lnTo>
                    <a:pt x="461881" y="680802"/>
                  </a:lnTo>
                  <a:lnTo>
                    <a:pt x="461364" y="680673"/>
                  </a:lnTo>
                  <a:lnTo>
                    <a:pt x="460330" y="680285"/>
                  </a:lnTo>
                  <a:lnTo>
                    <a:pt x="459425" y="679639"/>
                  </a:lnTo>
                  <a:lnTo>
                    <a:pt x="458650" y="678993"/>
                  </a:lnTo>
                  <a:lnTo>
                    <a:pt x="458262" y="678605"/>
                  </a:lnTo>
                  <a:lnTo>
                    <a:pt x="458004" y="678088"/>
                  </a:lnTo>
                  <a:lnTo>
                    <a:pt x="456453" y="674857"/>
                  </a:lnTo>
                  <a:lnTo>
                    <a:pt x="455807" y="673048"/>
                  </a:lnTo>
                  <a:lnTo>
                    <a:pt x="455290" y="671885"/>
                  </a:lnTo>
                  <a:lnTo>
                    <a:pt x="455031" y="671497"/>
                  </a:lnTo>
                  <a:lnTo>
                    <a:pt x="454385" y="670722"/>
                  </a:lnTo>
                  <a:lnTo>
                    <a:pt x="454127" y="670593"/>
                  </a:lnTo>
                  <a:lnTo>
                    <a:pt x="453351" y="670076"/>
                  </a:lnTo>
                  <a:lnTo>
                    <a:pt x="449216" y="668137"/>
                  </a:lnTo>
                  <a:lnTo>
                    <a:pt x="448440" y="667491"/>
                  </a:lnTo>
                  <a:lnTo>
                    <a:pt x="447536" y="665940"/>
                  </a:lnTo>
                  <a:lnTo>
                    <a:pt x="446760" y="664260"/>
                  </a:lnTo>
                  <a:lnTo>
                    <a:pt x="446502" y="663097"/>
                  </a:lnTo>
                  <a:lnTo>
                    <a:pt x="446373" y="662193"/>
                  </a:lnTo>
                  <a:lnTo>
                    <a:pt x="446373" y="661546"/>
                  </a:lnTo>
                  <a:lnTo>
                    <a:pt x="446502" y="660900"/>
                  </a:lnTo>
                  <a:lnTo>
                    <a:pt x="447406" y="658057"/>
                  </a:lnTo>
                  <a:lnTo>
                    <a:pt x="447923" y="656894"/>
                  </a:lnTo>
                  <a:lnTo>
                    <a:pt x="450767" y="651983"/>
                  </a:lnTo>
                  <a:lnTo>
                    <a:pt x="452059" y="650562"/>
                  </a:lnTo>
                  <a:lnTo>
                    <a:pt x="453093" y="650174"/>
                  </a:lnTo>
                  <a:lnTo>
                    <a:pt x="453868" y="649786"/>
                  </a:lnTo>
                  <a:lnTo>
                    <a:pt x="456582" y="647589"/>
                  </a:lnTo>
                  <a:lnTo>
                    <a:pt x="457357" y="646685"/>
                  </a:lnTo>
                  <a:lnTo>
                    <a:pt x="457874" y="646038"/>
                  </a:lnTo>
                  <a:lnTo>
                    <a:pt x="461105" y="636992"/>
                  </a:lnTo>
                  <a:lnTo>
                    <a:pt x="466404" y="625490"/>
                  </a:lnTo>
                  <a:lnTo>
                    <a:pt x="467825" y="623293"/>
                  </a:lnTo>
                  <a:lnTo>
                    <a:pt x="468730" y="622518"/>
                  </a:lnTo>
                  <a:lnTo>
                    <a:pt x="470410" y="621355"/>
                  </a:lnTo>
                  <a:lnTo>
                    <a:pt x="473382" y="619804"/>
                  </a:lnTo>
                  <a:lnTo>
                    <a:pt x="477130" y="618512"/>
                  </a:lnTo>
                  <a:lnTo>
                    <a:pt x="479069" y="618124"/>
                  </a:lnTo>
                  <a:lnTo>
                    <a:pt x="479844" y="617866"/>
                  </a:lnTo>
                  <a:lnTo>
                    <a:pt x="480749" y="617348"/>
                  </a:lnTo>
                  <a:lnTo>
                    <a:pt x="482170" y="616315"/>
                  </a:lnTo>
                  <a:lnTo>
                    <a:pt x="482687" y="615539"/>
                  </a:lnTo>
                  <a:lnTo>
                    <a:pt x="482816" y="614764"/>
                  </a:lnTo>
                  <a:lnTo>
                    <a:pt x="482687" y="614247"/>
                  </a:lnTo>
                  <a:lnTo>
                    <a:pt x="482429" y="613730"/>
                  </a:lnTo>
                  <a:lnTo>
                    <a:pt x="478939" y="609078"/>
                  </a:lnTo>
                  <a:lnTo>
                    <a:pt x="478423" y="608044"/>
                  </a:lnTo>
                  <a:lnTo>
                    <a:pt x="478293" y="607527"/>
                  </a:lnTo>
                  <a:lnTo>
                    <a:pt x="478293" y="606881"/>
                  </a:lnTo>
                  <a:lnTo>
                    <a:pt x="478293" y="606234"/>
                  </a:lnTo>
                  <a:lnTo>
                    <a:pt x="478035" y="605718"/>
                  </a:lnTo>
                  <a:lnTo>
                    <a:pt x="477776" y="605330"/>
                  </a:lnTo>
                  <a:lnTo>
                    <a:pt x="477389" y="605071"/>
                  </a:lnTo>
                  <a:lnTo>
                    <a:pt x="476226" y="604554"/>
                  </a:lnTo>
                  <a:lnTo>
                    <a:pt x="474933" y="604296"/>
                  </a:lnTo>
                  <a:lnTo>
                    <a:pt x="474546" y="603908"/>
                  </a:lnTo>
                  <a:lnTo>
                    <a:pt x="474158" y="603133"/>
                  </a:lnTo>
                  <a:lnTo>
                    <a:pt x="474416" y="601711"/>
                  </a:lnTo>
                  <a:lnTo>
                    <a:pt x="474675" y="600936"/>
                  </a:lnTo>
                  <a:lnTo>
                    <a:pt x="475062" y="600290"/>
                  </a:lnTo>
                  <a:lnTo>
                    <a:pt x="478423" y="597705"/>
                  </a:lnTo>
                  <a:lnTo>
                    <a:pt x="479844" y="596800"/>
                  </a:lnTo>
                  <a:lnTo>
                    <a:pt x="481783" y="595120"/>
                  </a:lnTo>
                  <a:lnTo>
                    <a:pt x="485918" y="590339"/>
                  </a:lnTo>
                  <a:lnTo>
                    <a:pt x="486694" y="589693"/>
                  </a:lnTo>
                  <a:lnTo>
                    <a:pt x="487081" y="589434"/>
                  </a:lnTo>
                  <a:lnTo>
                    <a:pt x="492638" y="586849"/>
                  </a:lnTo>
                  <a:lnTo>
                    <a:pt x="493672" y="586074"/>
                  </a:lnTo>
                  <a:lnTo>
                    <a:pt x="497937" y="581551"/>
                  </a:lnTo>
                  <a:lnTo>
                    <a:pt x="498324" y="581292"/>
                  </a:lnTo>
                  <a:lnTo>
                    <a:pt x="499875" y="580646"/>
                  </a:lnTo>
                  <a:lnTo>
                    <a:pt x="502589" y="580259"/>
                  </a:lnTo>
                  <a:lnTo>
                    <a:pt x="503235" y="580000"/>
                  </a:lnTo>
                  <a:lnTo>
                    <a:pt x="506595" y="577415"/>
                  </a:lnTo>
                  <a:lnTo>
                    <a:pt x="512153" y="574701"/>
                  </a:lnTo>
                  <a:lnTo>
                    <a:pt x="514996" y="572504"/>
                  </a:lnTo>
                  <a:lnTo>
                    <a:pt x="516029" y="571858"/>
                  </a:lnTo>
                  <a:lnTo>
                    <a:pt x="519131" y="570695"/>
                  </a:lnTo>
                  <a:lnTo>
                    <a:pt x="521070" y="569532"/>
                  </a:lnTo>
                  <a:lnTo>
                    <a:pt x="522491" y="568757"/>
                  </a:lnTo>
                  <a:lnTo>
                    <a:pt x="523008" y="568498"/>
                  </a:lnTo>
                  <a:lnTo>
                    <a:pt x="524171" y="567723"/>
                  </a:lnTo>
                  <a:lnTo>
                    <a:pt x="526627" y="565397"/>
                  </a:lnTo>
                  <a:lnTo>
                    <a:pt x="527402" y="564492"/>
                  </a:lnTo>
                  <a:lnTo>
                    <a:pt x="527790" y="563717"/>
                  </a:lnTo>
                  <a:lnTo>
                    <a:pt x="528048" y="563070"/>
                  </a:lnTo>
                  <a:lnTo>
                    <a:pt x="528307" y="561907"/>
                  </a:lnTo>
                  <a:lnTo>
                    <a:pt x="528565" y="559581"/>
                  </a:lnTo>
                  <a:lnTo>
                    <a:pt x="528953" y="558418"/>
                  </a:lnTo>
                  <a:lnTo>
                    <a:pt x="529728" y="556609"/>
                  </a:lnTo>
                  <a:lnTo>
                    <a:pt x="530374" y="555575"/>
                  </a:lnTo>
                  <a:lnTo>
                    <a:pt x="531021" y="554929"/>
                  </a:lnTo>
                  <a:lnTo>
                    <a:pt x="532054" y="554412"/>
                  </a:lnTo>
                  <a:lnTo>
                    <a:pt x="533218" y="553895"/>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4" name="Graphic 2">
              <a:extLst>
                <a:ext uri="{FF2B5EF4-FFF2-40B4-BE49-F238E27FC236}">
                  <a16:creationId xmlns:a16="http://schemas.microsoft.com/office/drawing/2014/main" id="{15AE904D-D7C0-EC9F-0706-B81493714B33}"/>
                </a:ext>
              </a:extLst>
            </p:cNvPr>
            <p:cNvSpPr/>
            <p:nvPr/>
          </p:nvSpPr>
          <p:spPr>
            <a:xfrm>
              <a:off x="7510331" y="2818630"/>
              <a:ext cx="196822" cy="220989"/>
            </a:xfrm>
            <a:custGeom>
              <a:avLst/>
              <a:gdLst>
                <a:gd name="connsiteX0" fmla="*/ 195918 w 196822"/>
                <a:gd name="connsiteY0" fmla="*/ 103128 h 220989"/>
                <a:gd name="connsiteX1" fmla="*/ 194626 w 196822"/>
                <a:gd name="connsiteY1" fmla="*/ 98217 h 220989"/>
                <a:gd name="connsiteX2" fmla="*/ 193980 w 196822"/>
                <a:gd name="connsiteY2" fmla="*/ 97184 h 220989"/>
                <a:gd name="connsiteX3" fmla="*/ 191653 w 196822"/>
                <a:gd name="connsiteY3" fmla="*/ 95504 h 220989"/>
                <a:gd name="connsiteX4" fmla="*/ 190619 w 196822"/>
                <a:gd name="connsiteY4" fmla="*/ 94987 h 220989"/>
                <a:gd name="connsiteX5" fmla="*/ 184416 w 196822"/>
                <a:gd name="connsiteY5" fmla="*/ 96408 h 220989"/>
                <a:gd name="connsiteX6" fmla="*/ 180798 w 196822"/>
                <a:gd name="connsiteY6" fmla="*/ 96538 h 220989"/>
                <a:gd name="connsiteX7" fmla="*/ 179635 w 196822"/>
                <a:gd name="connsiteY7" fmla="*/ 95504 h 220989"/>
                <a:gd name="connsiteX8" fmla="*/ 179635 w 196822"/>
                <a:gd name="connsiteY8" fmla="*/ 93177 h 220989"/>
                <a:gd name="connsiteX9" fmla="*/ 180410 w 196822"/>
                <a:gd name="connsiteY9" fmla="*/ 89171 h 220989"/>
                <a:gd name="connsiteX10" fmla="*/ 179893 w 196822"/>
                <a:gd name="connsiteY10" fmla="*/ 86974 h 220989"/>
                <a:gd name="connsiteX11" fmla="*/ 178989 w 196822"/>
                <a:gd name="connsiteY11" fmla="*/ 84777 h 220989"/>
                <a:gd name="connsiteX12" fmla="*/ 177696 w 196822"/>
                <a:gd name="connsiteY12" fmla="*/ 82839 h 220989"/>
                <a:gd name="connsiteX13" fmla="*/ 173819 w 196822"/>
                <a:gd name="connsiteY13" fmla="*/ 78445 h 220989"/>
                <a:gd name="connsiteX14" fmla="*/ 172397 w 196822"/>
                <a:gd name="connsiteY14" fmla="*/ 78057 h 220989"/>
                <a:gd name="connsiteX15" fmla="*/ 170200 w 196822"/>
                <a:gd name="connsiteY15" fmla="*/ 78703 h 220989"/>
                <a:gd name="connsiteX16" fmla="*/ 168262 w 196822"/>
                <a:gd name="connsiteY16" fmla="*/ 80642 h 220989"/>
                <a:gd name="connsiteX17" fmla="*/ 167616 w 196822"/>
                <a:gd name="connsiteY17" fmla="*/ 80900 h 220989"/>
                <a:gd name="connsiteX18" fmla="*/ 166711 w 196822"/>
                <a:gd name="connsiteY18" fmla="*/ 80771 h 220989"/>
                <a:gd name="connsiteX19" fmla="*/ 162576 w 196822"/>
                <a:gd name="connsiteY19" fmla="*/ 79091 h 220989"/>
                <a:gd name="connsiteX20" fmla="*/ 159732 w 196822"/>
                <a:gd name="connsiteY20" fmla="*/ 76635 h 220989"/>
                <a:gd name="connsiteX21" fmla="*/ 158440 w 196822"/>
                <a:gd name="connsiteY21" fmla="*/ 75731 h 220989"/>
                <a:gd name="connsiteX22" fmla="*/ 154305 w 196822"/>
                <a:gd name="connsiteY22" fmla="*/ 74956 h 220989"/>
                <a:gd name="connsiteX23" fmla="*/ 152108 w 196822"/>
                <a:gd name="connsiteY23" fmla="*/ 74180 h 220989"/>
                <a:gd name="connsiteX24" fmla="*/ 151074 w 196822"/>
                <a:gd name="connsiteY24" fmla="*/ 73146 h 220989"/>
                <a:gd name="connsiteX25" fmla="*/ 150557 w 196822"/>
                <a:gd name="connsiteY25" fmla="*/ 71208 h 220989"/>
                <a:gd name="connsiteX26" fmla="*/ 149136 w 196822"/>
                <a:gd name="connsiteY26" fmla="*/ 69140 h 220989"/>
                <a:gd name="connsiteX27" fmla="*/ 147456 w 196822"/>
                <a:gd name="connsiteY27" fmla="*/ 67201 h 220989"/>
                <a:gd name="connsiteX28" fmla="*/ 145905 w 196822"/>
                <a:gd name="connsiteY28" fmla="*/ 66168 h 220989"/>
                <a:gd name="connsiteX29" fmla="*/ 141899 w 196822"/>
                <a:gd name="connsiteY29" fmla="*/ 64875 h 220989"/>
                <a:gd name="connsiteX30" fmla="*/ 140606 w 196822"/>
                <a:gd name="connsiteY30" fmla="*/ 63971 h 220989"/>
                <a:gd name="connsiteX31" fmla="*/ 140089 w 196822"/>
                <a:gd name="connsiteY31" fmla="*/ 62032 h 220989"/>
                <a:gd name="connsiteX32" fmla="*/ 139314 w 196822"/>
                <a:gd name="connsiteY32" fmla="*/ 52727 h 220989"/>
                <a:gd name="connsiteX33" fmla="*/ 138538 w 196822"/>
                <a:gd name="connsiteY33" fmla="*/ 50789 h 220989"/>
                <a:gd name="connsiteX34" fmla="*/ 136988 w 196822"/>
                <a:gd name="connsiteY34" fmla="*/ 48850 h 220989"/>
                <a:gd name="connsiteX35" fmla="*/ 135049 w 196822"/>
                <a:gd name="connsiteY35" fmla="*/ 47558 h 220989"/>
                <a:gd name="connsiteX36" fmla="*/ 133110 w 196822"/>
                <a:gd name="connsiteY36" fmla="*/ 47946 h 220989"/>
                <a:gd name="connsiteX37" fmla="*/ 130914 w 196822"/>
                <a:gd name="connsiteY37" fmla="*/ 48980 h 220989"/>
                <a:gd name="connsiteX38" fmla="*/ 128716 w 196822"/>
                <a:gd name="connsiteY38" fmla="*/ 48463 h 220989"/>
                <a:gd name="connsiteX39" fmla="*/ 126778 w 196822"/>
                <a:gd name="connsiteY39" fmla="*/ 47300 h 220989"/>
                <a:gd name="connsiteX40" fmla="*/ 120575 w 196822"/>
                <a:gd name="connsiteY40" fmla="*/ 41872 h 220989"/>
                <a:gd name="connsiteX41" fmla="*/ 117732 w 196822"/>
                <a:gd name="connsiteY41" fmla="*/ 40321 h 220989"/>
                <a:gd name="connsiteX42" fmla="*/ 113725 w 196822"/>
                <a:gd name="connsiteY42" fmla="*/ 39546 h 220989"/>
                <a:gd name="connsiteX43" fmla="*/ 112433 w 196822"/>
                <a:gd name="connsiteY43" fmla="*/ 39675 h 220989"/>
                <a:gd name="connsiteX44" fmla="*/ 111270 w 196822"/>
                <a:gd name="connsiteY44" fmla="*/ 39933 h 220989"/>
                <a:gd name="connsiteX45" fmla="*/ 110236 w 196822"/>
                <a:gd name="connsiteY45" fmla="*/ 39933 h 220989"/>
                <a:gd name="connsiteX46" fmla="*/ 108814 w 196822"/>
                <a:gd name="connsiteY46" fmla="*/ 39158 h 220989"/>
                <a:gd name="connsiteX47" fmla="*/ 108298 w 196822"/>
                <a:gd name="connsiteY47" fmla="*/ 38253 h 220989"/>
                <a:gd name="connsiteX48" fmla="*/ 107393 w 196822"/>
                <a:gd name="connsiteY48" fmla="*/ 36315 h 220989"/>
                <a:gd name="connsiteX49" fmla="*/ 106747 w 196822"/>
                <a:gd name="connsiteY49" fmla="*/ 35410 h 220989"/>
                <a:gd name="connsiteX50" fmla="*/ 101448 w 196822"/>
                <a:gd name="connsiteY50" fmla="*/ 29982 h 220989"/>
                <a:gd name="connsiteX51" fmla="*/ 98993 w 196822"/>
                <a:gd name="connsiteY51" fmla="*/ 28431 h 220989"/>
                <a:gd name="connsiteX52" fmla="*/ 94857 w 196822"/>
                <a:gd name="connsiteY52" fmla="*/ 26622 h 220989"/>
                <a:gd name="connsiteX53" fmla="*/ 86457 w 196822"/>
                <a:gd name="connsiteY53" fmla="*/ 24296 h 220989"/>
                <a:gd name="connsiteX54" fmla="*/ 82839 w 196822"/>
                <a:gd name="connsiteY54" fmla="*/ 22487 h 220989"/>
                <a:gd name="connsiteX55" fmla="*/ 80383 w 196822"/>
                <a:gd name="connsiteY55" fmla="*/ 23262 h 220989"/>
                <a:gd name="connsiteX56" fmla="*/ 77669 w 196822"/>
                <a:gd name="connsiteY56" fmla="*/ 23133 h 220989"/>
                <a:gd name="connsiteX57" fmla="*/ 74955 w 196822"/>
                <a:gd name="connsiteY57" fmla="*/ 22487 h 220989"/>
                <a:gd name="connsiteX58" fmla="*/ 72629 w 196822"/>
                <a:gd name="connsiteY58" fmla="*/ 21711 h 220989"/>
                <a:gd name="connsiteX59" fmla="*/ 66943 w 196822"/>
                <a:gd name="connsiteY59" fmla="*/ 17834 h 220989"/>
                <a:gd name="connsiteX60" fmla="*/ 63841 w 196822"/>
                <a:gd name="connsiteY60" fmla="*/ 16413 h 220989"/>
                <a:gd name="connsiteX61" fmla="*/ 60869 w 196822"/>
                <a:gd name="connsiteY61" fmla="*/ 12923 h 220989"/>
                <a:gd name="connsiteX62" fmla="*/ 58284 w 196822"/>
                <a:gd name="connsiteY62" fmla="*/ 12148 h 220989"/>
                <a:gd name="connsiteX63" fmla="*/ 50789 w 196822"/>
                <a:gd name="connsiteY63" fmla="*/ 11373 h 220989"/>
                <a:gd name="connsiteX64" fmla="*/ 48333 w 196822"/>
                <a:gd name="connsiteY64" fmla="*/ 12148 h 220989"/>
                <a:gd name="connsiteX65" fmla="*/ 47041 w 196822"/>
                <a:gd name="connsiteY65" fmla="*/ 9176 h 220989"/>
                <a:gd name="connsiteX66" fmla="*/ 43810 w 196822"/>
                <a:gd name="connsiteY66" fmla="*/ 7366 h 220989"/>
                <a:gd name="connsiteX67" fmla="*/ 40450 w 196822"/>
                <a:gd name="connsiteY67" fmla="*/ 6074 h 220989"/>
                <a:gd name="connsiteX68" fmla="*/ 38899 w 196822"/>
                <a:gd name="connsiteY68" fmla="*/ 4394 h 220989"/>
                <a:gd name="connsiteX69" fmla="*/ 37348 w 196822"/>
                <a:gd name="connsiteY69" fmla="*/ 3231 h 220989"/>
                <a:gd name="connsiteX70" fmla="*/ 27785 w 196822"/>
                <a:gd name="connsiteY70" fmla="*/ 1034 h 220989"/>
                <a:gd name="connsiteX71" fmla="*/ 26493 w 196822"/>
                <a:gd name="connsiteY71" fmla="*/ 0 h 220989"/>
                <a:gd name="connsiteX72" fmla="*/ 24942 w 196822"/>
                <a:gd name="connsiteY72" fmla="*/ 1163 h 220989"/>
                <a:gd name="connsiteX73" fmla="*/ 24425 w 196822"/>
                <a:gd name="connsiteY73" fmla="*/ 1680 h 220989"/>
                <a:gd name="connsiteX74" fmla="*/ 24167 w 196822"/>
                <a:gd name="connsiteY74" fmla="*/ 2068 h 220989"/>
                <a:gd name="connsiteX75" fmla="*/ 23779 w 196822"/>
                <a:gd name="connsiteY75" fmla="*/ 3748 h 220989"/>
                <a:gd name="connsiteX76" fmla="*/ 23391 w 196822"/>
                <a:gd name="connsiteY76" fmla="*/ 4782 h 220989"/>
                <a:gd name="connsiteX77" fmla="*/ 22228 w 196822"/>
                <a:gd name="connsiteY77" fmla="*/ 6462 h 220989"/>
                <a:gd name="connsiteX78" fmla="*/ 21711 w 196822"/>
                <a:gd name="connsiteY78" fmla="*/ 7496 h 220989"/>
                <a:gd name="connsiteX79" fmla="*/ 21323 w 196822"/>
                <a:gd name="connsiteY79" fmla="*/ 8529 h 220989"/>
                <a:gd name="connsiteX80" fmla="*/ 21323 w 196822"/>
                <a:gd name="connsiteY80" fmla="*/ 9693 h 220989"/>
                <a:gd name="connsiteX81" fmla="*/ 21840 w 196822"/>
                <a:gd name="connsiteY81" fmla="*/ 10856 h 220989"/>
                <a:gd name="connsiteX82" fmla="*/ 23004 w 196822"/>
                <a:gd name="connsiteY82" fmla="*/ 11631 h 220989"/>
                <a:gd name="connsiteX83" fmla="*/ 24037 w 196822"/>
                <a:gd name="connsiteY83" fmla="*/ 11890 h 220989"/>
                <a:gd name="connsiteX84" fmla="*/ 25976 w 196822"/>
                <a:gd name="connsiteY84" fmla="*/ 12277 h 220989"/>
                <a:gd name="connsiteX85" fmla="*/ 26622 w 196822"/>
                <a:gd name="connsiteY85" fmla="*/ 12536 h 220989"/>
                <a:gd name="connsiteX86" fmla="*/ 27010 w 196822"/>
                <a:gd name="connsiteY86" fmla="*/ 13182 h 220989"/>
                <a:gd name="connsiteX87" fmla="*/ 26880 w 196822"/>
                <a:gd name="connsiteY87" fmla="*/ 13828 h 220989"/>
                <a:gd name="connsiteX88" fmla="*/ 25588 w 196822"/>
                <a:gd name="connsiteY88" fmla="*/ 15767 h 220989"/>
                <a:gd name="connsiteX89" fmla="*/ 24554 w 196822"/>
                <a:gd name="connsiteY89" fmla="*/ 18997 h 220989"/>
                <a:gd name="connsiteX90" fmla="*/ 24037 w 196822"/>
                <a:gd name="connsiteY90" fmla="*/ 19902 h 220989"/>
                <a:gd name="connsiteX91" fmla="*/ 23391 w 196822"/>
                <a:gd name="connsiteY91" fmla="*/ 20677 h 220989"/>
                <a:gd name="connsiteX92" fmla="*/ 23004 w 196822"/>
                <a:gd name="connsiteY92" fmla="*/ 21582 h 220989"/>
                <a:gd name="connsiteX93" fmla="*/ 23004 w 196822"/>
                <a:gd name="connsiteY93" fmla="*/ 22616 h 220989"/>
                <a:gd name="connsiteX94" fmla="*/ 23521 w 196822"/>
                <a:gd name="connsiteY94" fmla="*/ 23908 h 220989"/>
                <a:gd name="connsiteX95" fmla="*/ 25976 w 196822"/>
                <a:gd name="connsiteY95" fmla="*/ 28044 h 220989"/>
                <a:gd name="connsiteX96" fmla="*/ 29982 w 196822"/>
                <a:gd name="connsiteY96" fmla="*/ 37478 h 220989"/>
                <a:gd name="connsiteX97" fmla="*/ 30758 w 196822"/>
                <a:gd name="connsiteY97" fmla="*/ 38512 h 220989"/>
                <a:gd name="connsiteX98" fmla="*/ 32308 w 196822"/>
                <a:gd name="connsiteY98" fmla="*/ 39804 h 220989"/>
                <a:gd name="connsiteX99" fmla="*/ 33730 w 196822"/>
                <a:gd name="connsiteY99" fmla="*/ 40321 h 220989"/>
                <a:gd name="connsiteX100" fmla="*/ 36056 w 196822"/>
                <a:gd name="connsiteY100" fmla="*/ 40967 h 220989"/>
                <a:gd name="connsiteX101" fmla="*/ 36702 w 196822"/>
                <a:gd name="connsiteY101" fmla="*/ 41613 h 220989"/>
                <a:gd name="connsiteX102" fmla="*/ 36702 w 196822"/>
                <a:gd name="connsiteY102" fmla="*/ 42518 h 220989"/>
                <a:gd name="connsiteX103" fmla="*/ 36444 w 196822"/>
                <a:gd name="connsiteY103" fmla="*/ 43552 h 220989"/>
                <a:gd name="connsiteX104" fmla="*/ 36444 w 196822"/>
                <a:gd name="connsiteY104" fmla="*/ 44715 h 220989"/>
                <a:gd name="connsiteX105" fmla="*/ 36961 w 196822"/>
                <a:gd name="connsiteY105" fmla="*/ 45749 h 220989"/>
                <a:gd name="connsiteX106" fmla="*/ 42259 w 196822"/>
                <a:gd name="connsiteY106" fmla="*/ 51177 h 220989"/>
                <a:gd name="connsiteX107" fmla="*/ 43681 w 196822"/>
                <a:gd name="connsiteY107" fmla="*/ 52081 h 220989"/>
                <a:gd name="connsiteX108" fmla="*/ 44456 w 196822"/>
                <a:gd name="connsiteY108" fmla="*/ 52727 h 220989"/>
                <a:gd name="connsiteX109" fmla="*/ 45232 w 196822"/>
                <a:gd name="connsiteY109" fmla="*/ 53503 h 220989"/>
                <a:gd name="connsiteX110" fmla="*/ 49626 w 196822"/>
                <a:gd name="connsiteY110" fmla="*/ 59835 h 220989"/>
                <a:gd name="connsiteX111" fmla="*/ 50272 w 196822"/>
                <a:gd name="connsiteY111" fmla="*/ 61903 h 220989"/>
                <a:gd name="connsiteX112" fmla="*/ 50530 w 196822"/>
                <a:gd name="connsiteY112" fmla="*/ 63324 h 220989"/>
                <a:gd name="connsiteX113" fmla="*/ 50272 w 196822"/>
                <a:gd name="connsiteY113" fmla="*/ 69140 h 220989"/>
                <a:gd name="connsiteX114" fmla="*/ 50401 w 196822"/>
                <a:gd name="connsiteY114" fmla="*/ 73663 h 220989"/>
                <a:gd name="connsiteX115" fmla="*/ 49238 w 196822"/>
                <a:gd name="connsiteY115" fmla="*/ 84002 h 220989"/>
                <a:gd name="connsiteX116" fmla="*/ 48333 w 196822"/>
                <a:gd name="connsiteY116" fmla="*/ 87103 h 220989"/>
                <a:gd name="connsiteX117" fmla="*/ 47558 w 196822"/>
                <a:gd name="connsiteY117" fmla="*/ 88783 h 220989"/>
                <a:gd name="connsiteX118" fmla="*/ 46782 w 196822"/>
                <a:gd name="connsiteY118" fmla="*/ 90076 h 220989"/>
                <a:gd name="connsiteX119" fmla="*/ 46136 w 196822"/>
                <a:gd name="connsiteY119" fmla="*/ 90851 h 220989"/>
                <a:gd name="connsiteX120" fmla="*/ 45102 w 196822"/>
                <a:gd name="connsiteY120" fmla="*/ 93307 h 220989"/>
                <a:gd name="connsiteX121" fmla="*/ 44327 w 196822"/>
                <a:gd name="connsiteY121" fmla="*/ 94341 h 220989"/>
                <a:gd name="connsiteX122" fmla="*/ 43939 w 196822"/>
                <a:gd name="connsiteY122" fmla="*/ 95633 h 220989"/>
                <a:gd name="connsiteX123" fmla="*/ 43681 w 196822"/>
                <a:gd name="connsiteY123" fmla="*/ 96796 h 220989"/>
                <a:gd name="connsiteX124" fmla="*/ 46007 w 196822"/>
                <a:gd name="connsiteY124" fmla="*/ 103775 h 220989"/>
                <a:gd name="connsiteX125" fmla="*/ 45619 w 196822"/>
                <a:gd name="connsiteY125" fmla="*/ 107005 h 220989"/>
                <a:gd name="connsiteX126" fmla="*/ 44844 w 196822"/>
                <a:gd name="connsiteY126" fmla="*/ 110495 h 220989"/>
                <a:gd name="connsiteX127" fmla="*/ 44844 w 196822"/>
                <a:gd name="connsiteY127" fmla="*/ 111528 h 220989"/>
                <a:gd name="connsiteX128" fmla="*/ 44973 w 196822"/>
                <a:gd name="connsiteY128" fmla="*/ 112692 h 220989"/>
                <a:gd name="connsiteX129" fmla="*/ 45490 w 196822"/>
                <a:gd name="connsiteY129" fmla="*/ 113855 h 220989"/>
                <a:gd name="connsiteX130" fmla="*/ 46136 w 196822"/>
                <a:gd name="connsiteY130" fmla="*/ 114630 h 220989"/>
                <a:gd name="connsiteX131" fmla="*/ 48333 w 196822"/>
                <a:gd name="connsiteY131" fmla="*/ 115923 h 220989"/>
                <a:gd name="connsiteX132" fmla="*/ 48850 w 196822"/>
                <a:gd name="connsiteY132" fmla="*/ 116827 h 220989"/>
                <a:gd name="connsiteX133" fmla="*/ 49238 w 196822"/>
                <a:gd name="connsiteY133" fmla="*/ 117732 h 220989"/>
                <a:gd name="connsiteX134" fmla="*/ 49496 w 196822"/>
                <a:gd name="connsiteY134" fmla="*/ 118895 h 220989"/>
                <a:gd name="connsiteX135" fmla="*/ 48980 w 196822"/>
                <a:gd name="connsiteY135" fmla="*/ 120446 h 220989"/>
                <a:gd name="connsiteX136" fmla="*/ 48463 w 196822"/>
                <a:gd name="connsiteY136" fmla="*/ 121738 h 220989"/>
                <a:gd name="connsiteX137" fmla="*/ 47428 w 196822"/>
                <a:gd name="connsiteY137" fmla="*/ 123030 h 220989"/>
                <a:gd name="connsiteX138" fmla="*/ 45878 w 196822"/>
                <a:gd name="connsiteY138" fmla="*/ 124452 h 220989"/>
                <a:gd name="connsiteX139" fmla="*/ 39933 w 196822"/>
                <a:gd name="connsiteY139" fmla="*/ 127941 h 220989"/>
                <a:gd name="connsiteX140" fmla="*/ 29207 w 196822"/>
                <a:gd name="connsiteY140" fmla="*/ 132594 h 220989"/>
                <a:gd name="connsiteX141" fmla="*/ 26622 w 196822"/>
                <a:gd name="connsiteY141" fmla="*/ 133240 h 220989"/>
                <a:gd name="connsiteX142" fmla="*/ 25847 w 196822"/>
                <a:gd name="connsiteY142" fmla="*/ 133111 h 220989"/>
                <a:gd name="connsiteX143" fmla="*/ 24942 w 196822"/>
                <a:gd name="connsiteY143" fmla="*/ 132723 h 220989"/>
                <a:gd name="connsiteX144" fmla="*/ 20160 w 196822"/>
                <a:gd name="connsiteY144" fmla="*/ 129363 h 220989"/>
                <a:gd name="connsiteX145" fmla="*/ 17963 w 196822"/>
                <a:gd name="connsiteY145" fmla="*/ 128200 h 220989"/>
                <a:gd name="connsiteX146" fmla="*/ 16800 w 196822"/>
                <a:gd name="connsiteY146" fmla="*/ 127941 h 220989"/>
                <a:gd name="connsiteX147" fmla="*/ 14474 w 196822"/>
                <a:gd name="connsiteY147" fmla="*/ 127554 h 220989"/>
                <a:gd name="connsiteX148" fmla="*/ 9563 w 196822"/>
                <a:gd name="connsiteY148" fmla="*/ 127295 h 220989"/>
                <a:gd name="connsiteX149" fmla="*/ 8142 w 196822"/>
                <a:gd name="connsiteY149" fmla="*/ 127554 h 220989"/>
                <a:gd name="connsiteX150" fmla="*/ 6849 w 196822"/>
                <a:gd name="connsiteY150" fmla="*/ 127941 h 220989"/>
                <a:gd name="connsiteX151" fmla="*/ 5686 w 196822"/>
                <a:gd name="connsiteY151" fmla="*/ 128458 h 220989"/>
                <a:gd name="connsiteX152" fmla="*/ 4782 w 196822"/>
                <a:gd name="connsiteY152" fmla="*/ 129363 h 220989"/>
                <a:gd name="connsiteX153" fmla="*/ 4136 w 196822"/>
                <a:gd name="connsiteY153" fmla="*/ 130138 h 220989"/>
                <a:gd name="connsiteX154" fmla="*/ 3748 w 196822"/>
                <a:gd name="connsiteY154" fmla="*/ 130914 h 220989"/>
                <a:gd name="connsiteX155" fmla="*/ 3101 w 196822"/>
                <a:gd name="connsiteY155" fmla="*/ 133886 h 220989"/>
                <a:gd name="connsiteX156" fmla="*/ 258 w 196822"/>
                <a:gd name="connsiteY156" fmla="*/ 140089 h 220989"/>
                <a:gd name="connsiteX157" fmla="*/ 0 w 196822"/>
                <a:gd name="connsiteY157" fmla="*/ 141252 h 220989"/>
                <a:gd name="connsiteX158" fmla="*/ 0 w 196822"/>
                <a:gd name="connsiteY158" fmla="*/ 142545 h 220989"/>
                <a:gd name="connsiteX159" fmla="*/ 129 w 196822"/>
                <a:gd name="connsiteY159" fmla="*/ 145388 h 220989"/>
                <a:gd name="connsiteX160" fmla="*/ 517 w 196822"/>
                <a:gd name="connsiteY160" fmla="*/ 146809 h 220989"/>
                <a:gd name="connsiteX161" fmla="*/ 1163 w 196822"/>
                <a:gd name="connsiteY161" fmla="*/ 148231 h 220989"/>
                <a:gd name="connsiteX162" fmla="*/ 2973 w 196822"/>
                <a:gd name="connsiteY162" fmla="*/ 150040 h 220989"/>
                <a:gd name="connsiteX163" fmla="*/ 4265 w 196822"/>
                <a:gd name="connsiteY163" fmla="*/ 151074 h 220989"/>
                <a:gd name="connsiteX164" fmla="*/ 6074 w 196822"/>
                <a:gd name="connsiteY164" fmla="*/ 153013 h 220989"/>
                <a:gd name="connsiteX165" fmla="*/ 6720 w 196822"/>
                <a:gd name="connsiteY165" fmla="*/ 155856 h 220989"/>
                <a:gd name="connsiteX166" fmla="*/ 7237 w 196822"/>
                <a:gd name="connsiteY166" fmla="*/ 157148 h 220989"/>
                <a:gd name="connsiteX167" fmla="*/ 9693 w 196822"/>
                <a:gd name="connsiteY167" fmla="*/ 159087 h 220989"/>
                <a:gd name="connsiteX168" fmla="*/ 10210 w 196822"/>
                <a:gd name="connsiteY168" fmla="*/ 159603 h 220989"/>
                <a:gd name="connsiteX169" fmla="*/ 12277 w 196822"/>
                <a:gd name="connsiteY169" fmla="*/ 161025 h 220989"/>
                <a:gd name="connsiteX170" fmla="*/ 13440 w 196822"/>
                <a:gd name="connsiteY170" fmla="*/ 161542 h 220989"/>
                <a:gd name="connsiteX171" fmla="*/ 14474 w 196822"/>
                <a:gd name="connsiteY171" fmla="*/ 162317 h 220989"/>
                <a:gd name="connsiteX172" fmla="*/ 15249 w 196822"/>
                <a:gd name="connsiteY172" fmla="*/ 163868 h 220989"/>
                <a:gd name="connsiteX173" fmla="*/ 16413 w 196822"/>
                <a:gd name="connsiteY173" fmla="*/ 167487 h 220989"/>
                <a:gd name="connsiteX174" fmla="*/ 16930 w 196822"/>
                <a:gd name="connsiteY174" fmla="*/ 170717 h 220989"/>
                <a:gd name="connsiteX175" fmla="*/ 17705 w 196822"/>
                <a:gd name="connsiteY175" fmla="*/ 172785 h 220989"/>
                <a:gd name="connsiteX176" fmla="*/ 18739 w 196822"/>
                <a:gd name="connsiteY176" fmla="*/ 176404 h 220989"/>
                <a:gd name="connsiteX177" fmla="*/ 19385 w 196822"/>
                <a:gd name="connsiteY177" fmla="*/ 177438 h 220989"/>
                <a:gd name="connsiteX178" fmla="*/ 21840 w 196822"/>
                <a:gd name="connsiteY178" fmla="*/ 178859 h 220989"/>
                <a:gd name="connsiteX179" fmla="*/ 24813 w 196822"/>
                <a:gd name="connsiteY179" fmla="*/ 180152 h 220989"/>
                <a:gd name="connsiteX180" fmla="*/ 25847 w 196822"/>
                <a:gd name="connsiteY180" fmla="*/ 180668 h 220989"/>
                <a:gd name="connsiteX181" fmla="*/ 26234 w 196822"/>
                <a:gd name="connsiteY181" fmla="*/ 181056 h 220989"/>
                <a:gd name="connsiteX182" fmla="*/ 26880 w 196822"/>
                <a:gd name="connsiteY182" fmla="*/ 181832 h 220989"/>
                <a:gd name="connsiteX183" fmla="*/ 27527 w 196822"/>
                <a:gd name="connsiteY183" fmla="*/ 182995 h 220989"/>
                <a:gd name="connsiteX184" fmla="*/ 28173 w 196822"/>
                <a:gd name="connsiteY184" fmla="*/ 185062 h 220989"/>
                <a:gd name="connsiteX185" fmla="*/ 28302 w 196822"/>
                <a:gd name="connsiteY185" fmla="*/ 186484 h 220989"/>
                <a:gd name="connsiteX186" fmla="*/ 28043 w 196822"/>
                <a:gd name="connsiteY186" fmla="*/ 188552 h 220989"/>
                <a:gd name="connsiteX187" fmla="*/ 27010 w 196822"/>
                <a:gd name="connsiteY187" fmla="*/ 192299 h 220989"/>
                <a:gd name="connsiteX188" fmla="*/ 27139 w 196822"/>
                <a:gd name="connsiteY188" fmla="*/ 194367 h 220989"/>
                <a:gd name="connsiteX189" fmla="*/ 26234 w 196822"/>
                <a:gd name="connsiteY189" fmla="*/ 196306 h 220989"/>
                <a:gd name="connsiteX190" fmla="*/ 25717 w 196822"/>
                <a:gd name="connsiteY190" fmla="*/ 197081 h 220989"/>
                <a:gd name="connsiteX191" fmla="*/ 25459 w 196822"/>
                <a:gd name="connsiteY191" fmla="*/ 197986 h 220989"/>
                <a:gd name="connsiteX192" fmla="*/ 25717 w 196822"/>
                <a:gd name="connsiteY192" fmla="*/ 199020 h 220989"/>
                <a:gd name="connsiteX193" fmla="*/ 26364 w 196822"/>
                <a:gd name="connsiteY193" fmla="*/ 200054 h 220989"/>
                <a:gd name="connsiteX194" fmla="*/ 27268 w 196822"/>
                <a:gd name="connsiteY194" fmla="*/ 200958 h 220989"/>
                <a:gd name="connsiteX195" fmla="*/ 29465 w 196822"/>
                <a:gd name="connsiteY195" fmla="*/ 202638 h 220989"/>
                <a:gd name="connsiteX196" fmla="*/ 32954 w 196822"/>
                <a:gd name="connsiteY196" fmla="*/ 203414 h 220989"/>
                <a:gd name="connsiteX197" fmla="*/ 33988 w 196822"/>
                <a:gd name="connsiteY197" fmla="*/ 203801 h 220989"/>
                <a:gd name="connsiteX198" fmla="*/ 34505 w 196822"/>
                <a:gd name="connsiteY198" fmla="*/ 204189 h 220989"/>
                <a:gd name="connsiteX199" fmla="*/ 35281 w 196822"/>
                <a:gd name="connsiteY199" fmla="*/ 204189 h 220989"/>
                <a:gd name="connsiteX200" fmla="*/ 35927 w 196822"/>
                <a:gd name="connsiteY200" fmla="*/ 203672 h 220989"/>
                <a:gd name="connsiteX201" fmla="*/ 36573 w 196822"/>
                <a:gd name="connsiteY201" fmla="*/ 203284 h 220989"/>
                <a:gd name="connsiteX202" fmla="*/ 37607 w 196822"/>
                <a:gd name="connsiteY202" fmla="*/ 203672 h 220989"/>
                <a:gd name="connsiteX203" fmla="*/ 38641 w 196822"/>
                <a:gd name="connsiteY203" fmla="*/ 204706 h 220989"/>
                <a:gd name="connsiteX204" fmla="*/ 40062 w 196822"/>
                <a:gd name="connsiteY204" fmla="*/ 205740 h 220989"/>
                <a:gd name="connsiteX205" fmla="*/ 41355 w 196822"/>
                <a:gd name="connsiteY205" fmla="*/ 206386 h 220989"/>
                <a:gd name="connsiteX206" fmla="*/ 42259 w 196822"/>
                <a:gd name="connsiteY206" fmla="*/ 207032 h 220989"/>
                <a:gd name="connsiteX207" fmla="*/ 43164 w 196822"/>
                <a:gd name="connsiteY207" fmla="*/ 208324 h 220989"/>
                <a:gd name="connsiteX208" fmla="*/ 44069 w 196822"/>
                <a:gd name="connsiteY208" fmla="*/ 210392 h 220989"/>
                <a:gd name="connsiteX209" fmla="*/ 45619 w 196822"/>
                <a:gd name="connsiteY209" fmla="*/ 213106 h 220989"/>
                <a:gd name="connsiteX210" fmla="*/ 47946 w 196822"/>
                <a:gd name="connsiteY210" fmla="*/ 216079 h 220989"/>
                <a:gd name="connsiteX211" fmla="*/ 51564 w 196822"/>
                <a:gd name="connsiteY211" fmla="*/ 217758 h 220989"/>
                <a:gd name="connsiteX212" fmla="*/ 53890 w 196822"/>
                <a:gd name="connsiteY212" fmla="*/ 218534 h 220989"/>
                <a:gd name="connsiteX213" fmla="*/ 58672 w 196822"/>
                <a:gd name="connsiteY213" fmla="*/ 219568 h 220989"/>
                <a:gd name="connsiteX214" fmla="*/ 60352 w 196822"/>
                <a:gd name="connsiteY214" fmla="*/ 220989 h 220989"/>
                <a:gd name="connsiteX215" fmla="*/ 61386 w 196822"/>
                <a:gd name="connsiteY215" fmla="*/ 220989 h 220989"/>
                <a:gd name="connsiteX216" fmla="*/ 62549 w 196822"/>
                <a:gd name="connsiteY216" fmla="*/ 219955 h 220989"/>
                <a:gd name="connsiteX217" fmla="*/ 63583 w 196822"/>
                <a:gd name="connsiteY217" fmla="*/ 218146 h 220989"/>
                <a:gd name="connsiteX218" fmla="*/ 65392 w 196822"/>
                <a:gd name="connsiteY218" fmla="*/ 215820 h 220989"/>
                <a:gd name="connsiteX219" fmla="*/ 71854 w 196822"/>
                <a:gd name="connsiteY219" fmla="*/ 217888 h 220989"/>
                <a:gd name="connsiteX220" fmla="*/ 75085 w 196822"/>
                <a:gd name="connsiteY220" fmla="*/ 217758 h 220989"/>
                <a:gd name="connsiteX221" fmla="*/ 81546 w 196822"/>
                <a:gd name="connsiteY221" fmla="*/ 215432 h 220989"/>
                <a:gd name="connsiteX222" fmla="*/ 80513 w 196822"/>
                <a:gd name="connsiteY222" fmla="*/ 215303 h 220989"/>
                <a:gd name="connsiteX223" fmla="*/ 83614 w 196822"/>
                <a:gd name="connsiteY223" fmla="*/ 214269 h 220989"/>
                <a:gd name="connsiteX224" fmla="*/ 86974 w 196822"/>
                <a:gd name="connsiteY224" fmla="*/ 212718 h 220989"/>
                <a:gd name="connsiteX225" fmla="*/ 89688 w 196822"/>
                <a:gd name="connsiteY225" fmla="*/ 210263 h 220989"/>
                <a:gd name="connsiteX226" fmla="*/ 90851 w 196822"/>
                <a:gd name="connsiteY226" fmla="*/ 206644 h 220989"/>
                <a:gd name="connsiteX227" fmla="*/ 90205 w 196822"/>
                <a:gd name="connsiteY227" fmla="*/ 205740 h 220989"/>
                <a:gd name="connsiteX228" fmla="*/ 85682 w 196822"/>
                <a:gd name="connsiteY228" fmla="*/ 204060 h 220989"/>
                <a:gd name="connsiteX229" fmla="*/ 84648 w 196822"/>
                <a:gd name="connsiteY229" fmla="*/ 203026 h 220989"/>
                <a:gd name="connsiteX230" fmla="*/ 83872 w 196822"/>
                <a:gd name="connsiteY230" fmla="*/ 201734 h 220989"/>
                <a:gd name="connsiteX231" fmla="*/ 82839 w 196822"/>
                <a:gd name="connsiteY231" fmla="*/ 198115 h 220989"/>
                <a:gd name="connsiteX232" fmla="*/ 83872 w 196822"/>
                <a:gd name="connsiteY232" fmla="*/ 199278 h 220989"/>
                <a:gd name="connsiteX233" fmla="*/ 84907 w 196822"/>
                <a:gd name="connsiteY233" fmla="*/ 199407 h 220989"/>
                <a:gd name="connsiteX234" fmla="*/ 85553 w 196822"/>
                <a:gd name="connsiteY234" fmla="*/ 198761 h 220989"/>
                <a:gd name="connsiteX235" fmla="*/ 85682 w 196822"/>
                <a:gd name="connsiteY235" fmla="*/ 197340 h 220989"/>
                <a:gd name="connsiteX236" fmla="*/ 86457 w 196822"/>
                <a:gd name="connsiteY236" fmla="*/ 201475 h 220989"/>
                <a:gd name="connsiteX237" fmla="*/ 87233 w 196822"/>
                <a:gd name="connsiteY237" fmla="*/ 203155 h 220989"/>
                <a:gd name="connsiteX238" fmla="*/ 88783 w 196822"/>
                <a:gd name="connsiteY238" fmla="*/ 203284 h 220989"/>
                <a:gd name="connsiteX239" fmla="*/ 89559 w 196822"/>
                <a:gd name="connsiteY239" fmla="*/ 202121 h 220989"/>
                <a:gd name="connsiteX240" fmla="*/ 90851 w 196822"/>
                <a:gd name="connsiteY240" fmla="*/ 196694 h 220989"/>
                <a:gd name="connsiteX241" fmla="*/ 92531 w 196822"/>
                <a:gd name="connsiteY241" fmla="*/ 193592 h 220989"/>
                <a:gd name="connsiteX242" fmla="*/ 93436 w 196822"/>
                <a:gd name="connsiteY242" fmla="*/ 192429 h 220989"/>
                <a:gd name="connsiteX243" fmla="*/ 94599 w 196822"/>
                <a:gd name="connsiteY243" fmla="*/ 191395 h 220989"/>
                <a:gd name="connsiteX244" fmla="*/ 95503 w 196822"/>
                <a:gd name="connsiteY244" fmla="*/ 191136 h 220989"/>
                <a:gd name="connsiteX245" fmla="*/ 96408 w 196822"/>
                <a:gd name="connsiteY245" fmla="*/ 191007 h 220989"/>
                <a:gd name="connsiteX246" fmla="*/ 97183 w 196822"/>
                <a:gd name="connsiteY246" fmla="*/ 190749 h 220989"/>
                <a:gd name="connsiteX247" fmla="*/ 97442 w 196822"/>
                <a:gd name="connsiteY247" fmla="*/ 189715 h 220989"/>
                <a:gd name="connsiteX248" fmla="*/ 97183 w 196822"/>
                <a:gd name="connsiteY248" fmla="*/ 188810 h 220989"/>
                <a:gd name="connsiteX249" fmla="*/ 96667 w 196822"/>
                <a:gd name="connsiteY249" fmla="*/ 188293 h 220989"/>
                <a:gd name="connsiteX250" fmla="*/ 96150 w 196822"/>
                <a:gd name="connsiteY250" fmla="*/ 187518 h 220989"/>
                <a:gd name="connsiteX251" fmla="*/ 96020 w 196822"/>
                <a:gd name="connsiteY251" fmla="*/ 186355 h 220989"/>
                <a:gd name="connsiteX252" fmla="*/ 98347 w 196822"/>
                <a:gd name="connsiteY252" fmla="*/ 187776 h 220989"/>
                <a:gd name="connsiteX253" fmla="*/ 98993 w 196822"/>
                <a:gd name="connsiteY253" fmla="*/ 188552 h 220989"/>
                <a:gd name="connsiteX254" fmla="*/ 98993 w 196822"/>
                <a:gd name="connsiteY254" fmla="*/ 186355 h 220989"/>
                <a:gd name="connsiteX255" fmla="*/ 96020 w 196822"/>
                <a:gd name="connsiteY255" fmla="*/ 181444 h 220989"/>
                <a:gd name="connsiteX256" fmla="*/ 96408 w 196822"/>
                <a:gd name="connsiteY256" fmla="*/ 179247 h 220989"/>
                <a:gd name="connsiteX257" fmla="*/ 97183 w 196822"/>
                <a:gd name="connsiteY257" fmla="*/ 179893 h 220989"/>
                <a:gd name="connsiteX258" fmla="*/ 98476 w 196822"/>
                <a:gd name="connsiteY258" fmla="*/ 181832 h 220989"/>
                <a:gd name="connsiteX259" fmla="*/ 100544 w 196822"/>
                <a:gd name="connsiteY259" fmla="*/ 185579 h 220989"/>
                <a:gd name="connsiteX260" fmla="*/ 101190 w 196822"/>
                <a:gd name="connsiteY260" fmla="*/ 185579 h 220989"/>
                <a:gd name="connsiteX261" fmla="*/ 100802 w 196822"/>
                <a:gd name="connsiteY261" fmla="*/ 184287 h 220989"/>
                <a:gd name="connsiteX262" fmla="*/ 100673 w 196822"/>
                <a:gd name="connsiteY262" fmla="*/ 183124 h 220989"/>
                <a:gd name="connsiteX263" fmla="*/ 101190 w 196822"/>
                <a:gd name="connsiteY263" fmla="*/ 180410 h 220989"/>
                <a:gd name="connsiteX264" fmla="*/ 102353 w 196822"/>
                <a:gd name="connsiteY264" fmla="*/ 181832 h 220989"/>
                <a:gd name="connsiteX265" fmla="*/ 102611 w 196822"/>
                <a:gd name="connsiteY265" fmla="*/ 184933 h 220989"/>
                <a:gd name="connsiteX266" fmla="*/ 104033 w 196822"/>
                <a:gd name="connsiteY266" fmla="*/ 186355 h 220989"/>
                <a:gd name="connsiteX267" fmla="*/ 102094 w 196822"/>
                <a:gd name="connsiteY267" fmla="*/ 186872 h 220989"/>
                <a:gd name="connsiteX268" fmla="*/ 101577 w 196822"/>
                <a:gd name="connsiteY268" fmla="*/ 187259 h 220989"/>
                <a:gd name="connsiteX269" fmla="*/ 100544 w 196822"/>
                <a:gd name="connsiteY269" fmla="*/ 188552 h 220989"/>
                <a:gd name="connsiteX270" fmla="*/ 96020 w 196822"/>
                <a:gd name="connsiteY270" fmla="*/ 192170 h 220989"/>
                <a:gd name="connsiteX271" fmla="*/ 94857 w 196822"/>
                <a:gd name="connsiteY271" fmla="*/ 193463 h 220989"/>
                <a:gd name="connsiteX272" fmla="*/ 94470 w 196822"/>
                <a:gd name="connsiteY272" fmla="*/ 194497 h 220989"/>
                <a:gd name="connsiteX273" fmla="*/ 93824 w 196822"/>
                <a:gd name="connsiteY273" fmla="*/ 197340 h 220989"/>
                <a:gd name="connsiteX274" fmla="*/ 93177 w 196822"/>
                <a:gd name="connsiteY274" fmla="*/ 198503 h 220989"/>
                <a:gd name="connsiteX275" fmla="*/ 90076 w 196822"/>
                <a:gd name="connsiteY275" fmla="*/ 202638 h 220989"/>
                <a:gd name="connsiteX276" fmla="*/ 92014 w 196822"/>
                <a:gd name="connsiteY276" fmla="*/ 202897 h 220989"/>
                <a:gd name="connsiteX277" fmla="*/ 92014 w 196822"/>
                <a:gd name="connsiteY277" fmla="*/ 203672 h 220989"/>
                <a:gd name="connsiteX278" fmla="*/ 91497 w 196822"/>
                <a:gd name="connsiteY278" fmla="*/ 204706 h 220989"/>
                <a:gd name="connsiteX279" fmla="*/ 91627 w 196822"/>
                <a:gd name="connsiteY279" fmla="*/ 205610 h 220989"/>
                <a:gd name="connsiteX280" fmla="*/ 93048 w 196822"/>
                <a:gd name="connsiteY280" fmla="*/ 205869 h 220989"/>
                <a:gd name="connsiteX281" fmla="*/ 97830 w 196822"/>
                <a:gd name="connsiteY281" fmla="*/ 204835 h 220989"/>
                <a:gd name="connsiteX282" fmla="*/ 99381 w 196822"/>
                <a:gd name="connsiteY282" fmla="*/ 203284 h 220989"/>
                <a:gd name="connsiteX283" fmla="*/ 102611 w 196822"/>
                <a:gd name="connsiteY283" fmla="*/ 193592 h 220989"/>
                <a:gd name="connsiteX284" fmla="*/ 104292 w 196822"/>
                <a:gd name="connsiteY284" fmla="*/ 190102 h 220989"/>
                <a:gd name="connsiteX285" fmla="*/ 104938 w 196822"/>
                <a:gd name="connsiteY285" fmla="*/ 189327 h 220989"/>
                <a:gd name="connsiteX286" fmla="*/ 105713 w 196822"/>
                <a:gd name="connsiteY286" fmla="*/ 188810 h 220989"/>
                <a:gd name="connsiteX287" fmla="*/ 106876 w 196822"/>
                <a:gd name="connsiteY287" fmla="*/ 188164 h 220989"/>
                <a:gd name="connsiteX288" fmla="*/ 108039 w 196822"/>
                <a:gd name="connsiteY288" fmla="*/ 187518 h 220989"/>
                <a:gd name="connsiteX289" fmla="*/ 108427 w 196822"/>
                <a:gd name="connsiteY289" fmla="*/ 186613 h 220989"/>
                <a:gd name="connsiteX290" fmla="*/ 109461 w 196822"/>
                <a:gd name="connsiteY290" fmla="*/ 184158 h 220989"/>
                <a:gd name="connsiteX291" fmla="*/ 111916 w 196822"/>
                <a:gd name="connsiteY291" fmla="*/ 182607 h 220989"/>
                <a:gd name="connsiteX292" fmla="*/ 114759 w 196822"/>
                <a:gd name="connsiteY292" fmla="*/ 181315 h 220989"/>
                <a:gd name="connsiteX293" fmla="*/ 117215 w 196822"/>
                <a:gd name="connsiteY293" fmla="*/ 179635 h 220989"/>
                <a:gd name="connsiteX294" fmla="*/ 116569 w 196822"/>
                <a:gd name="connsiteY294" fmla="*/ 178859 h 220989"/>
                <a:gd name="connsiteX295" fmla="*/ 116569 w 196822"/>
                <a:gd name="connsiteY295" fmla="*/ 179635 h 220989"/>
                <a:gd name="connsiteX296" fmla="*/ 115664 w 196822"/>
                <a:gd name="connsiteY296" fmla="*/ 177696 h 220989"/>
                <a:gd name="connsiteX297" fmla="*/ 115664 w 196822"/>
                <a:gd name="connsiteY297" fmla="*/ 174078 h 220989"/>
                <a:gd name="connsiteX298" fmla="*/ 115018 w 196822"/>
                <a:gd name="connsiteY298" fmla="*/ 172914 h 220989"/>
                <a:gd name="connsiteX299" fmla="*/ 115664 w 196822"/>
                <a:gd name="connsiteY299" fmla="*/ 171881 h 220989"/>
                <a:gd name="connsiteX300" fmla="*/ 115535 w 196822"/>
                <a:gd name="connsiteY300" fmla="*/ 171105 h 220989"/>
                <a:gd name="connsiteX301" fmla="*/ 114759 w 196822"/>
                <a:gd name="connsiteY301" fmla="*/ 170459 h 220989"/>
                <a:gd name="connsiteX302" fmla="*/ 113596 w 196822"/>
                <a:gd name="connsiteY302" fmla="*/ 169942 h 220989"/>
                <a:gd name="connsiteX303" fmla="*/ 113079 w 196822"/>
                <a:gd name="connsiteY303" fmla="*/ 170071 h 220989"/>
                <a:gd name="connsiteX304" fmla="*/ 112821 w 196822"/>
                <a:gd name="connsiteY304" fmla="*/ 170588 h 220989"/>
                <a:gd name="connsiteX305" fmla="*/ 112433 w 196822"/>
                <a:gd name="connsiteY305" fmla="*/ 171235 h 220989"/>
                <a:gd name="connsiteX306" fmla="*/ 111399 w 196822"/>
                <a:gd name="connsiteY306" fmla="*/ 171493 h 220989"/>
                <a:gd name="connsiteX307" fmla="*/ 109978 w 196822"/>
                <a:gd name="connsiteY307" fmla="*/ 170717 h 220989"/>
                <a:gd name="connsiteX308" fmla="*/ 109590 w 196822"/>
                <a:gd name="connsiteY308" fmla="*/ 169813 h 220989"/>
                <a:gd name="connsiteX309" fmla="*/ 110236 w 196822"/>
                <a:gd name="connsiteY309" fmla="*/ 169167 h 220989"/>
                <a:gd name="connsiteX310" fmla="*/ 112175 w 196822"/>
                <a:gd name="connsiteY310" fmla="*/ 169942 h 220989"/>
                <a:gd name="connsiteX311" fmla="*/ 112175 w 196822"/>
                <a:gd name="connsiteY311" fmla="*/ 169167 h 220989"/>
                <a:gd name="connsiteX312" fmla="*/ 110624 w 196822"/>
                <a:gd name="connsiteY312" fmla="*/ 168521 h 220989"/>
                <a:gd name="connsiteX313" fmla="*/ 109719 w 196822"/>
                <a:gd name="connsiteY313" fmla="*/ 168004 h 220989"/>
                <a:gd name="connsiteX314" fmla="*/ 108814 w 196822"/>
                <a:gd name="connsiteY314" fmla="*/ 167357 h 220989"/>
                <a:gd name="connsiteX315" fmla="*/ 107910 w 196822"/>
                <a:gd name="connsiteY315" fmla="*/ 166840 h 220989"/>
                <a:gd name="connsiteX316" fmla="*/ 107005 w 196822"/>
                <a:gd name="connsiteY316" fmla="*/ 166970 h 220989"/>
                <a:gd name="connsiteX317" fmla="*/ 106230 w 196822"/>
                <a:gd name="connsiteY317" fmla="*/ 167228 h 220989"/>
                <a:gd name="connsiteX318" fmla="*/ 105584 w 196822"/>
                <a:gd name="connsiteY318" fmla="*/ 166970 h 220989"/>
                <a:gd name="connsiteX319" fmla="*/ 104938 w 196822"/>
                <a:gd name="connsiteY319" fmla="*/ 166194 h 220989"/>
                <a:gd name="connsiteX320" fmla="*/ 104162 w 196822"/>
                <a:gd name="connsiteY320" fmla="*/ 165031 h 220989"/>
                <a:gd name="connsiteX321" fmla="*/ 103645 w 196822"/>
                <a:gd name="connsiteY321" fmla="*/ 163739 h 220989"/>
                <a:gd name="connsiteX322" fmla="*/ 103387 w 196822"/>
                <a:gd name="connsiteY322" fmla="*/ 162834 h 220989"/>
                <a:gd name="connsiteX323" fmla="*/ 103775 w 196822"/>
                <a:gd name="connsiteY323" fmla="*/ 161671 h 220989"/>
                <a:gd name="connsiteX324" fmla="*/ 104421 w 196822"/>
                <a:gd name="connsiteY324" fmla="*/ 161025 h 220989"/>
                <a:gd name="connsiteX325" fmla="*/ 105196 w 196822"/>
                <a:gd name="connsiteY325" fmla="*/ 160896 h 220989"/>
                <a:gd name="connsiteX326" fmla="*/ 105584 w 196822"/>
                <a:gd name="connsiteY326" fmla="*/ 161413 h 220989"/>
                <a:gd name="connsiteX327" fmla="*/ 106618 w 196822"/>
                <a:gd name="connsiteY327" fmla="*/ 161671 h 220989"/>
                <a:gd name="connsiteX328" fmla="*/ 111012 w 196822"/>
                <a:gd name="connsiteY328" fmla="*/ 163480 h 220989"/>
                <a:gd name="connsiteX329" fmla="*/ 111787 w 196822"/>
                <a:gd name="connsiteY329" fmla="*/ 163997 h 220989"/>
                <a:gd name="connsiteX330" fmla="*/ 113338 w 196822"/>
                <a:gd name="connsiteY330" fmla="*/ 167357 h 220989"/>
                <a:gd name="connsiteX331" fmla="*/ 114372 w 196822"/>
                <a:gd name="connsiteY331" fmla="*/ 168521 h 220989"/>
                <a:gd name="connsiteX332" fmla="*/ 115018 w 196822"/>
                <a:gd name="connsiteY332" fmla="*/ 166970 h 220989"/>
                <a:gd name="connsiteX333" fmla="*/ 115793 w 196822"/>
                <a:gd name="connsiteY333" fmla="*/ 166970 h 220989"/>
                <a:gd name="connsiteX334" fmla="*/ 116310 w 196822"/>
                <a:gd name="connsiteY334" fmla="*/ 168004 h 220989"/>
                <a:gd name="connsiteX335" fmla="*/ 116956 w 196822"/>
                <a:gd name="connsiteY335" fmla="*/ 168391 h 220989"/>
                <a:gd name="connsiteX336" fmla="*/ 117473 w 196822"/>
                <a:gd name="connsiteY336" fmla="*/ 168521 h 220989"/>
                <a:gd name="connsiteX337" fmla="*/ 117990 w 196822"/>
                <a:gd name="connsiteY337" fmla="*/ 169167 h 220989"/>
                <a:gd name="connsiteX338" fmla="*/ 117861 w 196822"/>
                <a:gd name="connsiteY338" fmla="*/ 170201 h 220989"/>
                <a:gd name="connsiteX339" fmla="*/ 117473 w 196822"/>
                <a:gd name="connsiteY339" fmla="*/ 171364 h 220989"/>
                <a:gd name="connsiteX340" fmla="*/ 117344 w 196822"/>
                <a:gd name="connsiteY340" fmla="*/ 172527 h 220989"/>
                <a:gd name="connsiteX341" fmla="*/ 118378 w 196822"/>
                <a:gd name="connsiteY341" fmla="*/ 172914 h 220989"/>
                <a:gd name="connsiteX342" fmla="*/ 119929 w 196822"/>
                <a:gd name="connsiteY342" fmla="*/ 171751 h 220989"/>
                <a:gd name="connsiteX343" fmla="*/ 127812 w 196822"/>
                <a:gd name="connsiteY343" fmla="*/ 159216 h 220989"/>
                <a:gd name="connsiteX344" fmla="*/ 128329 w 196822"/>
                <a:gd name="connsiteY344" fmla="*/ 157665 h 220989"/>
                <a:gd name="connsiteX345" fmla="*/ 128458 w 196822"/>
                <a:gd name="connsiteY345" fmla="*/ 155468 h 220989"/>
                <a:gd name="connsiteX346" fmla="*/ 128975 w 196822"/>
                <a:gd name="connsiteY346" fmla="*/ 153788 h 220989"/>
                <a:gd name="connsiteX347" fmla="*/ 130009 w 196822"/>
                <a:gd name="connsiteY347" fmla="*/ 152237 h 220989"/>
                <a:gd name="connsiteX348" fmla="*/ 135437 w 196822"/>
                <a:gd name="connsiteY348" fmla="*/ 146939 h 220989"/>
                <a:gd name="connsiteX349" fmla="*/ 137117 w 196822"/>
                <a:gd name="connsiteY349" fmla="*/ 144742 h 220989"/>
                <a:gd name="connsiteX350" fmla="*/ 138280 w 196822"/>
                <a:gd name="connsiteY350" fmla="*/ 141511 h 220989"/>
                <a:gd name="connsiteX351" fmla="*/ 143578 w 196822"/>
                <a:gd name="connsiteY351" fmla="*/ 134661 h 220989"/>
                <a:gd name="connsiteX352" fmla="*/ 158053 w 196822"/>
                <a:gd name="connsiteY352" fmla="*/ 123806 h 220989"/>
                <a:gd name="connsiteX353" fmla="*/ 174853 w 196822"/>
                <a:gd name="connsiteY353" fmla="*/ 113209 h 220989"/>
                <a:gd name="connsiteX354" fmla="*/ 176404 w 196822"/>
                <a:gd name="connsiteY354" fmla="*/ 112821 h 220989"/>
                <a:gd name="connsiteX355" fmla="*/ 176921 w 196822"/>
                <a:gd name="connsiteY355" fmla="*/ 112433 h 220989"/>
                <a:gd name="connsiteX356" fmla="*/ 177954 w 196822"/>
                <a:gd name="connsiteY356" fmla="*/ 111012 h 220989"/>
                <a:gd name="connsiteX357" fmla="*/ 178471 w 196822"/>
                <a:gd name="connsiteY357" fmla="*/ 110624 h 220989"/>
                <a:gd name="connsiteX358" fmla="*/ 182607 w 196822"/>
                <a:gd name="connsiteY358" fmla="*/ 109849 h 220989"/>
                <a:gd name="connsiteX359" fmla="*/ 184545 w 196822"/>
                <a:gd name="connsiteY359" fmla="*/ 108815 h 220989"/>
                <a:gd name="connsiteX360" fmla="*/ 186226 w 196822"/>
                <a:gd name="connsiteY360" fmla="*/ 108168 h 220989"/>
                <a:gd name="connsiteX361" fmla="*/ 188164 w 196822"/>
                <a:gd name="connsiteY361" fmla="*/ 107652 h 220989"/>
                <a:gd name="connsiteX362" fmla="*/ 191265 w 196822"/>
                <a:gd name="connsiteY362" fmla="*/ 107393 h 220989"/>
                <a:gd name="connsiteX363" fmla="*/ 195143 w 196822"/>
                <a:gd name="connsiteY363" fmla="*/ 106101 h 220989"/>
                <a:gd name="connsiteX364" fmla="*/ 196564 w 196822"/>
                <a:gd name="connsiteY364" fmla="*/ 105325 h 220989"/>
                <a:gd name="connsiteX365" fmla="*/ 196823 w 196822"/>
                <a:gd name="connsiteY365" fmla="*/ 105067 h 220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196822" h="220989">
                  <a:moveTo>
                    <a:pt x="195918" y="103128"/>
                  </a:moveTo>
                  <a:lnTo>
                    <a:pt x="194626" y="98217"/>
                  </a:lnTo>
                  <a:lnTo>
                    <a:pt x="193980" y="97184"/>
                  </a:lnTo>
                  <a:lnTo>
                    <a:pt x="191653" y="95504"/>
                  </a:lnTo>
                  <a:lnTo>
                    <a:pt x="190619" y="94987"/>
                  </a:lnTo>
                  <a:lnTo>
                    <a:pt x="184416" y="96408"/>
                  </a:lnTo>
                  <a:lnTo>
                    <a:pt x="180798" y="96538"/>
                  </a:lnTo>
                  <a:lnTo>
                    <a:pt x="179635" y="95504"/>
                  </a:lnTo>
                  <a:lnTo>
                    <a:pt x="179635" y="93177"/>
                  </a:lnTo>
                  <a:lnTo>
                    <a:pt x="180410" y="89171"/>
                  </a:lnTo>
                  <a:lnTo>
                    <a:pt x="179893" y="86974"/>
                  </a:lnTo>
                  <a:lnTo>
                    <a:pt x="178989" y="84777"/>
                  </a:lnTo>
                  <a:lnTo>
                    <a:pt x="177696" y="82839"/>
                  </a:lnTo>
                  <a:lnTo>
                    <a:pt x="173819" y="78445"/>
                  </a:lnTo>
                  <a:lnTo>
                    <a:pt x="172397" y="78057"/>
                  </a:lnTo>
                  <a:lnTo>
                    <a:pt x="170200" y="78703"/>
                  </a:lnTo>
                  <a:lnTo>
                    <a:pt x="168262" y="80642"/>
                  </a:lnTo>
                  <a:lnTo>
                    <a:pt x="167616" y="80900"/>
                  </a:lnTo>
                  <a:lnTo>
                    <a:pt x="166711" y="80771"/>
                  </a:lnTo>
                  <a:lnTo>
                    <a:pt x="162576" y="79091"/>
                  </a:lnTo>
                  <a:lnTo>
                    <a:pt x="159732" y="76635"/>
                  </a:lnTo>
                  <a:lnTo>
                    <a:pt x="158440" y="75731"/>
                  </a:lnTo>
                  <a:lnTo>
                    <a:pt x="154305" y="74956"/>
                  </a:lnTo>
                  <a:lnTo>
                    <a:pt x="152108" y="74180"/>
                  </a:lnTo>
                  <a:lnTo>
                    <a:pt x="151074" y="73146"/>
                  </a:lnTo>
                  <a:lnTo>
                    <a:pt x="150557" y="71208"/>
                  </a:lnTo>
                  <a:lnTo>
                    <a:pt x="149136" y="69140"/>
                  </a:lnTo>
                  <a:lnTo>
                    <a:pt x="147456" y="67201"/>
                  </a:lnTo>
                  <a:lnTo>
                    <a:pt x="145905" y="66168"/>
                  </a:lnTo>
                  <a:lnTo>
                    <a:pt x="141899" y="64875"/>
                  </a:lnTo>
                  <a:lnTo>
                    <a:pt x="140606" y="63971"/>
                  </a:lnTo>
                  <a:lnTo>
                    <a:pt x="140089" y="62032"/>
                  </a:lnTo>
                  <a:lnTo>
                    <a:pt x="139314" y="52727"/>
                  </a:lnTo>
                  <a:lnTo>
                    <a:pt x="138538" y="50789"/>
                  </a:lnTo>
                  <a:lnTo>
                    <a:pt x="136988" y="48850"/>
                  </a:lnTo>
                  <a:lnTo>
                    <a:pt x="135049" y="47558"/>
                  </a:lnTo>
                  <a:lnTo>
                    <a:pt x="133110" y="47946"/>
                  </a:lnTo>
                  <a:lnTo>
                    <a:pt x="130914" y="48980"/>
                  </a:lnTo>
                  <a:lnTo>
                    <a:pt x="128716" y="48463"/>
                  </a:lnTo>
                  <a:lnTo>
                    <a:pt x="126778" y="47300"/>
                  </a:lnTo>
                  <a:lnTo>
                    <a:pt x="120575" y="41872"/>
                  </a:lnTo>
                  <a:lnTo>
                    <a:pt x="117732" y="40321"/>
                  </a:lnTo>
                  <a:lnTo>
                    <a:pt x="113725" y="39546"/>
                  </a:lnTo>
                  <a:lnTo>
                    <a:pt x="112433" y="39675"/>
                  </a:lnTo>
                  <a:lnTo>
                    <a:pt x="111270" y="39933"/>
                  </a:lnTo>
                  <a:lnTo>
                    <a:pt x="110236" y="39933"/>
                  </a:lnTo>
                  <a:lnTo>
                    <a:pt x="108814" y="39158"/>
                  </a:lnTo>
                  <a:lnTo>
                    <a:pt x="108298" y="38253"/>
                  </a:lnTo>
                  <a:lnTo>
                    <a:pt x="107393" y="36315"/>
                  </a:lnTo>
                  <a:lnTo>
                    <a:pt x="106747" y="35410"/>
                  </a:lnTo>
                  <a:lnTo>
                    <a:pt x="101448" y="29982"/>
                  </a:lnTo>
                  <a:lnTo>
                    <a:pt x="98993" y="28431"/>
                  </a:lnTo>
                  <a:lnTo>
                    <a:pt x="94857" y="26622"/>
                  </a:lnTo>
                  <a:lnTo>
                    <a:pt x="86457" y="24296"/>
                  </a:lnTo>
                  <a:lnTo>
                    <a:pt x="82839" y="22487"/>
                  </a:lnTo>
                  <a:lnTo>
                    <a:pt x="80383" y="23262"/>
                  </a:lnTo>
                  <a:lnTo>
                    <a:pt x="77669" y="23133"/>
                  </a:lnTo>
                  <a:lnTo>
                    <a:pt x="74955" y="22487"/>
                  </a:lnTo>
                  <a:lnTo>
                    <a:pt x="72629" y="21711"/>
                  </a:lnTo>
                  <a:lnTo>
                    <a:pt x="66943" y="17834"/>
                  </a:lnTo>
                  <a:lnTo>
                    <a:pt x="63841" y="16413"/>
                  </a:lnTo>
                  <a:lnTo>
                    <a:pt x="60869" y="12923"/>
                  </a:lnTo>
                  <a:lnTo>
                    <a:pt x="58284" y="12148"/>
                  </a:lnTo>
                  <a:lnTo>
                    <a:pt x="50789" y="11373"/>
                  </a:lnTo>
                  <a:lnTo>
                    <a:pt x="48333" y="12148"/>
                  </a:lnTo>
                  <a:lnTo>
                    <a:pt x="47041" y="9176"/>
                  </a:lnTo>
                  <a:lnTo>
                    <a:pt x="43810" y="7366"/>
                  </a:lnTo>
                  <a:lnTo>
                    <a:pt x="40450" y="6074"/>
                  </a:lnTo>
                  <a:lnTo>
                    <a:pt x="38899" y="4394"/>
                  </a:lnTo>
                  <a:lnTo>
                    <a:pt x="37348" y="3231"/>
                  </a:lnTo>
                  <a:lnTo>
                    <a:pt x="27785" y="1034"/>
                  </a:lnTo>
                  <a:lnTo>
                    <a:pt x="26493" y="0"/>
                  </a:lnTo>
                  <a:lnTo>
                    <a:pt x="24942" y="1163"/>
                  </a:lnTo>
                  <a:lnTo>
                    <a:pt x="24425" y="1680"/>
                  </a:lnTo>
                  <a:lnTo>
                    <a:pt x="24167" y="2068"/>
                  </a:lnTo>
                  <a:lnTo>
                    <a:pt x="23779" y="3748"/>
                  </a:lnTo>
                  <a:lnTo>
                    <a:pt x="23391" y="4782"/>
                  </a:lnTo>
                  <a:lnTo>
                    <a:pt x="22228" y="6462"/>
                  </a:lnTo>
                  <a:lnTo>
                    <a:pt x="21711" y="7496"/>
                  </a:lnTo>
                  <a:lnTo>
                    <a:pt x="21323" y="8529"/>
                  </a:lnTo>
                  <a:lnTo>
                    <a:pt x="21323" y="9693"/>
                  </a:lnTo>
                  <a:lnTo>
                    <a:pt x="21840" y="10856"/>
                  </a:lnTo>
                  <a:lnTo>
                    <a:pt x="23004" y="11631"/>
                  </a:lnTo>
                  <a:lnTo>
                    <a:pt x="24037" y="11890"/>
                  </a:lnTo>
                  <a:lnTo>
                    <a:pt x="25976" y="12277"/>
                  </a:lnTo>
                  <a:lnTo>
                    <a:pt x="26622" y="12536"/>
                  </a:lnTo>
                  <a:lnTo>
                    <a:pt x="27010" y="13182"/>
                  </a:lnTo>
                  <a:lnTo>
                    <a:pt x="26880" y="13828"/>
                  </a:lnTo>
                  <a:lnTo>
                    <a:pt x="25588" y="15767"/>
                  </a:lnTo>
                  <a:lnTo>
                    <a:pt x="24554" y="18997"/>
                  </a:lnTo>
                  <a:lnTo>
                    <a:pt x="24037" y="19902"/>
                  </a:lnTo>
                  <a:lnTo>
                    <a:pt x="23391" y="20677"/>
                  </a:lnTo>
                  <a:lnTo>
                    <a:pt x="23004" y="21582"/>
                  </a:lnTo>
                  <a:lnTo>
                    <a:pt x="23004" y="22616"/>
                  </a:lnTo>
                  <a:lnTo>
                    <a:pt x="23521" y="23908"/>
                  </a:lnTo>
                  <a:lnTo>
                    <a:pt x="25976" y="28044"/>
                  </a:lnTo>
                  <a:lnTo>
                    <a:pt x="29982" y="37478"/>
                  </a:lnTo>
                  <a:lnTo>
                    <a:pt x="30758" y="38512"/>
                  </a:lnTo>
                  <a:lnTo>
                    <a:pt x="32308" y="39804"/>
                  </a:lnTo>
                  <a:lnTo>
                    <a:pt x="33730" y="40321"/>
                  </a:lnTo>
                  <a:lnTo>
                    <a:pt x="36056" y="40967"/>
                  </a:lnTo>
                  <a:lnTo>
                    <a:pt x="36702" y="41613"/>
                  </a:lnTo>
                  <a:lnTo>
                    <a:pt x="36702" y="42518"/>
                  </a:lnTo>
                  <a:lnTo>
                    <a:pt x="36444" y="43552"/>
                  </a:lnTo>
                  <a:lnTo>
                    <a:pt x="36444" y="44715"/>
                  </a:lnTo>
                  <a:lnTo>
                    <a:pt x="36961" y="45749"/>
                  </a:lnTo>
                  <a:lnTo>
                    <a:pt x="42259" y="51177"/>
                  </a:lnTo>
                  <a:lnTo>
                    <a:pt x="43681" y="52081"/>
                  </a:lnTo>
                  <a:lnTo>
                    <a:pt x="44456" y="52727"/>
                  </a:lnTo>
                  <a:lnTo>
                    <a:pt x="45232" y="53503"/>
                  </a:lnTo>
                  <a:lnTo>
                    <a:pt x="49626" y="59835"/>
                  </a:lnTo>
                  <a:lnTo>
                    <a:pt x="50272" y="61903"/>
                  </a:lnTo>
                  <a:lnTo>
                    <a:pt x="50530" y="63324"/>
                  </a:lnTo>
                  <a:lnTo>
                    <a:pt x="50272" y="69140"/>
                  </a:lnTo>
                  <a:lnTo>
                    <a:pt x="50401" y="73663"/>
                  </a:lnTo>
                  <a:lnTo>
                    <a:pt x="49238" y="84002"/>
                  </a:lnTo>
                  <a:lnTo>
                    <a:pt x="48333" y="87103"/>
                  </a:lnTo>
                  <a:lnTo>
                    <a:pt x="47558" y="88783"/>
                  </a:lnTo>
                  <a:lnTo>
                    <a:pt x="46782" y="90076"/>
                  </a:lnTo>
                  <a:lnTo>
                    <a:pt x="46136" y="90851"/>
                  </a:lnTo>
                  <a:lnTo>
                    <a:pt x="45102" y="93307"/>
                  </a:lnTo>
                  <a:lnTo>
                    <a:pt x="44327" y="94341"/>
                  </a:lnTo>
                  <a:lnTo>
                    <a:pt x="43939" y="95633"/>
                  </a:lnTo>
                  <a:lnTo>
                    <a:pt x="43681" y="96796"/>
                  </a:lnTo>
                  <a:lnTo>
                    <a:pt x="46007" y="103775"/>
                  </a:lnTo>
                  <a:lnTo>
                    <a:pt x="45619" y="107005"/>
                  </a:lnTo>
                  <a:lnTo>
                    <a:pt x="44844" y="110495"/>
                  </a:lnTo>
                  <a:lnTo>
                    <a:pt x="44844" y="111528"/>
                  </a:lnTo>
                  <a:lnTo>
                    <a:pt x="44973" y="112692"/>
                  </a:lnTo>
                  <a:lnTo>
                    <a:pt x="45490" y="113855"/>
                  </a:lnTo>
                  <a:lnTo>
                    <a:pt x="46136" y="114630"/>
                  </a:lnTo>
                  <a:lnTo>
                    <a:pt x="48333" y="115923"/>
                  </a:lnTo>
                  <a:lnTo>
                    <a:pt x="48850" y="116827"/>
                  </a:lnTo>
                  <a:lnTo>
                    <a:pt x="49238" y="117732"/>
                  </a:lnTo>
                  <a:lnTo>
                    <a:pt x="49496" y="118895"/>
                  </a:lnTo>
                  <a:lnTo>
                    <a:pt x="48980" y="120446"/>
                  </a:lnTo>
                  <a:lnTo>
                    <a:pt x="48463" y="121738"/>
                  </a:lnTo>
                  <a:lnTo>
                    <a:pt x="47428" y="123030"/>
                  </a:lnTo>
                  <a:lnTo>
                    <a:pt x="45878" y="124452"/>
                  </a:lnTo>
                  <a:lnTo>
                    <a:pt x="39933" y="127941"/>
                  </a:lnTo>
                  <a:lnTo>
                    <a:pt x="29207" y="132594"/>
                  </a:lnTo>
                  <a:lnTo>
                    <a:pt x="26622" y="133240"/>
                  </a:lnTo>
                  <a:lnTo>
                    <a:pt x="25847" y="133111"/>
                  </a:lnTo>
                  <a:lnTo>
                    <a:pt x="24942" y="132723"/>
                  </a:lnTo>
                  <a:lnTo>
                    <a:pt x="20160" y="129363"/>
                  </a:lnTo>
                  <a:lnTo>
                    <a:pt x="17963" y="128200"/>
                  </a:lnTo>
                  <a:lnTo>
                    <a:pt x="16800" y="127941"/>
                  </a:lnTo>
                  <a:lnTo>
                    <a:pt x="14474" y="127554"/>
                  </a:lnTo>
                  <a:lnTo>
                    <a:pt x="9563" y="127295"/>
                  </a:lnTo>
                  <a:lnTo>
                    <a:pt x="8142" y="127554"/>
                  </a:lnTo>
                  <a:lnTo>
                    <a:pt x="6849" y="127941"/>
                  </a:lnTo>
                  <a:lnTo>
                    <a:pt x="5686" y="128458"/>
                  </a:lnTo>
                  <a:lnTo>
                    <a:pt x="4782" y="129363"/>
                  </a:lnTo>
                  <a:lnTo>
                    <a:pt x="4136" y="130138"/>
                  </a:lnTo>
                  <a:lnTo>
                    <a:pt x="3748" y="130914"/>
                  </a:lnTo>
                  <a:lnTo>
                    <a:pt x="3101" y="133886"/>
                  </a:lnTo>
                  <a:lnTo>
                    <a:pt x="258" y="140089"/>
                  </a:lnTo>
                  <a:lnTo>
                    <a:pt x="0" y="141252"/>
                  </a:lnTo>
                  <a:lnTo>
                    <a:pt x="0" y="142545"/>
                  </a:lnTo>
                  <a:lnTo>
                    <a:pt x="129" y="145388"/>
                  </a:lnTo>
                  <a:lnTo>
                    <a:pt x="517" y="146809"/>
                  </a:lnTo>
                  <a:lnTo>
                    <a:pt x="1163" y="148231"/>
                  </a:lnTo>
                  <a:lnTo>
                    <a:pt x="2973" y="150040"/>
                  </a:lnTo>
                  <a:lnTo>
                    <a:pt x="4265" y="151074"/>
                  </a:lnTo>
                  <a:lnTo>
                    <a:pt x="6074" y="153013"/>
                  </a:lnTo>
                  <a:lnTo>
                    <a:pt x="6720" y="155856"/>
                  </a:lnTo>
                  <a:lnTo>
                    <a:pt x="7237" y="157148"/>
                  </a:lnTo>
                  <a:lnTo>
                    <a:pt x="9693" y="159087"/>
                  </a:lnTo>
                  <a:lnTo>
                    <a:pt x="10210" y="159603"/>
                  </a:lnTo>
                  <a:lnTo>
                    <a:pt x="12277" y="161025"/>
                  </a:lnTo>
                  <a:lnTo>
                    <a:pt x="13440" y="161542"/>
                  </a:lnTo>
                  <a:lnTo>
                    <a:pt x="14474" y="162317"/>
                  </a:lnTo>
                  <a:lnTo>
                    <a:pt x="15249" y="163868"/>
                  </a:lnTo>
                  <a:lnTo>
                    <a:pt x="16413" y="167487"/>
                  </a:lnTo>
                  <a:lnTo>
                    <a:pt x="16930" y="170717"/>
                  </a:lnTo>
                  <a:lnTo>
                    <a:pt x="17705" y="172785"/>
                  </a:lnTo>
                  <a:lnTo>
                    <a:pt x="18739" y="176404"/>
                  </a:lnTo>
                  <a:lnTo>
                    <a:pt x="19385" y="177438"/>
                  </a:lnTo>
                  <a:lnTo>
                    <a:pt x="21840" y="178859"/>
                  </a:lnTo>
                  <a:lnTo>
                    <a:pt x="24813" y="180152"/>
                  </a:lnTo>
                  <a:lnTo>
                    <a:pt x="25847" y="180668"/>
                  </a:lnTo>
                  <a:lnTo>
                    <a:pt x="26234" y="181056"/>
                  </a:lnTo>
                  <a:lnTo>
                    <a:pt x="26880" y="181832"/>
                  </a:lnTo>
                  <a:lnTo>
                    <a:pt x="27527" y="182995"/>
                  </a:lnTo>
                  <a:lnTo>
                    <a:pt x="28173" y="185062"/>
                  </a:lnTo>
                  <a:lnTo>
                    <a:pt x="28302" y="186484"/>
                  </a:lnTo>
                  <a:lnTo>
                    <a:pt x="28043" y="188552"/>
                  </a:lnTo>
                  <a:lnTo>
                    <a:pt x="27010" y="192299"/>
                  </a:lnTo>
                  <a:lnTo>
                    <a:pt x="27139" y="194367"/>
                  </a:lnTo>
                  <a:lnTo>
                    <a:pt x="26234" y="196306"/>
                  </a:lnTo>
                  <a:lnTo>
                    <a:pt x="25717" y="197081"/>
                  </a:lnTo>
                  <a:lnTo>
                    <a:pt x="25459" y="197986"/>
                  </a:lnTo>
                  <a:lnTo>
                    <a:pt x="25717" y="199020"/>
                  </a:lnTo>
                  <a:lnTo>
                    <a:pt x="26364" y="200054"/>
                  </a:lnTo>
                  <a:lnTo>
                    <a:pt x="27268" y="200958"/>
                  </a:lnTo>
                  <a:lnTo>
                    <a:pt x="29465" y="202638"/>
                  </a:lnTo>
                  <a:lnTo>
                    <a:pt x="32954" y="203414"/>
                  </a:lnTo>
                  <a:lnTo>
                    <a:pt x="33988" y="203801"/>
                  </a:lnTo>
                  <a:lnTo>
                    <a:pt x="34505" y="204189"/>
                  </a:lnTo>
                  <a:lnTo>
                    <a:pt x="35281" y="204189"/>
                  </a:lnTo>
                  <a:lnTo>
                    <a:pt x="35927" y="203672"/>
                  </a:lnTo>
                  <a:lnTo>
                    <a:pt x="36573" y="203284"/>
                  </a:lnTo>
                  <a:lnTo>
                    <a:pt x="37607" y="203672"/>
                  </a:lnTo>
                  <a:lnTo>
                    <a:pt x="38641" y="204706"/>
                  </a:lnTo>
                  <a:lnTo>
                    <a:pt x="40062" y="205740"/>
                  </a:lnTo>
                  <a:lnTo>
                    <a:pt x="41355" y="206386"/>
                  </a:lnTo>
                  <a:lnTo>
                    <a:pt x="42259" y="207032"/>
                  </a:lnTo>
                  <a:lnTo>
                    <a:pt x="43164" y="208324"/>
                  </a:lnTo>
                  <a:lnTo>
                    <a:pt x="44069" y="210392"/>
                  </a:lnTo>
                  <a:lnTo>
                    <a:pt x="45619" y="213106"/>
                  </a:lnTo>
                  <a:lnTo>
                    <a:pt x="47946" y="216079"/>
                  </a:lnTo>
                  <a:lnTo>
                    <a:pt x="51564" y="217758"/>
                  </a:lnTo>
                  <a:lnTo>
                    <a:pt x="53890" y="218534"/>
                  </a:lnTo>
                  <a:lnTo>
                    <a:pt x="58672" y="219568"/>
                  </a:lnTo>
                  <a:lnTo>
                    <a:pt x="60352" y="220989"/>
                  </a:lnTo>
                  <a:lnTo>
                    <a:pt x="61386" y="220989"/>
                  </a:lnTo>
                  <a:lnTo>
                    <a:pt x="62549" y="219955"/>
                  </a:lnTo>
                  <a:lnTo>
                    <a:pt x="63583" y="218146"/>
                  </a:lnTo>
                  <a:lnTo>
                    <a:pt x="65392" y="215820"/>
                  </a:lnTo>
                  <a:lnTo>
                    <a:pt x="71854" y="217888"/>
                  </a:lnTo>
                  <a:lnTo>
                    <a:pt x="75085" y="217758"/>
                  </a:lnTo>
                  <a:lnTo>
                    <a:pt x="81546" y="215432"/>
                  </a:lnTo>
                  <a:lnTo>
                    <a:pt x="80513" y="215303"/>
                  </a:lnTo>
                  <a:lnTo>
                    <a:pt x="83614" y="214269"/>
                  </a:lnTo>
                  <a:lnTo>
                    <a:pt x="86974" y="212718"/>
                  </a:lnTo>
                  <a:lnTo>
                    <a:pt x="89688" y="210263"/>
                  </a:lnTo>
                  <a:lnTo>
                    <a:pt x="90851" y="206644"/>
                  </a:lnTo>
                  <a:lnTo>
                    <a:pt x="90205" y="205740"/>
                  </a:lnTo>
                  <a:lnTo>
                    <a:pt x="85682" y="204060"/>
                  </a:lnTo>
                  <a:lnTo>
                    <a:pt x="84648" y="203026"/>
                  </a:lnTo>
                  <a:lnTo>
                    <a:pt x="83872" y="201734"/>
                  </a:lnTo>
                  <a:lnTo>
                    <a:pt x="82839" y="198115"/>
                  </a:lnTo>
                  <a:lnTo>
                    <a:pt x="83872" y="199278"/>
                  </a:lnTo>
                  <a:lnTo>
                    <a:pt x="84907" y="199407"/>
                  </a:lnTo>
                  <a:lnTo>
                    <a:pt x="85553" y="198761"/>
                  </a:lnTo>
                  <a:lnTo>
                    <a:pt x="85682" y="197340"/>
                  </a:lnTo>
                  <a:lnTo>
                    <a:pt x="86457" y="201475"/>
                  </a:lnTo>
                  <a:lnTo>
                    <a:pt x="87233" y="203155"/>
                  </a:lnTo>
                  <a:lnTo>
                    <a:pt x="88783" y="203284"/>
                  </a:lnTo>
                  <a:lnTo>
                    <a:pt x="89559" y="202121"/>
                  </a:lnTo>
                  <a:lnTo>
                    <a:pt x="90851" y="196694"/>
                  </a:lnTo>
                  <a:lnTo>
                    <a:pt x="92531" y="193592"/>
                  </a:lnTo>
                  <a:lnTo>
                    <a:pt x="93436" y="192429"/>
                  </a:lnTo>
                  <a:lnTo>
                    <a:pt x="94599" y="191395"/>
                  </a:lnTo>
                  <a:lnTo>
                    <a:pt x="95503" y="191136"/>
                  </a:lnTo>
                  <a:lnTo>
                    <a:pt x="96408" y="191007"/>
                  </a:lnTo>
                  <a:lnTo>
                    <a:pt x="97183" y="190749"/>
                  </a:lnTo>
                  <a:lnTo>
                    <a:pt x="97442" y="189715"/>
                  </a:lnTo>
                  <a:lnTo>
                    <a:pt x="97183" y="188810"/>
                  </a:lnTo>
                  <a:lnTo>
                    <a:pt x="96667" y="188293"/>
                  </a:lnTo>
                  <a:lnTo>
                    <a:pt x="96150" y="187518"/>
                  </a:lnTo>
                  <a:lnTo>
                    <a:pt x="96020" y="186355"/>
                  </a:lnTo>
                  <a:lnTo>
                    <a:pt x="98347" y="187776"/>
                  </a:lnTo>
                  <a:lnTo>
                    <a:pt x="98993" y="188552"/>
                  </a:lnTo>
                  <a:lnTo>
                    <a:pt x="98993" y="186355"/>
                  </a:lnTo>
                  <a:lnTo>
                    <a:pt x="96020" y="181444"/>
                  </a:lnTo>
                  <a:lnTo>
                    <a:pt x="96408" y="179247"/>
                  </a:lnTo>
                  <a:lnTo>
                    <a:pt x="97183" y="179893"/>
                  </a:lnTo>
                  <a:lnTo>
                    <a:pt x="98476" y="181832"/>
                  </a:lnTo>
                  <a:lnTo>
                    <a:pt x="100544" y="185579"/>
                  </a:lnTo>
                  <a:lnTo>
                    <a:pt x="101190" y="185579"/>
                  </a:lnTo>
                  <a:lnTo>
                    <a:pt x="100802" y="184287"/>
                  </a:lnTo>
                  <a:lnTo>
                    <a:pt x="100673" y="183124"/>
                  </a:lnTo>
                  <a:lnTo>
                    <a:pt x="101190" y="180410"/>
                  </a:lnTo>
                  <a:lnTo>
                    <a:pt x="102353" y="181832"/>
                  </a:lnTo>
                  <a:lnTo>
                    <a:pt x="102611" y="184933"/>
                  </a:lnTo>
                  <a:lnTo>
                    <a:pt x="104033" y="186355"/>
                  </a:lnTo>
                  <a:lnTo>
                    <a:pt x="102094" y="186872"/>
                  </a:lnTo>
                  <a:lnTo>
                    <a:pt x="101577" y="187259"/>
                  </a:lnTo>
                  <a:lnTo>
                    <a:pt x="100544" y="188552"/>
                  </a:lnTo>
                  <a:lnTo>
                    <a:pt x="96020" y="192170"/>
                  </a:lnTo>
                  <a:lnTo>
                    <a:pt x="94857" y="193463"/>
                  </a:lnTo>
                  <a:lnTo>
                    <a:pt x="94470" y="194497"/>
                  </a:lnTo>
                  <a:lnTo>
                    <a:pt x="93824" y="197340"/>
                  </a:lnTo>
                  <a:lnTo>
                    <a:pt x="93177" y="198503"/>
                  </a:lnTo>
                  <a:lnTo>
                    <a:pt x="90076" y="202638"/>
                  </a:lnTo>
                  <a:lnTo>
                    <a:pt x="92014" y="202897"/>
                  </a:lnTo>
                  <a:lnTo>
                    <a:pt x="92014" y="203672"/>
                  </a:lnTo>
                  <a:lnTo>
                    <a:pt x="91497" y="204706"/>
                  </a:lnTo>
                  <a:lnTo>
                    <a:pt x="91627" y="205610"/>
                  </a:lnTo>
                  <a:lnTo>
                    <a:pt x="93048" y="205869"/>
                  </a:lnTo>
                  <a:lnTo>
                    <a:pt x="97830" y="204835"/>
                  </a:lnTo>
                  <a:lnTo>
                    <a:pt x="99381" y="203284"/>
                  </a:lnTo>
                  <a:lnTo>
                    <a:pt x="102611" y="193592"/>
                  </a:lnTo>
                  <a:lnTo>
                    <a:pt x="104292" y="190102"/>
                  </a:lnTo>
                  <a:lnTo>
                    <a:pt x="104938" y="189327"/>
                  </a:lnTo>
                  <a:lnTo>
                    <a:pt x="105713" y="188810"/>
                  </a:lnTo>
                  <a:lnTo>
                    <a:pt x="106876" y="188164"/>
                  </a:lnTo>
                  <a:lnTo>
                    <a:pt x="108039" y="187518"/>
                  </a:lnTo>
                  <a:lnTo>
                    <a:pt x="108427" y="186613"/>
                  </a:lnTo>
                  <a:lnTo>
                    <a:pt x="109461" y="184158"/>
                  </a:lnTo>
                  <a:lnTo>
                    <a:pt x="111916" y="182607"/>
                  </a:lnTo>
                  <a:lnTo>
                    <a:pt x="114759" y="181315"/>
                  </a:lnTo>
                  <a:lnTo>
                    <a:pt x="117215" y="179635"/>
                  </a:lnTo>
                  <a:lnTo>
                    <a:pt x="116569" y="178859"/>
                  </a:lnTo>
                  <a:lnTo>
                    <a:pt x="116569" y="179635"/>
                  </a:lnTo>
                  <a:lnTo>
                    <a:pt x="115664" y="177696"/>
                  </a:lnTo>
                  <a:lnTo>
                    <a:pt x="115664" y="174078"/>
                  </a:lnTo>
                  <a:lnTo>
                    <a:pt x="115018" y="172914"/>
                  </a:lnTo>
                  <a:lnTo>
                    <a:pt x="115664" y="171881"/>
                  </a:lnTo>
                  <a:lnTo>
                    <a:pt x="115535" y="171105"/>
                  </a:lnTo>
                  <a:lnTo>
                    <a:pt x="114759" y="170459"/>
                  </a:lnTo>
                  <a:lnTo>
                    <a:pt x="113596" y="169942"/>
                  </a:lnTo>
                  <a:lnTo>
                    <a:pt x="113079" y="170071"/>
                  </a:lnTo>
                  <a:lnTo>
                    <a:pt x="112821" y="170588"/>
                  </a:lnTo>
                  <a:lnTo>
                    <a:pt x="112433" y="171235"/>
                  </a:lnTo>
                  <a:lnTo>
                    <a:pt x="111399" y="171493"/>
                  </a:lnTo>
                  <a:lnTo>
                    <a:pt x="109978" y="170717"/>
                  </a:lnTo>
                  <a:lnTo>
                    <a:pt x="109590" y="169813"/>
                  </a:lnTo>
                  <a:lnTo>
                    <a:pt x="110236" y="169167"/>
                  </a:lnTo>
                  <a:lnTo>
                    <a:pt x="112175" y="169942"/>
                  </a:lnTo>
                  <a:lnTo>
                    <a:pt x="112175" y="169167"/>
                  </a:lnTo>
                  <a:lnTo>
                    <a:pt x="110624" y="168521"/>
                  </a:lnTo>
                  <a:lnTo>
                    <a:pt x="109719" y="168004"/>
                  </a:lnTo>
                  <a:lnTo>
                    <a:pt x="108814" y="167357"/>
                  </a:lnTo>
                  <a:lnTo>
                    <a:pt x="107910" y="166840"/>
                  </a:lnTo>
                  <a:lnTo>
                    <a:pt x="107005" y="166970"/>
                  </a:lnTo>
                  <a:lnTo>
                    <a:pt x="106230" y="167228"/>
                  </a:lnTo>
                  <a:lnTo>
                    <a:pt x="105584" y="166970"/>
                  </a:lnTo>
                  <a:lnTo>
                    <a:pt x="104938" y="166194"/>
                  </a:lnTo>
                  <a:lnTo>
                    <a:pt x="104162" y="165031"/>
                  </a:lnTo>
                  <a:lnTo>
                    <a:pt x="103645" y="163739"/>
                  </a:lnTo>
                  <a:lnTo>
                    <a:pt x="103387" y="162834"/>
                  </a:lnTo>
                  <a:lnTo>
                    <a:pt x="103775" y="161671"/>
                  </a:lnTo>
                  <a:lnTo>
                    <a:pt x="104421" y="161025"/>
                  </a:lnTo>
                  <a:lnTo>
                    <a:pt x="105196" y="160896"/>
                  </a:lnTo>
                  <a:lnTo>
                    <a:pt x="105584" y="161413"/>
                  </a:lnTo>
                  <a:lnTo>
                    <a:pt x="106618" y="161671"/>
                  </a:lnTo>
                  <a:lnTo>
                    <a:pt x="111012" y="163480"/>
                  </a:lnTo>
                  <a:lnTo>
                    <a:pt x="111787" y="163997"/>
                  </a:lnTo>
                  <a:lnTo>
                    <a:pt x="113338" y="167357"/>
                  </a:lnTo>
                  <a:lnTo>
                    <a:pt x="114372" y="168521"/>
                  </a:lnTo>
                  <a:lnTo>
                    <a:pt x="115018" y="166970"/>
                  </a:lnTo>
                  <a:lnTo>
                    <a:pt x="115793" y="166970"/>
                  </a:lnTo>
                  <a:lnTo>
                    <a:pt x="116310" y="168004"/>
                  </a:lnTo>
                  <a:lnTo>
                    <a:pt x="116956" y="168391"/>
                  </a:lnTo>
                  <a:lnTo>
                    <a:pt x="117473" y="168521"/>
                  </a:lnTo>
                  <a:lnTo>
                    <a:pt x="117990" y="169167"/>
                  </a:lnTo>
                  <a:lnTo>
                    <a:pt x="117861" y="170201"/>
                  </a:lnTo>
                  <a:lnTo>
                    <a:pt x="117473" y="171364"/>
                  </a:lnTo>
                  <a:lnTo>
                    <a:pt x="117344" y="172527"/>
                  </a:lnTo>
                  <a:lnTo>
                    <a:pt x="118378" y="172914"/>
                  </a:lnTo>
                  <a:lnTo>
                    <a:pt x="119929" y="171751"/>
                  </a:lnTo>
                  <a:lnTo>
                    <a:pt x="127812" y="159216"/>
                  </a:lnTo>
                  <a:lnTo>
                    <a:pt x="128329" y="157665"/>
                  </a:lnTo>
                  <a:lnTo>
                    <a:pt x="128458" y="155468"/>
                  </a:lnTo>
                  <a:lnTo>
                    <a:pt x="128975" y="153788"/>
                  </a:lnTo>
                  <a:lnTo>
                    <a:pt x="130009" y="152237"/>
                  </a:lnTo>
                  <a:lnTo>
                    <a:pt x="135437" y="146939"/>
                  </a:lnTo>
                  <a:lnTo>
                    <a:pt x="137117" y="144742"/>
                  </a:lnTo>
                  <a:lnTo>
                    <a:pt x="138280" y="141511"/>
                  </a:lnTo>
                  <a:lnTo>
                    <a:pt x="143578" y="134661"/>
                  </a:lnTo>
                  <a:lnTo>
                    <a:pt x="158053" y="123806"/>
                  </a:lnTo>
                  <a:lnTo>
                    <a:pt x="174853" y="113209"/>
                  </a:lnTo>
                  <a:lnTo>
                    <a:pt x="176404" y="112821"/>
                  </a:lnTo>
                  <a:lnTo>
                    <a:pt x="176921" y="112433"/>
                  </a:lnTo>
                  <a:lnTo>
                    <a:pt x="177954" y="111012"/>
                  </a:lnTo>
                  <a:lnTo>
                    <a:pt x="178471" y="110624"/>
                  </a:lnTo>
                  <a:lnTo>
                    <a:pt x="182607" y="109849"/>
                  </a:lnTo>
                  <a:lnTo>
                    <a:pt x="184545" y="108815"/>
                  </a:lnTo>
                  <a:lnTo>
                    <a:pt x="186226" y="108168"/>
                  </a:lnTo>
                  <a:lnTo>
                    <a:pt x="188164" y="107652"/>
                  </a:lnTo>
                  <a:lnTo>
                    <a:pt x="191265" y="107393"/>
                  </a:lnTo>
                  <a:lnTo>
                    <a:pt x="195143" y="106101"/>
                  </a:lnTo>
                  <a:lnTo>
                    <a:pt x="196564" y="105325"/>
                  </a:lnTo>
                  <a:lnTo>
                    <a:pt x="196823" y="105067"/>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5" name="Graphic 2">
              <a:extLst>
                <a:ext uri="{FF2B5EF4-FFF2-40B4-BE49-F238E27FC236}">
                  <a16:creationId xmlns:a16="http://schemas.microsoft.com/office/drawing/2014/main" id="{B92985BC-DE0D-5C4F-B89E-468496FB0FE0}"/>
                </a:ext>
              </a:extLst>
            </p:cNvPr>
            <p:cNvSpPr/>
            <p:nvPr/>
          </p:nvSpPr>
          <p:spPr>
            <a:xfrm>
              <a:off x="5912359" y="3948389"/>
              <a:ext cx="964857" cy="636862"/>
            </a:xfrm>
            <a:custGeom>
              <a:avLst/>
              <a:gdLst>
                <a:gd name="connsiteX0" fmla="*/ 736631 w 964857"/>
                <a:gd name="connsiteY0" fmla="*/ 481136 h 636862"/>
                <a:gd name="connsiteX1" fmla="*/ 735468 w 964857"/>
                <a:gd name="connsiteY1" fmla="*/ 478681 h 636862"/>
                <a:gd name="connsiteX2" fmla="*/ 733917 w 964857"/>
                <a:gd name="connsiteY2" fmla="*/ 476613 h 636862"/>
                <a:gd name="connsiteX3" fmla="*/ 733659 w 964857"/>
                <a:gd name="connsiteY3" fmla="*/ 475967 h 636862"/>
                <a:gd name="connsiteX4" fmla="*/ 733788 w 964857"/>
                <a:gd name="connsiteY4" fmla="*/ 475450 h 636862"/>
                <a:gd name="connsiteX5" fmla="*/ 733659 w 964857"/>
                <a:gd name="connsiteY5" fmla="*/ 475062 h 636862"/>
                <a:gd name="connsiteX6" fmla="*/ 732754 w 964857"/>
                <a:gd name="connsiteY6" fmla="*/ 474933 h 636862"/>
                <a:gd name="connsiteX7" fmla="*/ 730557 w 964857"/>
                <a:gd name="connsiteY7" fmla="*/ 474933 h 636862"/>
                <a:gd name="connsiteX8" fmla="*/ 727068 w 964857"/>
                <a:gd name="connsiteY8" fmla="*/ 474158 h 636862"/>
                <a:gd name="connsiteX9" fmla="*/ 725776 w 964857"/>
                <a:gd name="connsiteY9" fmla="*/ 474158 h 636862"/>
                <a:gd name="connsiteX10" fmla="*/ 726293 w 964857"/>
                <a:gd name="connsiteY10" fmla="*/ 475192 h 636862"/>
                <a:gd name="connsiteX11" fmla="*/ 726422 w 964857"/>
                <a:gd name="connsiteY11" fmla="*/ 475967 h 636862"/>
                <a:gd name="connsiteX12" fmla="*/ 726293 w 964857"/>
                <a:gd name="connsiteY12" fmla="*/ 476613 h 636862"/>
                <a:gd name="connsiteX13" fmla="*/ 725905 w 964857"/>
                <a:gd name="connsiteY13" fmla="*/ 477389 h 636862"/>
                <a:gd name="connsiteX14" fmla="*/ 725000 w 964857"/>
                <a:gd name="connsiteY14" fmla="*/ 476872 h 636862"/>
                <a:gd name="connsiteX15" fmla="*/ 724483 w 964857"/>
                <a:gd name="connsiteY15" fmla="*/ 476742 h 636862"/>
                <a:gd name="connsiteX16" fmla="*/ 723062 w 964857"/>
                <a:gd name="connsiteY16" fmla="*/ 477389 h 636862"/>
                <a:gd name="connsiteX17" fmla="*/ 724742 w 964857"/>
                <a:gd name="connsiteY17" fmla="*/ 480102 h 636862"/>
                <a:gd name="connsiteX18" fmla="*/ 725259 w 964857"/>
                <a:gd name="connsiteY18" fmla="*/ 480619 h 636862"/>
                <a:gd name="connsiteX19" fmla="*/ 726163 w 964857"/>
                <a:gd name="connsiteY19" fmla="*/ 480878 h 636862"/>
                <a:gd name="connsiteX20" fmla="*/ 727973 w 964857"/>
                <a:gd name="connsiteY20" fmla="*/ 481007 h 636862"/>
                <a:gd name="connsiteX21" fmla="*/ 728877 w 964857"/>
                <a:gd name="connsiteY21" fmla="*/ 481395 h 636862"/>
                <a:gd name="connsiteX22" fmla="*/ 730040 w 964857"/>
                <a:gd name="connsiteY22" fmla="*/ 480102 h 636862"/>
                <a:gd name="connsiteX23" fmla="*/ 731591 w 964857"/>
                <a:gd name="connsiteY23" fmla="*/ 479973 h 636862"/>
                <a:gd name="connsiteX24" fmla="*/ 736890 w 964857"/>
                <a:gd name="connsiteY24" fmla="*/ 482429 h 636862"/>
                <a:gd name="connsiteX25" fmla="*/ 736631 w 964857"/>
                <a:gd name="connsiteY25" fmla="*/ 481136 h 636862"/>
                <a:gd name="connsiteX26" fmla="*/ 610112 w 964857"/>
                <a:gd name="connsiteY26" fmla="*/ 565009 h 636862"/>
                <a:gd name="connsiteX27" fmla="*/ 609078 w 964857"/>
                <a:gd name="connsiteY27" fmla="*/ 565397 h 636862"/>
                <a:gd name="connsiteX28" fmla="*/ 606493 w 964857"/>
                <a:gd name="connsiteY28" fmla="*/ 565267 h 636862"/>
                <a:gd name="connsiteX29" fmla="*/ 605330 w 964857"/>
                <a:gd name="connsiteY29" fmla="*/ 565397 h 636862"/>
                <a:gd name="connsiteX30" fmla="*/ 603391 w 964857"/>
                <a:gd name="connsiteY30" fmla="*/ 566431 h 636862"/>
                <a:gd name="connsiteX31" fmla="*/ 600548 w 964857"/>
                <a:gd name="connsiteY31" fmla="*/ 569532 h 636862"/>
                <a:gd name="connsiteX32" fmla="*/ 595120 w 964857"/>
                <a:gd name="connsiteY32" fmla="*/ 571729 h 636862"/>
                <a:gd name="connsiteX33" fmla="*/ 588659 w 964857"/>
                <a:gd name="connsiteY33" fmla="*/ 578449 h 636862"/>
                <a:gd name="connsiteX34" fmla="*/ 584006 w 964857"/>
                <a:gd name="connsiteY34" fmla="*/ 580646 h 636862"/>
                <a:gd name="connsiteX35" fmla="*/ 571729 w 964857"/>
                <a:gd name="connsiteY35" fmla="*/ 590339 h 636862"/>
                <a:gd name="connsiteX36" fmla="*/ 567335 w 964857"/>
                <a:gd name="connsiteY36" fmla="*/ 595637 h 636862"/>
                <a:gd name="connsiteX37" fmla="*/ 566560 w 964857"/>
                <a:gd name="connsiteY37" fmla="*/ 596413 h 636862"/>
                <a:gd name="connsiteX38" fmla="*/ 566172 w 964857"/>
                <a:gd name="connsiteY38" fmla="*/ 598480 h 636862"/>
                <a:gd name="connsiteX39" fmla="*/ 564492 w 964857"/>
                <a:gd name="connsiteY39" fmla="*/ 602487 h 636862"/>
                <a:gd name="connsiteX40" fmla="*/ 564492 w 964857"/>
                <a:gd name="connsiteY40" fmla="*/ 604942 h 636862"/>
                <a:gd name="connsiteX41" fmla="*/ 565785 w 964857"/>
                <a:gd name="connsiteY41" fmla="*/ 605459 h 636862"/>
                <a:gd name="connsiteX42" fmla="*/ 566948 w 964857"/>
                <a:gd name="connsiteY42" fmla="*/ 603779 h 636862"/>
                <a:gd name="connsiteX43" fmla="*/ 568886 w 964857"/>
                <a:gd name="connsiteY43" fmla="*/ 599256 h 636862"/>
                <a:gd name="connsiteX44" fmla="*/ 571083 w 964857"/>
                <a:gd name="connsiteY44" fmla="*/ 595637 h 636862"/>
                <a:gd name="connsiteX45" fmla="*/ 572763 w 964857"/>
                <a:gd name="connsiteY45" fmla="*/ 593699 h 636862"/>
                <a:gd name="connsiteX46" fmla="*/ 576769 w 964857"/>
                <a:gd name="connsiteY46" fmla="*/ 591631 h 636862"/>
                <a:gd name="connsiteX47" fmla="*/ 601970 w 964857"/>
                <a:gd name="connsiteY47" fmla="*/ 570308 h 636862"/>
                <a:gd name="connsiteX48" fmla="*/ 604038 w 964857"/>
                <a:gd name="connsiteY48" fmla="*/ 569144 h 636862"/>
                <a:gd name="connsiteX49" fmla="*/ 607786 w 964857"/>
                <a:gd name="connsiteY49" fmla="*/ 568110 h 636862"/>
                <a:gd name="connsiteX50" fmla="*/ 612826 w 964857"/>
                <a:gd name="connsiteY50" fmla="*/ 564492 h 636862"/>
                <a:gd name="connsiteX51" fmla="*/ 612826 w 964857"/>
                <a:gd name="connsiteY51" fmla="*/ 563717 h 636862"/>
                <a:gd name="connsiteX52" fmla="*/ 611662 w 964857"/>
                <a:gd name="connsiteY52" fmla="*/ 564104 h 636862"/>
                <a:gd name="connsiteX53" fmla="*/ 610112 w 964857"/>
                <a:gd name="connsiteY53" fmla="*/ 565009 h 636862"/>
                <a:gd name="connsiteX54" fmla="*/ 964470 w 964857"/>
                <a:gd name="connsiteY54" fmla="*/ 330579 h 636862"/>
                <a:gd name="connsiteX55" fmla="*/ 964341 w 964857"/>
                <a:gd name="connsiteY55" fmla="*/ 329804 h 636862"/>
                <a:gd name="connsiteX56" fmla="*/ 964082 w 964857"/>
                <a:gd name="connsiteY56" fmla="*/ 329028 h 636862"/>
                <a:gd name="connsiteX57" fmla="*/ 961885 w 964857"/>
                <a:gd name="connsiteY57" fmla="*/ 324893 h 636862"/>
                <a:gd name="connsiteX58" fmla="*/ 959947 w 964857"/>
                <a:gd name="connsiteY58" fmla="*/ 322308 h 636862"/>
                <a:gd name="connsiteX59" fmla="*/ 958784 w 964857"/>
                <a:gd name="connsiteY59" fmla="*/ 320241 h 636862"/>
                <a:gd name="connsiteX60" fmla="*/ 958267 w 964857"/>
                <a:gd name="connsiteY60" fmla="*/ 320111 h 636862"/>
                <a:gd name="connsiteX61" fmla="*/ 957750 w 964857"/>
                <a:gd name="connsiteY61" fmla="*/ 320241 h 636862"/>
                <a:gd name="connsiteX62" fmla="*/ 957233 w 964857"/>
                <a:gd name="connsiteY62" fmla="*/ 320628 h 636862"/>
                <a:gd name="connsiteX63" fmla="*/ 956716 w 964857"/>
                <a:gd name="connsiteY63" fmla="*/ 320887 h 636862"/>
                <a:gd name="connsiteX64" fmla="*/ 956070 w 964857"/>
                <a:gd name="connsiteY64" fmla="*/ 321145 h 636862"/>
                <a:gd name="connsiteX65" fmla="*/ 954648 w 964857"/>
                <a:gd name="connsiteY65" fmla="*/ 321145 h 636862"/>
                <a:gd name="connsiteX66" fmla="*/ 951159 w 964857"/>
                <a:gd name="connsiteY66" fmla="*/ 320628 h 636862"/>
                <a:gd name="connsiteX67" fmla="*/ 948187 w 964857"/>
                <a:gd name="connsiteY67" fmla="*/ 320757 h 636862"/>
                <a:gd name="connsiteX68" fmla="*/ 946894 w 964857"/>
                <a:gd name="connsiteY68" fmla="*/ 321016 h 636862"/>
                <a:gd name="connsiteX69" fmla="*/ 945343 w 964857"/>
                <a:gd name="connsiteY69" fmla="*/ 321404 h 636862"/>
                <a:gd name="connsiteX70" fmla="*/ 944310 w 964857"/>
                <a:gd name="connsiteY70" fmla="*/ 321533 h 636862"/>
                <a:gd name="connsiteX71" fmla="*/ 943663 w 964857"/>
                <a:gd name="connsiteY71" fmla="*/ 321145 h 636862"/>
                <a:gd name="connsiteX72" fmla="*/ 942500 w 964857"/>
                <a:gd name="connsiteY72" fmla="*/ 319853 h 636862"/>
                <a:gd name="connsiteX73" fmla="*/ 941854 w 964857"/>
                <a:gd name="connsiteY73" fmla="*/ 319724 h 636862"/>
                <a:gd name="connsiteX74" fmla="*/ 941466 w 964857"/>
                <a:gd name="connsiteY74" fmla="*/ 319853 h 636862"/>
                <a:gd name="connsiteX75" fmla="*/ 940820 w 964857"/>
                <a:gd name="connsiteY75" fmla="*/ 320887 h 636862"/>
                <a:gd name="connsiteX76" fmla="*/ 940174 w 964857"/>
                <a:gd name="connsiteY76" fmla="*/ 321275 h 636862"/>
                <a:gd name="connsiteX77" fmla="*/ 939140 w 964857"/>
                <a:gd name="connsiteY77" fmla="*/ 321533 h 636862"/>
                <a:gd name="connsiteX78" fmla="*/ 937072 w 964857"/>
                <a:gd name="connsiteY78" fmla="*/ 321533 h 636862"/>
                <a:gd name="connsiteX79" fmla="*/ 936039 w 964857"/>
                <a:gd name="connsiteY79" fmla="*/ 321662 h 636862"/>
                <a:gd name="connsiteX80" fmla="*/ 935522 w 964857"/>
                <a:gd name="connsiteY80" fmla="*/ 322050 h 636862"/>
                <a:gd name="connsiteX81" fmla="*/ 935134 w 964857"/>
                <a:gd name="connsiteY81" fmla="*/ 322567 h 636862"/>
                <a:gd name="connsiteX82" fmla="*/ 934358 w 964857"/>
                <a:gd name="connsiteY82" fmla="*/ 322954 h 636862"/>
                <a:gd name="connsiteX83" fmla="*/ 930094 w 964857"/>
                <a:gd name="connsiteY83" fmla="*/ 322954 h 636862"/>
                <a:gd name="connsiteX84" fmla="*/ 929577 w 964857"/>
                <a:gd name="connsiteY84" fmla="*/ 323084 h 636862"/>
                <a:gd name="connsiteX85" fmla="*/ 929060 w 964857"/>
                <a:gd name="connsiteY85" fmla="*/ 323342 h 636862"/>
                <a:gd name="connsiteX86" fmla="*/ 928672 w 964857"/>
                <a:gd name="connsiteY86" fmla="*/ 323601 h 636862"/>
                <a:gd name="connsiteX87" fmla="*/ 928155 w 964857"/>
                <a:gd name="connsiteY87" fmla="*/ 323859 h 636862"/>
                <a:gd name="connsiteX88" fmla="*/ 927380 w 964857"/>
                <a:gd name="connsiteY88" fmla="*/ 324118 h 636862"/>
                <a:gd name="connsiteX89" fmla="*/ 925829 w 964857"/>
                <a:gd name="connsiteY89" fmla="*/ 324247 h 636862"/>
                <a:gd name="connsiteX90" fmla="*/ 924795 w 964857"/>
                <a:gd name="connsiteY90" fmla="*/ 324247 h 636862"/>
                <a:gd name="connsiteX91" fmla="*/ 924020 w 964857"/>
                <a:gd name="connsiteY91" fmla="*/ 323988 h 636862"/>
                <a:gd name="connsiteX92" fmla="*/ 922469 w 964857"/>
                <a:gd name="connsiteY92" fmla="*/ 322567 h 636862"/>
                <a:gd name="connsiteX93" fmla="*/ 921823 w 964857"/>
                <a:gd name="connsiteY93" fmla="*/ 322438 h 636862"/>
                <a:gd name="connsiteX94" fmla="*/ 921047 w 964857"/>
                <a:gd name="connsiteY94" fmla="*/ 322567 h 636862"/>
                <a:gd name="connsiteX95" fmla="*/ 920143 w 964857"/>
                <a:gd name="connsiteY95" fmla="*/ 322825 h 636862"/>
                <a:gd name="connsiteX96" fmla="*/ 918721 w 964857"/>
                <a:gd name="connsiteY96" fmla="*/ 323084 h 636862"/>
                <a:gd name="connsiteX97" fmla="*/ 917817 w 964857"/>
                <a:gd name="connsiteY97" fmla="*/ 323084 h 636862"/>
                <a:gd name="connsiteX98" fmla="*/ 917041 w 964857"/>
                <a:gd name="connsiteY98" fmla="*/ 322954 h 636862"/>
                <a:gd name="connsiteX99" fmla="*/ 914586 w 964857"/>
                <a:gd name="connsiteY99" fmla="*/ 322050 h 636862"/>
                <a:gd name="connsiteX100" fmla="*/ 914069 w 964857"/>
                <a:gd name="connsiteY100" fmla="*/ 321791 h 636862"/>
                <a:gd name="connsiteX101" fmla="*/ 913681 w 964857"/>
                <a:gd name="connsiteY101" fmla="*/ 321404 h 636862"/>
                <a:gd name="connsiteX102" fmla="*/ 913423 w 964857"/>
                <a:gd name="connsiteY102" fmla="*/ 320887 h 636862"/>
                <a:gd name="connsiteX103" fmla="*/ 913164 w 964857"/>
                <a:gd name="connsiteY103" fmla="*/ 320370 h 636862"/>
                <a:gd name="connsiteX104" fmla="*/ 912518 w 964857"/>
                <a:gd name="connsiteY104" fmla="*/ 316881 h 636862"/>
                <a:gd name="connsiteX105" fmla="*/ 912001 w 964857"/>
                <a:gd name="connsiteY105" fmla="*/ 316234 h 636862"/>
                <a:gd name="connsiteX106" fmla="*/ 911355 w 964857"/>
                <a:gd name="connsiteY106" fmla="*/ 316105 h 636862"/>
                <a:gd name="connsiteX107" fmla="*/ 910580 w 964857"/>
                <a:gd name="connsiteY107" fmla="*/ 316105 h 636862"/>
                <a:gd name="connsiteX108" fmla="*/ 910063 w 964857"/>
                <a:gd name="connsiteY108" fmla="*/ 315847 h 636862"/>
                <a:gd name="connsiteX109" fmla="*/ 909804 w 964857"/>
                <a:gd name="connsiteY109" fmla="*/ 315459 h 636862"/>
                <a:gd name="connsiteX110" fmla="*/ 909417 w 964857"/>
                <a:gd name="connsiteY110" fmla="*/ 314554 h 636862"/>
                <a:gd name="connsiteX111" fmla="*/ 907736 w 964857"/>
                <a:gd name="connsiteY111" fmla="*/ 312487 h 636862"/>
                <a:gd name="connsiteX112" fmla="*/ 906315 w 964857"/>
                <a:gd name="connsiteY112" fmla="*/ 311323 h 636862"/>
                <a:gd name="connsiteX113" fmla="*/ 905539 w 964857"/>
                <a:gd name="connsiteY113" fmla="*/ 310419 h 636862"/>
                <a:gd name="connsiteX114" fmla="*/ 905023 w 964857"/>
                <a:gd name="connsiteY114" fmla="*/ 309643 h 636862"/>
                <a:gd name="connsiteX115" fmla="*/ 902179 w 964857"/>
                <a:gd name="connsiteY115" fmla="*/ 304216 h 636862"/>
                <a:gd name="connsiteX116" fmla="*/ 901275 w 964857"/>
                <a:gd name="connsiteY116" fmla="*/ 302923 h 636862"/>
                <a:gd name="connsiteX117" fmla="*/ 900499 w 964857"/>
                <a:gd name="connsiteY117" fmla="*/ 302148 h 636862"/>
                <a:gd name="connsiteX118" fmla="*/ 899078 w 964857"/>
                <a:gd name="connsiteY118" fmla="*/ 301114 h 636862"/>
                <a:gd name="connsiteX119" fmla="*/ 895588 w 964857"/>
                <a:gd name="connsiteY119" fmla="*/ 299693 h 636862"/>
                <a:gd name="connsiteX120" fmla="*/ 894296 w 964857"/>
                <a:gd name="connsiteY120" fmla="*/ 299434 h 636862"/>
                <a:gd name="connsiteX121" fmla="*/ 892745 w 964857"/>
                <a:gd name="connsiteY121" fmla="*/ 299305 h 636862"/>
                <a:gd name="connsiteX122" fmla="*/ 885767 w 964857"/>
                <a:gd name="connsiteY122" fmla="*/ 303440 h 636862"/>
                <a:gd name="connsiteX123" fmla="*/ 882924 w 964857"/>
                <a:gd name="connsiteY123" fmla="*/ 304474 h 636862"/>
                <a:gd name="connsiteX124" fmla="*/ 882148 w 964857"/>
                <a:gd name="connsiteY124" fmla="*/ 304474 h 636862"/>
                <a:gd name="connsiteX125" fmla="*/ 880597 w 964857"/>
                <a:gd name="connsiteY125" fmla="*/ 304216 h 636862"/>
                <a:gd name="connsiteX126" fmla="*/ 877883 w 964857"/>
                <a:gd name="connsiteY126" fmla="*/ 304216 h 636862"/>
                <a:gd name="connsiteX127" fmla="*/ 876720 w 964857"/>
                <a:gd name="connsiteY127" fmla="*/ 304474 h 636862"/>
                <a:gd name="connsiteX128" fmla="*/ 875557 w 964857"/>
                <a:gd name="connsiteY128" fmla="*/ 304991 h 636862"/>
                <a:gd name="connsiteX129" fmla="*/ 873877 w 964857"/>
                <a:gd name="connsiteY129" fmla="*/ 305896 h 636862"/>
                <a:gd name="connsiteX130" fmla="*/ 872843 w 964857"/>
                <a:gd name="connsiteY130" fmla="*/ 306283 h 636862"/>
                <a:gd name="connsiteX131" fmla="*/ 871810 w 964857"/>
                <a:gd name="connsiteY131" fmla="*/ 306413 h 636862"/>
                <a:gd name="connsiteX132" fmla="*/ 869871 w 964857"/>
                <a:gd name="connsiteY132" fmla="*/ 306025 h 636862"/>
                <a:gd name="connsiteX133" fmla="*/ 868708 w 964857"/>
                <a:gd name="connsiteY133" fmla="*/ 306283 h 636862"/>
                <a:gd name="connsiteX134" fmla="*/ 862634 w 964857"/>
                <a:gd name="connsiteY134" fmla="*/ 309127 h 636862"/>
                <a:gd name="connsiteX135" fmla="*/ 861342 w 964857"/>
                <a:gd name="connsiteY135" fmla="*/ 310031 h 636862"/>
                <a:gd name="connsiteX136" fmla="*/ 855655 w 964857"/>
                <a:gd name="connsiteY136" fmla="*/ 313262 h 636862"/>
                <a:gd name="connsiteX137" fmla="*/ 854751 w 964857"/>
                <a:gd name="connsiteY137" fmla="*/ 314037 h 636862"/>
                <a:gd name="connsiteX138" fmla="*/ 853071 w 964857"/>
                <a:gd name="connsiteY138" fmla="*/ 315847 h 636862"/>
                <a:gd name="connsiteX139" fmla="*/ 851391 w 964857"/>
                <a:gd name="connsiteY139" fmla="*/ 317268 h 636862"/>
                <a:gd name="connsiteX140" fmla="*/ 850486 w 964857"/>
                <a:gd name="connsiteY140" fmla="*/ 317527 h 636862"/>
                <a:gd name="connsiteX141" fmla="*/ 849581 w 964857"/>
                <a:gd name="connsiteY141" fmla="*/ 317527 h 636862"/>
                <a:gd name="connsiteX142" fmla="*/ 848547 w 964857"/>
                <a:gd name="connsiteY142" fmla="*/ 317397 h 636862"/>
                <a:gd name="connsiteX143" fmla="*/ 848031 w 964857"/>
                <a:gd name="connsiteY143" fmla="*/ 317656 h 636862"/>
                <a:gd name="connsiteX144" fmla="*/ 847901 w 964857"/>
                <a:gd name="connsiteY144" fmla="*/ 318173 h 636862"/>
                <a:gd name="connsiteX145" fmla="*/ 848031 w 964857"/>
                <a:gd name="connsiteY145" fmla="*/ 319465 h 636862"/>
                <a:gd name="connsiteX146" fmla="*/ 847901 w 964857"/>
                <a:gd name="connsiteY146" fmla="*/ 320241 h 636862"/>
                <a:gd name="connsiteX147" fmla="*/ 847384 w 964857"/>
                <a:gd name="connsiteY147" fmla="*/ 321275 h 636862"/>
                <a:gd name="connsiteX148" fmla="*/ 846609 w 964857"/>
                <a:gd name="connsiteY148" fmla="*/ 321921 h 636862"/>
                <a:gd name="connsiteX149" fmla="*/ 845834 w 964857"/>
                <a:gd name="connsiteY149" fmla="*/ 322308 h 636862"/>
                <a:gd name="connsiteX150" fmla="*/ 837692 w 964857"/>
                <a:gd name="connsiteY150" fmla="*/ 324764 h 636862"/>
                <a:gd name="connsiteX151" fmla="*/ 833298 w 964857"/>
                <a:gd name="connsiteY151" fmla="*/ 327219 h 636862"/>
                <a:gd name="connsiteX152" fmla="*/ 832135 w 964857"/>
                <a:gd name="connsiteY152" fmla="*/ 327607 h 636862"/>
                <a:gd name="connsiteX153" fmla="*/ 831230 w 964857"/>
                <a:gd name="connsiteY153" fmla="*/ 327607 h 636862"/>
                <a:gd name="connsiteX154" fmla="*/ 830843 w 964857"/>
                <a:gd name="connsiteY154" fmla="*/ 327219 h 636862"/>
                <a:gd name="connsiteX155" fmla="*/ 830584 w 964857"/>
                <a:gd name="connsiteY155" fmla="*/ 326702 h 636862"/>
                <a:gd name="connsiteX156" fmla="*/ 830455 w 964857"/>
                <a:gd name="connsiteY156" fmla="*/ 326056 h 636862"/>
                <a:gd name="connsiteX157" fmla="*/ 830455 w 964857"/>
                <a:gd name="connsiteY157" fmla="*/ 324505 h 636862"/>
                <a:gd name="connsiteX158" fmla="*/ 830325 w 964857"/>
                <a:gd name="connsiteY158" fmla="*/ 323859 h 636862"/>
                <a:gd name="connsiteX159" fmla="*/ 830067 w 964857"/>
                <a:gd name="connsiteY159" fmla="*/ 323342 h 636862"/>
                <a:gd name="connsiteX160" fmla="*/ 829679 w 964857"/>
                <a:gd name="connsiteY160" fmla="*/ 322954 h 636862"/>
                <a:gd name="connsiteX161" fmla="*/ 828775 w 964857"/>
                <a:gd name="connsiteY161" fmla="*/ 322179 h 636862"/>
                <a:gd name="connsiteX162" fmla="*/ 828258 w 964857"/>
                <a:gd name="connsiteY162" fmla="*/ 321791 h 636862"/>
                <a:gd name="connsiteX163" fmla="*/ 827612 w 964857"/>
                <a:gd name="connsiteY163" fmla="*/ 321533 h 636862"/>
                <a:gd name="connsiteX164" fmla="*/ 826707 w 964857"/>
                <a:gd name="connsiteY164" fmla="*/ 321404 h 636862"/>
                <a:gd name="connsiteX165" fmla="*/ 826061 w 964857"/>
                <a:gd name="connsiteY165" fmla="*/ 321533 h 636862"/>
                <a:gd name="connsiteX166" fmla="*/ 825544 w 964857"/>
                <a:gd name="connsiteY166" fmla="*/ 321791 h 636862"/>
                <a:gd name="connsiteX167" fmla="*/ 823993 w 964857"/>
                <a:gd name="connsiteY167" fmla="*/ 324247 h 636862"/>
                <a:gd name="connsiteX168" fmla="*/ 823347 w 964857"/>
                <a:gd name="connsiteY168" fmla="*/ 324893 h 636862"/>
                <a:gd name="connsiteX169" fmla="*/ 822313 w 964857"/>
                <a:gd name="connsiteY169" fmla="*/ 325668 h 636862"/>
                <a:gd name="connsiteX170" fmla="*/ 820116 w 964857"/>
                <a:gd name="connsiteY170" fmla="*/ 326961 h 636862"/>
                <a:gd name="connsiteX171" fmla="*/ 818824 w 964857"/>
                <a:gd name="connsiteY171" fmla="*/ 327478 h 636862"/>
                <a:gd name="connsiteX172" fmla="*/ 818178 w 964857"/>
                <a:gd name="connsiteY172" fmla="*/ 327090 h 636862"/>
                <a:gd name="connsiteX173" fmla="*/ 814559 w 964857"/>
                <a:gd name="connsiteY173" fmla="*/ 326444 h 636862"/>
                <a:gd name="connsiteX174" fmla="*/ 814042 w 964857"/>
                <a:gd name="connsiteY174" fmla="*/ 326185 h 636862"/>
                <a:gd name="connsiteX175" fmla="*/ 813784 w 964857"/>
                <a:gd name="connsiteY175" fmla="*/ 325668 h 636862"/>
                <a:gd name="connsiteX176" fmla="*/ 813654 w 964857"/>
                <a:gd name="connsiteY176" fmla="*/ 325022 h 636862"/>
                <a:gd name="connsiteX177" fmla="*/ 813654 w 964857"/>
                <a:gd name="connsiteY177" fmla="*/ 324376 h 636862"/>
                <a:gd name="connsiteX178" fmla="*/ 813525 w 964857"/>
                <a:gd name="connsiteY178" fmla="*/ 323730 h 636862"/>
                <a:gd name="connsiteX179" fmla="*/ 813138 w 964857"/>
                <a:gd name="connsiteY179" fmla="*/ 323213 h 636862"/>
                <a:gd name="connsiteX180" fmla="*/ 812362 w 964857"/>
                <a:gd name="connsiteY180" fmla="*/ 322954 h 636862"/>
                <a:gd name="connsiteX181" fmla="*/ 811716 w 964857"/>
                <a:gd name="connsiteY181" fmla="*/ 323084 h 636862"/>
                <a:gd name="connsiteX182" fmla="*/ 811199 w 964857"/>
                <a:gd name="connsiteY182" fmla="*/ 323342 h 636862"/>
                <a:gd name="connsiteX183" fmla="*/ 809131 w 964857"/>
                <a:gd name="connsiteY183" fmla="*/ 324893 h 636862"/>
                <a:gd name="connsiteX184" fmla="*/ 806417 w 964857"/>
                <a:gd name="connsiteY184" fmla="*/ 326315 h 636862"/>
                <a:gd name="connsiteX185" fmla="*/ 805383 w 964857"/>
                <a:gd name="connsiteY185" fmla="*/ 326702 h 636862"/>
                <a:gd name="connsiteX186" fmla="*/ 804479 w 964857"/>
                <a:gd name="connsiteY186" fmla="*/ 326831 h 636862"/>
                <a:gd name="connsiteX187" fmla="*/ 803703 w 964857"/>
                <a:gd name="connsiteY187" fmla="*/ 326831 h 636862"/>
                <a:gd name="connsiteX188" fmla="*/ 803057 w 964857"/>
                <a:gd name="connsiteY188" fmla="*/ 326702 h 636862"/>
                <a:gd name="connsiteX189" fmla="*/ 802540 w 964857"/>
                <a:gd name="connsiteY189" fmla="*/ 326444 h 636862"/>
                <a:gd name="connsiteX190" fmla="*/ 802153 w 964857"/>
                <a:gd name="connsiteY190" fmla="*/ 326056 h 636862"/>
                <a:gd name="connsiteX191" fmla="*/ 801894 w 964857"/>
                <a:gd name="connsiteY191" fmla="*/ 325539 h 636862"/>
                <a:gd name="connsiteX192" fmla="*/ 801894 w 964857"/>
                <a:gd name="connsiteY192" fmla="*/ 324893 h 636862"/>
                <a:gd name="connsiteX193" fmla="*/ 802023 w 964857"/>
                <a:gd name="connsiteY193" fmla="*/ 324247 h 636862"/>
                <a:gd name="connsiteX194" fmla="*/ 802282 w 964857"/>
                <a:gd name="connsiteY194" fmla="*/ 323601 h 636862"/>
                <a:gd name="connsiteX195" fmla="*/ 802669 w 964857"/>
                <a:gd name="connsiteY195" fmla="*/ 323084 h 636862"/>
                <a:gd name="connsiteX196" fmla="*/ 803833 w 964857"/>
                <a:gd name="connsiteY196" fmla="*/ 322050 h 636862"/>
                <a:gd name="connsiteX197" fmla="*/ 804608 w 964857"/>
                <a:gd name="connsiteY197" fmla="*/ 321145 h 636862"/>
                <a:gd name="connsiteX198" fmla="*/ 805254 w 964857"/>
                <a:gd name="connsiteY198" fmla="*/ 320111 h 636862"/>
                <a:gd name="connsiteX199" fmla="*/ 805513 w 964857"/>
                <a:gd name="connsiteY199" fmla="*/ 319594 h 636862"/>
                <a:gd name="connsiteX200" fmla="*/ 804867 w 964857"/>
                <a:gd name="connsiteY200" fmla="*/ 319078 h 636862"/>
                <a:gd name="connsiteX201" fmla="*/ 803316 w 964857"/>
                <a:gd name="connsiteY201" fmla="*/ 318819 h 636862"/>
                <a:gd name="connsiteX202" fmla="*/ 798922 w 964857"/>
                <a:gd name="connsiteY202" fmla="*/ 319207 h 636862"/>
                <a:gd name="connsiteX203" fmla="*/ 797113 w 964857"/>
                <a:gd name="connsiteY203" fmla="*/ 319724 h 636862"/>
                <a:gd name="connsiteX204" fmla="*/ 796208 w 964857"/>
                <a:gd name="connsiteY204" fmla="*/ 320370 h 636862"/>
                <a:gd name="connsiteX205" fmla="*/ 796337 w 964857"/>
                <a:gd name="connsiteY205" fmla="*/ 321016 h 636862"/>
                <a:gd name="connsiteX206" fmla="*/ 796595 w 964857"/>
                <a:gd name="connsiteY206" fmla="*/ 321533 h 636862"/>
                <a:gd name="connsiteX207" fmla="*/ 796983 w 964857"/>
                <a:gd name="connsiteY207" fmla="*/ 322050 h 636862"/>
                <a:gd name="connsiteX208" fmla="*/ 798534 w 964857"/>
                <a:gd name="connsiteY208" fmla="*/ 323730 h 636862"/>
                <a:gd name="connsiteX209" fmla="*/ 798793 w 964857"/>
                <a:gd name="connsiteY209" fmla="*/ 324247 h 636862"/>
                <a:gd name="connsiteX210" fmla="*/ 799051 w 964857"/>
                <a:gd name="connsiteY210" fmla="*/ 324764 h 636862"/>
                <a:gd name="connsiteX211" fmla="*/ 799180 w 964857"/>
                <a:gd name="connsiteY211" fmla="*/ 325410 h 636862"/>
                <a:gd name="connsiteX212" fmla="*/ 798922 w 964857"/>
                <a:gd name="connsiteY212" fmla="*/ 326185 h 636862"/>
                <a:gd name="connsiteX213" fmla="*/ 798276 w 964857"/>
                <a:gd name="connsiteY213" fmla="*/ 327090 h 636862"/>
                <a:gd name="connsiteX214" fmla="*/ 789100 w 964857"/>
                <a:gd name="connsiteY214" fmla="*/ 332647 h 636862"/>
                <a:gd name="connsiteX215" fmla="*/ 788712 w 964857"/>
                <a:gd name="connsiteY215" fmla="*/ 333035 h 636862"/>
                <a:gd name="connsiteX216" fmla="*/ 788583 w 964857"/>
                <a:gd name="connsiteY216" fmla="*/ 333552 h 636862"/>
                <a:gd name="connsiteX217" fmla="*/ 788583 w 964857"/>
                <a:gd name="connsiteY217" fmla="*/ 334198 h 636862"/>
                <a:gd name="connsiteX218" fmla="*/ 788842 w 964857"/>
                <a:gd name="connsiteY218" fmla="*/ 334715 h 636862"/>
                <a:gd name="connsiteX219" fmla="*/ 789229 w 964857"/>
                <a:gd name="connsiteY219" fmla="*/ 335102 h 636862"/>
                <a:gd name="connsiteX220" fmla="*/ 789746 w 964857"/>
                <a:gd name="connsiteY220" fmla="*/ 335490 h 636862"/>
                <a:gd name="connsiteX221" fmla="*/ 790392 w 964857"/>
                <a:gd name="connsiteY221" fmla="*/ 335619 h 636862"/>
                <a:gd name="connsiteX222" fmla="*/ 791039 w 964857"/>
                <a:gd name="connsiteY222" fmla="*/ 335619 h 636862"/>
                <a:gd name="connsiteX223" fmla="*/ 793753 w 964857"/>
                <a:gd name="connsiteY223" fmla="*/ 335361 h 636862"/>
                <a:gd name="connsiteX224" fmla="*/ 795045 w 964857"/>
                <a:gd name="connsiteY224" fmla="*/ 335361 h 636862"/>
                <a:gd name="connsiteX225" fmla="*/ 795691 w 964857"/>
                <a:gd name="connsiteY225" fmla="*/ 335490 h 636862"/>
                <a:gd name="connsiteX226" fmla="*/ 796208 w 964857"/>
                <a:gd name="connsiteY226" fmla="*/ 335619 h 636862"/>
                <a:gd name="connsiteX227" fmla="*/ 796466 w 964857"/>
                <a:gd name="connsiteY227" fmla="*/ 335749 h 636862"/>
                <a:gd name="connsiteX228" fmla="*/ 796725 w 964857"/>
                <a:gd name="connsiteY228" fmla="*/ 336136 h 636862"/>
                <a:gd name="connsiteX229" fmla="*/ 796983 w 964857"/>
                <a:gd name="connsiteY229" fmla="*/ 336524 h 636862"/>
                <a:gd name="connsiteX230" fmla="*/ 797242 w 964857"/>
                <a:gd name="connsiteY230" fmla="*/ 337041 h 636862"/>
                <a:gd name="connsiteX231" fmla="*/ 797371 w 964857"/>
                <a:gd name="connsiteY231" fmla="*/ 337687 h 636862"/>
                <a:gd name="connsiteX232" fmla="*/ 797500 w 964857"/>
                <a:gd name="connsiteY232" fmla="*/ 338333 h 636862"/>
                <a:gd name="connsiteX233" fmla="*/ 797371 w 964857"/>
                <a:gd name="connsiteY233" fmla="*/ 339755 h 636862"/>
                <a:gd name="connsiteX234" fmla="*/ 797113 w 964857"/>
                <a:gd name="connsiteY234" fmla="*/ 341306 h 636862"/>
                <a:gd name="connsiteX235" fmla="*/ 796854 w 964857"/>
                <a:gd name="connsiteY235" fmla="*/ 342081 h 636862"/>
                <a:gd name="connsiteX236" fmla="*/ 796337 w 964857"/>
                <a:gd name="connsiteY236" fmla="*/ 342986 h 636862"/>
                <a:gd name="connsiteX237" fmla="*/ 795820 w 964857"/>
                <a:gd name="connsiteY237" fmla="*/ 343373 h 636862"/>
                <a:gd name="connsiteX238" fmla="*/ 795432 w 964857"/>
                <a:gd name="connsiteY238" fmla="*/ 343503 h 636862"/>
                <a:gd name="connsiteX239" fmla="*/ 794916 w 964857"/>
                <a:gd name="connsiteY239" fmla="*/ 343373 h 636862"/>
                <a:gd name="connsiteX240" fmla="*/ 793882 w 964857"/>
                <a:gd name="connsiteY240" fmla="*/ 342727 h 636862"/>
                <a:gd name="connsiteX241" fmla="*/ 793106 w 964857"/>
                <a:gd name="connsiteY241" fmla="*/ 342598 h 636862"/>
                <a:gd name="connsiteX242" fmla="*/ 792589 w 964857"/>
                <a:gd name="connsiteY242" fmla="*/ 342857 h 636862"/>
                <a:gd name="connsiteX243" fmla="*/ 792202 w 964857"/>
                <a:gd name="connsiteY243" fmla="*/ 343373 h 636862"/>
                <a:gd name="connsiteX244" fmla="*/ 792072 w 964857"/>
                <a:gd name="connsiteY244" fmla="*/ 344020 h 636862"/>
                <a:gd name="connsiteX245" fmla="*/ 792072 w 964857"/>
                <a:gd name="connsiteY245" fmla="*/ 344666 h 636862"/>
                <a:gd name="connsiteX246" fmla="*/ 792202 w 964857"/>
                <a:gd name="connsiteY246" fmla="*/ 345312 h 636862"/>
                <a:gd name="connsiteX247" fmla="*/ 792460 w 964857"/>
                <a:gd name="connsiteY247" fmla="*/ 345829 h 636862"/>
                <a:gd name="connsiteX248" fmla="*/ 792589 w 964857"/>
                <a:gd name="connsiteY248" fmla="*/ 346475 h 636862"/>
                <a:gd name="connsiteX249" fmla="*/ 792589 w 964857"/>
                <a:gd name="connsiteY249" fmla="*/ 347121 h 636862"/>
                <a:gd name="connsiteX250" fmla="*/ 792460 w 964857"/>
                <a:gd name="connsiteY250" fmla="*/ 347897 h 636862"/>
                <a:gd name="connsiteX251" fmla="*/ 792072 w 964857"/>
                <a:gd name="connsiteY251" fmla="*/ 348543 h 636862"/>
                <a:gd name="connsiteX252" fmla="*/ 791297 w 964857"/>
                <a:gd name="connsiteY252" fmla="*/ 349447 h 636862"/>
                <a:gd name="connsiteX253" fmla="*/ 790651 w 964857"/>
                <a:gd name="connsiteY253" fmla="*/ 349835 h 636862"/>
                <a:gd name="connsiteX254" fmla="*/ 790005 w 964857"/>
                <a:gd name="connsiteY254" fmla="*/ 349964 h 636862"/>
                <a:gd name="connsiteX255" fmla="*/ 789488 w 964857"/>
                <a:gd name="connsiteY255" fmla="*/ 349706 h 636862"/>
                <a:gd name="connsiteX256" fmla="*/ 789100 w 964857"/>
                <a:gd name="connsiteY256" fmla="*/ 349318 h 636862"/>
                <a:gd name="connsiteX257" fmla="*/ 788842 w 964857"/>
                <a:gd name="connsiteY257" fmla="*/ 348801 h 636862"/>
                <a:gd name="connsiteX258" fmla="*/ 788712 w 964857"/>
                <a:gd name="connsiteY258" fmla="*/ 348155 h 636862"/>
                <a:gd name="connsiteX259" fmla="*/ 788454 w 964857"/>
                <a:gd name="connsiteY259" fmla="*/ 347638 h 636862"/>
                <a:gd name="connsiteX260" fmla="*/ 787937 w 964857"/>
                <a:gd name="connsiteY260" fmla="*/ 347250 h 636862"/>
                <a:gd name="connsiteX261" fmla="*/ 786903 w 964857"/>
                <a:gd name="connsiteY261" fmla="*/ 347250 h 636862"/>
                <a:gd name="connsiteX262" fmla="*/ 786257 w 964857"/>
                <a:gd name="connsiteY262" fmla="*/ 347509 h 636862"/>
                <a:gd name="connsiteX263" fmla="*/ 785740 w 964857"/>
                <a:gd name="connsiteY263" fmla="*/ 347897 h 636862"/>
                <a:gd name="connsiteX264" fmla="*/ 785352 w 964857"/>
                <a:gd name="connsiteY264" fmla="*/ 348413 h 636862"/>
                <a:gd name="connsiteX265" fmla="*/ 784577 w 964857"/>
                <a:gd name="connsiteY265" fmla="*/ 349577 h 636862"/>
                <a:gd name="connsiteX266" fmla="*/ 784060 w 964857"/>
                <a:gd name="connsiteY266" fmla="*/ 350223 h 636862"/>
                <a:gd name="connsiteX267" fmla="*/ 783155 w 964857"/>
                <a:gd name="connsiteY267" fmla="*/ 351127 h 636862"/>
                <a:gd name="connsiteX268" fmla="*/ 782509 w 964857"/>
                <a:gd name="connsiteY268" fmla="*/ 351257 h 636862"/>
                <a:gd name="connsiteX269" fmla="*/ 781992 w 964857"/>
                <a:gd name="connsiteY269" fmla="*/ 351127 h 636862"/>
                <a:gd name="connsiteX270" fmla="*/ 781217 w 964857"/>
                <a:gd name="connsiteY270" fmla="*/ 350352 h 636862"/>
                <a:gd name="connsiteX271" fmla="*/ 780312 w 964857"/>
                <a:gd name="connsiteY271" fmla="*/ 349706 h 636862"/>
                <a:gd name="connsiteX272" fmla="*/ 779278 w 964857"/>
                <a:gd name="connsiteY272" fmla="*/ 349189 h 636862"/>
                <a:gd name="connsiteX273" fmla="*/ 778891 w 964857"/>
                <a:gd name="connsiteY273" fmla="*/ 348801 h 636862"/>
                <a:gd name="connsiteX274" fmla="*/ 778632 w 964857"/>
                <a:gd name="connsiteY274" fmla="*/ 348284 h 636862"/>
                <a:gd name="connsiteX275" fmla="*/ 778115 w 964857"/>
                <a:gd name="connsiteY275" fmla="*/ 347121 h 636862"/>
                <a:gd name="connsiteX276" fmla="*/ 777728 w 964857"/>
                <a:gd name="connsiteY276" fmla="*/ 346604 h 636862"/>
                <a:gd name="connsiteX277" fmla="*/ 777081 w 964857"/>
                <a:gd name="connsiteY277" fmla="*/ 346346 h 636862"/>
                <a:gd name="connsiteX278" fmla="*/ 776564 w 964857"/>
                <a:gd name="connsiteY278" fmla="*/ 346475 h 636862"/>
                <a:gd name="connsiteX279" fmla="*/ 776177 w 964857"/>
                <a:gd name="connsiteY279" fmla="*/ 346863 h 636862"/>
                <a:gd name="connsiteX280" fmla="*/ 775401 w 964857"/>
                <a:gd name="connsiteY280" fmla="*/ 348026 h 636862"/>
                <a:gd name="connsiteX281" fmla="*/ 774884 w 964857"/>
                <a:gd name="connsiteY281" fmla="*/ 348543 h 636862"/>
                <a:gd name="connsiteX282" fmla="*/ 774368 w 964857"/>
                <a:gd name="connsiteY282" fmla="*/ 348672 h 636862"/>
                <a:gd name="connsiteX283" fmla="*/ 773075 w 964857"/>
                <a:gd name="connsiteY283" fmla="*/ 348284 h 636862"/>
                <a:gd name="connsiteX284" fmla="*/ 772041 w 964857"/>
                <a:gd name="connsiteY284" fmla="*/ 348155 h 636862"/>
                <a:gd name="connsiteX285" fmla="*/ 771395 w 964857"/>
                <a:gd name="connsiteY285" fmla="*/ 348413 h 636862"/>
                <a:gd name="connsiteX286" fmla="*/ 771007 w 964857"/>
                <a:gd name="connsiteY286" fmla="*/ 348801 h 636862"/>
                <a:gd name="connsiteX287" fmla="*/ 770361 w 964857"/>
                <a:gd name="connsiteY287" fmla="*/ 349835 h 636862"/>
                <a:gd name="connsiteX288" fmla="*/ 769844 w 964857"/>
                <a:gd name="connsiteY288" fmla="*/ 350481 h 636862"/>
                <a:gd name="connsiteX289" fmla="*/ 769069 w 964857"/>
                <a:gd name="connsiteY289" fmla="*/ 351127 h 636862"/>
                <a:gd name="connsiteX290" fmla="*/ 767776 w 964857"/>
                <a:gd name="connsiteY290" fmla="*/ 352161 h 636862"/>
                <a:gd name="connsiteX291" fmla="*/ 766872 w 964857"/>
                <a:gd name="connsiteY291" fmla="*/ 352678 h 636862"/>
                <a:gd name="connsiteX292" fmla="*/ 765967 w 964857"/>
                <a:gd name="connsiteY292" fmla="*/ 353066 h 636862"/>
                <a:gd name="connsiteX293" fmla="*/ 763383 w 964857"/>
                <a:gd name="connsiteY293" fmla="*/ 353454 h 636862"/>
                <a:gd name="connsiteX294" fmla="*/ 754853 w 964857"/>
                <a:gd name="connsiteY294" fmla="*/ 355134 h 636862"/>
                <a:gd name="connsiteX295" fmla="*/ 752527 w 964857"/>
                <a:gd name="connsiteY295" fmla="*/ 354875 h 636862"/>
                <a:gd name="connsiteX296" fmla="*/ 752268 w 964857"/>
                <a:gd name="connsiteY296" fmla="*/ 354358 h 636862"/>
                <a:gd name="connsiteX297" fmla="*/ 752139 w 964857"/>
                <a:gd name="connsiteY297" fmla="*/ 353841 h 636862"/>
                <a:gd name="connsiteX298" fmla="*/ 752268 w 964857"/>
                <a:gd name="connsiteY298" fmla="*/ 353324 h 636862"/>
                <a:gd name="connsiteX299" fmla="*/ 752527 w 964857"/>
                <a:gd name="connsiteY299" fmla="*/ 352808 h 636862"/>
                <a:gd name="connsiteX300" fmla="*/ 752785 w 964857"/>
                <a:gd name="connsiteY300" fmla="*/ 352290 h 636862"/>
                <a:gd name="connsiteX301" fmla="*/ 753044 w 964857"/>
                <a:gd name="connsiteY301" fmla="*/ 351774 h 636862"/>
                <a:gd name="connsiteX302" fmla="*/ 753044 w 964857"/>
                <a:gd name="connsiteY302" fmla="*/ 351127 h 636862"/>
                <a:gd name="connsiteX303" fmla="*/ 752527 w 964857"/>
                <a:gd name="connsiteY303" fmla="*/ 350352 h 636862"/>
                <a:gd name="connsiteX304" fmla="*/ 751881 w 964857"/>
                <a:gd name="connsiteY304" fmla="*/ 350094 h 636862"/>
                <a:gd name="connsiteX305" fmla="*/ 751235 w 964857"/>
                <a:gd name="connsiteY305" fmla="*/ 349964 h 636862"/>
                <a:gd name="connsiteX306" fmla="*/ 747875 w 964857"/>
                <a:gd name="connsiteY306" fmla="*/ 350611 h 636862"/>
                <a:gd name="connsiteX307" fmla="*/ 747228 w 964857"/>
                <a:gd name="connsiteY307" fmla="*/ 350869 h 636862"/>
                <a:gd name="connsiteX308" fmla="*/ 746712 w 964857"/>
                <a:gd name="connsiteY308" fmla="*/ 351127 h 636862"/>
                <a:gd name="connsiteX309" fmla="*/ 746324 w 964857"/>
                <a:gd name="connsiteY309" fmla="*/ 351515 h 636862"/>
                <a:gd name="connsiteX310" fmla="*/ 745936 w 964857"/>
                <a:gd name="connsiteY310" fmla="*/ 351903 h 636862"/>
                <a:gd name="connsiteX311" fmla="*/ 745419 w 964857"/>
                <a:gd name="connsiteY311" fmla="*/ 352420 h 636862"/>
                <a:gd name="connsiteX312" fmla="*/ 744773 w 964857"/>
                <a:gd name="connsiteY312" fmla="*/ 352808 h 636862"/>
                <a:gd name="connsiteX313" fmla="*/ 743481 w 964857"/>
                <a:gd name="connsiteY313" fmla="*/ 353195 h 636862"/>
                <a:gd name="connsiteX314" fmla="*/ 742705 w 964857"/>
                <a:gd name="connsiteY314" fmla="*/ 353066 h 636862"/>
                <a:gd name="connsiteX315" fmla="*/ 741930 w 964857"/>
                <a:gd name="connsiteY315" fmla="*/ 352808 h 636862"/>
                <a:gd name="connsiteX316" fmla="*/ 741154 w 964857"/>
                <a:gd name="connsiteY316" fmla="*/ 352420 h 636862"/>
                <a:gd name="connsiteX317" fmla="*/ 740508 w 964857"/>
                <a:gd name="connsiteY317" fmla="*/ 352420 h 636862"/>
                <a:gd name="connsiteX318" fmla="*/ 739991 w 964857"/>
                <a:gd name="connsiteY318" fmla="*/ 352678 h 636862"/>
                <a:gd name="connsiteX319" fmla="*/ 739474 w 964857"/>
                <a:gd name="connsiteY319" fmla="*/ 353066 h 636862"/>
                <a:gd name="connsiteX320" fmla="*/ 738828 w 964857"/>
                <a:gd name="connsiteY320" fmla="*/ 353454 h 636862"/>
                <a:gd name="connsiteX321" fmla="*/ 737794 w 964857"/>
                <a:gd name="connsiteY321" fmla="*/ 353841 h 636862"/>
                <a:gd name="connsiteX322" fmla="*/ 737019 w 964857"/>
                <a:gd name="connsiteY322" fmla="*/ 353841 h 636862"/>
                <a:gd name="connsiteX323" fmla="*/ 735856 w 964857"/>
                <a:gd name="connsiteY323" fmla="*/ 352937 h 636862"/>
                <a:gd name="connsiteX324" fmla="*/ 734822 w 964857"/>
                <a:gd name="connsiteY324" fmla="*/ 352420 h 636862"/>
                <a:gd name="connsiteX325" fmla="*/ 732754 w 964857"/>
                <a:gd name="connsiteY325" fmla="*/ 352420 h 636862"/>
                <a:gd name="connsiteX326" fmla="*/ 731720 w 964857"/>
                <a:gd name="connsiteY326" fmla="*/ 352161 h 636862"/>
                <a:gd name="connsiteX327" fmla="*/ 730945 w 964857"/>
                <a:gd name="connsiteY327" fmla="*/ 351903 h 636862"/>
                <a:gd name="connsiteX328" fmla="*/ 730557 w 964857"/>
                <a:gd name="connsiteY328" fmla="*/ 351515 h 636862"/>
                <a:gd name="connsiteX329" fmla="*/ 730040 w 964857"/>
                <a:gd name="connsiteY329" fmla="*/ 350869 h 636862"/>
                <a:gd name="connsiteX330" fmla="*/ 729265 w 964857"/>
                <a:gd name="connsiteY330" fmla="*/ 349318 h 636862"/>
                <a:gd name="connsiteX331" fmla="*/ 729006 w 964857"/>
                <a:gd name="connsiteY331" fmla="*/ 348026 h 636862"/>
                <a:gd name="connsiteX332" fmla="*/ 728748 w 964857"/>
                <a:gd name="connsiteY332" fmla="*/ 346734 h 636862"/>
                <a:gd name="connsiteX333" fmla="*/ 728619 w 964857"/>
                <a:gd name="connsiteY333" fmla="*/ 345312 h 636862"/>
                <a:gd name="connsiteX334" fmla="*/ 728748 w 964857"/>
                <a:gd name="connsiteY334" fmla="*/ 343115 h 636862"/>
                <a:gd name="connsiteX335" fmla="*/ 728877 w 964857"/>
                <a:gd name="connsiteY335" fmla="*/ 342469 h 636862"/>
                <a:gd name="connsiteX336" fmla="*/ 729136 w 964857"/>
                <a:gd name="connsiteY336" fmla="*/ 341823 h 636862"/>
                <a:gd name="connsiteX337" fmla="*/ 729911 w 964857"/>
                <a:gd name="connsiteY337" fmla="*/ 340143 h 636862"/>
                <a:gd name="connsiteX338" fmla="*/ 729523 w 964857"/>
                <a:gd name="connsiteY338" fmla="*/ 339367 h 636862"/>
                <a:gd name="connsiteX339" fmla="*/ 728490 w 964857"/>
                <a:gd name="connsiteY339" fmla="*/ 338333 h 636862"/>
                <a:gd name="connsiteX340" fmla="*/ 722157 w 964857"/>
                <a:gd name="connsiteY340" fmla="*/ 334715 h 636862"/>
                <a:gd name="connsiteX341" fmla="*/ 720219 w 964857"/>
                <a:gd name="connsiteY341" fmla="*/ 333164 h 636862"/>
                <a:gd name="connsiteX342" fmla="*/ 717375 w 964857"/>
                <a:gd name="connsiteY342" fmla="*/ 330838 h 636862"/>
                <a:gd name="connsiteX343" fmla="*/ 716988 w 964857"/>
                <a:gd name="connsiteY343" fmla="*/ 330192 h 636862"/>
                <a:gd name="connsiteX344" fmla="*/ 716729 w 964857"/>
                <a:gd name="connsiteY344" fmla="*/ 329416 h 636862"/>
                <a:gd name="connsiteX345" fmla="*/ 716858 w 964857"/>
                <a:gd name="connsiteY345" fmla="*/ 328899 h 636862"/>
                <a:gd name="connsiteX346" fmla="*/ 717246 w 964857"/>
                <a:gd name="connsiteY346" fmla="*/ 328382 h 636862"/>
                <a:gd name="connsiteX347" fmla="*/ 717634 w 964857"/>
                <a:gd name="connsiteY347" fmla="*/ 327995 h 636862"/>
                <a:gd name="connsiteX348" fmla="*/ 718668 w 964857"/>
                <a:gd name="connsiteY348" fmla="*/ 327349 h 636862"/>
                <a:gd name="connsiteX349" fmla="*/ 723966 w 964857"/>
                <a:gd name="connsiteY349" fmla="*/ 325410 h 636862"/>
                <a:gd name="connsiteX350" fmla="*/ 724613 w 964857"/>
                <a:gd name="connsiteY350" fmla="*/ 325022 h 636862"/>
                <a:gd name="connsiteX351" fmla="*/ 725388 w 964857"/>
                <a:gd name="connsiteY351" fmla="*/ 324376 h 636862"/>
                <a:gd name="connsiteX352" fmla="*/ 725517 w 964857"/>
                <a:gd name="connsiteY352" fmla="*/ 323730 h 636862"/>
                <a:gd name="connsiteX353" fmla="*/ 725388 w 964857"/>
                <a:gd name="connsiteY353" fmla="*/ 323084 h 636862"/>
                <a:gd name="connsiteX354" fmla="*/ 723837 w 964857"/>
                <a:gd name="connsiteY354" fmla="*/ 320628 h 636862"/>
                <a:gd name="connsiteX355" fmla="*/ 723449 w 964857"/>
                <a:gd name="connsiteY355" fmla="*/ 319982 h 636862"/>
                <a:gd name="connsiteX356" fmla="*/ 723191 w 964857"/>
                <a:gd name="connsiteY356" fmla="*/ 319207 h 636862"/>
                <a:gd name="connsiteX357" fmla="*/ 722932 w 964857"/>
                <a:gd name="connsiteY357" fmla="*/ 317785 h 636862"/>
                <a:gd name="connsiteX358" fmla="*/ 723062 w 964857"/>
                <a:gd name="connsiteY358" fmla="*/ 317010 h 636862"/>
                <a:gd name="connsiteX359" fmla="*/ 723320 w 964857"/>
                <a:gd name="connsiteY359" fmla="*/ 316364 h 636862"/>
                <a:gd name="connsiteX360" fmla="*/ 723708 w 964857"/>
                <a:gd name="connsiteY360" fmla="*/ 315976 h 636862"/>
                <a:gd name="connsiteX361" fmla="*/ 724742 w 964857"/>
                <a:gd name="connsiteY361" fmla="*/ 315330 h 636862"/>
                <a:gd name="connsiteX362" fmla="*/ 725259 w 964857"/>
                <a:gd name="connsiteY362" fmla="*/ 314813 h 636862"/>
                <a:gd name="connsiteX363" fmla="*/ 725776 w 964857"/>
                <a:gd name="connsiteY363" fmla="*/ 314296 h 636862"/>
                <a:gd name="connsiteX364" fmla="*/ 726293 w 964857"/>
                <a:gd name="connsiteY364" fmla="*/ 313391 h 636862"/>
                <a:gd name="connsiteX365" fmla="*/ 726034 w 964857"/>
                <a:gd name="connsiteY365" fmla="*/ 313133 h 636862"/>
                <a:gd name="connsiteX366" fmla="*/ 725517 w 964857"/>
                <a:gd name="connsiteY366" fmla="*/ 313004 h 636862"/>
                <a:gd name="connsiteX367" fmla="*/ 723966 w 964857"/>
                <a:gd name="connsiteY367" fmla="*/ 313004 h 636862"/>
                <a:gd name="connsiteX368" fmla="*/ 722416 w 964857"/>
                <a:gd name="connsiteY368" fmla="*/ 312874 h 636862"/>
                <a:gd name="connsiteX369" fmla="*/ 719831 w 964857"/>
                <a:gd name="connsiteY369" fmla="*/ 312099 h 636862"/>
                <a:gd name="connsiteX370" fmla="*/ 718926 w 964857"/>
                <a:gd name="connsiteY370" fmla="*/ 311711 h 636862"/>
                <a:gd name="connsiteX371" fmla="*/ 714403 w 964857"/>
                <a:gd name="connsiteY371" fmla="*/ 308739 h 636862"/>
                <a:gd name="connsiteX372" fmla="*/ 712335 w 964857"/>
                <a:gd name="connsiteY372" fmla="*/ 307834 h 636862"/>
                <a:gd name="connsiteX373" fmla="*/ 710138 w 964857"/>
                <a:gd name="connsiteY373" fmla="*/ 307317 h 636862"/>
                <a:gd name="connsiteX374" fmla="*/ 709492 w 964857"/>
                <a:gd name="connsiteY374" fmla="*/ 306930 h 636862"/>
                <a:gd name="connsiteX375" fmla="*/ 709105 w 964857"/>
                <a:gd name="connsiteY375" fmla="*/ 306413 h 636862"/>
                <a:gd name="connsiteX376" fmla="*/ 708975 w 964857"/>
                <a:gd name="connsiteY376" fmla="*/ 305767 h 636862"/>
                <a:gd name="connsiteX377" fmla="*/ 708975 w 964857"/>
                <a:gd name="connsiteY377" fmla="*/ 304086 h 636862"/>
                <a:gd name="connsiteX378" fmla="*/ 708717 w 964857"/>
                <a:gd name="connsiteY378" fmla="*/ 303053 h 636862"/>
                <a:gd name="connsiteX379" fmla="*/ 708200 w 964857"/>
                <a:gd name="connsiteY379" fmla="*/ 302536 h 636862"/>
                <a:gd name="connsiteX380" fmla="*/ 707554 w 964857"/>
                <a:gd name="connsiteY380" fmla="*/ 302148 h 636862"/>
                <a:gd name="connsiteX381" fmla="*/ 703935 w 964857"/>
                <a:gd name="connsiteY381" fmla="*/ 301502 h 636862"/>
                <a:gd name="connsiteX382" fmla="*/ 698637 w 964857"/>
                <a:gd name="connsiteY382" fmla="*/ 299434 h 636862"/>
                <a:gd name="connsiteX383" fmla="*/ 697473 w 964857"/>
                <a:gd name="connsiteY383" fmla="*/ 298659 h 636862"/>
                <a:gd name="connsiteX384" fmla="*/ 696827 w 964857"/>
                <a:gd name="connsiteY384" fmla="*/ 297883 h 636862"/>
                <a:gd name="connsiteX385" fmla="*/ 696698 w 964857"/>
                <a:gd name="connsiteY385" fmla="*/ 297237 h 636862"/>
                <a:gd name="connsiteX386" fmla="*/ 696957 w 964857"/>
                <a:gd name="connsiteY386" fmla="*/ 295040 h 636862"/>
                <a:gd name="connsiteX387" fmla="*/ 696827 w 964857"/>
                <a:gd name="connsiteY387" fmla="*/ 294265 h 636862"/>
                <a:gd name="connsiteX388" fmla="*/ 696440 w 964857"/>
                <a:gd name="connsiteY388" fmla="*/ 293360 h 636862"/>
                <a:gd name="connsiteX389" fmla="*/ 692692 w 964857"/>
                <a:gd name="connsiteY389" fmla="*/ 289225 h 636862"/>
                <a:gd name="connsiteX390" fmla="*/ 692304 w 964857"/>
                <a:gd name="connsiteY390" fmla="*/ 288708 h 636862"/>
                <a:gd name="connsiteX391" fmla="*/ 692175 w 964857"/>
                <a:gd name="connsiteY391" fmla="*/ 288449 h 636862"/>
                <a:gd name="connsiteX392" fmla="*/ 691916 w 964857"/>
                <a:gd name="connsiteY392" fmla="*/ 287415 h 636862"/>
                <a:gd name="connsiteX393" fmla="*/ 692433 w 964857"/>
                <a:gd name="connsiteY393" fmla="*/ 284572 h 636862"/>
                <a:gd name="connsiteX394" fmla="*/ 696310 w 964857"/>
                <a:gd name="connsiteY394" fmla="*/ 275655 h 636862"/>
                <a:gd name="connsiteX395" fmla="*/ 698378 w 964857"/>
                <a:gd name="connsiteY395" fmla="*/ 272683 h 636862"/>
                <a:gd name="connsiteX396" fmla="*/ 699800 w 964857"/>
                <a:gd name="connsiteY396" fmla="*/ 271261 h 636862"/>
                <a:gd name="connsiteX397" fmla="*/ 702514 w 964857"/>
                <a:gd name="connsiteY397" fmla="*/ 268935 h 636862"/>
                <a:gd name="connsiteX398" fmla="*/ 703031 w 964857"/>
                <a:gd name="connsiteY398" fmla="*/ 268030 h 636862"/>
                <a:gd name="connsiteX399" fmla="*/ 703160 w 964857"/>
                <a:gd name="connsiteY399" fmla="*/ 267255 h 636862"/>
                <a:gd name="connsiteX400" fmla="*/ 700575 w 964857"/>
                <a:gd name="connsiteY400" fmla="*/ 263507 h 636862"/>
                <a:gd name="connsiteX401" fmla="*/ 700187 w 964857"/>
                <a:gd name="connsiteY401" fmla="*/ 263119 h 636862"/>
                <a:gd name="connsiteX402" fmla="*/ 699670 w 964857"/>
                <a:gd name="connsiteY402" fmla="*/ 262861 h 636862"/>
                <a:gd name="connsiteX403" fmla="*/ 699024 w 964857"/>
                <a:gd name="connsiteY403" fmla="*/ 262732 h 636862"/>
                <a:gd name="connsiteX404" fmla="*/ 695406 w 964857"/>
                <a:gd name="connsiteY404" fmla="*/ 262473 h 636862"/>
                <a:gd name="connsiteX405" fmla="*/ 694760 w 964857"/>
                <a:gd name="connsiteY405" fmla="*/ 262344 h 636862"/>
                <a:gd name="connsiteX406" fmla="*/ 694113 w 964857"/>
                <a:gd name="connsiteY406" fmla="*/ 261956 h 636862"/>
                <a:gd name="connsiteX407" fmla="*/ 693467 w 964857"/>
                <a:gd name="connsiteY407" fmla="*/ 261439 h 636862"/>
                <a:gd name="connsiteX408" fmla="*/ 692821 w 964857"/>
                <a:gd name="connsiteY408" fmla="*/ 260405 h 636862"/>
                <a:gd name="connsiteX409" fmla="*/ 692692 w 964857"/>
                <a:gd name="connsiteY409" fmla="*/ 259630 h 636862"/>
                <a:gd name="connsiteX410" fmla="*/ 692950 w 964857"/>
                <a:gd name="connsiteY410" fmla="*/ 259113 h 636862"/>
                <a:gd name="connsiteX411" fmla="*/ 693467 w 964857"/>
                <a:gd name="connsiteY411" fmla="*/ 258855 h 636862"/>
                <a:gd name="connsiteX412" fmla="*/ 695535 w 964857"/>
                <a:gd name="connsiteY412" fmla="*/ 258596 h 636862"/>
                <a:gd name="connsiteX413" fmla="*/ 696181 w 964857"/>
                <a:gd name="connsiteY413" fmla="*/ 258338 h 636862"/>
                <a:gd name="connsiteX414" fmla="*/ 696698 w 964857"/>
                <a:gd name="connsiteY414" fmla="*/ 257821 h 636862"/>
                <a:gd name="connsiteX415" fmla="*/ 696698 w 964857"/>
                <a:gd name="connsiteY415" fmla="*/ 257304 h 636862"/>
                <a:gd name="connsiteX416" fmla="*/ 696310 w 964857"/>
                <a:gd name="connsiteY416" fmla="*/ 256787 h 636862"/>
                <a:gd name="connsiteX417" fmla="*/ 695794 w 964857"/>
                <a:gd name="connsiteY417" fmla="*/ 256270 h 636862"/>
                <a:gd name="connsiteX418" fmla="*/ 695406 w 964857"/>
                <a:gd name="connsiteY418" fmla="*/ 255365 h 636862"/>
                <a:gd name="connsiteX419" fmla="*/ 695535 w 964857"/>
                <a:gd name="connsiteY419" fmla="*/ 254719 h 636862"/>
                <a:gd name="connsiteX420" fmla="*/ 695794 w 964857"/>
                <a:gd name="connsiteY420" fmla="*/ 254202 h 636862"/>
                <a:gd name="connsiteX421" fmla="*/ 696569 w 964857"/>
                <a:gd name="connsiteY421" fmla="*/ 253298 h 636862"/>
                <a:gd name="connsiteX422" fmla="*/ 696957 w 964857"/>
                <a:gd name="connsiteY422" fmla="*/ 252910 h 636862"/>
                <a:gd name="connsiteX423" fmla="*/ 697473 w 964857"/>
                <a:gd name="connsiteY423" fmla="*/ 252652 h 636862"/>
                <a:gd name="connsiteX424" fmla="*/ 698120 w 964857"/>
                <a:gd name="connsiteY424" fmla="*/ 252522 h 636862"/>
                <a:gd name="connsiteX425" fmla="*/ 698766 w 964857"/>
                <a:gd name="connsiteY425" fmla="*/ 252652 h 636862"/>
                <a:gd name="connsiteX426" fmla="*/ 699541 w 964857"/>
                <a:gd name="connsiteY426" fmla="*/ 252652 h 636862"/>
                <a:gd name="connsiteX427" fmla="*/ 700317 w 964857"/>
                <a:gd name="connsiteY427" fmla="*/ 252393 h 636862"/>
                <a:gd name="connsiteX428" fmla="*/ 701092 w 964857"/>
                <a:gd name="connsiteY428" fmla="*/ 251488 h 636862"/>
                <a:gd name="connsiteX429" fmla="*/ 701221 w 964857"/>
                <a:gd name="connsiteY429" fmla="*/ 250842 h 636862"/>
                <a:gd name="connsiteX430" fmla="*/ 701092 w 964857"/>
                <a:gd name="connsiteY430" fmla="*/ 250196 h 636862"/>
                <a:gd name="connsiteX431" fmla="*/ 699283 w 964857"/>
                <a:gd name="connsiteY431" fmla="*/ 247353 h 636862"/>
                <a:gd name="connsiteX432" fmla="*/ 696569 w 964857"/>
                <a:gd name="connsiteY432" fmla="*/ 240891 h 636862"/>
                <a:gd name="connsiteX433" fmla="*/ 696310 w 964857"/>
                <a:gd name="connsiteY433" fmla="*/ 239728 h 636862"/>
                <a:gd name="connsiteX434" fmla="*/ 696569 w 964857"/>
                <a:gd name="connsiteY434" fmla="*/ 239082 h 636862"/>
                <a:gd name="connsiteX435" fmla="*/ 697732 w 964857"/>
                <a:gd name="connsiteY435" fmla="*/ 238177 h 636862"/>
                <a:gd name="connsiteX436" fmla="*/ 698249 w 964857"/>
                <a:gd name="connsiteY436" fmla="*/ 237273 h 636862"/>
                <a:gd name="connsiteX437" fmla="*/ 698378 w 964857"/>
                <a:gd name="connsiteY437" fmla="*/ 236627 h 636862"/>
                <a:gd name="connsiteX438" fmla="*/ 698249 w 964857"/>
                <a:gd name="connsiteY438" fmla="*/ 235980 h 636862"/>
                <a:gd name="connsiteX439" fmla="*/ 697861 w 964857"/>
                <a:gd name="connsiteY439" fmla="*/ 235593 h 636862"/>
                <a:gd name="connsiteX440" fmla="*/ 697473 w 964857"/>
                <a:gd name="connsiteY440" fmla="*/ 235334 h 636862"/>
                <a:gd name="connsiteX441" fmla="*/ 697086 w 964857"/>
                <a:gd name="connsiteY441" fmla="*/ 235205 h 636862"/>
                <a:gd name="connsiteX442" fmla="*/ 696569 w 964857"/>
                <a:gd name="connsiteY442" fmla="*/ 234817 h 636862"/>
                <a:gd name="connsiteX443" fmla="*/ 696052 w 964857"/>
                <a:gd name="connsiteY443" fmla="*/ 234171 h 636862"/>
                <a:gd name="connsiteX444" fmla="*/ 695535 w 964857"/>
                <a:gd name="connsiteY444" fmla="*/ 232620 h 636862"/>
                <a:gd name="connsiteX445" fmla="*/ 695535 w 964857"/>
                <a:gd name="connsiteY445" fmla="*/ 231586 h 636862"/>
                <a:gd name="connsiteX446" fmla="*/ 695664 w 964857"/>
                <a:gd name="connsiteY446" fmla="*/ 230811 h 636862"/>
                <a:gd name="connsiteX447" fmla="*/ 695923 w 964857"/>
                <a:gd name="connsiteY447" fmla="*/ 230294 h 636862"/>
                <a:gd name="connsiteX448" fmla="*/ 696310 w 964857"/>
                <a:gd name="connsiteY448" fmla="*/ 229777 h 636862"/>
                <a:gd name="connsiteX449" fmla="*/ 697215 w 964857"/>
                <a:gd name="connsiteY449" fmla="*/ 229002 h 636862"/>
                <a:gd name="connsiteX450" fmla="*/ 699024 w 964857"/>
                <a:gd name="connsiteY450" fmla="*/ 227709 h 636862"/>
                <a:gd name="connsiteX451" fmla="*/ 699412 w 964857"/>
                <a:gd name="connsiteY451" fmla="*/ 227322 h 636862"/>
                <a:gd name="connsiteX452" fmla="*/ 699929 w 964857"/>
                <a:gd name="connsiteY452" fmla="*/ 226029 h 636862"/>
                <a:gd name="connsiteX453" fmla="*/ 701867 w 964857"/>
                <a:gd name="connsiteY453" fmla="*/ 216983 h 636862"/>
                <a:gd name="connsiteX454" fmla="*/ 702384 w 964857"/>
                <a:gd name="connsiteY454" fmla="*/ 215820 h 636862"/>
                <a:gd name="connsiteX455" fmla="*/ 702901 w 964857"/>
                <a:gd name="connsiteY455" fmla="*/ 215691 h 636862"/>
                <a:gd name="connsiteX456" fmla="*/ 705486 w 964857"/>
                <a:gd name="connsiteY456" fmla="*/ 216208 h 636862"/>
                <a:gd name="connsiteX457" fmla="*/ 706132 w 964857"/>
                <a:gd name="connsiteY457" fmla="*/ 216208 h 636862"/>
                <a:gd name="connsiteX458" fmla="*/ 706649 w 964857"/>
                <a:gd name="connsiteY458" fmla="*/ 215820 h 636862"/>
                <a:gd name="connsiteX459" fmla="*/ 707037 w 964857"/>
                <a:gd name="connsiteY459" fmla="*/ 215045 h 636862"/>
                <a:gd name="connsiteX460" fmla="*/ 709105 w 964857"/>
                <a:gd name="connsiteY460" fmla="*/ 209746 h 636862"/>
                <a:gd name="connsiteX461" fmla="*/ 709363 w 964857"/>
                <a:gd name="connsiteY461" fmla="*/ 209229 h 636862"/>
                <a:gd name="connsiteX462" fmla="*/ 709751 w 964857"/>
                <a:gd name="connsiteY462" fmla="*/ 208712 h 636862"/>
                <a:gd name="connsiteX463" fmla="*/ 710138 w 964857"/>
                <a:gd name="connsiteY463" fmla="*/ 208324 h 636862"/>
                <a:gd name="connsiteX464" fmla="*/ 711043 w 964857"/>
                <a:gd name="connsiteY464" fmla="*/ 207549 h 636862"/>
                <a:gd name="connsiteX465" fmla="*/ 711560 w 964857"/>
                <a:gd name="connsiteY465" fmla="*/ 207032 h 636862"/>
                <a:gd name="connsiteX466" fmla="*/ 711689 w 964857"/>
                <a:gd name="connsiteY466" fmla="*/ 206644 h 636862"/>
                <a:gd name="connsiteX467" fmla="*/ 711301 w 964857"/>
                <a:gd name="connsiteY467" fmla="*/ 205998 h 636862"/>
                <a:gd name="connsiteX468" fmla="*/ 711301 w 964857"/>
                <a:gd name="connsiteY468" fmla="*/ 202897 h 636862"/>
                <a:gd name="connsiteX469" fmla="*/ 711689 w 964857"/>
                <a:gd name="connsiteY469" fmla="*/ 201475 h 636862"/>
                <a:gd name="connsiteX470" fmla="*/ 712335 w 964857"/>
                <a:gd name="connsiteY470" fmla="*/ 200441 h 636862"/>
                <a:gd name="connsiteX471" fmla="*/ 712723 w 964857"/>
                <a:gd name="connsiteY471" fmla="*/ 199924 h 636862"/>
                <a:gd name="connsiteX472" fmla="*/ 713111 w 964857"/>
                <a:gd name="connsiteY472" fmla="*/ 199537 h 636862"/>
                <a:gd name="connsiteX473" fmla="*/ 714145 w 964857"/>
                <a:gd name="connsiteY473" fmla="*/ 198632 h 636862"/>
                <a:gd name="connsiteX474" fmla="*/ 714532 w 964857"/>
                <a:gd name="connsiteY474" fmla="*/ 198115 h 636862"/>
                <a:gd name="connsiteX475" fmla="*/ 714403 w 964857"/>
                <a:gd name="connsiteY475" fmla="*/ 197727 h 636862"/>
                <a:gd name="connsiteX476" fmla="*/ 714145 w 964857"/>
                <a:gd name="connsiteY476" fmla="*/ 197340 h 636862"/>
                <a:gd name="connsiteX477" fmla="*/ 713757 w 964857"/>
                <a:gd name="connsiteY477" fmla="*/ 196693 h 636862"/>
                <a:gd name="connsiteX478" fmla="*/ 713498 w 964857"/>
                <a:gd name="connsiteY478" fmla="*/ 195660 h 636862"/>
                <a:gd name="connsiteX479" fmla="*/ 712852 w 964857"/>
                <a:gd name="connsiteY479" fmla="*/ 190619 h 636862"/>
                <a:gd name="connsiteX480" fmla="*/ 712594 w 964857"/>
                <a:gd name="connsiteY480" fmla="*/ 190102 h 636862"/>
                <a:gd name="connsiteX481" fmla="*/ 712206 w 964857"/>
                <a:gd name="connsiteY481" fmla="*/ 189586 h 636862"/>
                <a:gd name="connsiteX482" fmla="*/ 711818 w 964857"/>
                <a:gd name="connsiteY482" fmla="*/ 189069 h 636862"/>
                <a:gd name="connsiteX483" fmla="*/ 711172 w 964857"/>
                <a:gd name="connsiteY483" fmla="*/ 188552 h 636862"/>
                <a:gd name="connsiteX484" fmla="*/ 710526 w 964857"/>
                <a:gd name="connsiteY484" fmla="*/ 188164 h 636862"/>
                <a:gd name="connsiteX485" fmla="*/ 709880 w 964857"/>
                <a:gd name="connsiteY485" fmla="*/ 187905 h 636862"/>
                <a:gd name="connsiteX486" fmla="*/ 708587 w 964857"/>
                <a:gd name="connsiteY486" fmla="*/ 187518 h 636862"/>
                <a:gd name="connsiteX487" fmla="*/ 707166 w 964857"/>
                <a:gd name="connsiteY487" fmla="*/ 187259 h 636862"/>
                <a:gd name="connsiteX488" fmla="*/ 706391 w 964857"/>
                <a:gd name="connsiteY488" fmla="*/ 187259 h 636862"/>
                <a:gd name="connsiteX489" fmla="*/ 705744 w 964857"/>
                <a:gd name="connsiteY489" fmla="*/ 187259 h 636862"/>
                <a:gd name="connsiteX490" fmla="*/ 705227 w 964857"/>
                <a:gd name="connsiteY490" fmla="*/ 187389 h 636862"/>
                <a:gd name="connsiteX491" fmla="*/ 704452 w 964857"/>
                <a:gd name="connsiteY491" fmla="*/ 187647 h 636862"/>
                <a:gd name="connsiteX492" fmla="*/ 703935 w 964857"/>
                <a:gd name="connsiteY492" fmla="*/ 187776 h 636862"/>
                <a:gd name="connsiteX493" fmla="*/ 703289 w 964857"/>
                <a:gd name="connsiteY493" fmla="*/ 187776 h 636862"/>
                <a:gd name="connsiteX494" fmla="*/ 702384 w 964857"/>
                <a:gd name="connsiteY494" fmla="*/ 187259 h 636862"/>
                <a:gd name="connsiteX495" fmla="*/ 702126 w 964857"/>
                <a:gd name="connsiteY495" fmla="*/ 186613 h 636862"/>
                <a:gd name="connsiteX496" fmla="*/ 701867 w 964857"/>
                <a:gd name="connsiteY496" fmla="*/ 185708 h 636862"/>
                <a:gd name="connsiteX497" fmla="*/ 701480 w 964857"/>
                <a:gd name="connsiteY497" fmla="*/ 185192 h 636862"/>
                <a:gd name="connsiteX498" fmla="*/ 700834 w 964857"/>
                <a:gd name="connsiteY498" fmla="*/ 184933 h 636862"/>
                <a:gd name="connsiteX499" fmla="*/ 699283 w 964857"/>
                <a:gd name="connsiteY499" fmla="*/ 184416 h 636862"/>
                <a:gd name="connsiteX500" fmla="*/ 698507 w 964857"/>
                <a:gd name="connsiteY500" fmla="*/ 183770 h 636862"/>
                <a:gd name="connsiteX501" fmla="*/ 698249 w 964857"/>
                <a:gd name="connsiteY501" fmla="*/ 182995 h 636862"/>
                <a:gd name="connsiteX502" fmla="*/ 697990 w 964857"/>
                <a:gd name="connsiteY502" fmla="*/ 180927 h 636862"/>
                <a:gd name="connsiteX503" fmla="*/ 697603 w 964857"/>
                <a:gd name="connsiteY503" fmla="*/ 180539 h 636862"/>
                <a:gd name="connsiteX504" fmla="*/ 697086 w 964857"/>
                <a:gd name="connsiteY504" fmla="*/ 180539 h 636862"/>
                <a:gd name="connsiteX505" fmla="*/ 696569 w 964857"/>
                <a:gd name="connsiteY505" fmla="*/ 180798 h 636862"/>
                <a:gd name="connsiteX506" fmla="*/ 695664 w 964857"/>
                <a:gd name="connsiteY506" fmla="*/ 181573 h 636862"/>
                <a:gd name="connsiteX507" fmla="*/ 695276 w 964857"/>
                <a:gd name="connsiteY507" fmla="*/ 181961 h 636862"/>
                <a:gd name="connsiteX508" fmla="*/ 694243 w 964857"/>
                <a:gd name="connsiteY508" fmla="*/ 183253 h 636862"/>
                <a:gd name="connsiteX509" fmla="*/ 693726 w 964857"/>
                <a:gd name="connsiteY509" fmla="*/ 183512 h 636862"/>
                <a:gd name="connsiteX510" fmla="*/ 693209 w 964857"/>
                <a:gd name="connsiteY510" fmla="*/ 183641 h 636862"/>
                <a:gd name="connsiteX511" fmla="*/ 692692 w 964857"/>
                <a:gd name="connsiteY511" fmla="*/ 183512 h 636862"/>
                <a:gd name="connsiteX512" fmla="*/ 692175 w 964857"/>
                <a:gd name="connsiteY512" fmla="*/ 183253 h 636862"/>
                <a:gd name="connsiteX513" fmla="*/ 690236 w 964857"/>
                <a:gd name="connsiteY513" fmla="*/ 181831 h 636862"/>
                <a:gd name="connsiteX514" fmla="*/ 687393 w 964857"/>
                <a:gd name="connsiteY514" fmla="*/ 180281 h 636862"/>
                <a:gd name="connsiteX515" fmla="*/ 685196 w 964857"/>
                <a:gd name="connsiteY515" fmla="*/ 179505 h 636862"/>
                <a:gd name="connsiteX516" fmla="*/ 684679 w 964857"/>
                <a:gd name="connsiteY516" fmla="*/ 179376 h 636862"/>
                <a:gd name="connsiteX517" fmla="*/ 684033 w 964857"/>
                <a:gd name="connsiteY517" fmla="*/ 179376 h 636862"/>
                <a:gd name="connsiteX518" fmla="*/ 682741 w 964857"/>
                <a:gd name="connsiteY518" fmla="*/ 179505 h 636862"/>
                <a:gd name="connsiteX519" fmla="*/ 679898 w 964857"/>
                <a:gd name="connsiteY519" fmla="*/ 179376 h 636862"/>
                <a:gd name="connsiteX520" fmla="*/ 679252 w 964857"/>
                <a:gd name="connsiteY520" fmla="*/ 179505 h 636862"/>
                <a:gd name="connsiteX521" fmla="*/ 678864 w 964857"/>
                <a:gd name="connsiteY521" fmla="*/ 179893 h 636862"/>
                <a:gd name="connsiteX522" fmla="*/ 678476 w 964857"/>
                <a:gd name="connsiteY522" fmla="*/ 180410 h 636862"/>
                <a:gd name="connsiteX523" fmla="*/ 677830 w 964857"/>
                <a:gd name="connsiteY523" fmla="*/ 181444 h 636862"/>
                <a:gd name="connsiteX524" fmla="*/ 677442 w 964857"/>
                <a:gd name="connsiteY524" fmla="*/ 181831 h 636862"/>
                <a:gd name="connsiteX525" fmla="*/ 677054 w 964857"/>
                <a:gd name="connsiteY525" fmla="*/ 182219 h 636862"/>
                <a:gd name="connsiteX526" fmla="*/ 676538 w 964857"/>
                <a:gd name="connsiteY526" fmla="*/ 182478 h 636862"/>
                <a:gd name="connsiteX527" fmla="*/ 675891 w 964857"/>
                <a:gd name="connsiteY527" fmla="*/ 182607 h 636862"/>
                <a:gd name="connsiteX528" fmla="*/ 674599 w 964857"/>
                <a:gd name="connsiteY528" fmla="*/ 182607 h 636862"/>
                <a:gd name="connsiteX529" fmla="*/ 674082 w 964857"/>
                <a:gd name="connsiteY529" fmla="*/ 182865 h 636862"/>
                <a:gd name="connsiteX530" fmla="*/ 673565 w 964857"/>
                <a:gd name="connsiteY530" fmla="*/ 183124 h 636862"/>
                <a:gd name="connsiteX531" fmla="*/ 672790 w 964857"/>
                <a:gd name="connsiteY531" fmla="*/ 183899 h 636862"/>
                <a:gd name="connsiteX532" fmla="*/ 672402 w 964857"/>
                <a:gd name="connsiteY532" fmla="*/ 184287 h 636862"/>
                <a:gd name="connsiteX533" fmla="*/ 671885 w 964857"/>
                <a:gd name="connsiteY533" fmla="*/ 184545 h 636862"/>
                <a:gd name="connsiteX534" fmla="*/ 671239 w 964857"/>
                <a:gd name="connsiteY534" fmla="*/ 184675 h 636862"/>
                <a:gd name="connsiteX535" fmla="*/ 662451 w 964857"/>
                <a:gd name="connsiteY535" fmla="*/ 185321 h 636862"/>
                <a:gd name="connsiteX536" fmla="*/ 660900 w 964857"/>
                <a:gd name="connsiteY536" fmla="*/ 185062 h 636862"/>
                <a:gd name="connsiteX537" fmla="*/ 660125 w 964857"/>
                <a:gd name="connsiteY537" fmla="*/ 184675 h 636862"/>
                <a:gd name="connsiteX538" fmla="*/ 659737 w 964857"/>
                <a:gd name="connsiteY538" fmla="*/ 184158 h 636862"/>
                <a:gd name="connsiteX539" fmla="*/ 659737 w 964857"/>
                <a:gd name="connsiteY539" fmla="*/ 183512 h 636862"/>
                <a:gd name="connsiteX540" fmla="*/ 659867 w 964857"/>
                <a:gd name="connsiteY540" fmla="*/ 183124 h 636862"/>
                <a:gd name="connsiteX541" fmla="*/ 660771 w 964857"/>
                <a:gd name="connsiteY541" fmla="*/ 180410 h 636862"/>
                <a:gd name="connsiteX542" fmla="*/ 660771 w 964857"/>
                <a:gd name="connsiteY542" fmla="*/ 179764 h 636862"/>
                <a:gd name="connsiteX543" fmla="*/ 660771 w 964857"/>
                <a:gd name="connsiteY543" fmla="*/ 179118 h 636862"/>
                <a:gd name="connsiteX544" fmla="*/ 660642 w 964857"/>
                <a:gd name="connsiteY544" fmla="*/ 178471 h 636862"/>
                <a:gd name="connsiteX545" fmla="*/ 660513 w 964857"/>
                <a:gd name="connsiteY545" fmla="*/ 177955 h 636862"/>
                <a:gd name="connsiteX546" fmla="*/ 658445 w 964857"/>
                <a:gd name="connsiteY546" fmla="*/ 174465 h 636862"/>
                <a:gd name="connsiteX547" fmla="*/ 658057 w 964857"/>
                <a:gd name="connsiteY547" fmla="*/ 173302 h 636862"/>
                <a:gd name="connsiteX548" fmla="*/ 657411 w 964857"/>
                <a:gd name="connsiteY548" fmla="*/ 170976 h 636862"/>
                <a:gd name="connsiteX549" fmla="*/ 656894 w 964857"/>
                <a:gd name="connsiteY549" fmla="*/ 169813 h 636862"/>
                <a:gd name="connsiteX550" fmla="*/ 655085 w 964857"/>
                <a:gd name="connsiteY550" fmla="*/ 164902 h 636862"/>
                <a:gd name="connsiteX551" fmla="*/ 654439 w 964857"/>
                <a:gd name="connsiteY551" fmla="*/ 161800 h 636862"/>
                <a:gd name="connsiteX552" fmla="*/ 654051 w 964857"/>
                <a:gd name="connsiteY552" fmla="*/ 161025 h 636862"/>
                <a:gd name="connsiteX553" fmla="*/ 653405 w 964857"/>
                <a:gd name="connsiteY553" fmla="*/ 160637 h 636862"/>
                <a:gd name="connsiteX554" fmla="*/ 652629 w 964857"/>
                <a:gd name="connsiteY554" fmla="*/ 160249 h 636862"/>
                <a:gd name="connsiteX555" fmla="*/ 651725 w 964857"/>
                <a:gd name="connsiteY555" fmla="*/ 159603 h 636862"/>
                <a:gd name="connsiteX556" fmla="*/ 646685 w 964857"/>
                <a:gd name="connsiteY556" fmla="*/ 153529 h 636862"/>
                <a:gd name="connsiteX557" fmla="*/ 646168 w 964857"/>
                <a:gd name="connsiteY557" fmla="*/ 152625 h 636862"/>
                <a:gd name="connsiteX558" fmla="*/ 645909 w 964857"/>
                <a:gd name="connsiteY558" fmla="*/ 151720 h 636862"/>
                <a:gd name="connsiteX559" fmla="*/ 646039 w 964857"/>
                <a:gd name="connsiteY559" fmla="*/ 148489 h 636862"/>
                <a:gd name="connsiteX560" fmla="*/ 645909 w 964857"/>
                <a:gd name="connsiteY560" fmla="*/ 147585 h 636862"/>
                <a:gd name="connsiteX561" fmla="*/ 643842 w 964857"/>
                <a:gd name="connsiteY561" fmla="*/ 140477 h 636862"/>
                <a:gd name="connsiteX562" fmla="*/ 643712 w 964857"/>
                <a:gd name="connsiteY562" fmla="*/ 139055 h 636862"/>
                <a:gd name="connsiteX563" fmla="*/ 643712 w 964857"/>
                <a:gd name="connsiteY563" fmla="*/ 138538 h 636862"/>
                <a:gd name="connsiteX564" fmla="*/ 643712 w 964857"/>
                <a:gd name="connsiteY564" fmla="*/ 138538 h 636862"/>
                <a:gd name="connsiteX565" fmla="*/ 643842 w 964857"/>
                <a:gd name="connsiteY565" fmla="*/ 138151 h 636862"/>
                <a:gd name="connsiteX566" fmla="*/ 644358 w 964857"/>
                <a:gd name="connsiteY566" fmla="*/ 137117 h 636862"/>
                <a:gd name="connsiteX567" fmla="*/ 644488 w 964857"/>
                <a:gd name="connsiteY567" fmla="*/ 136341 h 636862"/>
                <a:gd name="connsiteX568" fmla="*/ 644229 w 964857"/>
                <a:gd name="connsiteY568" fmla="*/ 135824 h 636862"/>
                <a:gd name="connsiteX569" fmla="*/ 643066 w 964857"/>
                <a:gd name="connsiteY569" fmla="*/ 134790 h 636862"/>
                <a:gd name="connsiteX570" fmla="*/ 642291 w 964857"/>
                <a:gd name="connsiteY570" fmla="*/ 133886 h 636862"/>
                <a:gd name="connsiteX571" fmla="*/ 640998 w 964857"/>
                <a:gd name="connsiteY571" fmla="*/ 131818 h 636862"/>
                <a:gd name="connsiteX572" fmla="*/ 640223 w 964857"/>
                <a:gd name="connsiteY572" fmla="*/ 130914 h 636862"/>
                <a:gd name="connsiteX573" fmla="*/ 639448 w 964857"/>
                <a:gd name="connsiteY573" fmla="*/ 130526 h 636862"/>
                <a:gd name="connsiteX574" fmla="*/ 638801 w 964857"/>
                <a:gd name="connsiteY574" fmla="*/ 130526 h 636862"/>
                <a:gd name="connsiteX575" fmla="*/ 638026 w 964857"/>
                <a:gd name="connsiteY575" fmla="*/ 130397 h 636862"/>
                <a:gd name="connsiteX576" fmla="*/ 637380 w 964857"/>
                <a:gd name="connsiteY576" fmla="*/ 129880 h 636862"/>
                <a:gd name="connsiteX577" fmla="*/ 636475 w 964857"/>
                <a:gd name="connsiteY577" fmla="*/ 128846 h 636862"/>
                <a:gd name="connsiteX578" fmla="*/ 636217 w 964857"/>
                <a:gd name="connsiteY578" fmla="*/ 128070 h 636862"/>
                <a:gd name="connsiteX579" fmla="*/ 636087 w 964857"/>
                <a:gd name="connsiteY579" fmla="*/ 127295 h 636862"/>
                <a:gd name="connsiteX580" fmla="*/ 636605 w 964857"/>
                <a:gd name="connsiteY580" fmla="*/ 124969 h 636862"/>
                <a:gd name="connsiteX581" fmla="*/ 637638 w 964857"/>
                <a:gd name="connsiteY581" fmla="*/ 116698 h 636862"/>
                <a:gd name="connsiteX582" fmla="*/ 638414 w 964857"/>
                <a:gd name="connsiteY582" fmla="*/ 114501 h 636862"/>
                <a:gd name="connsiteX583" fmla="*/ 639835 w 964857"/>
                <a:gd name="connsiteY583" fmla="*/ 113596 h 636862"/>
                <a:gd name="connsiteX584" fmla="*/ 640482 w 964857"/>
                <a:gd name="connsiteY584" fmla="*/ 113079 h 636862"/>
                <a:gd name="connsiteX585" fmla="*/ 641128 w 964857"/>
                <a:gd name="connsiteY585" fmla="*/ 112175 h 636862"/>
                <a:gd name="connsiteX586" fmla="*/ 642161 w 964857"/>
                <a:gd name="connsiteY586" fmla="*/ 110365 h 636862"/>
                <a:gd name="connsiteX587" fmla="*/ 642679 w 964857"/>
                <a:gd name="connsiteY587" fmla="*/ 108944 h 636862"/>
                <a:gd name="connsiteX588" fmla="*/ 642937 w 964857"/>
                <a:gd name="connsiteY588" fmla="*/ 107652 h 636862"/>
                <a:gd name="connsiteX589" fmla="*/ 643195 w 964857"/>
                <a:gd name="connsiteY589" fmla="*/ 105067 h 636862"/>
                <a:gd name="connsiteX590" fmla="*/ 643583 w 964857"/>
                <a:gd name="connsiteY590" fmla="*/ 104421 h 636862"/>
                <a:gd name="connsiteX591" fmla="*/ 644229 w 964857"/>
                <a:gd name="connsiteY591" fmla="*/ 104162 h 636862"/>
                <a:gd name="connsiteX592" fmla="*/ 645522 w 964857"/>
                <a:gd name="connsiteY592" fmla="*/ 104033 h 636862"/>
                <a:gd name="connsiteX593" fmla="*/ 646168 w 964857"/>
                <a:gd name="connsiteY593" fmla="*/ 103645 h 636862"/>
                <a:gd name="connsiteX594" fmla="*/ 646814 w 964857"/>
                <a:gd name="connsiteY594" fmla="*/ 102999 h 636862"/>
                <a:gd name="connsiteX595" fmla="*/ 647719 w 964857"/>
                <a:gd name="connsiteY595" fmla="*/ 101707 h 636862"/>
                <a:gd name="connsiteX596" fmla="*/ 648106 w 964857"/>
                <a:gd name="connsiteY596" fmla="*/ 100673 h 636862"/>
                <a:gd name="connsiteX597" fmla="*/ 648365 w 964857"/>
                <a:gd name="connsiteY597" fmla="*/ 99639 h 636862"/>
                <a:gd name="connsiteX598" fmla="*/ 648365 w 964857"/>
                <a:gd name="connsiteY598" fmla="*/ 97830 h 636862"/>
                <a:gd name="connsiteX599" fmla="*/ 648235 w 964857"/>
                <a:gd name="connsiteY599" fmla="*/ 96796 h 636862"/>
                <a:gd name="connsiteX600" fmla="*/ 645522 w 964857"/>
                <a:gd name="connsiteY600" fmla="*/ 87362 h 636862"/>
                <a:gd name="connsiteX601" fmla="*/ 645005 w 964857"/>
                <a:gd name="connsiteY601" fmla="*/ 86328 h 636862"/>
                <a:gd name="connsiteX602" fmla="*/ 644746 w 964857"/>
                <a:gd name="connsiteY602" fmla="*/ 85811 h 636862"/>
                <a:gd name="connsiteX603" fmla="*/ 644358 w 964857"/>
                <a:gd name="connsiteY603" fmla="*/ 85423 h 636862"/>
                <a:gd name="connsiteX604" fmla="*/ 643971 w 964857"/>
                <a:gd name="connsiteY604" fmla="*/ 85036 h 636862"/>
                <a:gd name="connsiteX605" fmla="*/ 643454 w 964857"/>
                <a:gd name="connsiteY605" fmla="*/ 84648 h 636862"/>
                <a:gd name="connsiteX606" fmla="*/ 632986 w 964857"/>
                <a:gd name="connsiteY606" fmla="*/ 79349 h 636862"/>
                <a:gd name="connsiteX607" fmla="*/ 632081 w 964857"/>
                <a:gd name="connsiteY607" fmla="*/ 78703 h 636862"/>
                <a:gd name="connsiteX608" fmla="*/ 629109 w 964857"/>
                <a:gd name="connsiteY608" fmla="*/ 75601 h 636862"/>
                <a:gd name="connsiteX609" fmla="*/ 628592 w 964857"/>
                <a:gd name="connsiteY609" fmla="*/ 74697 h 636862"/>
                <a:gd name="connsiteX610" fmla="*/ 628463 w 964857"/>
                <a:gd name="connsiteY610" fmla="*/ 73922 h 636862"/>
                <a:gd name="connsiteX611" fmla="*/ 628463 w 964857"/>
                <a:gd name="connsiteY611" fmla="*/ 73146 h 636862"/>
                <a:gd name="connsiteX612" fmla="*/ 628850 w 964857"/>
                <a:gd name="connsiteY612" fmla="*/ 71983 h 636862"/>
                <a:gd name="connsiteX613" fmla="*/ 629238 w 964857"/>
                <a:gd name="connsiteY613" fmla="*/ 70691 h 636862"/>
                <a:gd name="connsiteX614" fmla="*/ 629755 w 964857"/>
                <a:gd name="connsiteY614" fmla="*/ 67848 h 636862"/>
                <a:gd name="connsiteX615" fmla="*/ 630013 w 964857"/>
                <a:gd name="connsiteY615" fmla="*/ 60998 h 636862"/>
                <a:gd name="connsiteX616" fmla="*/ 630272 w 964857"/>
                <a:gd name="connsiteY616" fmla="*/ 58801 h 636862"/>
                <a:gd name="connsiteX617" fmla="*/ 630401 w 964857"/>
                <a:gd name="connsiteY617" fmla="*/ 58155 h 636862"/>
                <a:gd name="connsiteX618" fmla="*/ 630660 w 964857"/>
                <a:gd name="connsiteY618" fmla="*/ 57638 h 636862"/>
                <a:gd name="connsiteX619" fmla="*/ 631047 w 964857"/>
                <a:gd name="connsiteY619" fmla="*/ 57121 h 636862"/>
                <a:gd name="connsiteX620" fmla="*/ 632727 w 964857"/>
                <a:gd name="connsiteY620" fmla="*/ 55700 h 636862"/>
                <a:gd name="connsiteX621" fmla="*/ 633115 w 964857"/>
                <a:gd name="connsiteY621" fmla="*/ 55312 h 636862"/>
                <a:gd name="connsiteX622" fmla="*/ 633503 w 964857"/>
                <a:gd name="connsiteY622" fmla="*/ 54666 h 636862"/>
                <a:gd name="connsiteX623" fmla="*/ 633761 w 964857"/>
                <a:gd name="connsiteY623" fmla="*/ 53632 h 636862"/>
                <a:gd name="connsiteX624" fmla="*/ 634020 w 964857"/>
                <a:gd name="connsiteY624" fmla="*/ 51823 h 636862"/>
                <a:gd name="connsiteX625" fmla="*/ 634020 w 964857"/>
                <a:gd name="connsiteY625" fmla="*/ 50789 h 636862"/>
                <a:gd name="connsiteX626" fmla="*/ 634020 w 964857"/>
                <a:gd name="connsiteY626" fmla="*/ 50143 h 636862"/>
                <a:gd name="connsiteX627" fmla="*/ 634537 w 964857"/>
                <a:gd name="connsiteY627" fmla="*/ 48204 h 636862"/>
                <a:gd name="connsiteX628" fmla="*/ 632986 w 964857"/>
                <a:gd name="connsiteY628" fmla="*/ 45878 h 636862"/>
                <a:gd name="connsiteX629" fmla="*/ 632340 w 964857"/>
                <a:gd name="connsiteY629" fmla="*/ 43681 h 636862"/>
                <a:gd name="connsiteX630" fmla="*/ 628075 w 964857"/>
                <a:gd name="connsiteY630" fmla="*/ 40192 h 636862"/>
                <a:gd name="connsiteX631" fmla="*/ 627041 w 964857"/>
                <a:gd name="connsiteY631" fmla="*/ 38512 h 636862"/>
                <a:gd name="connsiteX632" fmla="*/ 619287 w 964857"/>
                <a:gd name="connsiteY632" fmla="*/ 33471 h 636862"/>
                <a:gd name="connsiteX633" fmla="*/ 617736 w 964857"/>
                <a:gd name="connsiteY633" fmla="*/ 33342 h 636862"/>
                <a:gd name="connsiteX634" fmla="*/ 616832 w 964857"/>
                <a:gd name="connsiteY634" fmla="*/ 33084 h 636862"/>
                <a:gd name="connsiteX635" fmla="*/ 615152 w 964857"/>
                <a:gd name="connsiteY635" fmla="*/ 31921 h 636862"/>
                <a:gd name="connsiteX636" fmla="*/ 612567 w 964857"/>
                <a:gd name="connsiteY636" fmla="*/ 28948 h 636862"/>
                <a:gd name="connsiteX637" fmla="*/ 612567 w 964857"/>
                <a:gd name="connsiteY637" fmla="*/ 28431 h 636862"/>
                <a:gd name="connsiteX638" fmla="*/ 612826 w 964857"/>
                <a:gd name="connsiteY638" fmla="*/ 28044 h 636862"/>
                <a:gd name="connsiteX639" fmla="*/ 612955 w 964857"/>
                <a:gd name="connsiteY639" fmla="*/ 27268 h 636862"/>
                <a:gd name="connsiteX640" fmla="*/ 613084 w 964857"/>
                <a:gd name="connsiteY640" fmla="*/ 26234 h 636862"/>
                <a:gd name="connsiteX641" fmla="*/ 613342 w 964857"/>
                <a:gd name="connsiteY641" fmla="*/ 25330 h 636862"/>
                <a:gd name="connsiteX642" fmla="*/ 613472 w 964857"/>
                <a:gd name="connsiteY642" fmla="*/ 24425 h 636862"/>
                <a:gd name="connsiteX643" fmla="*/ 613084 w 964857"/>
                <a:gd name="connsiteY643" fmla="*/ 23262 h 636862"/>
                <a:gd name="connsiteX644" fmla="*/ 612438 w 964857"/>
                <a:gd name="connsiteY644" fmla="*/ 22616 h 636862"/>
                <a:gd name="connsiteX645" fmla="*/ 610370 w 964857"/>
                <a:gd name="connsiteY645" fmla="*/ 21194 h 636862"/>
                <a:gd name="connsiteX646" fmla="*/ 609336 w 964857"/>
                <a:gd name="connsiteY646" fmla="*/ 20160 h 636862"/>
                <a:gd name="connsiteX647" fmla="*/ 607398 w 964857"/>
                <a:gd name="connsiteY647" fmla="*/ 21453 h 636862"/>
                <a:gd name="connsiteX648" fmla="*/ 605072 w 964857"/>
                <a:gd name="connsiteY648" fmla="*/ 22487 h 636862"/>
                <a:gd name="connsiteX649" fmla="*/ 602616 w 964857"/>
                <a:gd name="connsiteY649" fmla="*/ 23133 h 636862"/>
                <a:gd name="connsiteX650" fmla="*/ 600290 w 964857"/>
                <a:gd name="connsiteY650" fmla="*/ 23391 h 636862"/>
                <a:gd name="connsiteX651" fmla="*/ 597576 w 964857"/>
                <a:gd name="connsiteY651" fmla="*/ 24037 h 636862"/>
                <a:gd name="connsiteX652" fmla="*/ 596413 w 964857"/>
                <a:gd name="connsiteY652" fmla="*/ 25588 h 636862"/>
                <a:gd name="connsiteX653" fmla="*/ 595638 w 964857"/>
                <a:gd name="connsiteY653" fmla="*/ 27397 h 636862"/>
                <a:gd name="connsiteX654" fmla="*/ 594087 w 964857"/>
                <a:gd name="connsiteY654" fmla="*/ 28948 h 636862"/>
                <a:gd name="connsiteX655" fmla="*/ 591502 w 964857"/>
                <a:gd name="connsiteY655" fmla="*/ 29465 h 636862"/>
                <a:gd name="connsiteX656" fmla="*/ 589693 w 964857"/>
                <a:gd name="connsiteY656" fmla="*/ 28431 h 636862"/>
                <a:gd name="connsiteX657" fmla="*/ 586979 w 964857"/>
                <a:gd name="connsiteY657" fmla="*/ 24684 h 636862"/>
                <a:gd name="connsiteX658" fmla="*/ 584782 w 964857"/>
                <a:gd name="connsiteY658" fmla="*/ 22745 h 636862"/>
                <a:gd name="connsiteX659" fmla="*/ 582972 w 964857"/>
                <a:gd name="connsiteY659" fmla="*/ 22228 h 636862"/>
                <a:gd name="connsiteX660" fmla="*/ 569403 w 964857"/>
                <a:gd name="connsiteY660" fmla="*/ 22745 h 636862"/>
                <a:gd name="connsiteX661" fmla="*/ 568240 w 964857"/>
                <a:gd name="connsiteY661" fmla="*/ 23133 h 636862"/>
                <a:gd name="connsiteX662" fmla="*/ 567335 w 964857"/>
                <a:gd name="connsiteY662" fmla="*/ 23908 h 636862"/>
                <a:gd name="connsiteX663" fmla="*/ 566431 w 964857"/>
                <a:gd name="connsiteY663" fmla="*/ 25071 h 636862"/>
                <a:gd name="connsiteX664" fmla="*/ 565655 w 964857"/>
                <a:gd name="connsiteY664" fmla="*/ 25717 h 636862"/>
                <a:gd name="connsiteX665" fmla="*/ 565914 w 964857"/>
                <a:gd name="connsiteY665" fmla="*/ 27010 h 636862"/>
                <a:gd name="connsiteX666" fmla="*/ 566818 w 964857"/>
                <a:gd name="connsiteY666" fmla="*/ 28948 h 636862"/>
                <a:gd name="connsiteX667" fmla="*/ 566689 w 964857"/>
                <a:gd name="connsiteY667" fmla="*/ 30887 h 636862"/>
                <a:gd name="connsiteX668" fmla="*/ 566172 w 964857"/>
                <a:gd name="connsiteY668" fmla="*/ 33730 h 636862"/>
                <a:gd name="connsiteX669" fmla="*/ 565138 w 964857"/>
                <a:gd name="connsiteY669" fmla="*/ 36315 h 636862"/>
                <a:gd name="connsiteX670" fmla="*/ 563587 w 964857"/>
                <a:gd name="connsiteY670" fmla="*/ 37478 h 636862"/>
                <a:gd name="connsiteX671" fmla="*/ 562424 w 964857"/>
                <a:gd name="connsiteY671" fmla="*/ 37736 h 636862"/>
                <a:gd name="connsiteX672" fmla="*/ 561391 w 964857"/>
                <a:gd name="connsiteY672" fmla="*/ 37995 h 636862"/>
                <a:gd name="connsiteX673" fmla="*/ 560357 w 964857"/>
                <a:gd name="connsiteY673" fmla="*/ 37995 h 636862"/>
                <a:gd name="connsiteX674" fmla="*/ 559194 w 964857"/>
                <a:gd name="connsiteY674" fmla="*/ 37090 h 636862"/>
                <a:gd name="connsiteX675" fmla="*/ 558547 w 964857"/>
                <a:gd name="connsiteY675" fmla="*/ 35927 h 636862"/>
                <a:gd name="connsiteX676" fmla="*/ 558418 w 964857"/>
                <a:gd name="connsiteY676" fmla="*/ 34634 h 636862"/>
                <a:gd name="connsiteX677" fmla="*/ 558418 w 964857"/>
                <a:gd name="connsiteY677" fmla="*/ 33342 h 636862"/>
                <a:gd name="connsiteX678" fmla="*/ 558160 w 964857"/>
                <a:gd name="connsiteY678" fmla="*/ 32050 h 636862"/>
                <a:gd name="connsiteX679" fmla="*/ 558418 w 964857"/>
                <a:gd name="connsiteY679" fmla="*/ 29853 h 636862"/>
                <a:gd name="connsiteX680" fmla="*/ 557513 w 964857"/>
                <a:gd name="connsiteY680" fmla="*/ 28690 h 636862"/>
                <a:gd name="connsiteX681" fmla="*/ 556350 w 964857"/>
                <a:gd name="connsiteY681" fmla="*/ 27914 h 636862"/>
                <a:gd name="connsiteX682" fmla="*/ 554929 w 964857"/>
                <a:gd name="connsiteY682" fmla="*/ 27397 h 636862"/>
                <a:gd name="connsiteX683" fmla="*/ 554800 w 964857"/>
                <a:gd name="connsiteY683" fmla="*/ 32696 h 636862"/>
                <a:gd name="connsiteX684" fmla="*/ 554283 w 964857"/>
                <a:gd name="connsiteY684" fmla="*/ 35022 h 636862"/>
                <a:gd name="connsiteX685" fmla="*/ 552990 w 964857"/>
                <a:gd name="connsiteY685" fmla="*/ 37090 h 636862"/>
                <a:gd name="connsiteX686" fmla="*/ 552473 w 964857"/>
                <a:gd name="connsiteY686" fmla="*/ 37478 h 636862"/>
                <a:gd name="connsiteX687" fmla="*/ 551052 w 964857"/>
                <a:gd name="connsiteY687" fmla="*/ 37865 h 636862"/>
                <a:gd name="connsiteX688" fmla="*/ 550406 w 964857"/>
                <a:gd name="connsiteY688" fmla="*/ 38253 h 636862"/>
                <a:gd name="connsiteX689" fmla="*/ 550018 w 964857"/>
                <a:gd name="connsiteY689" fmla="*/ 38641 h 636862"/>
                <a:gd name="connsiteX690" fmla="*/ 549243 w 964857"/>
                <a:gd name="connsiteY690" fmla="*/ 39675 h 636862"/>
                <a:gd name="connsiteX691" fmla="*/ 548597 w 964857"/>
                <a:gd name="connsiteY691" fmla="*/ 40192 h 636862"/>
                <a:gd name="connsiteX692" fmla="*/ 547304 w 964857"/>
                <a:gd name="connsiteY692" fmla="*/ 41096 h 636862"/>
                <a:gd name="connsiteX693" fmla="*/ 546012 w 964857"/>
                <a:gd name="connsiteY693" fmla="*/ 41355 h 636862"/>
                <a:gd name="connsiteX694" fmla="*/ 544719 w 964857"/>
                <a:gd name="connsiteY694" fmla="*/ 41096 h 636862"/>
                <a:gd name="connsiteX695" fmla="*/ 541618 w 964857"/>
                <a:gd name="connsiteY695" fmla="*/ 39158 h 636862"/>
                <a:gd name="connsiteX696" fmla="*/ 537353 w 964857"/>
                <a:gd name="connsiteY696" fmla="*/ 37478 h 636862"/>
                <a:gd name="connsiteX697" fmla="*/ 535673 w 964857"/>
                <a:gd name="connsiteY697" fmla="*/ 35927 h 636862"/>
                <a:gd name="connsiteX698" fmla="*/ 534381 w 964857"/>
                <a:gd name="connsiteY698" fmla="*/ 33213 h 636862"/>
                <a:gd name="connsiteX699" fmla="*/ 533476 w 964857"/>
                <a:gd name="connsiteY699" fmla="*/ 30370 h 636862"/>
                <a:gd name="connsiteX700" fmla="*/ 532184 w 964857"/>
                <a:gd name="connsiteY700" fmla="*/ 27785 h 636862"/>
                <a:gd name="connsiteX701" fmla="*/ 529728 w 964857"/>
                <a:gd name="connsiteY701" fmla="*/ 25717 h 636862"/>
                <a:gd name="connsiteX702" fmla="*/ 527531 w 964857"/>
                <a:gd name="connsiteY702" fmla="*/ 29078 h 636862"/>
                <a:gd name="connsiteX703" fmla="*/ 529987 w 964857"/>
                <a:gd name="connsiteY703" fmla="*/ 37090 h 636862"/>
                <a:gd name="connsiteX704" fmla="*/ 527531 w 964857"/>
                <a:gd name="connsiteY704" fmla="*/ 39804 h 636862"/>
                <a:gd name="connsiteX705" fmla="*/ 525464 w 964857"/>
                <a:gd name="connsiteY705" fmla="*/ 39804 h 636862"/>
                <a:gd name="connsiteX706" fmla="*/ 522233 w 964857"/>
                <a:gd name="connsiteY706" fmla="*/ 37348 h 636862"/>
                <a:gd name="connsiteX707" fmla="*/ 519777 w 964857"/>
                <a:gd name="connsiteY707" fmla="*/ 36702 h 636862"/>
                <a:gd name="connsiteX708" fmla="*/ 510602 w 964857"/>
                <a:gd name="connsiteY708" fmla="*/ 36702 h 636862"/>
                <a:gd name="connsiteX709" fmla="*/ 505949 w 964857"/>
                <a:gd name="connsiteY709" fmla="*/ 37348 h 636862"/>
                <a:gd name="connsiteX710" fmla="*/ 503494 w 964857"/>
                <a:gd name="connsiteY710" fmla="*/ 37995 h 636862"/>
                <a:gd name="connsiteX711" fmla="*/ 502460 w 964857"/>
                <a:gd name="connsiteY711" fmla="*/ 38641 h 636862"/>
                <a:gd name="connsiteX712" fmla="*/ 501168 w 964857"/>
                <a:gd name="connsiteY712" fmla="*/ 39029 h 636862"/>
                <a:gd name="connsiteX713" fmla="*/ 492897 w 964857"/>
                <a:gd name="connsiteY713" fmla="*/ 38253 h 636862"/>
                <a:gd name="connsiteX714" fmla="*/ 490700 w 964857"/>
                <a:gd name="connsiteY714" fmla="*/ 39158 h 636862"/>
                <a:gd name="connsiteX715" fmla="*/ 486952 w 964857"/>
                <a:gd name="connsiteY715" fmla="*/ 41613 h 636862"/>
                <a:gd name="connsiteX716" fmla="*/ 485143 w 964857"/>
                <a:gd name="connsiteY716" fmla="*/ 42130 h 636862"/>
                <a:gd name="connsiteX717" fmla="*/ 482687 w 964857"/>
                <a:gd name="connsiteY717" fmla="*/ 41872 h 636862"/>
                <a:gd name="connsiteX718" fmla="*/ 476613 w 964857"/>
                <a:gd name="connsiteY718" fmla="*/ 40579 h 636862"/>
                <a:gd name="connsiteX719" fmla="*/ 475063 w 964857"/>
                <a:gd name="connsiteY719" fmla="*/ 40579 h 636862"/>
                <a:gd name="connsiteX720" fmla="*/ 470798 w 964857"/>
                <a:gd name="connsiteY720" fmla="*/ 41484 h 636862"/>
                <a:gd name="connsiteX721" fmla="*/ 465629 w 964857"/>
                <a:gd name="connsiteY721" fmla="*/ 41484 h 636862"/>
                <a:gd name="connsiteX722" fmla="*/ 462915 w 964857"/>
                <a:gd name="connsiteY722" fmla="*/ 42905 h 636862"/>
                <a:gd name="connsiteX723" fmla="*/ 461622 w 964857"/>
                <a:gd name="connsiteY723" fmla="*/ 45619 h 636862"/>
                <a:gd name="connsiteX724" fmla="*/ 460847 w 964857"/>
                <a:gd name="connsiteY724" fmla="*/ 48850 h 636862"/>
                <a:gd name="connsiteX725" fmla="*/ 459425 w 964857"/>
                <a:gd name="connsiteY725" fmla="*/ 51952 h 636862"/>
                <a:gd name="connsiteX726" fmla="*/ 458133 w 964857"/>
                <a:gd name="connsiteY726" fmla="*/ 53890 h 636862"/>
                <a:gd name="connsiteX727" fmla="*/ 458133 w 964857"/>
                <a:gd name="connsiteY727" fmla="*/ 55053 h 636862"/>
                <a:gd name="connsiteX728" fmla="*/ 458650 w 964857"/>
                <a:gd name="connsiteY728" fmla="*/ 56216 h 636862"/>
                <a:gd name="connsiteX729" fmla="*/ 459038 w 964857"/>
                <a:gd name="connsiteY729" fmla="*/ 58026 h 636862"/>
                <a:gd name="connsiteX730" fmla="*/ 459038 w 964857"/>
                <a:gd name="connsiteY730" fmla="*/ 64358 h 636862"/>
                <a:gd name="connsiteX731" fmla="*/ 459296 w 964857"/>
                <a:gd name="connsiteY731" fmla="*/ 65909 h 636862"/>
                <a:gd name="connsiteX732" fmla="*/ 460201 w 964857"/>
                <a:gd name="connsiteY732" fmla="*/ 69011 h 636862"/>
                <a:gd name="connsiteX733" fmla="*/ 460459 w 964857"/>
                <a:gd name="connsiteY733" fmla="*/ 70691 h 636862"/>
                <a:gd name="connsiteX734" fmla="*/ 459942 w 964857"/>
                <a:gd name="connsiteY734" fmla="*/ 71725 h 636862"/>
                <a:gd name="connsiteX735" fmla="*/ 456841 w 964857"/>
                <a:gd name="connsiteY735" fmla="*/ 74309 h 636862"/>
                <a:gd name="connsiteX736" fmla="*/ 455161 w 964857"/>
                <a:gd name="connsiteY736" fmla="*/ 73275 h 636862"/>
                <a:gd name="connsiteX737" fmla="*/ 450508 w 964857"/>
                <a:gd name="connsiteY737" fmla="*/ 71337 h 636862"/>
                <a:gd name="connsiteX738" fmla="*/ 449474 w 964857"/>
                <a:gd name="connsiteY738" fmla="*/ 70045 h 636862"/>
                <a:gd name="connsiteX739" fmla="*/ 448699 w 964857"/>
                <a:gd name="connsiteY739" fmla="*/ 61127 h 636862"/>
                <a:gd name="connsiteX740" fmla="*/ 449216 w 964857"/>
                <a:gd name="connsiteY740" fmla="*/ 50789 h 636862"/>
                <a:gd name="connsiteX741" fmla="*/ 448311 w 964857"/>
                <a:gd name="connsiteY741" fmla="*/ 45619 h 636862"/>
                <a:gd name="connsiteX742" fmla="*/ 445727 w 964857"/>
                <a:gd name="connsiteY742" fmla="*/ 41872 h 636862"/>
                <a:gd name="connsiteX743" fmla="*/ 441591 w 964857"/>
                <a:gd name="connsiteY743" fmla="*/ 40967 h 636862"/>
                <a:gd name="connsiteX744" fmla="*/ 438748 w 964857"/>
                <a:gd name="connsiteY744" fmla="*/ 43939 h 636862"/>
                <a:gd name="connsiteX745" fmla="*/ 435388 w 964857"/>
                <a:gd name="connsiteY745" fmla="*/ 51823 h 636862"/>
                <a:gd name="connsiteX746" fmla="*/ 433062 w 964857"/>
                <a:gd name="connsiteY746" fmla="*/ 55053 h 636862"/>
                <a:gd name="connsiteX747" fmla="*/ 430089 w 964857"/>
                <a:gd name="connsiteY747" fmla="*/ 58155 h 636862"/>
                <a:gd name="connsiteX748" fmla="*/ 426600 w 964857"/>
                <a:gd name="connsiteY748" fmla="*/ 59577 h 636862"/>
                <a:gd name="connsiteX749" fmla="*/ 422852 w 964857"/>
                <a:gd name="connsiteY749" fmla="*/ 58026 h 636862"/>
                <a:gd name="connsiteX750" fmla="*/ 421689 w 964857"/>
                <a:gd name="connsiteY750" fmla="*/ 56346 h 636862"/>
                <a:gd name="connsiteX751" fmla="*/ 420268 w 964857"/>
                <a:gd name="connsiteY751" fmla="*/ 52469 h 636862"/>
                <a:gd name="connsiteX752" fmla="*/ 417424 w 964857"/>
                <a:gd name="connsiteY752" fmla="*/ 48850 h 636862"/>
                <a:gd name="connsiteX753" fmla="*/ 414840 w 964857"/>
                <a:gd name="connsiteY753" fmla="*/ 43422 h 636862"/>
                <a:gd name="connsiteX754" fmla="*/ 414064 w 964857"/>
                <a:gd name="connsiteY754" fmla="*/ 41096 h 636862"/>
                <a:gd name="connsiteX755" fmla="*/ 413289 w 964857"/>
                <a:gd name="connsiteY755" fmla="*/ 36185 h 636862"/>
                <a:gd name="connsiteX756" fmla="*/ 413160 w 964857"/>
                <a:gd name="connsiteY756" fmla="*/ 33342 h 636862"/>
                <a:gd name="connsiteX757" fmla="*/ 414064 w 964857"/>
                <a:gd name="connsiteY757" fmla="*/ 30499 h 636862"/>
                <a:gd name="connsiteX758" fmla="*/ 414194 w 964857"/>
                <a:gd name="connsiteY758" fmla="*/ 29078 h 636862"/>
                <a:gd name="connsiteX759" fmla="*/ 414452 w 964857"/>
                <a:gd name="connsiteY759" fmla="*/ 27785 h 636862"/>
                <a:gd name="connsiteX760" fmla="*/ 415227 w 964857"/>
                <a:gd name="connsiteY760" fmla="*/ 27268 h 636862"/>
                <a:gd name="connsiteX761" fmla="*/ 415615 w 964857"/>
                <a:gd name="connsiteY761" fmla="*/ 27010 h 636862"/>
                <a:gd name="connsiteX762" fmla="*/ 419234 w 964857"/>
                <a:gd name="connsiteY762" fmla="*/ 25717 h 636862"/>
                <a:gd name="connsiteX763" fmla="*/ 420009 w 964857"/>
                <a:gd name="connsiteY763" fmla="*/ 23650 h 636862"/>
                <a:gd name="connsiteX764" fmla="*/ 418975 w 964857"/>
                <a:gd name="connsiteY764" fmla="*/ 22228 h 636862"/>
                <a:gd name="connsiteX765" fmla="*/ 416778 w 964857"/>
                <a:gd name="connsiteY765" fmla="*/ 21323 h 636862"/>
                <a:gd name="connsiteX766" fmla="*/ 414452 w 964857"/>
                <a:gd name="connsiteY766" fmla="*/ 21065 h 636862"/>
                <a:gd name="connsiteX767" fmla="*/ 411997 w 964857"/>
                <a:gd name="connsiteY767" fmla="*/ 21194 h 636862"/>
                <a:gd name="connsiteX768" fmla="*/ 404760 w 964857"/>
                <a:gd name="connsiteY768" fmla="*/ 22616 h 636862"/>
                <a:gd name="connsiteX769" fmla="*/ 402433 w 964857"/>
                <a:gd name="connsiteY769" fmla="*/ 21065 h 636862"/>
                <a:gd name="connsiteX770" fmla="*/ 392612 w 964857"/>
                <a:gd name="connsiteY770" fmla="*/ 17963 h 636862"/>
                <a:gd name="connsiteX771" fmla="*/ 387442 w 964857"/>
                <a:gd name="connsiteY771" fmla="*/ 16930 h 636862"/>
                <a:gd name="connsiteX772" fmla="*/ 351515 w 964857"/>
                <a:gd name="connsiteY772" fmla="*/ 17059 h 636862"/>
                <a:gd name="connsiteX773" fmla="*/ 337170 w 964857"/>
                <a:gd name="connsiteY773" fmla="*/ 14991 h 636862"/>
                <a:gd name="connsiteX774" fmla="*/ 302665 w 964857"/>
                <a:gd name="connsiteY774" fmla="*/ 10080 h 636862"/>
                <a:gd name="connsiteX775" fmla="*/ 299951 w 964857"/>
                <a:gd name="connsiteY775" fmla="*/ 8917 h 636862"/>
                <a:gd name="connsiteX776" fmla="*/ 295945 w 964857"/>
                <a:gd name="connsiteY776" fmla="*/ 3619 h 636862"/>
                <a:gd name="connsiteX777" fmla="*/ 293360 w 964857"/>
                <a:gd name="connsiteY777" fmla="*/ 1292 h 636862"/>
                <a:gd name="connsiteX778" fmla="*/ 290000 w 964857"/>
                <a:gd name="connsiteY778" fmla="*/ 0 h 636862"/>
                <a:gd name="connsiteX779" fmla="*/ 286511 w 964857"/>
                <a:gd name="connsiteY779" fmla="*/ 129 h 636862"/>
                <a:gd name="connsiteX780" fmla="*/ 282763 w 964857"/>
                <a:gd name="connsiteY780" fmla="*/ 1292 h 636862"/>
                <a:gd name="connsiteX781" fmla="*/ 279274 w 964857"/>
                <a:gd name="connsiteY781" fmla="*/ 2972 h 636862"/>
                <a:gd name="connsiteX782" fmla="*/ 277077 w 964857"/>
                <a:gd name="connsiteY782" fmla="*/ 7366 h 636862"/>
                <a:gd name="connsiteX783" fmla="*/ 268806 w 964857"/>
                <a:gd name="connsiteY783" fmla="*/ 15120 h 636862"/>
                <a:gd name="connsiteX784" fmla="*/ 266867 w 964857"/>
                <a:gd name="connsiteY784" fmla="*/ 16283 h 636862"/>
                <a:gd name="connsiteX785" fmla="*/ 264153 w 964857"/>
                <a:gd name="connsiteY785" fmla="*/ 17576 h 636862"/>
                <a:gd name="connsiteX786" fmla="*/ 245673 w 964857"/>
                <a:gd name="connsiteY786" fmla="*/ 24037 h 636862"/>
                <a:gd name="connsiteX787" fmla="*/ 243218 w 964857"/>
                <a:gd name="connsiteY787" fmla="*/ 25588 h 636862"/>
                <a:gd name="connsiteX788" fmla="*/ 237014 w 964857"/>
                <a:gd name="connsiteY788" fmla="*/ 30887 h 636862"/>
                <a:gd name="connsiteX789" fmla="*/ 232491 w 964857"/>
                <a:gd name="connsiteY789" fmla="*/ 36315 h 636862"/>
                <a:gd name="connsiteX790" fmla="*/ 228744 w 964857"/>
                <a:gd name="connsiteY790" fmla="*/ 46266 h 636862"/>
                <a:gd name="connsiteX791" fmla="*/ 225900 w 964857"/>
                <a:gd name="connsiteY791" fmla="*/ 50660 h 636862"/>
                <a:gd name="connsiteX792" fmla="*/ 222540 w 964857"/>
                <a:gd name="connsiteY792" fmla="*/ 54666 h 636862"/>
                <a:gd name="connsiteX793" fmla="*/ 219697 w 964857"/>
                <a:gd name="connsiteY793" fmla="*/ 56863 h 636862"/>
                <a:gd name="connsiteX794" fmla="*/ 217112 w 964857"/>
                <a:gd name="connsiteY794" fmla="*/ 58414 h 636862"/>
                <a:gd name="connsiteX795" fmla="*/ 203284 w 964857"/>
                <a:gd name="connsiteY795" fmla="*/ 62678 h 636862"/>
                <a:gd name="connsiteX796" fmla="*/ 196952 w 964857"/>
                <a:gd name="connsiteY796" fmla="*/ 65909 h 636862"/>
                <a:gd name="connsiteX797" fmla="*/ 195014 w 964857"/>
                <a:gd name="connsiteY797" fmla="*/ 67589 h 636862"/>
                <a:gd name="connsiteX798" fmla="*/ 191007 w 964857"/>
                <a:gd name="connsiteY798" fmla="*/ 72112 h 636862"/>
                <a:gd name="connsiteX799" fmla="*/ 189456 w 964857"/>
                <a:gd name="connsiteY799" fmla="*/ 74826 h 636862"/>
                <a:gd name="connsiteX800" fmla="*/ 184804 w 964857"/>
                <a:gd name="connsiteY800" fmla="*/ 80512 h 636862"/>
                <a:gd name="connsiteX801" fmla="*/ 182478 w 964857"/>
                <a:gd name="connsiteY801" fmla="*/ 84131 h 636862"/>
                <a:gd name="connsiteX802" fmla="*/ 176792 w 964857"/>
                <a:gd name="connsiteY802" fmla="*/ 89946 h 636862"/>
                <a:gd name="connsiteX803" fmla="*/ 171751 w 964857"/>
                <a:gd name="connsiteY803" fmla="*/ 91110 h 636862"/>
                <a:gd name="connsiteX804" fmla="*/ 169813 w 964857"/>
                <a:gd name="connsiteY804" fmla="*/ 92402 h 636862"/>
                <a:gd name="connsiteX805" fmla="*/ 168908 w 964857"/>
                <a:gd name="connsiteY805" fmla="*/ 94728 h 636862"/>
                <a:gd name="connsiteX806" fmla="*/ 167874 w 964857"/>
                <a:gd name="connsiteY806" fmla="*/ 99768 h 636862"/>
                <a:gd name="connsiteX807" fmla="*/ 165548 w 964857"/>
                <a:gd name="connsiteY807" fmla="*/ 104162 h 636862"/>
                <a:gd name="connsiteX808" fmla="*/ 165290 w 964857"/>
                <a:gd name="connsiteY808" fmla="*/ 106747 h 636862"/>
                <a:gd name="connsiteX809" fmla="*/ 165419 w 964857"/>
                <a:gd name="connsiteY809" fmla="*/ 111916 h 636862"/>
                <a:gd name="connsiteX810" fmla="*/ 164256 w 964857"/>
                <a:gd name="connsiteY810" fmla="*/ 124323 h 636862"/>
                <a:gd name="connsiteX811" fmla="*/ 163222 w 964857"/>
                <a:gd name="connsiteY811" fmla="*/ 126261 h 636862"/>
                <a:gd name="connsiteX812" fmla="*/ 155726 w 964857"/>
                <a:gd name="connsiteY812" fmla="*/ 134403 h 636862"/>
                <a:gd name="connsiteX813" fmla="*/ 153400 w 964857"/>
                <a:gd name="connsiteY813" fmla="*/ 136341 h 636862"/>
                <a:gd name="connsiteX814" fmla="*/ 153271 w 964857"/>
                <a:gd name="connsiteY814" fmla="*/ 136729 h 636862"/>
                <a:gd name="connsiteX815" fmla="*/ 152108 w 964857"/>
                <a:gd name="connsiteY815" fmla="*/ 137763 h 636862"/>
                <a:gd name="connsiteX816" fmla="*/ 149265 w 964857"/>
                <a:gd name="connsiteY816" fmla="*/ 144612 h 636862"/>
                <a:gd name="connsiteX817" fmla="*/ 147585 w 964857"/>
                <a:gd name="connsiteY817" fmla="*/ 147843 h 636862"/>
                <a:gd name="connsiteX818" fmla="*/ 147068 w 964857"/>
                <a:gd name="connsiteY818" fmla="*/ 148489 h 636862"/>
                <a:gd name="connsiteX819" fmla="*/ 146292 w 964857"/>
                <a:gd name="connsiteY819" fmla="*/ 149006 h 636862"/>
                <a:gd name="connsiteX820" fmla="*/ 144483 w 964857"/>
                <a:gd name="connsiteY820" fmla="*/ 149782 h 636862"/>
                <a:gd name="connsiteX821" fmla="*/ 141769 w 964857"/>
                <a:gd name="connsiteY821" fmla="*/ 151979 h 636862"/>
                <a:gd name="connsiteX822" fmla="*/ 139960 w 964857"/>
                <a:gd name="connsiteY822" fmla="*/ 153012 h 636862"/>
                <a:gd name="connsiteX823" fmla="*/ 138668 w 964857"/>
                <a:gd name="connsiteY823" fmla="*/ 154693 h 636862"/>
                <a:gd name="connsiteX824" fmla="*/ 138280 w 964857"/>
                <a:gd name="connsiteY824" fmla="*/ 157794 h 636862"/>
                <a:gd name="connsiteX825" fmla="*/ 140348 w 964857"/>
                <a:gd name="connsiteY825" fmla="*/ 167487 h 636862"/>
                <a:gd name="connsiteX826" fmla="*/ 140735 w 964857"/>
                <a:gd name="connsiteY826" fmla="*/ 172268 h 636862"/>
                <a:gd name="connsiteX827" fmla="*/ 139055 w 964857"/>
                <a:gd name="connsiteY827" fmla="*/ 177308 h 636862"/>
                <a:gd name="connsiteX828" fmla="*/ 132594 w 964857"/>
                <a:gd name="connsiteY828" fmla="*/ 184028 h 636862"/>
                <a:gd name="connsiteX829" fmla="*/ 131689 w 964857"/>
                <a:gd name="connsiteY829" fmla="*/ 186355 h 636862"/>
                <a:gd name="connsiteX830" fmla="*/ 128588 w 964857"/>
                <a:gd name="connsiteY830" fmla="*/ 191395 h 636862"/>
                <a:gd name="connsiteX831" fmla="*/ 126907 w 964857"/>
                <a:gd name="connsiteY831" fmla="*/ 192816 h 636862"/>
                <a:gd name="connsiteX832" fmla="*/ 124969 w 964857"/>
                <a:gd name="connsiteY832" fmla="*/ 193463 h 636862"/>
                <a:gd name="connsiteX833" fmla="*/ 123289 w 964857"/>
                <a:gd name="connsiteY833" fmla="*/ 193333 h 636862"/>
                <a:gd name="connsiteX834" fmla="*/ 121609 w 964857"/>
                <a:gd name="connsiteY834" fmla="*/ 192816 h 636862"/>
                <a:gd name="connsiteX835" fmla="*/ 119541 w 964857"/>
                <a:gd name="connsiteY835" fmla="*/ 192558 h 636862"/>
                <a:gd name="connsiteX836" fmla="*/ 118249 w 964857"/>
                <a:gd name="connsiteY836" fmla="*/ 192558 h 636862"/>
                <a:gd name="connsiteX837" fmla="*/ 117215 w 964857"/>
                <a:gd name="connsiteY837" fmla="*/ 192816 h 636862"/>
                <a:gd name="connsiteX838" fmla="*/ 116440 w 964857"/>
                <a:gd name="connsiteY838" fmla="*/ 193463 h 636862"/>
                <a:gd name="connsiteX839" fmla="*/ 115793 w 964857"/>
                <a:gd name="connsiteY839" fmla="*/ 194626 h 636862"/>
                <a:gd name="connsiteX840" fmla="*/ 115664 w 964857"/>
                <a:gd name="connsiteY840" fmla="*/ 195272 h 636862"/>
                <a:gd name="connsiteX841" fmla="*/ 115664 w 964857"/>
                <a:gd name="connsiteY841" fmla="*/ 195789 h 636862"/>
                <a:gd name="connsiteX842" fmla="*/ 115535 w 964857"/>
                <a:gd name="connsiteY842" fmla="*/ 196306 h 636862"/>
                <a:gd name="connsiteX843" fmla="*/ 115276 w 964857"/>
                <a:gd name="connsiteY843" fmla="*/ 196823 h 636862"/>
                <a:gd name="connsiteX844" fmla="*/ 114889 w 964857"/>
                <a:gd name="connsiteY844" fmla="*/ 197081 h 636862"/>
                <a:gd name="connsiteX845" fmla="*/ 113984 w 964857"/>
                <a:gd name="connsiteY845" fmla="*/ 197469 h 636862"/>
                <a:gd name="connsiteX846" fmla="*/ 113596 w 964857"/>
                <a:gd name="connsiteY846" fmla="*/ 197727 h 636862"/>
                <a:gd name="connsiteX847" fmla="*/ 113338 w 964857"/>
                <a:gd name="connsiteY847" fmla="*/ 200829 h 636862"/>
                <a:gd name="connsiteX848" fmla="*/ 117990 w 964857"/>
                <a:gd name="connsiteY848" fmla="*/ 208841 h 636862"/>
                <a:gd name="connsiteX849" fmla="*/ 119283 w 964857"/>
                <a:gd name="connsiteY849" fmla="*/ 209358 h 636862"/>
                <a:gd name="connsiteX850" fmla="*/ 120187 w 964857"/>
                <a:gd name="connsiteY850" fmla="*/ 210780 h 636862"/>
                <a:gd name="connsiteX851" fmla="*/ 120317 w 964857"/>
                <a:gd name="connsiteY851" fmla="*/ 211555 h 636862"/>
                <a:gd name="connsiteX852" fmla="*/ 119929 w 964857"/>
                <a:gd name="connsiteY852" fmla="*/ 214140 h 636862"/>
                <a:gd name="connsiteX853" fmla="*/ 118119 w 964857"/>
                <a:gd name="connsiteY853" fmla="*/ 216208 h 636862"/>
                <a:gd name="connsiteX854" fmla="*/ 116052 w 964857"/>
                <a:gd name="connsiteY854" fmla="*/ 218017 h 636862"/>
                <a:gd name="connsiteX855" fmla="*/ 113596 w 964857"/>
                <a:gd name="connsiteY855" fmla="*/ 219826 h 636862"/>
                <a:gd name="connsiteX856" fmla="*/ 109719 w 964857"/>
                <a:gd name="connsiteY856" fmla="*/ 221506 h 636862"/>
                <a:gd name="connsiteX857" fmla="*/ 108169 w 964857"/>
                <a:gd name="connsiteY857" fmla="*/ 222540 h 636862"/>
                <a:gd name="connsiteX858" fmla="*/ 104679 w 964857"/>
                <a:gd name="connsiteY858" fmla="*/ 228226 h 636862"/>
                <a:gd name="connsiteX859" fmla="*/ 104292 w 964857"/>
                <a:gd name="connsiteY859" fmla="*/ 229519 h 636862"/>
                <a:gd name="connsiteX860" fmla="*/ 104162 w 964857"/>
                <a:gd name="connsiteY860" fmla="*/ 231845 h 636862"/>
                <a:gd name="connsiteX861" fmla="*/ 103775 w 964857"/>
                <a:gd name="connsiteY861" fmla="*/ 233267 h 636862"/>
                <a:gd name="connsiteX862" fmla="*/ 103129 w 964857"/>
                <a:gd name="connsiteY862" fmla="*/ 234559 h 636862"/>
                <a:gd name="connsiteX863" fmla="*/ 102353 w 964857"/>
                <a:gd name="connsiteY863" fmla="*/ 235722 h 636862"/>
                <a:gd name="connsiteX864" fmla="*/ 101448 w 964857"/>
                <a:gd name="connsiteY864" fmla="*/ 236756 h 636862"/>
                <a:gd name="connsiteX865" fmla="*/ 100285 w 964857"/>
                <a:gd name="connsiteY865" fmla="*/ 237402 h 636862"/>
                <a:gd name="connsiteX866" fmla="*/ 98347 w 964857"/>
                <a:gd name="connsiteY866" fmla="*/ 238177 h 636862"/>
                <a:gd name="connsiteX867" fmla="*/ 97571 w 964857"/>
                <a:gd name="connsiteY867" fmla="*/ 238694 h 636862"/>
                <a:gd name="connsiteX868" fmla="*/ 92144 w 964857"/>
                <a:gd name="connsiteY868" fmla="*/ 243864 h 636862"/>
                <a:gd name="connsiteX869" fmla="*/ 91110 w 964857"/>
                <a:gd name="connsiteY869" fmla="*/ 245544 h 636862"/>
                <a:gd name="connsiteX870" fmla="*/ 90722 w 964857"/>
                <a:gd name="connsiteY870" fmla="*/ 247224 h 636862"/>
                <a:gd name="connsiteX871" fmla="*/ 90463 w 964857"/>
                <a:gd name="connsiteY871" fmla="*/ 250584 h 636862"/>
                <a:gd name="connsiteX872" fmla="*/ 89947 w 964857"/>
                <a:gd name="connsiteY872" fmla="*/ 252264 h 636862"/>
                <a:gd name="connsiteX873" fmla="*/ 86716 w 964857"/>
                <a:gd name="connsiteY873" fmla="*/ 258855 h 636862"/>
                <a:gd name="connsiteX874" fmla="*/ 86328 w 964857"/>
                <a:gd name="connsiteY874" fmla="*/ 259889 h 636862"/>
                <a:gd name="connsiteX875" fmla="*/ 85682 w 964857"/>
                <a:gd name="connsiteY875" fmla="*/ 262990 h 636862"/>
                <a:gd name="connsiteX876" fmla="*/ 85165 w 964857"/>
                <a:gd name="connsiteY876" fmla="*/ 263766 h 636862"/>
                <a:gd name="connsiteX877" fmla="*/ 77799 w 964857"/>
                <a:gd name="connsiteY877" fmla="*/ 270356 h 636862"/>
                <a:gd name="connsiteX878" fmla="*/ 75989 w 964857"/>
                <a:gd name="connsiteY878" fmla="*/ 272812 h 636862"/>
                <a:gd name="connsiteX879" fmla="*/ 75214 w 964857"/>
                <a:gd name="connsiteY879" fmla="*/ 273458 h 636862"/>
                <a:gd name="connsiteX880" fmla="*/ 72500 w 964857"/>
                <a:gd name="connsiteY880" fmla="*/ 274750 h 636862"/>
                <a:gd name="connsiteX881" fmla="*/ 71725 w 964857"/>
                <a:gd name="connsiteY881" fmla="*/ 275267 h 636862"/>
                <a:gd name="connsiteX882" fmla="*/ 69140 w 964857"/>
                <a:gd name="connsiteY882" fmla="*/ 277981 h 636862"/>
                <a:gd name="connsiteX883" fmla="*/ 68106 w 964857"/>
                <a:gd name="connsiteY883" fmla="*/ 278627 h 636862"/>
                <a:gd name="connsiteX884" fmla="*/ 67072 w 964857"/>
                <a:gd name="connsiteY884" fmla="*/ 279015 h 636862"/>
                <a:gd name="connsiteX885" fmla="*/ 64875 w 964857"/>
                <a:gd name="connsiteY885" fmla="*/ 279403 h 636862"/>
                <a:gd name="connsiteX886" fmla="*/ 63712 w 964857"/>
                <a:gd name="connsiteY886" fmla="*/ 279790 h 636862"/>
                <a:gd name="connsiteX887" fmla="*/ 61774 w 964857"/>
                <a:gd name="connsiteY887" fmla="*/ 280954 h 636862"/>
                <a:gd name="connsiteX888" fmla="*/ 58284 w 964857"/>
                <a:gd name="connsiteY888" fmla="*/ 283797 h 636862"/>
                <a:gd name="connsiteX889" fmla="*/ 52340 w 964857"/>
                <a:gd name="connsiteY889" fmla="*/ 286123 h 636862"/>
                <a:gd name="connsiteX890" fmla="*/ 50660 w 964857"/>
                <a:gd name="connsiteY890" fmla="*/ 287157 h 636862"/>
                <a:gd name="connsiteX891" fmla="*/ 47300 w 964857"/>
                <a:gd name="connsiteY891" fmla="*/ 290129 h 636862"/>
                <a:gd name="connsiteX892" fmla="*/ 37348 w 964857"/>
                <a:gd name="connsiteY892" fmla="*/ 296074 h 636862"/>
                <a:gd name="connsiteX893" fmla="*/ 36702 w 964857"/>
                <a:gd name="connsiteY893" fmla="*/ 296591 h 636862"/>
                <a:gd name="connsiteX894" fmla="*/ 36185 w 964857"/>
                <a:gd name="connsiteY894" fmla="*/ 297366 h 636862"/>
                <a:gd name="connsiteX895" fmla="*/ 35152 w 964857"/>
                <a:gd name="connsiteY895" fmla="*/ 300209 h 636862"/>
                <a:gd name="connsiteX896" fmla="*/ 34635 w 964857"/>
                <a:gd name="connsiteY896" fmla="*/ 300856 h 636862"/>
                <a:gd name="connsiteX897" fmla="*/ 26493 w 964857"/>
                <a:gd name="connsiteY897" fmla="*/ 304862 h 636862"/>
                <a:gd name="connsiteX898" fmla="*/ 24554 w 964857"/>
                <a:gd name="connsiteY898" fmla="*/ 305508 h 636862"/>
                <a:gd name="connsiteX899" fmla="*/ 22874 w 964857"/>
                <a:gd name="connsiteY899" fmla="*/ 305508 h 636862"/>
                <a:gd name="connsiteX900" fmla="*/ 21970 w 964857"/>
                <a:gd name="connsiteY900" fmla="*/ 304733 h 636862"/>
                <a:gd name="connsiteX901" fmla="*/ 21324 w 964857"/>
                <a:gd name="connsiteY901" fmla="*/ 305250 h 636862"/>
                <a:gd name="connsiteX902" fmla="*/ 19127 w 964857"/>
                <a:gd name="connsiteY902" fmla="*/ 308351 h 636862"/>
                <a:gd name="connsiteX903" fmla="*/ 17447 w 964857"/>
                <a:gd name="connsiteY903" fmla="*/ 312099 h 636862"/>
                <a:gd name="connsiteX904" fmla="*/ 16413 w 964857"/>
                <a:gd name="connsiteY904" fmla="*/ 313262 h 636862"/>
                <a:gd name="connsiteX905" fmla="*/ 15379 w 964857"/>
                <a:gd name="connsiteY905" fmla="*/ 313650 h 636862"/>
                <a:gd name="connsiteX906" fmla="*/ 13957 w 964857"/>
                <a:gd name="connsiteY906" fmla="*/ 314037 h 636862"/>
                <a:gd name="connsiteX907" fmla="*/ 12665 w 964857"/>
                <a:gd name="connsiteY907" fmla="*/ 314554 h 636862"/>
                <a:gd name="connsiteX908" fmla="*/ 12148 w 964857"/>
                <a:gd name="connsiteY908" fmla="*/ 315330 h 636862"/>
                <a:gd name="connsiteX909" fmla="*/ 6203 w 964857"/>
                <a:gd name="connsiteY909" fmla="*/ 326831 h 636862"/>
                <a:gd name="connsiteX910" fmla="*/ 3360 w 964857"/>
                <a:gd name="connsiteY910" fmla="*/ 330450 h 636862"/>
                <a:gd name="connsiteX911" fmla="*/ 0 w 964857"/>
                <a:gd name="connsiteY911" fmla="*/ 333423 h 636862"/>
                <a:gd name="connsiteX912" fmla="*/ 129 w 964857"/>
                <a:gd name="connsiteY912" fmla="*/ 333552 h 636862"/>
                <a:gd name="connsiteX913" fmla="*/ 1809 w 964857"/>
                <a:gd name="connsiteY913" fmla="*/ 333164 h 636862"/>
                <a:gd name="connsiteX914" fmla="*/ 5686 w 964857"/>
                <a:gd name="connsiteY914" fmla="*/ 331742 h 636862"/>
                <a:gd name="connsiteX915" fmla="*/ 6720 w 964857"/>
                <a:gd name="connsiteY915" fmla="*/ 330967 h 636862"/>
                <a:gd name="connsiteX916" fmla="*/ 12019 w 964857"/>
                <a:gd name="connsiteY916" fmla="*/ 325798 h 636862"/>
                <a:gd name="connsiteX917" fmla="*/ 17059 w 964857"/>
                <a:gd name="connsiteY917" fmla="*/ 321921 h 636862"/>
                <a:gd name="connsiteX918" fmla="*/ 18868 w 964857"/>
                <a:gd name="connsiteY918" fmla="*/ 320628 h 636862"/>
                <a:gd name="connsiteX919" fmla="*/ 21453 w 964857"/>
                <a:gd name="connsiteY919" fmla="*/ 319078 h 636862"/>
                <a:gd name="connsiteX920" fmla="*/ 23650 w 964857"/>
                <a:gd name="connsiteY920" fmla="*/ 318431 h 636862"/>
                <a:gd name="connsiteX921" fmla="*/ 29465 w 964857"/>
                <a:gd name="connsiteY921" fmla="*/ 318302 h 636862"/>
                <a:gd name="connsiteX922" fmla="*/ 30887 w 964857"/>
                <a:gd name="connsiteY922" fmla="*/ 318690 h 636862"/>
                <a:gd name="connsiteX923" fmla="*/ 33601 w 964857"/>
                <a:gd name="connsiteY923" fmla="*/ 320370 h 636862"/>
                <a:gd name="connsiteX924" fmla="*/ 35410 w 964857"/>
                <a:gd name="connsiteY924" fmla="*/ 320757 h 636862"/>
                <a:gd name="connsiteX925" fmla="*/ 40062 w 964857"/>
                <a:gd name="connsiteY925" fmla="*/ 320628 h 636862"/>
                <a:gd name="connsiteX926" fmla="*/ 50789 w 964857"/>
                <a:gd name="connsiteY926" fmla="*/ 322308 h 636862"/>
                <a:gd name="connsiteX927" fmla="*/ 53244 w 964857"/>
                <a:gd name="connsiteY927" fmla="*/ 321791 h 636862"/>
                <a:gd name="connsiteX928" fmla="*/ 59318 w 964857"/>
                <a:gd name="connsiteY928" fmla="*/ 318431 h 636862"/>
                <a:gd name="connsiteX929" fmla="*/ 63066 w 964857"/>
                <a:gd name="connsiteY929" fmla="*/ 318948 h 636862"/>
                <a:gd name="connsiteX930" fmla="*/ 66038 w 964857"/>
                <a:gd name="connsiteY930" fmla="*/ 321404 h 636862"/>
                <a:gd name="connsiteX931" fmla="*/ 69269 w 964857"/>
                <a:gd name="connsiteY931" fmla="*/ 323601 h 636862"/>
                <a:gd name="connsiteX932" fmla="*/ 73792 w 964857"/>
                <a:gd name="connsiteY932" fmla="*/ 323084 h 636862"/>
                <a:gd name="connsiteX933" fmla="*/ 75602 w 964857"/>
                <a:gd name="connsiteY933" fmla="*/ 322438 h 636862"/>
                <a:gd name="connsiteX934" fmla="*/ 77282 w 964857"/>
                <a:gd name="connsiteY934" fmla="*/ 322179 h 636862"/>
                <a:gd name="connsiteX935" fmla="*/ 81547 w 964857"/>
                <a:gd name="connsiteY935" fmla="*/ 322308 h 636862"/>
                <a:gd name="connsiteX936" fmla="*/ 84002 w 964857"/>
                <a:gd name="connsiteY936" fmla="*/ 322696 h 636862"/>
                <a:gd name="connsiteX937" fmla="*/ 88913 w 964857"/>
                <a:gd name="connsiteY937" fmla="*/ 323988 h 636862"/>
                <a:gd name="connsiteX938" fmla="*/ 91368 w 964857"/>
                <a:gd name="connsiteY938" fmla="*/ 323988 h 636862"/>
                <a:gd name="connsiteX939" fmla="*/ 94211 w 964857"/>
                <a:gd name="connsiteY939" fmla="*/ 321921 h 636862"/>
                <a:gd name="connsiteX940" fmla="*/ 95374 w 964857"/>
                <a:gd name="connsiteY940" fmla="*/ 321533 h 636862"/>
                <a:gd name="connsiteX941" fmla="*/ 96796 w 964857"/>
                <a:gd name="connsiteY941" fmla="*/ 321791 h 636862"/>
                <a:gd name="connsiteX942" fmla="*/ 97701 w 964857"/>
                <a:gd name="connsiteY942" fmla="*/ 322308 h 636862"/>
                <a:gd name="connsiteX943" fmla="*/ 98347 w 964857"/>
                <a:gd name="connsiteY943" fmla="*/ 322825 h 636862"/>
                <a:gd name="connsiteX944" fmla="*/ 98993 w 964857"/>
                <a:gd name="connsiteY944" fmla="*/ 323084 h 636862"/>
                <a:gd name="connsiteX945" fmla="*/ 99898 w 964857"/>
                <a:gd name="connsiteY945" fmla="*/ 323988 h 636862"/>
                <a:gd name="connsiteX946" fmla="*/ 100415 w 964857"/>
                <a:gd name="connsiteY946" fmla="*/ 325798 h 636862"/>
                <a:gd name="connsiteX947" fmla="*/ 101578 w 964857"/>
                <a:gd name="connsiteY947" fmla="*/ 326961 h 636862"/>
                <a:gd name="connsiteX948" fmla="*/ 104421 w 964857"/>
                <a:gd name="connsiteY948" fmla="*/ 326315 h 636862"/>
                <a:gd name="connsiteX949" fmla="*/ 106101 w 964857"/>
                <a:gd name="connsiteY949" fmla="*/ 324764 h 636862"/>
                <a:gd name="connsiteX950" fmla="*/ 107522 w 964857"/>
                <a:gd name="connsiteY950" fmla="*/ 322308 h 636862"/>
                <a:gd name="connsiteX951" fmla="*/ 108427 w 964857"/>
                <a:gd name="connsiteY951" fmla="*/ 319594 h 636862"/>
                <a:gd name="connsiteX952" fmla="*/ 108815 w 964857"/>
                <a:gd name="connsiteY952" fmla="*/ 317268 h 636862"/>
                <a:gd name="connsiteX953" fmla="*/ 109849 w 964857"/>
                <a:gd name="connsiteY953" fmla="*/ 315201 h 636862"/>
                <a:gd name="connsiteX954" fmla="*/ 112304 w 964857"/>
                <a:gd name="connsiteY954" fmla="*/ 313779 h 636862"/>
                <a:gd name="connsiteX955" fmla="*/ 115276 w 964857"/>
                <a:gd name="connsiteY955" fmla="*/ 313004 h 636862"/>
                <a:gd name="connsiteX956" fmla="*/ 117732 w 964857"/>
                <a:gd name="connsiteY956" fmla="*/ 312874 h 636862"/>
                <a:gd name="connsiteX957" fmla="*/ 122126 w 964857"/>
                <a:gd name="connsiteY957" fmla="*/ 314037 h 636862"/>
                <a:gd name="connsiteX958" fmla="*/ 126649 w 964857"/>
                <a:gd name="connsiteY958" fmla="*/ 315976 h 636862"/>
                <a:gd name="connsiteX959" fmla="*/ 138280 w 964857"/>
                <a:gd name="connsiteY959" fmla="*/ 323084 h 636862"/>
                <a:gd name="connsiteX960" fmla="*/ 140348 w 964857"/>
                <a:gd name="connsiteY960" fmla="*/ 323730 h 636862"/>
                <a:gd name="connsiteX961" fmla="*/ 143062 w 964857"/>
                <a:gd name="connsiteY961" fmla="*/ 323988 h 636862"/>
                <a:gd name="connsiteX962" fmla="*/ 149911 w 964857"/>
                <a:gd name="connsiteY962" fmla="*/ 323342 h 636862"/>
                <a:gd name="connsiteX963" fmla="*/ 152237 w 964857"/>
                <a:gd name="connsiteY963" fmla="*/ 323988 h 636862"/>
                <a:gd name="connsiteX964" fmla="*/ 155468 w 964857"/>
                <a:gd name="connsiteY964" fmla="*/ 327478 h 636862"/>
                <a:gd name="connsiteX965" fmla="*/ 157536 w 964857"/>
                <a:gd name="connsiteY965" fmla="*/ 329158 h 636862"/>
                <a:gd name="connsiteX966" fmla="*/ 159216 w 964857"/>
                <a:gd name="connsiteY966" fmla="*/ 329158 h 636862"/>
                <a:gd name="connsiteX967" fmla="*/ 161284 w 964857"/>
                <a:gd name="connsiteY967" fmla="*/ 327995 h 636862"/>
                <a:gd name="connsiteX968" fmla="*/ 163351 w 964857"/>
                <a:gd name="connsiteY968" fmla="*/ 327995 h 636862"/>
                <a:gd name="connsiteX969" fmla="*/ 165290 w 964857"/>
                <a:gd name="connsiteY969" fmla="*/ 328641 h 636862"/>
                <a:gd name="connsiteX970" fmla="*/ 169037 w 964857"/>
                <a:gd name="connsiteY970" fmla="*/ 330579 h 636862"/>
                <a:gd name="connsiteX971" fmla="*/ 171105 w 964857"/>
                <a:gd name="connsiteY971" fmla="*/ 331355 h 636862"/>
                <a:gd name="connsiteX972" fmla="*/ 173302 w 964857"/>
                <a:gd name="connsiteY972" fmla="*/ 331742 h 636862"/>
                <a:gd name="connsiteX973" fmla="*/ 177308 w 964857"/>
                <a:gd name="connsiteY973" fmla="*/ 331742 h 636862"/>
                <a:gd name="connsiteX974" fmla="*/ 179505 w 964857"/>
                <a:gd name="connsiteY974" fmla="*/ 331355 h 636862"/>
                <a:gd name="connsiteX975" fmla="*/ 181056 w 964857"/>
                <a:gd name="connsiteY975" fmla="*/ 330838 h 636862"/>
                <a:gd name="connsiteX976" fmla="*/ 181444 w 964857"/>
                <a:gd name="connsiteY976" fmla="*/ 330579 h 636862"/>
                <a:gd name="connsiteX977" fmla="*/ 182090 w 964857"/>
                <a:gd name="connsiteY977" fmla="*/ 330062 h 636862"/>
                <a:gd name="connsiteX978" fmla="*/ 184546 w 964857"/>
                <a:gd name="connsiteY978" fmla="*/ 328641 h 636862"/>
                <a:gd name="connsiteX979" fmla="*/ 185063 w 964857"/>
                <a:gd name="connsiteY979" fmla="*/ 328253 h 636862"/>
                <a:gd name="connsiteX980" fmla="*/ 185838 w 964857"/>
                <a:gd name="connsiteY980" fmla="*/ 327995 h 636862"/>
                <a:gd name="connsiteX981" fmla="*/ 187001 w 964857"/>
                <a:gd name="connsiteY981" fmla="*/ 327995 h 636862"/>
                <a:gd name="connsiteX982" fmla="*/ 189198 w 964857"/>
                <a:gd name="connsiteY982" fmla="*/ 328253 h 636862"/>
                <a:gd name="connsiteX983" fmla="*/ 190361 w 964857"/>
                <a:gd name="connsiteY983" fmla="*/ 328253 h 636862"/>
                <a:gd name="connsiteX984" fmla="*/ 191266 w 964857"/>
                <a:gd name="connsiteY984" fmla="*/ 328124 h 636862"/>
                <a:gd name="connsiteX985" fmla="*/ 192429 w 964857"/>
                <a:gd name="connsiteY985" fmla="*/ 327736 h 636862"/>
                <a:gd name="connsiteX986" fmla="*/ 193075 w 964857"/>
                <a:gd name="connsiteY986" fmla="*/ 327607 h 636862"/>
                <a:gd name="connsiteX987" fmla="*/ 193850 w 964857"/>
                <a:gd name="connsiteY987" fmla="*/ 327607 h 636862"/>
                <a:gd name="connsiteX988" fmla="*/ 194755 w 964857"/>
                <a:gd name="connsiteY988" fmla="*/ 327865 h 636862"/>
                <a:gd name="connsiteX989" fmla="*/ 196047 w 964857"/>
                <a:gd name="connsiteY989" fmla="*/ 328382 h 636862"/>
                <a:gd name="connsiteX990" fmla="*/ 197986 w 964857"/>
                <a:gd name="connsiteY990" fmla="*/ 329545 h 636862"/>
                <a:gd name="connsiteX991" fmla="*/ 201088 w 964857"/>
                <a:gd name="connsiteY991" fmla="*/ 330838 h 636862"/>
                <a:gd name="connsiteX992" fmla="*/ 203543 w 964857"/>
                <a:gd name="connsiteY992" fmla="*/ 332130 h 636862"/>
                <a:gd name="connsiteX993" fmla="*/ 212331 w 964857"/>
                <a:gd name="connsiteY993" fmla="*/ 338075 h 636862"/>
                <a:gd name="connsiteX994" fmla="*/ 219956 w 964857"/>
                <a:gd name="connsiteY994" fmla="*/ 341176 h 636862"/>
                <a:gd name="connsiteX995" fmla="*/ 231716 w 964857"/>
                <a:gd name="connsiteY995" fmla="*/ 344278 h 636862"/>
                <a:gd name="connsiteX996" fmla="*/ 244639 w 964857"/>
                <a:gd name="connsiteY996" fmla="*/ 347509 h 636862"/>
                <a:gd name="connsiteX997" fmla="*/ 245932 w 964857"/>
                <a:gd name="connsiteY997" fmla="*/ 348284 h 636862"/>
                <a:gd name="connsiteX998" fmla="*/ 247095 w 964857"/>
                <a:gd name="connsiteY998" fmla="*/ 349189 h 636862"/>
                <a:gd name="connsiteX999" fmla="*/ 251618 w 964857"/>
                <a:gd name="connsiteY999" fmla="*/ 355004 h 636862"/>
                <a:gd name="connsiteX1000" fmla="*/ 252393 w 964857"/>
                <a:gd name="connsiteY1000" fmla="*/ 356426 h 636862"/>
                <a:gd name="connsiteX1001" fmla="*/ 253427 w 964857"/>
                <a:gd name="connsiteY1001" fmla="*/ 359398 h 636862"/>
                <a:gd name="connsiteX1002" fmla="*/ 254073 w 964857"/>
                <a:gd name="connsiteY1002" fmla="*/ 360691 h 636862"/>
                <a:gd name="connsiteX1003" fmla="*/ 254849 w 964857"/>
                <a:gd name="connsiteY1003" fmla="*/ 361724 h 636862"/>
                <a:gd name="connsiteX1004" fmla="*/ 255624 w 964857"/>
                <a:gd name="connsiteY1004" fmla="*/ 362371 h 636862"/>
                <a:gd name="connsiteX1005" fmla="*/ 257045 w 964857"/>
                <a:gd name="connsiteY1005" fmla="*/ 362888 h 636862"/>
                <a:gd name="connsiteX1006" fmla="*/ 258726 w 964857"/>
                <a:gd name="connsiteY1006" fmla="*/ 363017 h 636862"/>
                <a:gd name="connsiteX1007" fmla="*/ 261310 w 964857"/>
                <a:gd name="connsiteY1007" fmla="*/ 362629 h 636862"/>
                <a:gd name="connsiteX1008" fmla="*/ 262990 w 964857"/>
                <a:gd name="connsiteY1008" fmla="*/ 361983 h 636862"/>
                <a:gd name="connsiteX1009" fmla="*/ 264412 w 964857"/>
                <a:gd name="connsiteY1009" fmla="*/ 361208 h 636862"/>
                <a:gd name="connsiteX1010" fmla="*/ 266609 w 964857"/>
                <a:gd name="connsiteY1010" fmla="*/ 359528 h 636862"/>
                <a:gd name="connsiteX1011" fmla="*/ 268806 w 964857"/>
                <a:gd name="connsiteY1011" fmla="*/ 359140 h 636862"/>
                <a:gd name="connsiteX1012" fmla="*/ 271778 w 964857"/>
                <a:gd name="connsiteY1012" fmla="*/ 359140 h 636862"/>
                <a:gd name="connsiteX1013" fmla="*/ 280825 w 964857"/>
                <a:gd name="connsiteY1013" fmla="*/ 360432 h 636862"/>
                <a:gd name="connsiteX1014" fmla="*/ 283022 w 964857"/>
                <a:gd name="connsiteY1014" fmla="*/ 361078 h 636862"/>
                <a:gd name="connsiteX1015" fmla="*/ 283538 w 964857"/>
                <a:gd name="connsiteY1015" fmla="*/ 361466 h 636862"/>
                <a:gd name="connsiteX1016" fmla="*/ 284055 w 964857"/>
                <a:gd name="connsiteY1016" fmla="*/ 361724 h 636862"/>
                <a:gd name="connsiteX1017" fmla="*/ 284702 w 964857"/>
                <a:gd name="connsiteY1017" fmla="*/ 361983 h 636862"/>
                <a:gd name="connsiteX1018" fmla="*/ 285348 w 964857"/>
                <a:gd name="connsiteY1018" fmla="*/ 362112 h 636862"/>
                <a:gd name="connsiteX1019" fmla="*/ 291939 w 964857"/>
                <a:gd name="connsiteY1019" fmla="*/ 361595 h 636862"/>
                <a:gd name="connsiteX1020" fmla="*/ 293102 w 964857"/>
                <a:gd name="connsiteY1020" fmla="*/ 362112 h 636862"/>
                <a:gd name="connsiteX1021" fmla="*/ 295040 w 964857"/>
                <a:gd name="connsiteY1021" fmla="*/ 359528 h 636862"/>
                <a:gd name="connsiteX1022" fmla="*/ 296203 w 964857"/>
                <a:gd name="connsiteY1022" fmla="*/ 358494 h 636862"/>
                <a:gd name="connsiteX1023" fmla="*/ 297883 w 964857"/>
                <a:gd name="connsiteY1023" fmla="*/ 358106 h 636862"/>
                <a:gd name="connsiteX1024" fmla="*/ 299693 w 964857"/>
                <a:gd name="connsiteY1024" fmla="*/ 358494 h 636862"/>
                <a:gd name="connsiteX1025" fmla="*/ 301114 w 964857"/>
                <a:gd name="connsiteY1025" fmla="*/ 359398 h 636862"/>
                <a:gd name="connsiteX1026" fmla="*/ 303311 w 964857"/>
                <a:gd name="connsiteY1026" fmla="*/ 361337 h 636862"/>
                <a:gd name="connsiteX1027" fmla="*/ 304474 w 964857"/>
                <a:gd name="connsiteY1027" fmla="*/ 361983 h 636862"/>
                <a:gd name="connsiteX1028" fmla="*/ 306284 w 964857"/>
                <a:gd name="connsiteY1028" fmla="*/ 362758 h 636862"/>
                <a:gd name="connsiteX1029" fmla="*/ 307834 w 964857"/>
                <a:gd name="connsiteY1029" fmla="*/ 362888 h 636862"/>
                <a:gd name="connsiteX1030" fmla="*/ 308481 w 964857"/>
                <a:gd name="connsiteY1030" fmla="*/ 361724 h 636862"/>
                <a:gd name="connsiteX1031" fmla="*/ 309256 w 964857"/>
                <a:gd name="connsiteY1031" fmla="*/ 360949 h 636862"/>
                <a:gd name="connsiteX1032" fmla="*/ 310936 w 964857"/>
                <a:gd name="connsiteY1032" fmla="*/ 360820 h 636862"/>
                <a:gd name="connsiteX1033" fmla="*/ 312745 w 964857"/>
                <a:gd name="connsiteY1033" fmla="*/ 361208 h 636862"/>
                <a:gd name="connsiteX1034" fmla="*/ 313908 w 964857"/>
                <a:gd name="connsiteY1034" fmla="*/ 361724 h 636862"/>
                <a:gd name="connsiteX1035" fmla="*/ 316752 w 964857"/>
                <a:gd name="connsiteY1035" fmla="*/ 362371 h 636862"/>
                <a:gd name="connsiteX1036" fmla="*/ 325669 w 964857"/>
                <a:gd name="connsiteY1036" fmla="*/ 361466 h 636862"/>
                <a:gd name="connsiteX1037" fmla="*/ 327607 w 964857"/>
                <a:gd name="connsiteY1037" fmla="*/ 360820 h 636862"/>
                <a:gd name="connsiteX1038" fmla="*/ 328512 w 964857"/>
                <a:gd name="connsiteY1038" fmla="*/ 360432 h 636862"/>
                <a:gd name="connsiteX1039" fmla="*/ 336137 w 964857"/>
                <a:gd name="connsiteY1039" fmla="*/ 358106 h 636862"/>
                <a:gd name="connsiteX1040" fmla="*/ 337429 w 964857"/>
                <a:gd name="connsiteY1040" fmla="*/ 358235 h 636862"/>
                <a:gd name="connsiteX1041" fmla="*/ 339367 w 964857"/>
                <a:gd name="connsiteY1041" fmla="*/ 359011 h 636862"/>
                <a:gd name="connsiteX1042" fmla="*/ 339367 w 964857"/>
                <a:gd name="connsiteY1042" fmla="*/ 357201 h 636862"/>
                <a:gd name="connsiteX1043" fmla="*/ 340272 w 964857"/>
                <a:gd name="connsiteY1043" fmla="*/ 356684 h 636862"/>
                <a:gd name="connsiteX1044" fmla="*/ 341435 w 964857"/>
                <a:gd name="connsiteY1044" fmla="*/ 357201 h 636862"/>
                <a:gd name="connsiteX1045" fmla="*/ 342340 w 964857"/>
                <a:gd name="connsiteY1045" fmla="*/ 358106 h 636862"/>
                <a:gd name="connsiteX1046" fmla="*/ 342727 w 964857"/>
                <a:gd name="connsiteY1046" fmla="*/ 359915 h 636862"/>
                <a:gd name="connsiteX1047" fmla="*/ 342469 w 964857"/>
                <a:gd name="connsiteY1047" fmla="*/ 362888 h 636862"/>
                <a:gd name="connsiteX1048" fmla="*/ 343374 w 964857"/>
                <a:gd name="connsiteY1048" fmla="*/ 364180 h 636862"/>
                <a:gd name="connsiteX1049" fmla="*/ 346734 w 964857"/>
                <a:gd name="connsiteY1049" fmla="*/ 365731 h 636862"/>
                <a:gd name="connsiteX1050" fmla="*/ 348285 w 964857"/>
                <a:gd name="connsiteY1050" fmla="*/ 366765 h 636862"/>
                <a:gd name="connsiteX1051" fmla="*/ 348931 w 964857"/>
                <a:gd name="connsiteY1051" fmla="*/ 368186 h 636862"/>
                <a:gd name="connsiteX1052" fmla="*/ 348543 w 964857"/>
                <a:gd name="connsiteY1052" fmla="*/ 371417 h 636862"/>
                <a:gd name="connsiteX1053" fmla="*/ 348931 w 964857"/>
                <a:gd name="connsiteY1053" fmla="*/ 372451 h 636862"/>
                <a:gd name="connsiteX1054" fmla="*/ 350481 w 964857"/>
                <a:gd name="connsiteY1054" fmla="*/ 374002 h 636862"/>
                <a:gd name="connsiteX1055" fmla="*/ 351903 w 964857"/>
                <a:gd name="connsiteY1055" fmla="*/ 374906 h 636862"/>
                <a:gd name="connsiteX1056" fmla="*/ 353066 w 964857"/>
                <a:gd name="connsiteY1056" fmla="*/ 375165 h 636862"/>
                <a:gd name="connsiteX1057" fmla="*/ 356297 w 964857"/>
                <a:gd name="connsiteY1057" fmla="*/ 375423 h 636862"/>
                <a:gd name="connsiteX1058" fmla="*/ 357331 w 964857"/>
                <a:gd name="connsiteY1058" fmla="*/ 375811 h 636862"/>
                <a:gd name="connsiteX1059" fmla="*/ 360303 w 964857"/>
                <a:gd name="connsiteY1059" fmla="*/ 377750 h 636862"/>
                <a:gd name="connsiteX1060" fmla="*/ 361337 w 964857"/>
                <a:gd name="connsiteY1060" fmla="*/ 378267 h 636862"/>
                <a:gd name="connsiteX1061" fmla="*/ 363663 w 964857"/>
                <a:gd name="connsiteY1061" fmla="*/ 379300 h 636862"/>
                <a:gd name="connsiteX1062" fmla="*/ 364309 w 964857"/>
                <a:gd name="connsiteY1062" fmla="*/ 379430 h 636862"/>
                <a:gd name="connsiteX1063" fmla="*/ 364956 w 964857"/>
                <a:gd name="connsiteY1063" fmla="*/ 379430 h 636862"/>
                <a:gd name="connsiteX1064" fmla="*/ 366248 w 964857"/>
                <a:gd name="connsiteY1064" fmla="*/ 379171 h 636862"/>
                <a:gd name="connsiteX1065" fmla="*/ 366894 w 964857"/>
                <a:gd name="connsiteY1065" fmla="*/ 379171 h 636862"/>
                <a:gd name="connsiteX1066" fmla="*/ 367540 w 964857"/>
                <a:gd name="connsiteY1066" fmla="*/ 379559 h 636862"/>
                <a:gd name="connsiteX1067" fmla="*/ 367928 w 964857"/>
                <a:gd name="connsiteY1067" fmla="*/ 380205 h 636862"/>
                <a:gd name="connsiteX1068" fmla="*/ 368186 w 964857"/>
                <a:gd name="connsiteY1068" fmla="*/ 381627 h 636862"/>
                <a:gd name="connsiteX1069" fmla="*/ 368186 w 964857"/>
                <a:gd name="connsiteY1069" fmla="*/ 382660 h 636862"/>
                <a:gd name="connsiteX1070" fmla="*/ 368445 w 964857"/>
                <a:gd name="connsiteY1070" fmla="*/ 383565 h 636862"/>
                <a:gd name="connsiteX1071" fmla="*/ 368833 w 964857"/>
                <a:gd name="connsiteY1071" fmla="*/ 384211 h 636862"/>
                <a:gd name="connsiteX1072" fmla="*/ 371417 w 964857"/>
                <a:gd name="connsiteY1072" fmla="*/ 386537 h 636862"/>
                <a:gd name="connsiteX1073" fmla="*/ 374260 w 964857"/>
                <a:gd name="connsiteY1073" fmla="*/ 390673 h 636862"/>
                <a:gd name="connsiteX1074" fmla="*/ 377620 w 964857"/>
                <a:gd name="connsiteY1074" fmla="*/ 398039 h 636862"/>
                <a:gd name="connsiteX1075" fmla="*/ 379688 w 964857"/>
                <a:gd name="connsiteY1075" fmla="*/ 408249 h 636862"/>
                <a:gd name="connsiteX1076" fmla="*/ 380205 w 964857"/>
                <a:gd name="connsiteY1076" fmla="*/ 413547 h 636862"/>
                <a:gd name="connsiteX1077" fmla="*/ 380076 w 964857"/>
                <a:gd name="connsiteY1077" fmla="*/ 415227 h 636862"/>
                <a:gd name="connsiteX1078" fmla="*/ 377233 w 964857"/>
                <a:gd name="connsiteY1078" fmla="*/ 422981 h 636862"/>
                <a:gd name="connsiteX1079" fmla="*/ 376716 w 964857"/>
                <a:gd name="connsiteY1079" fmla="*/ 424403 h 636862"/>
                <a:gd name="connsiteX1080" fmla="*/ 376587 w 964857"/>
                <a:gd name="connsiteY1080" fmla="*/ 424791 h 636862"/>
                <a:gd name="connsiteX1081" fmla="*/ 376457 w 964857"/>
                <a:gd name="connsiteY1081" fmla="*/ 425437 h 636862"/>
                <a:gd name="connsiteX1082" fmla="*/ 376199 w 964857"/>
                <a:gd name="connsiteY1082" fmla="*/ 425954 h 636862"/>
                <a:gd name="connsiteX1083" fmla="*/ 376070 w 964857"/>
                <a:gd name="connsiteY1083" fmla="*/ 426600 h 636862"/>
                <a:gd name="connsiteX1084" fmla="*/ 376199 w 964857"/>
                <a:gd name="connsiteY1084" fmla="*/ 427246 h 636862"/>
                <a:gd name="connsiteX1085" fmla="*/ 376845 w 964857"/>
                <a:gd name="connsiteY1085" fmla="*/ 428151 h 636862"/>
                <a:gd name="connsiteX1086" fmla="*/ 378008 w 964857"/>
                <a:gd name="connsiteY1086" fmla="*/ 429055 h 636862"/>
                <a:gd name="connsiteX1087" fmla="*/ 378396 w 964857"/>
                <a:gd name="connsiteY1087" fmla="*/ 429572 h 636862"/>
                <a:gd name="connsiteX1088" fmla="*/ 378913 w 964857"/>
                <a:gd name="connsiteY1088" fmla="*/ 430606 h 636862"/>
                <a:gd name="connsiteX1089" fmla="*/ 379171 w 964857"/>
                <a:gd name="connsiteY1089" fmla="*/ 432157 h 636862"/>
                <a:gd name="connsiteX1090" fmla="*/ 379301 w 964857"/>
                <a:gd name="connsiteY1090" fmla="*/ 436809 h 636862"/>
                <a:gd name="connsiteX1091" fmla="*/ 379817 w 964857"/>
                <a:gd name="connsiteY1091" fmla="*/ 439006 h 636862"/>
                <a:gd name="connsiteX1092" fmla="*/ 381239 w 964857"/>
                <a:gd name="connsiteY1092" fmla="*/ 442108 h 636862"/>
                <a:gd name="connsiteX1093" fmla="*/ 383307 w 964857"/>
                <a:gd name="connsiteY1093" fmla="*/ 445468 h 636862"/>
                <a:gd name="connsiteX1094" fmla="*/ 384211 w 964857"/>
                <a:gd name="connsiteY1094" fmla="*/ 446631 h 636862"/>
                <a:gd name="connsiteX1095" fmla="*/ 385633 w 964857"/>
                <a:gd name="connsiteY1095" fmla="*/ 447923 h 636862"/>
                <a:gd name="connsiteX1096" fmla="*/ 386408 w 964857"/>
                <a:gd name="connsiteY1096" fmla="*/ 448569 h 636862"/>
                <a:gd name="connsiteX1097" fmla="*/ 386796 w 964857"/>
                <a:gd name="connsiteY1097" fmla="*/ 449345 h 636862"/>
                <a:gd name="connsiteX1098" fmla="*/ 386925 w 964857"/>
                <a:gd name="connsiteY1098" fmla="*/ 450379 h 636862"/>
                <a:gd name="connsiteX1099" fmla="*/ 386021 w 964857"/>
                <a:gd name="connsiteY1099" fmla="*/ 456324 h 636862"/>
                <a:gd name="connsiteX1100" fmla="*/ 385762 w 964857"/>
                <a:gd name="connsiteY1100" fmla="*/ 461751 h 636862"/>
                <a:gd name="connsiteX1101" fmla="*/ 385504 w 964857"/>
                <a:gd name="connsiteY1101" fmla="*/ 463302 h 636862"/>
                <a:gd name="connsiteX1102" fmla="*/ 385245 w 964857"/>
                <a:gd name="connsiteY1102" fmla="*/ 464465 h 636862"/>
                <a:gd name="connsiteX1103" fmla="*/ 384599 w 964857"/>
                <a:gd name="connsiteY1103" fmla="*/ 465499 h 636862"/>
                <a:gd name="connsiteX1104" fmla="*/ 384211 w 964857"/>
                <a:gd name="connsiteY1104" fmla="*/ 465887 h 636862"/>
                <a:gd name="connsiteX1105" fmla="*/ 383694 w 964857"/>
                <a:gd name="connsiteY1105" fmla="*/ 466275 h 636862"/>
                <a:gd name="connsiteX1106" fmla="*/ 382402 w 964857"/>
                <a:gd name="connsiteY1106" fmla="*/ 466533 h 636862"/>
                <a:gd name="connsiteX1107" fmla="*/ 381885 w 964857"/>
                <a:gd name="connsiteY1107" fmla="*/ 466791 h 636862"/>
                <a:gd name="connsiteX1108" fmla="*/ 381627 w 964857"/>
                <a:gd name="connsiteY1108" fmla="*/ 467308 h 636862"/>
                <a:gd name="connsiteX1109" fmla="*/ 381627 w 964857"/>
                <a:gd name="connsiteY1109" fmla="*/ 468084 h 636862"/>
                <a:gd name="connsiteX1110" fmla="*/ 382273 w 964857"/>
                <a:gd name="connsiteY1110" fmla="*/ 470152 h 636862"/>
                <a:gd name="connsiteX1111" fmla="*/ 382790 w 964857"/>
                <a:gd name="connsiteY1111" fmla="*/ 470927 h 636862"/>
                <a:gd name="connsiteX1112" fmla="*/ 383307 w 964857"/>
                <a:gd name="connsiteY1112" fmla="*/ 471315 h 636862"/>
                <a:gd name="connsiteX1113" fmla="*/ 384082 w 964857"/>
                <a:gd name="connsiteY1113" fmla="*/ 471444 h 636862"/>
                <a:gd name="connsiteX1114" fmla="*/ 384858 w 964857"/>
                <a:gd name="connsiteY1114" fmla="*/ 471831 h 636862"/>
                <a:gd name="connsiteX1115" fmla="*/ 385504 w 964857"/>
                <a:gd name="connsiteY1115" fmla="*/ 472219 h 636862"/>
                <a:gd name="connsiteX1116" fmla="*/ 387442 w 964857"/>
                <a:gd name="connsiteY1116" fmla="*/ 475450 h 636862"/>
                <a:gd name="connsiteX1117" fmla="*/ 388605 w 964857"/>
                <a:gd name="connsiteY1117" fmla="*/ 476225 h 636862"/>
                <a:gd name="connsiteX1118" fmla="*/ 389122 w 964857"/>
                <a:gd name="connsiteY1118" fmla="*/ 476355 h 636862"/>
                <a:gd name="connsiteX1119" fmla="*/ 389768 w 964857"/>
                <a:gd name="connsiteY1119" fmla="*/ 476355 h 636862"/>
                <a:gd name="connsiteX1120" fmla="*/ 390285 w 964857"/>
                <a:gd name="connsiteY1120" fmla="*/ 476096 h 636862"/>
                <a:gd name="connsiteX1121" fmla="*/ 390802 w 964857"/>
                <a:gd name="connsiteY1121" fmla="*/ 475967 h 636862"/>
                <a:gd name="connsiteX1122" fmla="*/ 391190 w 964857"/>
                <a:gd name="connsiteY1122" fmla="*/ 476225 h 636862"/>
                <a:gd name="connsiteX1123" fmla="*/ 391319 w 964857"/>
                <a:gd name="connsiteY1123" fmla="*/ 476742 h 636862"/>
                <a:gd name="connsiteX1124" fmla="*/ 391061 w 964857"/>
                <a:gd name="connsiteY1124" fmla="*/ 478035 h 636862"/>
                <a:gd name="connsiteX1125" fmla="*/ 391190 w 964857"/>
                <a:gd name="connsiteY1125" fmla="*/ 478681 h 636862"/>
                <a:gd name="connsiteX1126" fmla="*/ 391707 w 964857"/>
                <a:gd name="connsiteY1126" fmla="*/ 479327 h 636862"/>
                <a:gd name="connsiteX1127" fmla="*/ 392095 w 964857"/>
                <a:gd name="connsiteY1127" fmla="*/ 479973 h 636862"/>
                <a:gd name="connsiteX1128" fmla="*/ 392482 w 964857"/>
                <a:gd name="connsiteY1128" fmla="*/ 481265 h 636862"/>
                <a:gd name="connsiteX1129" fmla="*/ 393129 w 964857"/>
                <a:gd name="connsiteY1129" fmla="*/ 482687 h 636862"/>
                <a:gd name="connsiteX1130" fmla="*/ 394808 w 964857"/>
                <a:gd name="connsiteY1130" fmla="*/ 485401 h 636862"/>
                <a:gd name="connsiteX1131" fmla="*/ 396489 w 964857"/>
                <a:gd name="connsiteY1131" fmla="*/ 487469 h 636862"/>
                <a:gd name="connsiteX1132" fmla="*/ 397652 w 964857"/>
                <a:gd name="connsiteY1132" fmla="*/ 489407 h 636862"/>
                <a:gd name="connsiteX1133" fmla="*/ 398039 w 964857"/>
                <a:gd name="connsiteY1133" fmla="*/ 489924 h 636862"/>
                <a:gd name="connsiteX1134" fmla="*/ 398556 w 964857"/>
                <a:gd name="connsiteY1134" fmla="*/ 490312 h 636862"/>
                <a:gd name="connsiteX1135" fmla="*/ 399719 w 964857"/>
                <a:gd name="connsiteY1135" fmla="*/ 490829 h 636862"/>
                <a:gd name="connsiteX1136" fmla="*/ 400236 w 964857"/>
                <a:gd name="connsiteY1136" fmla="*/ 491346 h 636862"/>
                <a:gd name="connsiteX1137" fmla="*/ 400753 w 964857"/>
                <a:gd name="connsiteY1137" fmla="*/ 491992 h 636862"/>
                <a:gd name="connsiteX1138" fmla="*/ 401529 w 964857"/>
                <a:gd name="connsiteY1138" fmla="*/ 493155 h 636862"/>
                <a:gd name="connsiteX1139" fmla="*/ 402046 w 964857"/>
                <a:gd name="connsiteY1139" fmla="*/ 493801 h 636862"/>
                <a:gd name="connsiteX1140" fmla="*/ 402692 w 964857"/>
                <a:gd name="connsiteY1140" fmla="*/ 494318 h 636862"/>
                <a:gd name="connsiteX1141" fmla="*/ 403338 w 964857"/>
                <a:gd name="connsiteY1141" fmla="*/ 494577 h 636862"/>
                <a:gd name="connsiteX1142" fmla="*/ 405793 w 964857"/>
                <a:gd name="connsiteY1142" fmla="*/ 495352 h 636862"/>
                <a:gd name="connsiteX1143" fmla="*/ 406181 w 964857"/>
                <a:gd name="connsiteY1143" fmla="*/ 495610 h 636862"/>
                <a:gd name="connsiteX1144" fmla="*/ 406956 w 964857"/>
                <a:gd name="connsiteY1144" fmla="*/ 496127 h 636862"/>
                <a:gd name="connsiteX1145" fmla="*/ 407861 w 964857"/>
                <a:gd name="connsiteY1145" fmla="*/ 496774 h 636862"/>
                <a:gd name="connsiteX1146" fmla="*/ 408249 w 964857"/>
                <a:gd name="connsiteY1146" fmla="*/ 497161 h 636862"/>
                <a:gd name="connsiteX1147" fmla="*/ 409283 w 964857"/>
                <a:gd name="connsiteY1147" fmla="*/ 498712 h 636862"/>
                <a:gd name="connsiteX1148" fmla="*/ 410058 w 964857"/>
                <a:gd name="connsiteY1148" fmla="*/ 499617 h 636862"/>
                <a:gd name="connsiteX1149" fmla="*/ 410446 w 964857"/>
                <a:gd name="connsiteY1149" fmla="*/ 500392 h 636862"/>
                <a:gd name="connsiteX1150" fmla="*/ 410704 w 964857"/>
                <a:gd name="connsiteY1150" fmla="*/ 501426 h 636862"/>
                <a:gd name="connsiteX1151" fmla="*/ 410575 w 964857"/>
                <a:gd name="connsiteY1151" fmla="*/ 505949 h 636862"/>
                <a:gd name="connsiteX1152" fmla="*/ 410316 w 964857"/>
                <a:gd name="connsiteY1152" fmla="*/ 507500 h 636862"/>
                <a:gd name="connsiteX1153" fmla="*/ 409929 w 964857"/>
                <a:gd name="connsiteY1153" fmla="*/ 508792 h 636862"/>
                <a:gd name="connsiteX1154" fmla="*/ 409929 w 964857"/>
                <a:gd name="connsiteY1154" fmla="*/ 509568 h 636862"/>
                <a:gd name="connsiteX1155" fmla="*/ 410187 w 964857"/>
                <a:gd name="connsiteY1155" fmla="*/ 510343 h 636862"/>
                <a:gd name="connsiteX1156" fmla="*/ 410963 w 964857"/>
                <a:gd name="connsiteY1156" fmla="*/ 511119 h 636862"/>
                <a:gd name="connsiteX1157" fmla="*/ 411738 w 964857"/>
                <a:gd name="connsiteY1157" fmla="*/ 511506 h 636862"/>
                <a:gd name="connsiteX1158" fmla="*/ 412514 w 964857"/>
                <a:gd name="connsiteY1158" fmla="*/ 511765 h 636862"/>
                <a:gd name="connsiteX1159" fmla="*/ 413030 w 964857"/>
                <a:gd name="connsiteY1159" fmla="*/ 512023 h 636862"/>
                <a:gd name="connsiteX1160" fmla="*/ 413547 w 964857"/>
                <a:gd name="connsiteY1160" fmla="*/ 512411 h 636862"/>
                <a:gd name="connsiteX1161" fmla="*/ 414064 w 964857"/>
                <a:gd name="connsiteY1161" fmla="*/ 513445 h 636862"/>
                <a:gd name="connsiteX1162" fmla="*/ 415615 w 964857"/>
                <a:gd name="connsiteY1162" fmla="*/ 518485 h 636862"/>
                <a:gd name="connsiteX1163" fmla="*/ 416390 w 964857"/>
                <a:gd name="connsiteY1163" fmla="*/ 519906 h 636862"/>
                <a:gd name="connsiteX1164" fmla="*/ 417166 w 964857"/>
                <a:gd name="connsiteY1164" fmla="*/ 520682 h 636862"/>
                <a:gd name="connsiteX1165" fmla="*/ 417812 w 964857"/>
                <a:gd name="connsiteY1165" fmla="*/ 520940 h 636862"/>
                <a:gd name="connsiteX1166" fmla="*/ 418329 w 964857"/>
                <a:gd name="connsiteY1166" fmla="*/ 521199 h 636862"/>
                <a:gd name="connsiteX1167" fmla="*/ 419234 w 964857"/>
                <a:gd name="connsiteY1167" fmla="*/ 521974 h 636862"/>
                <a:gd name="connsiteX1168" fmla="*/ 419751 w 964857"/>
                <a:gd name="connsiteY1168" fmla="*/ 522233 h 636862"/>
                <a:gd name="connsiteX1169" fmla="*/ 420397 w 964857"/>
                <a:gd name="connsiteY1169" fmla="*/ 522362 h 636862"/>
                <a:gd name="connsiteX1170" fmla="*/ 421043 w 964857"/>
                <a:gd name="connsiteY1170" fmla="*/ 522620 h 636862"/>
                <a:gd name="connsiteX1171" fmla="*/ 421560 w 964857"/>
                <a:gd name="connsiteY1171" fmla="*/ 523008 h 636862"/>
                <a:gd name="connsiteX1172" fmla="*/ 421948 w 964857"/>
                <a:gd name="connsiteY1172" fmla="*/ 523396 h 636862"/>
                <a:gd name="connsiteX1173" fmla="*/ 422335 w 964857"/>
                <a:gd name="connsiteY1173" fmla="*/ 523913 h 636862"/>
                <a:gd name="connsiteX1174" fmla="*/ 422464 w 964857"/>
                <a:gd name="connsiteY1174" fmla="*/ 524688 h 636862"/>
                <a:gd name="connsiteX1175" fmla="*/ 422206 w 964857"/>
                <a:gd name="connsiteY1175" fmla="*/ 526110 h 636862"/>
                <a:gd name="connsiteX1176" fmla="*/ 421301 w 964857"/>
                <a:gd name="connsiteY1176" fmla="*/ 527402 h 636862"/>
                <a:gd name="connsiteX1177" fmla="*/ 420655 w 964857"/>
                <a:gd name="connsiteY1177" fmla="*/ 528177 h 636862"/>
                <a:gd name="connsiteX1178" fmla="*/ 420009 w 964857"/>
                <a:gd name="connsiteY1178" fmla="*/ 528565 h 636862"/>
                <a:gd name="connsiteX1179" fmla="*/ 419621 w 964857"/>
                <a:gd name="connsiteY1179" fmla="*/ 528953 h 636862"/>
                <a:gd name="connsiteX1180" fmla="*/ 419492 w 964857"/>
                <a:gd name="connsiteY1180" fmla="*/ 529470 h 636862"/>
                <a:gd name="connsiteX1181" fmla="*/ 419880 w 964857"/>
                <a:gd name="connsiteY1181" fmla="*/ 530374 h 636862"/>
                <a:gd name="connsiteX1182" fmla="*/ 420785 w 964857"/>
                <a:gd name="connsiteY1182" fmla="*/ 531408 h 636862"/>
                <a:gd name="connsiteX1183" fmla="*/ 420914 w 964857"/>
                <a:gd name="connsiteY1183" fmla="*/ 531925 h 636862"/>
                <a:gd name="connsiteX1184" fmla="*/ 420655 w 964857"/>
                <a:gd name="connsiteY1184" fmla="*/ 532571 h 636862"/>
                <a:gd name="connsiteX1185" fmla="*/ 419621 w 964857"/>
                <a:gd name="connsiteY1185" fmla="*/ 533347 h 636862"/>
                <a:gd name="connsiteX1186" fmla="*/ 418975 w 964857"/>
                <a:gd name="connsiteY1186" fmla="*/ 533734 h 636862"/>
                <a:gd name="connsiteX1187" fmla="*/ 416003 w 964857"/>
                <a:gd name="connsiteY1187" fmla="*/ 534898 h 636862"/>
                <a:gd name="connsiteX1188" fmla="*/ 415486 w 964857"/>
                <a:gd name="connsiteY1188" fmla="*/ 535156 h 636862"/>
                <a:gd name="connsiteX1189" fmla="*/ 414969 w 964857"/>
                <a:gd name="connsiteY1189" fmla="*/ 535544 h 636862"/>
                <a:gd name="connsiteX1190" fmla="*/ 414711 w 964857"/>
                <a:gd name="connsiteY1190" fmla="*/ 536061 h 636862"/>
                <a:gd name="connsiteX1191" fmla="*/ 414840 w 964857"/>
                <a:gd name="connsiteY1191" fmla="*/ 536707 h 636862"/>
                <a:gd name="connsiteX1192" fmla="*/ 415098 w 964857"/>
                <a:gd name="connsiteY1192" fmla="*/ 537224 h 636862"/>
                <a:gd name="connsiteX1193" fmla="*/ 417295 w 964857"/>
                <a:gd name="connsiteY1193" fmla="*/ 538775 h 636862"/>
                <a:gd name="connsiteX1194" fmla="*/ 416390 w 964857"/>
                <a:gd name="connsiteY1194" fmla="*/ 541747 h 636862"/>
                <a:gd name="connsiteX1195" fmla="*/ 416261 w 964857"/>
                <a:gd name="connsiteY1195" fmla="*/ 543427 h 636862"/>
                <a:gd name="connsiteX1196" fmla="*/ 416390 w 964857"/>
                <a:gd name="connsiteY1196" fmla="*/ 544073 h 636862"/>
                <a:gd name="connsiteX1197" fmla="*/ 416390 w 964857"/>
                <a:gd name="connsiteY1197" fmla="*/ 544719 h 636862"/>
                <a:gd name="connsiteX1198" fmla="*/ 416003 w 964857"/>
                <a:gd name="connsiteY1198" fmla="*/ 545365 h 636862"/>
                <a:gd name="connsiteX1199" fmla="*/ 415615 w 964857"/>
                <a:gd name="connsiteY1199" fmla="*/ 545753 h 636862"/>
                <a:gd name="connsiteX1200" fmla="*/ 412901 w 964857"/>
                <a:gd name="connsiteY1200" fmla="*/ 545753 h 636862"/>
                <a:gd name="connsiteX1201" fmla="*/ 412255 w 964857"/>
                <a:gd name="connsiteY1201" fmla="*/ 546399 h 636862"/>
                <a:gd name="connsiteX1202" fmla="*/ 412126 w 964857"/>
                <a:gd name="connsiteY1202" fmla="*/ 546916 h 636862"/>
                <a:gd name="connsiteX1203" fmla="*/ 411997 w 964857"/>
                <a:gd name="connsiteY1203" fmla="*/ 547692 h 636862"/>
                <a:gd name="connsiteX1204" fmla="*/ 411997 w 964857"/>
                <a:gd name="connsiteY1204" fmla="*/ 548467 h 636862"/>
                <a:gd name="connsiteX1205" fmla="*/ 412126 w 964857"/>
                <a:gd name="connsiteY1205" fmla="*/ 549113 h 636862"/>
                <a:gd name="connsiteX1206" fmla="*/ 412255 w 964857"/>
                <a:gd name="connsiteY1206" fmla="*/ 549759 h 636862"/>
                <a:gd name="connsiteX1207" fmla="*/ 414064 w 964857"/>
                <a:gd name="connsiteY1207" fmla="*/ 552861 h 636862"/>
                <a:gd name="connsiteX1208" fmla="*/ 414194 w 964857"/>
                <a:gd name="connsiteY1208" fmla="*/ 553507 h 636862"/>
                <a:gd name="connsiteX1209" fmla="*/ 414194 w 964857"/>
                <a:gd name="connsiteY1209" fmla="*/ 554153 h 636862"/>
                <a:gd name="connsiteX1210" fmla="*/ 413547 w 964857"/>
                <a:gd name="connsiteY1210" fmla="*/ 557772 h 636862"/>
                <a:gd name="connsiteX1211" fmla="*/ 413547 w 964857"/>
                <a:gd name="connsiteY1211" fmla="*/ 558547 h 636862"/>
                <a:gd name="connsiteX1212" fmla="*/ 413806 w 964857"/>
                <a:gd name="connsiteY1212" fmla="*/ 559839 h 636862"/>
                <a:gd name="connsiteX1213" fmla="*/ 414064 w 964857"/>
                <a:gd name="connsiteY1213" fmla="*/ 560486 h 636862"/>
                <a:gd name="connsiteX1214" fmla="*/ 414323 w 964857"/>
                <a:gd name="connsiteY1214" fmla="*/ 561003 h 636862"/>
                <a:gd name="connsiteX1215" fmla="*/ 414581 w 964857"/>
                <a:gd name="connsiteY1215" fmla="*/ 561520 h 636862"/>
                <a:gd name="connsiteX1216" fmla="*/ 415874 w 964857"/>
                <a:gd name="connsiteY1216" fmla="*/ 562166 h 636862"/>
                <a:gd name="connsiteX1217" fmla="*/ 422852 w 964857"/>
                <a:gd name="connsiteY1217" fmla="*/ 564234 h 636862"/>
                <a:gd name="connsiteX1218" fmla="*/ 424791 w 964857"/>
                <a:gd name="connsiteY1218" fmla="*/ 564492 h 636862"/>
                <a:gd name="connsiteX1219" fmla="*/ 426342 w 964857"/>
                <a:gd name="connsiteY1219" fmla="*/ 564492 h 636862"/>
                <a:gd name="connsiteX1220" fmla="*/ 428280 w 964857"/>
                <a:gd name="connsiteY1220" fmla="*/ 563200 h 636862"/>
                <a:gd name="connsiteX1221" fmla="*/ 430606 w 964857"/>
                <a:gd name="connsiteY1221" fmla="*/ 562812 h 636862"/>
                <a:gd name="connsiteX1222" fmla="*/ 436551 w 964857"/>
                <a:gd name="connsiteY1222" fmla="*/ 564104 h 636862"/>
                <a:gd name="connsiteX1223" fmla="*/ 440557 w 964857"/>
                <a:gd name="connsiteY1223" fmla="*/ 563717 h 636862"/>
                <a:gd name="connsiteX1224" fmla="*/ 443271 w 964857"/>
                <a:gd name="connsiteY1224" fmla="*/ 561778 h 636862"/>
                <a:gd name="connsiteX1225" fmla="*/ 443142 w 964857"/>
                <a:gd name="connsiteY1225" fmla="*/ 557901 h 636862"/>
                <a:gd name="connsiteX1226" fmla="*/ 445468 w 964857"/>
                <a:gd name="connsiteY1226" fmla="*/ 558547 h 636862"/>
                <a:gd name="connsiteX1227" fmla="*/ 448570 w 964857"/>
                <a:gd name="connsiteY1227" fmla="*/ 561907 h 636862"/>
                <a:gd name="connsiteX1228" fmla="*/ 451413 w 964857"/>
                <a:gd name="connsiteY1228" fmla="*/ 562683 h 636862"/>
                <a:gd name="connsiteX1229" fmla="*/ 459942 w 964857"/>
                <a:gd name="connsiteY1229" fmla="*/ 562036 h 636862"/>
                <a:gd name="connsiteX1230" fmla="*/ 462656 w 964857"/>
                <a:gd name="connsiteY1230" fmla="*/ 562295 h 636862"/>
                <a:gd name="connsiteX1231" fmla="*/ 462527 w 964857"/>
                <a:gd name="connsiteY1231" fmla="*/ 562036 h 636862"/>
                <a:gd name="connsiteX1232" fmla="*/ 462139 w 964857"/>
                <a:gd name="connsiteY1232" fmla="*/ 561649 h 636862"/>
                <a:gd name="connsiteX1233" fmla="*/ 462010 w 964857"/>
                <a:gd name="connsiteY1233" fmla="*/ 561390 h 636862"/>
                <a:gd name="connsiteX1234" fmla="*/ 464465 w 964857"/>
                <a:gd name="connsiteY1234" fmla="*/ 561261 h 636862"/>
                <a:gd name="connsiteX1235" fmla="*/ 466145 w 964857"/>
                <a:gd name="connsiteY1235" fmla="*/ 562424 h 636862"/>
                <a:gd name="connsiteX1236" fmla="*/ 467696 w 964857"/>
                <a:gd name="connsiteY1236" fmla="*/ 563975 h 636862"/>
                <a:gd name="connsiteX1237" fmla="*/ 469635 w 964857"/>
                <a:gd name="connsiteY1237" fmla="*/ 565138 h 636862"/>
                <a:gd name="connsiteX1238" fmla="*/ 470281 w 964857"/>
                <a:gd name="connsiteY1238" fmla="*/ 565138 h 636862"/>
                <a:gd name="connsiteX1239" fmla="*/ 470798 w 964857"/>
                <a:gd name="connsiteY1239" fmla="*/ 564880 h 636862"/>
                <a:gd name="connsiteX1240" fmla="*/ 471186 w 964857"/>
                <a:gd name="connsiteY1240" fmla="*/ 564621 h 636862"/>
                <a:gd name="connsiteX1241" fmla="*/ 471573 w 964857"/>
                <a:gd name="connsiteY1241" fmla="*/ 564492 h 636862"/>
                <a:gd name="connsiteX1242" fmla="*/ 473382 w 964857"/>
                <a:gd name="connsiteY1242" fmla="*/ 564880 h 636862"/>
                <a:gd name="connsiteX1243" fmla="*/ 473900 w 964857"/>
                <a:gd name="connsiteY1243" fmla="*/ 564880 h 636862"/>
                <a:gd name="connsiteX1244" fmla="*/ 477647 w 964857"/>
                <a:gd name="connsiteY1244" fmla="*/ 564492 h 636862"/>
                <a:gd name="connsiteX1245" fmla="*/ 479198 w 964857"/>
                <a:gd name="connsiteY1245" fmla="*/ 563975 h 636862"/>
                <a:gd name="connsiteX1246" fmla="*/ 479586 w 964857"/>
                <a:gd name="connsiteY1246" fmla="*/ 562812 h 636862"/>
                <a:gd name="connsiteX1247" fmla="*/ 480878 w 964857"/>
                <a:gd name="connsiteY1247" fmla="*/ 562941 h 636862"/>
                <a:gd name="connsiteX1248" fmla="*/ 481653 w 964857"/>
                <a:gd name="connsiteY1248" fmla="*/ 565267 h 636862"/>
                <a:gd name="connsiteX1249" fmla="*/ 481912 w 964857"/>
                <a:gd name="connsiteY1249" fmla="*/ 566043 h 636862"/>
                <a:gd name="connsiteX1250" fmla="*/ 482687 w 964857"/>
                <a:gd name="connsiteY1250" fmla="*/ 566560 h 636862"/>
                <a:gd name="connsiteX1251" fmla="*/ 483334 w 964857"/>
                <a:gd name="connsiteY1251" fmla="*/ 566560 h 636862"/>
                <a:gd name="connsiteX1252" fmla="*/ 483850 w 964857"/>
                <a:gd name="connsiteY1252" fmla="*/ 566301 h 636862"/>
                <a:gd name="connsiteX1253" fmla="*/ 484755 w 964857"/>
                <a:gd name="connsiteY1253" fmla="*/ 565526 h 636862"/>
                <a:gd name="connsiteX1254" fmla="*/ 485660 w 964857"/>
                <a:gd name="connsiteY1254" fmla="*/ 564880 h 636862"/>
                <a:gd name="connsiteX1255" fmla="*/ 487727 w 964857"/>
                <a:gd name="connsiteY1255" fmla="*/ 563717 h 636862"/>
                <a:gd name="connsiteX1256" fmla="*/ 488374 w 964857"/>
                <a:gd name="connsiteY1256" fmla="*/ 563587 h 636862"/>
                <a:gd name="connsiteX1257" fmla="*/ 489020 w 964857"/>
                <a:gd name="connsiteY1257" fmla="*/ 563458 h 636862"/>
                <a:gd name="connsiteX1258" fmla="*/ 489795 w 964857"/>
                <a:gd name="connsiteY1258" fmla="*/ 563458 h 636862"/>
                <a:gd name="connsiteX1259" fmla="*/ 490571 w 964857"/>
                <a:gd name="connsiteY1259" fmla="*/ 563587 h 636862"/>
                <a:gd name="connsiteX1260" fmla="*/ 491217 w 964857"/>
                <a:gd name="connsiteY1260" fmla="*/ 563846 h 636862"/>
                <a:gd name="connsiteX1261" fmla="*/ 491863 w 964857"/>
                <a:gd name="connsiteY1261" fmla="*/ 564363 h 636862"/>
                <a:gd name="connsiteX1262" fmla="*/ 492251 w 964857"/>
                <a:gd name="connsiteY1262" fmla="*/ 564880 h 636862"/>
                <a:gd name="connsiteX1263" fmla="*/ 492509 w 964857"/>
                <a:gd name="connsiteY1263" fmla="*/ 565526 h 636862"/>
                <a:gd name="connsiteX1264" fmla="*/ 492768 w 964857"/>
                <a:gd name="connsiteY1264" fmla="*/ 566043 h 636862"/>
                <a:gd name="connsiteX1265" fmla="*/ 493414 w 964857"/>
                <a:gd name="connsiteY1265" fmla="*/ 567077 h 636862"/>
                <a:gd name="connsiteX1266" fmla="*/ 493801 w 964857"/>
                <a:gd name="connsiteY1266" fmla="*/ 567464 h 636862"/>
                <a:gd name="connsiteX1267" fmla="*/ 494318 w 964857"/>
                <a:gd name="connsiteY1267" fmla="*/ 567852 h 636862"/>
                <a:gd name="connsiteX1268" fmla="*/ 494835 w 964857"/>
                <a:gd name="connsiteY1268" fmla="*/ 568110 h 636862"/>
                <a:gd name="connsiteX1269" fmla="*/ 500522 w 964857"/>
                <a:gd name="connsiteY1269" fmla="*/ 570178 h 636862"/>
                <a:gd name="connsiteX1270" fmla="*/ 501038 w 964857"/>
                <a:gd name="connsiteY1270" fmla="*/ 570437 h 636862"/>
                <a:gd name="connsiteX1271" fmla="*/ 501297 w 964857"/>
                <a:gd name="connsiteY1271" fmla="*/ 571212 h 636862"/>
                <a:gd name="connsiteX1272" fmla="*/ 501038 w 964857"/>
                <a:gd name="connsiteY1272" fmla="*/ 572505 h 636862"/>
                <a:gd name="connsiteX1273" fmla="*/ 499746 w 964857"/>
                <a:gd name="connsiteY1273" fmla="*/ 575089 h 636862"/>
                <a:gd name="connsiteX1274" fmla="*/ 498971 w 964857"/>
                <a:gd name="connsiteY1274" fmla="*/ 576252 h 636862"/>
                <a:gd name="connsiteX1275" fmla="*/ 498325 w 964857"/>
                <a:gd name="connsiteY1275" fmla="*/ 577028 h 636862"/>
                <a:gd name="connsiteX1276" fmla="*/ 496257 w 964857"/>
                <a:gd name="connsiteY1276" fmla="*/ 578191 h 636862"/>
                <a:gd name="connsiteX1277" fmla="*/ 495352 w 964857"/>
                <a:gd name="connsiteY1277" fmla="*/ 578837 h 636862"/>
                <a:gd name="connsiteX1278" fmla="*/ 495094 w 964857"/>
                <a:gd name="connsiteY1278" fmla="*/ 579742 h 636862"/>
                <a:gd name="connsiteX1279" fmla="*/ 494964 w 964857"/>
                <a:gd name="connsiteY1279" fmla="*/ 581163 h 636862"/>
                <a:gd name="connsiteX1280" fmla="*/ 495352 w 964857"/>
                <a:gd name="connsiteY1280" fmla="*/ 584394 h 636862"/>
                <a:gd name="connsiteX1281" fmla="*/ 495611 w 964857"/>
                <a:gd name="connsiteY1281" fmla="*/ 585816 h 636862"/>
                <a:gd name="connsiteX1282" fmla="*/ 495740 w 964857"/>
                <a:gd name="connsiteY1282" fmla="*/ 586849 h 636862"/>
                <a:gd name="connsiteX1283" fmla="*/ 495094 w 964857"/>
                <a:gd name="connsiteY1283" fmla="*/ 587625 h 636862"/>
                <a:gd name="connsiteX1284" fmla="*/ 494060 w 964857"/>
                <a:gd name="connsiteY1284" fmla="*/ 588529 h 636862"/>
                <a:gd name="connsiteX1285" fmla="*/ 493672 w 964857"/>
                <a:gd name="connsiteY1285" fmla="*/ 589046 h 636862"/>
                <a:gd name="connsiteX1286" fmla="*/ 493285 w 964857"/>
                <a:gd name="connsiteY1286" fmla="*/ 590597 h 636862"/>
                <a:gd name="connsiteX1287" fmla="*/ 493801 w 964857"/>
                <a:gd name="connsiteY1287" fmla="*/ 594345 h 636862"/>
                <a:gd name="connsiteX1288" fmla="*/ 493414 w 964857"/>
                <a:gd name="connsiteY1288" fmla="*/ 597317 h 636862"/>
                <a:gd name="connsiteX1289" fmla="*/ 493155 w 964857"/>
                <a:gd name="connsiteY1289" fmla="*/ 597964 h 636862"/>
                <a:gd name="connsiteX1290" fmla="*/ 492768 w 964857"/>
                <a:gd name="connsiteY1290" fmla="*/ 598739 h 636862"/>
                <a:gd name="connsiteX1291" fmla="*/ 492380 w 964857"/>
                <a:gd name="connsiteY1291" fmla="*/ 599126 h 636862"/>
                <a:gd name="connsiteX1292" fmla="*/ 490441 w 964857"/>
                <a:gd name="connsiteY1292" fmla="*/ 600419 h 636862"/>
                <a:gd name="connsiteX1293" fmla="*/ 490054 w 964857"/>
                <a:gd name="connsiteY1293" fmla="*/ 600806 h 636862"/>
                <a:gd name="connsiteX1294" fmla="*/ 490054 w 964857"/>
                <a:gd name="connsiteY1294" fmla="*/ 600806 h 636862"/>
                <a:gd name="connsiteX1295" fmla="*/ 490054 w 964857"/>
                <a:gd name="connsiteY1295" fmla="*/ 600806 h 636862"/>
                <a:gd name="connsiteX1296" fmla="*/ 490054 w 964857"/>
                <a:gd name="connsiteY1296" fmla="*/ 600936 h 636862"/>
                <a:gd name="connsiteX1297" fmla="*/ 490183 w 964857"/>
                <a:gd name="connsiteY1297" fmla="*/ 601582 h 636862"/>
                <a:gd name="connsiteX1298" fmla="*/ 490441 w 964857"/>
                <a:gd name="connsiteY1298" fmla="*/ 602616 h 636862"/>
                <a:gd name="connsiteX1299" fmla="*/ 491992 w 964857"/>
                <a:gd name="connsiteY1299" fmla="*/ 606363 h 636862"/>
                <a:gd name="connsiteX1300" fmla="*/ 492509 w 964857"/>
                <a:gd name="connsiteY1300" fmla="*/ 607010 h 636862"/>
                <a:gd name="connsiteX1301" fmla="*/ 492897 w 964857"/>
                <a:gd name="connsiteY1301" fmla="*/ 607527 h 636862"/>
                <a:gd name="connsiteX1302" fmla="*/ 495352 w 964857"/>
                <a:gd name="connsiteY1302" fmla="*/ 608948 h 636862"/>
                <a:gd name="connsiteX1303" fmla="*/ 498842 w 964857"/>
                <a:gd name="connsiteY1303" fmla="*/ 610628 h 636862"/>
                <a:gd name="connsiteX1304" fmla="*/ 499488 w 964857"/>
                <a:gd name="connsiteY1304" fmla="*/ 610758 h 636862"/>
                <a:gd name="connsiteX1305" fmla="*/ 500005 w 964857"/>
                <a:gd name="connsiteY1305" fmla="*/ 610628 h 636862"/>
                <a:gd name="connsiteX1306" fmla="*/ 500522 w 964857"/>
                <a:gd name="connsiteY1306" fmla="*/ 609982 h 636862"/>
                <a:gd name="connsiteX1307" fmla="*/ 500909 w 964857"/>
                <a:gd name="connsiteY1307" fmla="*/ 609336 h 636862"/>
                <a:gd name="connsiteX1308" fmla="*/ 501426 w 964857"/>
                <a:gd name="connsiteY1308" fmla="*/ 608044 h 636862"/>
                <a:gd name="connsiteX1309" fmla="*/ 501685 w 964857"/>
                <a:gd name="connsiteY1309" fmla="*/ 607527 h 636862"/>
                <a:gd name="connsiteX1310" fmla="*/ 502072 w 964857"/>
                <a:gd name="connsiteY1310" fmla="*/ 607010 h 636862"/>
                <a:gd name="connsiteX1311" fmla="*/ 502460 w 964857"/>
                <a:gd name="connsiteY1311" fmla="*/ 606622 h 636862"/>
                <a:gd name="connsiteX1312" fmla="*/ 503365 w 964857"/>
                <a:gd name="connsiteY1312" fmla="*/ 605976 h 636862"/>
                <a:gd name="connsiteX1313" fmla="*/ 503752 w 964857"/>
                <a:gd name="connsiteY1313" fmla="*/ 605588 h 636862"/>
                <a:gd name="connsiteX1314" fmla="*/ 504011 w 964857"/>
                <a:gd name="connsiteY1314" fmla="*/ 605071 h 636862"/>
                <a:gd name="connsiteX1315" fmla="*/ 504140 w 964857"/>
                <a:gd name="connsiteY1315" fmla="*/ 604425 h 636862"/>
                <a:gd name="connsiteX1316" fmla="*/ 504140 w 964857"/>
                <a:gd name="connsiteY1316" fmla="*/ 603779 h 636862"/>
                <a:gd name="connsiteX1317" fmla="*/ 503623 w 964857"/>
                <a:gd name="connsiteY1317" fmla="*/ 601970 h 636862"/>
                <a:gd name="connsiteX1318" fmla="*/ 503623 w 964857"/>
                <a:gd name="connsiteY1318" fmla="*/ 601065 h 636862"/>
                <a:gd name="connsiteX1319" fmla="*/ 503623 w 964857"/>
                <a:gd name="connsiteY1319" fmla="*/ 600936 h 636862"/>
                <a:gd name="connsiteX1320" fmla="*/ 503752 w 964857"/>
                <a:gd name="connsiteY1320" fmla="*/ 600419 h 636862"/>
                <a:gd name="connsiteX1321" fmla="*/ 504011 w 964857"/>
                <a:gd name="connsiteY1321" fmla="*/ 599902 h 636862"/>
                <a:gd name="connsiteX1322" fmla="*/ 504399 w 964857"/>
                <a:gd name="connsiteY1322" fmla="*/ 599385 h 636862"/>
                <a:gd name="connsiteX1323" fmla="*/ 505303 w 964857"/>
                <a:gd name="connsiteY1323" fmla="*/ 598610 h 636862"/>
                <a:gd name="connsiteX1324" fmla="*/ 507371 w 964857"/>
                <a:gd name="connsiteY1324" fmla="*/ 597446 h 636862"/>
                <a:gd name="connsiteX1325" fmla="*/ 507759 w 964857"/>
                <a:gd name="connsiteY1325" fmla="*/ 597059 h 636862"/>
                <a:gd name="connsiteX1326" fmla="*/ 508017 w 964857"/>
                <a:gd name="connsiteY1326" fmla="*/ 596283 h 636862"/>
                <a:gd name="connsiteX1327" fmla="*/ 508276 w 964857"/>
                <a:gd name="connsiteY1327" fmla="*/ 596154 h 636862"/>
                <a:gd name="connsiteX1328" fmla="*/ 508922 w 964857"/>
                <a:gd name="connsiteY1328" fmla="*/ 596154 h 636862"/>
                <a:gd name="connsiteX1329" fmla="*/ 510602 w 964857"/>
                <a:gd name="connsiteY1329" fmla="*/ 597446 h 636862"/>
                <a:gd name="connsiteX1330" fmla="*/ 511377 w 964857"/>
                <a:gd name="connsiteY1330" fmla="*/ 597834 h 636862"/>
                <a:gd name="connsiteX1331" fmla="*/ 513574 w 964857"/>
                <a:gd name="connsiteY1331" fmla="*/ 597964 h 636862"/>
                <a:gd name="connsiteX1332" fmla="*/ 514479 w 964857"/>
                <a:gd name="connsiteY1332" fmla="*/ 598222 h 636862"/>
                <a:gd name="connsiteX1333" fmla="*/ 515383 w 964857"/>
                <a:gd name="connsiteY1333" fmla="*/ 598868 h 636862"/>
                <a:gd name="connsiteX1334" fmla="*/ 515900 w 964857"/>
                <a:gd name="connsiteY1334" fmla="*/ 599385 h 636862"/>
                <a:gd name="connsiteX1335" fmla="*/ 516288 w 964857"/>
                <a:gd name="connsiteY1335" fmla="*/ 599902 h 636862"/>
                <a:gd name="connsiteX1336" fmla="*/ 516546 w 964857"/>
                <a:gd name="connsiteY1336" fmla="*/ 600290 h 636862"/>
                <a:gd name="connsiteX1337" fmla="*/ 516676 w 964857"/>
                <a:gd name="connsiteY1337" fmla="*/ 600806 h 636862"/>
                <a:gd name="connsiteX1338" fmla="*/ 516805 w 964857"/>
                <a:gd name="connsiteY1338" fmla="*/ 601194 h 636862"/>
                <a:gd name="connsiteX1339" fmla="*/ 516934 w 964857"/>
                <a:gd name="connsiteY1339" fmla="*/ 601711 h 636862"/>
                <a:gd name="connsiteX1340" fmla="*/ 517193 w 964857"/>
                <a:gd name="connsiteY1340" fmla="*/ 602228 h 636862"/>
                <a:gd name="connsiteX1341" fmla="*/ 517839 w 964857"/>
                <a:gd name="connsiteY1341" fmla="*/ 602487 h 636862"/>
                <a:gd name="connsiteX1342" fmla="*/ 518873 w 964857"/>
                <a:gd name="connsiteY1342" fmla="*/ 602616 h 636862"/>
                <a:gd name="connsiteX1343" fmla="*/ 520811 w 964857"/>
                <a:gd name="connsiteY1343" fmla="*/ 602228 h 636862"/>
                <a:gd name="connsiteX1344" fmla="*/ 521974 w 964857"/>
                <a:gd name="connsiteY1344" fmla="*/ 602228 h 636862"/>
                <a:gd name="connsiteX1345" fmla="*/ 523008 w 964857"/>
                <a:gd name="connsiteY1345" fmla="*/ 602745 h 636862"/>
                <a:gd name="connsiteX1346" fmla="*/ 523267 w 964857"/>
                <a:gd name="connsiteY1346" fmla="*/ 603391 h 636862"/>
                <a:gd name="connsiteX1347" fmla="*/ 523396 w 964857"/>
                <a:gd name="connsiteY1347" fmla="*/ 604037 h 636862"/>
                <a:gd name="connsiteX1348" fmla="*/ 523654 w 964857"/>
                <a:gd name="connsiteY1348" fmla="*/ 604554 h 636862"/>
                <a:gd name="connsiteX1349" fmla="*/ 524301 w 964857"/>
                <a:gd name="connsiteY1349" fmla="*/ 604684 h 636862"/>
                <a:gd name="connsiteX1350" fmla="*/ 524947 w 964857"/>
                <a:gd name="connsiteY1350" fmla="*/ 604684 h 636862"/>
                <a:gd name="connsiteX1351" fmla="*/ 528565 w 964857"/>
                <a:gd name="connsiteY1351" fmla="*/ 602228 h 636862"/>
                <a:gd name="connsiteX1352" fmla="*/ 530633 w 964857"/>
                <a:gd name="connsiteY1352" fmla="*/ 608948 h 636862"/>
                <a:gd name="connsiteX1353" fmla="*/ 531150 w 964857"/>
                <a:gd name="connsiteY1353" fmla="*/ 611404 h 636862"/>
                <a:gd name="connsiteX1354" fmla="*/ 531150 w 964857"/>
                <a:gd name="connsiteY1354" fmla="*/ 612179 h 636862"/>
                <a:gd name="connsiteX1355" fmla="*/ 533347 w 964857"/>
                <a:gd name="connsiteY1355" fmla="*/ 618124 h 636862"/>
                <a:gd name="connsiteX1356" fmla="*/ 533735 w 964857"/>
                <a:gd name="connsiteY1356" fmla="*/ 619675 h 636862"/>
                <a:gd name="connsiteX1357" fmla="*/ 533735 w 964857"/>
                <a:gd name="connsiteY1357" fmla="*/ 620838 h 636862"/>
                <a:gd name="connsiteX1358" fmla="*/ 533347 w 964857"/>
                <a:gd name="connsiteY1358" fmla="*/ 622130 h 636862"/>
                <a:gd name="connsiteX1359" fmla="*/ 533218 w 964857"/>
                <a:gd name="connsiteY1359" fmla="*/ 622906 h 636862"/>
                <a:gd name="connsiteX1360" fmla="*/ 533476 w 964857"/>
                <a:gd name="connsiteY1360" fmla="*/ 623681 h 636862"/>
                <a:gd name="connsiteX1361" fmla="*/ 534122 w 964857"/>
                <a:gd name="connsiteY1361" fmla="*/ 624585 h 636862"/>
                <a:gd name="connsiteX1362" fmla="*/ 535544 w 964857"/>
                <a:gd name="connsiteY1362" fmla="*/ 625748 h 636862"/>
                <a:gd name="connsiteX1363" fmla="*/ 536449 w 964857"/>
                <a:gd name="connsiteY1363" fmla="*/ 626395 h 636862"/>
                <a:gd name="connsiteX1364" fmla="*/ 537224 w 964857"/>
                <a:gd name="connsiteY1364" fmla="*/ 626783 h 636862"/>
                <a:gd name="connsiteX1365" fmla="*/ 543298 w 964857"/>
                <a:gd name="connsiteY1365" fmla="*/ 628463 h 636862"/>
                <a:gd name="connsiteX1366" fmla="*/ 544073 w 964857"/>
                <a:gd name="connsiteY1366" fmla="*/ 628592 h 636862"/>
                <a:gd name="connsiteX1367" fmla="*/ 544849 w 964857"/>
                <a:gd name="connsiteY1367" fmla="*/ 628592 h 636862"/>
                <a:gd name="connsiteX1368" fmla="*/ 545495 w 964857"/>
                <a:gd name="connsiteY1368" fmla="*/ 628463 h 636862"/>
                <a:gd name="connsiteX1369" fmla="*/ 546012 w 964857"/>
                <a:gd name="connsiteY1369" fmla="*/ 628075 h 636862"/>
                <a:gd name="connsiteX1370" fmla="*/ 546400 w 964857"/>
                <a:gd name="connsiteY1370" fmla="*/ 627687 h 636862"/>
                <a:gd name="connsiteX1371" fmla="*/ 546787 w 964857"/>
                <a:gd name="connsiteY1371" fmla="*/ 627170 h 636862"/>
                <a:gd name="connsiteX1372" fmla="*/ 547175 w 964857"/>
                <a:gd name="connsiteY1372" fmla="*/ 626783 h 636862"/>
                <a:gd name="connsiteX1373" fmla="*/ 547692 w 964857"/>
                <a:gd name="connsiteY1373" fmla="*/ 626395 h 636862"/>
                <a:gd name="connsiteX1374" fmla="*/ 548209 w 964857"/>
                <a:gd name="connsiteY1374" fmla="*/ 626266 h 636862"/>
                <a:gd name="connsiteX1375" fmla="*/ 548984 w 964857"/>
                <a:gd name="connsiteY1375" fmla="*/ 626266 h 636862"/>
                <a:gd name="connsiteX1376" fmla="*/ 549501 w 964857"/>
                <a:gd name="connsiteY1376" fmla="*/ 626653 h 636862"/>
                <a:gd name="connsiteX1377" fmla="*/ 549889 w 964857"/>
                <a:gd name="connsiteY1377" fmla="*/ 627558 h 636862"/>
                <a:gd name="connsiteX1378" fmla="*/ 549113 w 964857"/>
                <a:gd name="connsiteY1378" fmla="*/ 628850 h 636862"/>
                <a:gd name="connsiteX1379" fmla="*/ 546270 w 964857"/>
                <a:gd name="connsiteY1379" fmla="*/ 632986 h 636862"/>
                <a:gd name="connsiteX1380" fmla="*/ 545236 w 964857"/>
                <a:gd name="connsiteY1380" fmla="*/ 634149 h 636862"/>
                <a:gd name="connsiteX1381" fmla="*/ 544590 w 964857"/>
                <a:gd name="connsiteY1381" fmla="*/ 635441 h 636862"/>
                <a:gd name="connsiteX1382" fmla="*/ 544461 w 964857"/>
                <a:gd name="connsiteY1382" fmla="*/ 636863 h 636862"/>
                <a:gd name="connsiteX1383" fmla="*/ 544461 w 964857"/>
                <a:gd name="connsiteY1383" fmla="*/ 636863 h 636862"/>
                <a:gd name="connsiteX1384" fmla="*/ 545107 w 964857"/>
                <a:gd name="connsiteY1384" fmla="*/ 635183 h 636862"/>
                <a:gd name="connsiteX1385" fmla="*/ 546012 w 964857"/>
                <a:gd name="connsiteY1385" fmla="*/ 633632 h 636862"/>
                <a:gd name="connsiteX1386" fmla="*/ 551181 w 964857"/>
                <a:gd name="connsiteY1386" fmla="*/ 627300 h 636862"/>
                <a:gd name="connsiteX1387" fmla="*/ 552990 w 964857"/>
                <a:gd name="connsiteY1387" fmla="*/ 625878 h 636862"/>
                <a:gd name="connsiteX1388" fmla="*/ 558547 w 964857"/>
                <a:gd name="connsiteY1388" fmla="*/ 624327 h 636862"/>
                <a:gd name="connsiteX1389" fmla="*/ 561778 w 964857"/>
                <a:gd name="connsiteY1389" fmla="*/ 619287 h 636862"/>
                <a:gd name="connsiteX1390" fmla="*/ 565526 w 964857"/>
                <a:gd name="connsiteY1390" fmla="*/ 607398 h 636862"/>
                <a:gd name="connsiteX1391" fmla="*/ 563975 w 964857"/>
                <a:gd name="connsiteY1391" fmla="*/ 607268 h 636862"/>
                <a:gd name="connsiteX1392" fmla="*/ 562554 w 964857"/>
                <a:gd name="connsiteY1392" fmla="*/ 607656 h 636862"/>
                <a:gd name="connsiteX1393" fmla="*/ 561261 w 964857"/>
                <a:gd name="connsiteY1393" fmla="*/ 608431 h 636862"/>
                <a:gd name="connsiteX1394" fmla="*/ 560098 w 964857"/>
                <a:gd name="connsiteY1394" fmla="*/ 609465 h 636862"/>
                <a:gd name="connsiteX1395" fmla="*/ 558935 w 964857"/>
                <a:gd name="connsiteY1395" fmla="*/ 610111 h 636862"/>
                <a:gd name="connsiteX1396" fmla="*/ 557513 w 964857"/>
                <a:gd name="connsiteY1396" fmla="*/ 609853 h 636862"/>
                <a:gd name="connsiteX1397" fmla="*/ 555058 w 964857"/>
                <a:gd name="connsiteY1397" fmla="*/ 608948 h 636862"/>
                <a:gd name="connsiteX1398" fmla="*/ 552861 w 964857"/>
                <a:gd name="connsiteY1398" fmla="*/ 608690 h 636862"/>
                <a:gd name="connsiteX1399" fmla="*/ 550018 w 964857"/>
                <a:gd name="connsiteY1399" fmla="*/ 608044 h 636862"/>
                <a:gd name="connsiteX1400" fmla="*/ 547950 w 964857"/>
                <a:gd name="connsiteY1400" fmla="*/ 606880 h 636862"/>
                <a:gd name="connsiteX1401" fmla="*/ 547950 w 964857"/>
                <a:gd name="connsiteY1401" fmla="*/ 604942 h 636862"/>
                <a:gd name="connsiteX1402" fmla="*/ 548726 w 964857"/>
                <a:gd name="connsiteY1402" fmla="*/ 605976 h 636862"/>
                <a:gd name="connsiteX1403" fmla="*/ 549760 w 964857"/>
                <a:gd name="connsiteY1403" fmla="*/ 606363 h 636862"/>
                <a:gd name="connsiteX1404" fmla="*/ 550664 w 964857"/>
                <a:gd name="connsiteY1404" fmla="*/ 605976 h 636862"/>
                <a:gd name="connsiteX1405" fmla="*/ 551052 w 964857"/>
                <a:gd name="connsiteY1405" fmla="*/ 604554 h 636862"/>
                <a:gd name="connsiteX1406" fmla="*/ 550923 w 964857"/>
                <a:gd name="connsiteY1406" fmla="*/ 603262 h 636862"/>
                <a:gd name="connsiteX1407" fmla="*/ 551052 w 964857"/>
                <a:gd name="connsiteY1407" fmla="*/ 602357 h 636862"/>
                <a:gd name="connsiteX1408" fmla="*/ 551827 w 964857"/>
                <a:gd name="connsiteY1408" fmla="*/ 601841 h 636862"/>
                <a:gd name="connsiteX1409" fmla="*/ 556609 w 964857"/>
                <a:gd name="connsiteY1409" fmla="*/ 601711 h 636862"/>
                <a:gd name="connsiteX1410" fmla="*/ 557901 w 964857"/>
                <a:gd name="connsiteY1410" fmla="*/ 602099 h 636862"/>
                <a:gd name="connsiteX1411" fmla="*/ 557772 w 964857"/>
                <a:gd name="connsiteY1411" fmla="*/ 603262 h 636862"/>
                <a:gd name="connsiteX1412" fmla="*/ 556609 w 964857"/>
                <a:gd name="connsiteY1412" fmla="*/ 603779 h 636862"/>
                <a:gd name="connsiteX1413" fmla="*/ 555058 w 964857"/>
                <a:gd name="connsiteY1413" fmla="*/ 603521 h 636862"/>
                <a:gd name="connsiteX1414" fmla="*/ 553637 w 964857"/>
                <a:gd name="connsiteY1414" fmla="*/ 603779 h 636862"/>
                <a:gd name="connsiteX1415" fmla="*/ 552732 w 964857"/>
                <a:gd name="connsiteY1415" fmla="*/ 605717 h 636862"/>
                <a:gd name="connsiteX1416" fmla="*/ 558031 w 964857"/>
                <a:gd name="connsiteY1416" fmla="*/ 606363 h 636862"/>
                <a:gd name="connsiteX1417" fmla="*/ 560874 w 964857"/>
                <a:gd name="connsiteY1417" fmla="*/ 604425 h 636862"/>
                <a:gd name="connsiteX1418" fmla="*/ 565268 w 964857"/>
                <a:gd name="connsiteY1418" fmla="*/ 595896 h 636862"/>
                <a:gd name="connsiteX1419" fmla="*/ 566043 w 964857"/>
                <a:gd name="connsiteY1419" fmla="*/ 594991 h 636862"/>
                <a:gd name="connsiteX1420" fmla="*/ 566689 w 964857"/>
                <a:gd name="connsiteY1420" fmla="*/ 594474 h 636862"/>
                <a:gd name="connsiteX1421" fmla="*/ 567335 w 964857"/>
                <a:gd name="connsiteY1421" fmla="*/ 594086 h 636862"/>
                <a:gd name="connsiteX1422" fmla="*/ 568111 w 964857"/>
                <a:gd name="connsiteY1422" fmla="*/ 593569 h 636862"/>
                <a:gd name="connsiteX1423" fmla="*/ 570825 w 964857"/>
                <a:gd name="connsiteY1423" fmla="*/ 589951 h 636862"/>
                <a:gd name="connsiteX1424" fmla="*/ 572505 w 964857"/>
                <a:gd name="connsiteY1424" fmla="*/ 588142 h 636862"/>
                <a:gd name="connsiteX1425" fmla="*/ 593053 w 964857"/>
                <a:gd name="connsiteY1425" fmla="*/ 571858 h 636862"/>
                <a:gd name="connsiteX1426" fmla="*/ 598351 w 964857"/>
                <a:gd name="connsiteY1426" fmla="*/ 569015 h 636862"/>
                <a:gd name="connsiteX1427" fmla="*/ 601065 w 964857"/>
                <a:gd name="connsiteY1427" fmla="*/ 566818 h 636862"/>
                <a:gd name="connsiteX1428" fmla="*/ 603133 w 964857"/>
                <a:gd name="connsiteY1428" fmla="*/ 565784 h 636862"/>
                <a:gd name="connsiteX1429" fmla="*/ 604167 w 964857"/>
                <a:gd name="connsiteY1429" fmla="*/ 563975 h 636862"/>
                <a:gd name="connsiteX1430" fmla="*/ 605588 w 964857"/>
                <a:gd name="connsiteY1430" fmla="*/ 563975 h 636862"/>
                <a:gd name="connsiteX1431" fmla="*/ 607915 w 964857"/>
                <a:gd name="connsiteY1431" fmla="*/ 564621 h 636862"/>
                <a:gd name="connsiteX1432" fmla="*/ 610887 w 964857"/>
                <a:gd name="connsiteY1432" fmla="*/ 563200 h 636862"/>
                <a:gd name="connsiteX1433" fmla="*/ 612438 w 964857"/>
                <a:gd name="connsiteY1433" fmla="*/ 562683 h 636862"/>
                <a:gd name="connsiteX1434" fmla="*/ 613859 w 964857"/>
                <a:gd name="connsiteY1434" fmla="*/ 563070 h 636862"/>
                <a:gd name="connsiteX1435" fmla="*/ 641774 w 964857"/>
                <a:gd name="connsiteY1435" fmla="*/ 545882 h 636862"/>
                <a:gd name="connsiteX1436" fmla="*/ 646556 w 964857"/>
                <a:gd name="connsiteY1436" fmla="*/ 540713 h 636862"/>
                <a:gd name="connsiteX1437" fmla="*/ 647977 w 964857"/>
                <a:gd name="connsiteY1437" fmla="*/ 540067 h 636862"/>
                <a:gd name="connsiteX1438" fmla="*/ 650691 w 964857"/>
                <a:gd name="connsiteY1438" fmla="*/ 537224 h 636862"/>
                <a:gd name="connsiteX1439" fmla="*/ 652371 w 964857"/>
                <a:gd name="connsiteY1439" fmla="*/ 536578 h 636862"/>
                <a:gd name="connsiteX1440" fmla="*/ 653405 w 964857"/>
                <a:gd name="connsiteY1440" fmla="*/ 535931 h 636862"/>
                <a:gd name="connsiteX1441" fmla="*/ 655602 w 964857"/>
                <a:gd name="connsiteY1441" fmla="*/ 531020 h 636862"/>
                <a:gd name="connsiteX1442" fmla="*/ 655731 w 964857"/>
                <a:gd name="connsiteY1442" fmla="*/ 533605 h 636862"/>
                <a:gd name="connsiteX1443" fmla="*/ 657282 w 964857"/>
                <a:gd name="connsiteY1443" fmla="*/ 533993 h 636862"/>
                <a:gd name="connsiteX1444" fmla="*/ 659350 w 964857"/>
                <a:gd name="connsiteY1444" fmla="*/ 533088 h 636862"/>
                <a:gd name="connsiteX1445" fmla="*/ 661030 w 964857"/>
                <a:gd name="connsiteY1445" fmla="*/ 531538 h 636862"/>
                <a:gd name="connsiteX1446" fmla="*/ 661030 w 964857"/>
                <a:gd name="connsiteY1446" fmla="*/ 530504 h 636862"/>
                <a:gd name="connsiteX1447" fmla="*/ 659867 w 964857"/>
                <a:gd name="connsiteY1447" fmla="*/ 527790 h 636862"/>
                <a:gd name="connsiteX1448" fmla="*/ 660254 w 964857"/>
                <a:gd name="connsiteY1448" fmla="*/ 527273 h 636862"/>
                <a:gd name="connsiteX1449" fmla="*/ 660900 w 964857"/>
                <a:gd name="connsiteY1449" fmla="*/ 526627 h 636862"/>
                <a:gd name="connsiteX1450" fmla="*/ 662064 w 964857"/>
                <a:gd name="connsiteY1450" fmla="*/ 522491 h 636862"/>
                <a:gd name="connsiteX1451" fmla="*/ 664519 w 964857"/>
                <a:gd name="connsiteY1451" fmla="*/ 518743 h 636862"/>
                <a:gd name="connsiteX1452" fmla="*/ 667750 w 964857"/>
                <a:gd name="connsiteY1452" fmla="*/ 515771 h 636862"/>
                <a:gd name="connsiteX1453" fmla="*/ 676538 w 964857"/>
                <a:gd name="connsiteY1453" fmla="*/ 510472 h 636862"/>
                <a:gd name="connsiteX1454" fmla="*/ 688556 w 964857"/>
                <a:gd name="connsiteY1454" fmla="*/ 504398 h 636862"/>
                <a:gd name="connsiteX1455" fmla="*/ 704581 w 964857"/>
                <a:gd name="connsiteY1455" fmla="*/ 494189 h 636862"/>
                <a:gd name="connsiteX1456" fmla="*/ 717892 w 964857"/>
                <a:gd name="connsiteY1456" fmla="*/ 488373 h 636862"/>
                <a:gd name="connsiteX1457" fmla="*/ 724613 w 964857"/>
                <a:gd name="connsiteY1457" fmla="*/ 484755 h 636862"/>
                <a:gd name="connsiteX1458" fmla="*/ 725517 w 964857"/>
                <a:gd name="connsiteY1458" fmla="*/ 485143 h 636862"/>
                <a:gd name="connsiteX1459" fmla="*/ 726163 w 964857"/>
                <a:gd name="connsiteY1459" fmla="*/ 485530 h 636862"/>
                <a:gd name="connsiteX1460" fmla="*/ 726551 w 964857"/>
                <a:gd name="connsiteY1460" fmla="*/ 486176 h 636862"/>
                <a:gd name="connsiteX1461" fmla="*/ 726680 w 964857"/>
                <a:gd name="connsiteY1461" fmla="*/ 487210 h 636862"/>
                <a:gd name="connsiteX1462" fmla="*/ 727714 w 964857"/>
                <a:gd name="connsiteY1462" fmla="*/ 486564 h 636862"/>
                <a:gd name="connsiteX1463" fmla="*/ 728102 w 964857"/>
                <a:gd name="connsiteY1463" fmla="*/ 485530 h 636862"/>
                <a:gd name="connsiteX1464" fmla="*/ 728102 w 964857"/>
                <a:gd name="connsiteY1464" fmla="*/ 482816 h 636862"/>
                <a:gd name="connsiteX1465" fmla="*/ 727585 w 964857"/>
                <a:gd name="connsiteY1465" fmla="*/ 482041 h 636862"/>
                <a:gd name="connsiteX1466" fmla="*/ 726293 w 964857"/>
                <a:gd name="connsiteY1466" fmla="*/ 481912 h 636862"/>
                <a:gd name="connsiteX1467" fmla="*/ 724871 w 964857"/>
                <a:gd name="connsiteY1467" fmla="*/ 481912 h 636862"/>
                <a:gd name="connsiteX1468" fmla="*/ 723708 w 964857"/>
                <a:gd name="connsiteY1468" fmla="*/ 481653 h 636862"/>
                <a:gd name="connsiteX1469" fmla="*/ 723320 w 964857"/>
                <a:gd name="connsiteY1469" fmla="*/ 481007 h 636862"/>
                <a:gd name="connsiteX1470" fmla="*/ 722416 w 964857"/>
                <a:gd name="connsiteY1470" fmla="*/ 478681 h 636862"/>
                <a:gd name="connsiteX1471" fmla="*/ 722286 w 964857"/>
                <a:gd name="connsiteY1471" fmla="*/ 478035 h 636862"/>
                <a:gd name="connsiteX1472" fmla="*/ 721899 w 964857"/>
                <a:gd name="connsiteY1472" fmla="*/ 477776 h 636862"/>
                <a:gd name="connsiteX1473" fmla="*/ 720865 w 964857"/>
                <a:gd name="connsiteY1473" fmla="*/ 477389 h 636862"/>
                <a:gd name="connsiteX1474" fmla="*/ 719831 w 964857"/>
                <a:gd name="connsiteY1474" fmla="*/ 476613 h 636862"/>
                <a:gd name="connsiteX1475" fmla="*/ 719314 w 964857"/>
                <a:gd name="connsiteY1475" fmla="*/ 475192 h 636862"/>
                <a:gd name="connsiteX1476" fmla="*/ 721640 w 964857"/>
                <a:gd name="connsiteY1476" fmla="*/ 475838 h 636862"/>
                <a:gd name="connsiteX1477" fmla="*/ 724096 w 964857"/>
                <a:gd name="connsiteY1477" fmla="*/ 476096 h 636862"/>
                <a:gd name="connsiteX1478" fmla="*/ 724225 w 964857"/>
                <a:gd name="connsiteY1478" fmla="*/ 475709 h 636862"/>
                <a:gd name="connsiteX1479" fmla="*/ 723966 w 964857"/>
                <a:gd name="connsiteY1479" fmla="*/ 474804 h 636862"/>
                <a:gd name="connsiteX1480" fmla="*/ 724096 w 964857"/>
                <a:gd name="connsiteY1480" fmla="*/ 473899 h 636862"/>
                <a:gd name="connsiteX1481" fmla="*/ 725388 w 964857"/>
                <a:gd name="connsiteY1481" fmla="*/ 473512 h 636862"/>
                <a:gd name="connsiteX1482" fmla="*/ 726422 w 964857"/>
                <a:gd name="connsiteY1482" fmla="*/ 472478 h 636862"/>
                <a:gd name="connsiteX1483" fmla="*/ 726163 w 964857"/>
                <a:gd name="connsiteY1483" fmla="*/ 470410 h 636862"/>
                <a:gd name="connsiteX1484" fmla="*/ 726551 w 964857"/>
                <a:gd name="connsiteY1484" fmla="*/ 468859 h 636862"/>
                <a:gd name="connsiteX1485" fmla="*/ 729394 w 964857"/>
                <a:gd name="connsiteY1485" fmla="*/ 469505 h 636862"/>
                <a:gd name="connsiteX1486" fmla="*/ 729394 w 964857"/>
                <a:gd name="connsiteY1486" fmla="*/ 470410 h 636862"/>
                <a:gd name="connsiteX1487" fmla="*/ 728748 w 964857"/>
                <a:gd name="connsiteY1487" fmla="*/ 471315 h 636862"/>
                <a:gd name="connsiteX1488" fmla="*/ 729394 w 964857"/>
                <a:gd name="connsiteY1488" fmla="*/ 472090 h 636862"/>
                <a:gd name="connsiteX1489" fmla="*/ 730687 w 964857"/>
                <a:gd name="connsiteY1489" fmla="*/ 472607 h 636862"/>
                <a:gd name="connsiteX1490" fmla="*/ 733659 w 964857"/>
                <a:gd name="connsiteY1490" fmla="*/ 473124 h 636862"/>
                <a:gd name="connsiteX1491" fmla="*/ 734951 w 964857"/>
                <a:gd name="connsiteY1491" fmla="*/ 473899 h 636862"/>
                <a:gd name="connsiteX1492" fmla="*/ 735727 w 964857"/>
                <a:gd name="connsiteY1492" fmla="*/ 475062 h 636862"/>
                <a:gd name="connsiteX1493" fmla="*/ 735985 w 964857"/>
                <a:gd name="connsiteY1493" fmla="*/ 476484 h 636862"/>
                <a:gd name="connsiteX1494" fmla="*/ 736373 w 964857"/>
                <a:gd name="connsiteY1494" fmla="*/ 477518 h 636862"/>
                <a:gd name="connsiteX1495" fmla="*/ 737277 w 964857"/>
                <a:gd name="connsiteY1495" fmla="*/ 478681 h 636862"/>
                <a:gd name="connsiteX1496" fmla="*/ 738053 w 964857"/>
                <a:gd name="connsiteY1496" fmla="*/ 479973 h 636862"/>
                <a:gd name="connsiteX1497" fmla="*/ 738182 w 964857"/>
                <a:gd name="connsiteY1497" fmla="*/ 481653 h 636862"/>
                <a:gd name="connsiteX1498" fmla="*/ 737277 w 964857"/>
                <a:gd name="connsiteY1498" fmla="*/ 482946 h 636862"/>
                <a:gd name="connsiteX1499" fmla="*/ 734564 w 964857"/>
                <a:gd name="connsiteY1499" fmla="*/ 483979 h 636862"/>
                <a:gd name="connsiteX1500" fmla="*/ 733788 w 964857"/>
                <a:gd name="connsiteY1500" fmla="*/ 485660 h 636862"/>
                <a:gd name="connsiteX1501" fmla="*/ 737019 w 964857"/>
                <a:gd name="connsiteY1501" fmla="*/ 486176 h 636862"/>
                <a:gd name="connsiteX1502" fmla="*/ 739216 w 964857"/>
                <a:gd name="connsiteY1502" fmla="*/ 484884 h 636862"/>
                <a:gd name="connsiteX1503" fmla="*/ 740767 w 964857"/>
                <a:gd name="connsiteY1503" fmla="*/ 483204 h 636862"/>
                <a:gd name="connsiteX1504" fmla="*/ 742835 w 964857"/>
                <a:gd name="connsiteY1504" fmla="*/ 482041 h 636862"/>
                <a:gd name="connsiteX1505" fmla="*/ 744256 w 964857"/>
                <a:gd name="connsiteY1505" fmla="*/ 481524 h 636862"/>
                <a:gd name="connsiteX1506" fmla="*/ 745678 w 964857"/>
                <a:gd name="connsiteY1506" fmla="*/ 481265 h 636862"/>
                <a:gd name="connsiteX1507" fmla="*/ 746324 w 964857"/>
                <a:gd name="connsiteY1507" fmla="*/ 481912 h 636862"/>
                <a:gd name="connsiteX1508" fmla="*/ 746841 w 964857"/>
                <a:gd name="connsiteY1508" fmla="*/ 482946 h 636862"/>
                <a:gd name="connsiteX1509" fmla="*/ 747875 w 964857"/>
                <a:gd name="connsiteY1509" fmla="*/ 483075 h 636862"/>
                <a:gd name="connsiteX1510" fmla="*/ 749167 w 964857"/>
                <a:gd name="connsiteY1510" fmla="*/ 482558 h 636862"/>
                <a:gd name="connsiteX1511" fmla="*/ 750072 w 964857"/>
                <a:gd name="connsiteY1511" fmla="*/ 481524 h 636862"/>
                <a:gd name="connsiteX1512" fmla="*/ 749684 w 964857"/>
                <a:gd name="connsiteY1512" fmla="*/ 480490 h 636862"/>
                <a:gd name="connsiteX1513" fmla="*/ 749813 w 964857"/>
                <a:gd name="connsiteY1513" fmla="*/ 478423 h 636862"/>
                <a:gd name="connsiteX1514" fmla="*/ 750201 w 964857"/>
                <a:gd name="connsiteY1514" fmla="*/ 476096 h 636862"/>
                <a:gd name="connsiteX1515" fmla="*/ 750718 w 964857"/>
                <a:gd name="connsiteY1515" fmla="*/ 474416 h 636862"/>
                <a:gd name="connsiteX1516" fmla="*/ 751752 w 964857"/>
                <a:gd name="connsiteY1516" fmla="*/ 472736 h 636862"/>
                <a:gd name="connsiteX1517" fmla="*/ 755887 w 964857"/>
                <a:gd name="connsiteY1517" fmla="*/ 467954 h 636862"/>
                <a:gd name="connsiteX1518" fmla="*/ 753690 w 964857"/>
                <a:gd name="connsiteY1518" fmla="*/ 467954 h 636862"/>
                <a:gd name="connsiteX1519" fmla="*/ 752268 w 964857"/>
                <a:gd name="connsiteY1519" fmla="*/ 468601 h 636862"/>
                <a:gd name="connsiteX1520" fmla="*/ 748262 w 964857"/>
                <a:gd name="connsiteY1520" fmla="*/ 472865 h 636862"/>
                <a:gd name="connsiteX1521" fmla="*/ 746712 w 964857"/>
                <a:gd name="connsiteY1521" fmla="*/ 473899 h 636862"/>
                <a:gd name="connsiteX1522" fmla="*/ 745031 w 964857"/>
                <a:gd name="connsiteY1522" fmla="*/ 474287 h 636862"/>
                <a:gd name="connsiteX1523" fmla="*/ 742705 w 964857"/>
                <a:gd name="connsiteY1523" fmla="*/ 474416 h 636862"/>
                <a:gd name="connsiteX1524" fmla="*/ 742705 w 964857"/>
                <a:gd name="connsiteY1524" fmla="*/ 473512 h 636862"/>
                <a:gd name="connsiteX1525" fmla="*/ 745936 w 964857"/>
                <a:gd name="connsiteY1525" fmla="*/ 472607 h 636862"/>
                <a:gd name="connsiteX1526" fmla="*/ 748650 w 964857"/>
                <a:gd name="connsiteY1526" fmla="*/ 470927 h 636862"/>
                <a:gd name="connsiteX1527" fmla="*/ 750847 w 964857"/>
                <a:gd name="connsiteY1527" fmla="*/ 468601 h 636862"/>
                <a:gd name="connsiteX1528" fmla="*/ 752268 w 964857"/>
                <a:gd name="connsiteY1528" fmla="*/ 465499 h 636862"/>
                <a:gd name="connsiteX1529" fmla="*/ 753044 w 964857"/>
                <a:gd name="connsiteY1529" fmla="*/ 465499 h 636862"/>
                <a:gd name="connsiteX1530" fmla="*/ 753173 w 964857"/>
                <a:gd name="connsiteY1530" fmla="*/ 466145 h 636862"/>
                <a:gd name="connsiteX1531" fmla="*/ 753302 w 964857"/>
                <a:gd name="connsiteY1531" fmla="*/ 466404 h 636862"/>
                <a:gd name="connsiteX1532" fmla="*/ 757309 w 964857"/>
                <a:gd name="connsiteY1532" fmla="*/ 464724 h 636862"/>
                <a:gd name="connsiteX1533" fmla="*/ 759376 w 964857"/>
                <a:gd name="connsiteY1533" fmla="*/ 463690 h 636862"/>
                <a:gd name="connsiteX1534" fmla="*/ 761444 w 964857"/>
                <a:gd name="connsiteY1534" fmla="*/ 463173 h 636862"/>
                <a:gd name="connsiteX1535" fmla="*/ 763899 w 964857"/>
                <a:gd name="connsiteY1535" fmla="*/ 463819 h 636862"/>
                <a:gd name="connsiteX1536" fmla="*/ 765063 w 964857"/>
                <a:gd name="connsiteY1536" fmla="*/ 463819 h 636862"/>
                <a:gd name="connsiteX1537" fmla="*/ 765967 w 964857"/>
                <a:gd name="connsiteY1537" fmla="*/ 461751 h 636862"/>
                <a:gd name="connsiteX1538" fmla="*/ 767130 w 964857"/>
                <a:gd name="connsiteY1538" fmla="*/ 460717 h 636862"/>
                <a:gd name="connsiteX1539" fmla="*/ 769069 w 964857"/>
                <a:gd name="connsiteY1539" fmla="*/ 459425 h 636862"/>
                <a:gd name="connsiteX1540" fmla="*/ 772687 w 964857"/>
                <a:gd name="connsiteY1540" fmla="*/ 458004 h 636862"/>
                <a:gd name="connsiteX1541" fmla="*/ 782509 w 964857"/>
                <a:gd name="connsiteY1541" fmla="*/ 455548 h 636862"/>
                <a:gd name="connsiteX1542" fmla="*/ 786903 w 964857"/>
                <a:gd name="connsiteY1542" fmla="*/ 455419 h 636862"/>
                <a:gd name="connsiteX1543" fmla="*/ 787808 w 964857"/>
                <a:gd name="connsiteY1543" fmla="*/ 455677 h 636862"/>
                <a:gd name="connsiteX1544" fmla="*/ 790134 w 964857"/>
                <a:gd name="connsiteY1544" fmla="*/ 456711 h 636862"/>
                <a:gd name="connsiteX1545" fmla="*/ 791297 w 964857"/>
                <a:gd name="connsiteY1545" fmla="*/ 457099 h 636862"/>
                <a:gd name="connsiteX1546" fmla="*/ 798276 w 964857"/>
                <a:gd name="connsiteY1546" fmla="*/ 457357 h 636862"/>
                <a:gd name="connsiteX1547" fmla="*/ 805254 w 964857"/>
                <a:gd name="connsiteY1547" fmla="*/ 459554 h 636862"/>
                <a:gd name="connsiteX1548" fmla="*/ 805383 w 964857"/>
                <a:gd name="connsiteY1548" fmla="*/ 459425 h 636862"/>
                <a:gd name="connsiteX1549" fmla="*/ 807451 w 964857"/>
                <a:gd name="connsiteY1549" fmla="*/ 459554 h 636862"/>
                <a:gd name="connsiteX1550" fmla="*/ 807968 w 964857"/>
                <a:gd name="connsiteY1550" fmla="*/ 459813 h 636862"/>
                <a:gd name="connsiteX1551" fmla="*/ 808356 w 964857"/>
                <a:gd name="connsiteY1551" fmla="*/ 460717 h 636862"/>
                <a:gd name="connsiteX1552" fmla="*/ 808873 w 964857"/>
                <a:gd name="connsiteY1552" fmla="*/ 460976 h 636862"/>
                <a:gd name="connsiteX1553" fmla="*/ 810036 w 964857"/>
                <a:gd name="connsiteY1553" fmla="*/ 460976 h 636862"/>
                <a:gd name="connsiteX1554" fmla="*/ 813654 w 964857"/>
                <a:gd name="connsiteY1554" fmla="*/ 460201 h 636862"/>
                <a:gd name="connsiteX1555" fmla="*/ 815981 w 964857"/>
                <a:gd name="connsiteY1555" fmla="*/ 460847 h 636862"/>
                <a:gd name="connsiteX1556" fmla="*/ 818436 w 964857"/>
                <a:gd name="connsiteY1556" fmla="*/ 463948 h 636862"/>
                <a:gd name="connsiteX1557" fmla="*/ 820504 w 964857"/>
                <a:gd name="connsiteY1557" fmla="*/ 464853 h 636862"/>
                <a:gd name="connsiteX1558" fmla="*/ 821667 w 964857"/>
                <a:gd name="connsiteY1558" fmla="*/ 464724 h 636862"/>
                <a:gd name="connsiteX1559" fmla="*/ 823864 w 964857"/>
                <a:gd name="connsiteY1559" fmla="*/ 463561 h 636862"/>
                <a:gd name="connsiteX1560" fmla="*/ 825415 w 964857"/>
                <a:gd name="connsiteY1560" fmla="*/ 463302 h 636862"/>
                <a:gd name="connsiteX1561" fmla="*/ 826319 w 964857"/>
                <a:gd name="connsiteY1561" fmla="*/ 463561 h 636862"/>
                <a:gd name="connsiteX1562" fmla="*/ 827224 w 964857"/>
                <a:gd name="connsiteY1562" fmla="*/ 463948 h 636862"/>
                <a:gd name="connsiteX1563" fmla="*/ 828258 w 964857"/>
                <a:gd name="connsiteY1563" fmla="*/ 464207 h 636862"/>
                <a:gd name="connsiteX1564" fmla="*/ 829550 w 964857"/>
                <a:gd name="connsiteY1564" fmla="*/ 464078 h 636862"/>
                <a:gd name="connsiteX1565" fmla="*/ 831747 w 964857"/>
                <a:gd name="connsiteY1565" fmla="*/ 462914 h 636862"/>
                <a:gd name="connsiteX1566" fmla="*/ 833039 w 964857"/>
                <a:gd name="connsiteY1566" fmla="*/ 460847 h 636862"/>
                <a:gd name="connsiteX1567" fmla="*/ 833169 w 964857"/>
                <a:gd name="connsiteY1567" fmla="*/ 458520 h 636862"/>
                <a:gd name="connsiteX1568" fmla="*/ 832135 w 964857"/>
                <a:gd name="connsiteY1568" fmla="*/ 456453 h 636862"/>
                <a:gd name="connsiteX1569" fmla="*/ 831747 w 964857"/>
                <a:gd name="connsiteY1569" fmla="*/ 455419 h 636862"/>
                <a:gd name="connsiteX1570" fmla="*/ 832523 w 964857"/>
                <a:gd name="connsiteY1570" fmla="*/ 452834 h 636862"/>
                <a:gd name="connsiteX1571" fmla="*/ 832393 w 964857"/>
                <a:gd name="connsiteY1571" fmla="*/ 451283 h 636862"/>
                <a:gd name="connsiteX1572" fmla="*/ 831747 w 964857"/>
                <a:gd name="connsiteY1572" fmla="*/ 450767 h 636862"/>
                <a:gd name="connsiteX1573" fmla="*/ 830713 w 964857"/>
                <a:gd name="connsiteY1573" fmla="*/ 450637 h 636862"/>
                <a:gd name="connsiteX1574" fmla="*/ 829809 w 964857"/>
                <a:gd name="connsiteY1574" fmla="*/ 450120 h 636862"/>
                <a:gd name="connsiteX1575" fmla="*/ 829421 w 964857"/>
                <a:gd name="connsiteY1575" fmla="*/ 448569 h 636862"/>
                <a:gd name="connsiteX1576" fmla="*/ 829292 w 964857"/>
                <a:gd name="connsiteY1576" fmla="*/ 447277 h 636862"/>
                <a:gd name="connsiteX1577" fmla="*/ 828775 w 964857"/>
                <a:gd name="connsiteY1577" fmla="*/ 444822 h 636862"/>
                <a:gd name="connsiteX1578" fmla="*/ 828775 w 964857"/>
                <a:gd name="connsiteY1578" fmla="*/ 443400 h 636862"/>
                <a:gd name="connsiteX1579" fmla="*/ 829292 w 964857"/>
                <a:gd name="connsiteY1579" fmla="*/ 442108 h 636862"/>
                <a:gd name="connsiteX1580" fmla="*/ 830455 w 964857"/>
                <a:gd name="connsiteY1580" fmla="*/ 440686 h 636862"/>
                <a:gd name="connsiteX1581" fmla="*/ 830843 w 964857"/>
                <a:gd name="connsiteY1581" fmla="*/ 439394 h 636862"/>
                <a:gd name="connsiteX1582" fmla="*/ 833427 w 964857"/>
                <a:gd name="connsiteY1582" fmla="*/ 440169 h 636862"/>
                <a:gd name="connsiteX1583" fmla="*/ 835624 w 964857"/>
                <a:gd name="connsiteY1583" fmla="*/ 439265 h 636862"/>
                <a:gd name="connsiteX1584" fmla="*/ 837692 w 964857"/>
                <a:gd name="connsiteY1584" fmla="*/ 437843 h 636862"/>
                <a:gd name="connsiteX1585" fmla="*/ 840018 w 964857"/>
                <a:gd name="connsiteY1585" fmla="*/ 437068 h 636862"/>
                <a:gd name="connsiteX1586" fmla="*/ 840664 w 964857"/>
                <a:gd name="connsiteY1586" fmla="*/ 436551 h 636862"/>
                <a:gd name="connsiteX1587" fmla="*/ 841569 w 964857"/>
                <a:gd name="connsiteY1587" fmla="*/ 435388 h 636862"/>
                <a:gd name="connsiteX1588" fmla="*/ 842732 w 964857"/>
                <a:gd name="connsiteY1588" fmla="*/ 434224 h 636862"/>
                <a:gd name="connsiteX1589" fmla="*/ 844024 w 964857"/>
                <a:gd name="connsiteY1589" fmla="*/ 433708 h 636862"/>
                <a:gd name="connsiteX1590" fmla="*/ 845187 w 964857"/>
                <a:gd name="connsiteY1590" fmla="*/ 434095 h 636862"/>
                <a:gd name="connsiteX1591" fmla="*/ 846738 w 964857"/>
                <a:gd name="connsiteY1591" fmla="*/ 435646 h 636862"/>
                <a:gd name="connsiteX1592" fmla="*/ 848031 w 964857"/>
                <a:gd name="connsiteY1592" fmla="*/ 436034 h 636862"/>
                <a:gd name="connsiteX1593" fmla="*/ 851132 w 964857"/>
                <a:gd name="connsiteY1593" fmla="*/ 434742 h 636862"/>
                <a:gd name="connsiteX1594" fmla="*/ 852424 w 964857"/>
                <a:gd name="connsiteY1594" fmla="*/ 434483 h 636862"/>
                <a:gd name="connsiteX1595" fmla="*/ 853458 w 964857"/>
                <a:gd name="connsiteY1595" fmla="*/ 433966 h 636862"/>
                <a:gd name="connsiteX1596" fmla="*/ 853200 w 964857"/>
                <a:gd name="connsiteY1596" fmla="*/ 432674 h 636862"/>
                <a:gd name="connsiteX1597" fmla="*/ 852037 w 964857"/>
                <a:gd name="connsiteY1597" fmla="*/ 430477 h 636862"/>
                <a:gd name="connsiteX1598" fmla="*/ 853458 w 964857"/>
                <a:gd name="connsiteY1598" fmla="*/ 428280 h 636862"/>
                <a:gd name="connsiteX1599" fmla="*/ 855268 w 964857"/>
                <a:gd name="connsiteY1599" fmla="*/ 428538 h 636862"/>
                <a:gd name="connsiteX1600" fmla="*/ 857335 w 964857"/>
                <a:gd name="connsiteY1600" fmla="*/ 429314 h 636862"/>
                <a:gd name="connsiteX1601" fmla="*/ 859403 w 964857"/>
                <a:gd name="connsiteY1601" fmla="*/ 428797 h 636862"/>
                <a:gd name="connsiteX1602" fmla="*/ 858886 w 964857"/>
                <a:gd name="connsiteY1602" fmla="*/ 427246 h 636862"/>
                <a:gd name="connsiteX1603" fmla="*/ 858757 w 964857"/>
                <a:gd name="connsiteY1603" fmla="*/ 425308 h 636862"/>
                <a:gd name="connsiteX1604" fmla="*/ 859274 w 964857"/>
                <a:gd name="connsiteY1604" fmla="*/ 424015 h 636862"/>
                <a:gd name="connsiteX1605" fmla="*/ 860566 w 964857"/>
                <a:gd name="connsiteY1605" fmla="*/ 424532 h 636862"/>
                <a:gd name="connsiteX1606" fmla="*/ 861729 w 964857"/>
                <a:gd name="connsiteY1606" fmla="*/ 425566 h 636862"/>
                <a:gd name="connsiteX1607" fmla="*/ 862892 w 964857"/>
                <a:gd name="connsiteY1607" fmla="*/ 426341 h 636862"/>
                <a:gd name="connsiteX1608" fmla="*/ 864185 w 964857"/>
                <a:gd name="connsiteY1608" fmla="*/ 426987 h 636862"/>
                <a:gd name="connsiteX1609" fmla="*/ 865477 w 964857"/>
                <a:gd name="connsiteY1609" fmla="*/ 427246 h 636862"/>
                <a:gd name="connsiteX1610" fmla="*/ 864702 w 964857"/>
                <a:gd name="connsiteY1610" fmla="*/ 425178 h 636862"/>
                <a:gd name="connsiteX1611" fmla="*/ 865348 w 964857"/>
                <a:gd name="connsiteY1611" fmla="*/ 424532 h 636862"/>
                <a:gd name="connsiteX1612" fmla="*/ 866640 w 964857"/>
                <a:gd name="connsiteY1612" fmla="*/ 425178 h 636862"/>
                <a:gd name="connsiteX1613" fmla="*/ 867674 w 964857"/>
                <a:gd name="connsiteY1613" fmla="*/ 427246 h 636862"/>
                <a:gd name="connsiteX1614" fmla="*/ 869871 w 964857"/>
                <a:gd name="connsiteY1614" fmla="*/ 422335 h 636862"/>
                <a:gd name="connsiteX1615" fmla="*/ 871551 w 964857"/>
                <a:gd name="connsiteY1615" fmla="*/ 421043 h 636862"/>
                <a:gd name="connsiteX1616" fmla="*/ 874394 w 964857"/>
                <a:gd name="connsiteY1616" fmla="*/ 420913 h 636862"/>
                <a:gd name="connsiteX1617" fmla="*/ 872973 w 964857"/>
                <a:gd name="connsiteY1617" fmla="*/ 419234 h 636862"/>
                <a:gd name="connsiteX1618" fmla="*/ 871034 w 964857"/>
                <a:gd name="connsiteY1618" fmla="*/ 418329 h 636862"/>
                <a:gd name="connsiteX1619" fmla="*/ 869871 w 964857"/>
                <a:gd name="connsiteY1619" fmla="*/ 417166 h 636862"/>
                <a:gd name="connsiteX1620" fmla="*/ 870646 w 964857"/>
                <a:gd name="connsiteY1620" fmla="*/ 414581 h 636862"/>
                <a:gd name="connsiteX1621" fmla="*/ 871422 w 964857"/>
                <a:gd name="connsiteY1621" fmla="*/ 415744 h 636862"/>
                <a:gd name="connsiteX1622" fmla="*/ 872326 w 964857"/>
                <a:gd name="connsiteY1622" fmla="*/ 415744 h 636862"/>
                <a:gd name="connsiteX1623" fmla="*/ 874523 w 964857"/>
                <a:gd name="connsiteY1623" fmla="*/ 414452 h 636862"/>
                <a:gd name="connsiteX1624" fmla="*/ 875299 w 964857"/>
                <a:gd name="connsiteY1624" fmla="*/ 414193 h 636862"/>
                <a:gd name="connsiteX1625" fmla="*/ 876720 w 964857"/>
                <a:gd name="connsiteY1625" fmla="*/ 413935 h 636862"/>
                <a:gd name="connsiteX1626" fmla="*/ 877496 w 964857"/>
                <a:gd name="connsiteY1626" fmla="*/ 413676 h 636862"/>
                <a:gd name="connsiteX1627" fmla="*/ 878013 w 964857"/>
                <a:gd name="connsiteY1627" fmla="*/ 413030 h 636862"/>
                <a:gd name="connsiteX1628" fmla="*/ 878659 w 964857"/>
                <a:gd name="connsiteY1628" fmla="*/ 411609 h 636862"/>
                <a:gd name="connsiteX1629" fmla="*/ 879176 w 964857"/>
                <a:gd name="connsiteY1629" fmla="*/ 411350 h 636862"/>
                <a:gd name="connsiteX1630" fmla="*/ 880468 w 964857"/>
                <a:gd name="connsiteY1630" fmla="*/ 410058 h 636862"/>
                <a:gd name="connsiteX1631" fmla="*/ 884087 w 964857"/>
                <a:gd name="connsiteY1631" fmla="*/ 407861 h 636862"/>
                <a:gd name="connsiteX1632" fmla="*/ 887059 w 964857"/>
                <a:gd name="connsiteY1632" fmla="*/ 406956 h 636862"/>
                <a:gd name="connsiteX1633" fmla="*/ 886413 w 964857"/>
                <a:gd name="connsiteY1633" fmla="*/ 409670 h 636862"/>
                <a:gd name="connsiteX1634" fmla="*/ 887964 w 964857"/>
                <a:gd name="connsiteY1634" fmla="*/ 409024 h 636862"/>
                <a:gd name="connsiteX1635" fmla="*/ 888739 w 964857"/>
                <a:gd name="connsiteY1635" fmla="*/ 408895 h 636862"/>
                <a:gd name="connsiteX1636" fmla="*/ 889773 w 964857"/>
                <a:gd name="connsiteY1636" fmla="*/ 408895 h 636862"/>
                <a:gd name="connsiteX1637" fmla="*/ 890807 w 964857"/>
                <a:gd name="connsiteY1637" fmla="*/ 409283 h 636862"/>
                <a:gd name="connsiteX1638" fmla="*/ 891324 w 964857"/>
                <a:gd name="connsiteY1638" fmla="*/ 410187 h 636862"/>
                <a:gd name="connsiteX1639" fmla="*/ 891711 w 964857"/>
                <a:gd name="connsiteY1639" fmla="*/ 411221 h 636862"/>
                <a:gd name="connsiteX1640" fmla="*/ 892358 w 964857"/>
                <a:gd name="connsiteY1640" fmla="*/ 411997 h 636862"/>
                <a:gd name="connsiteX1641" fmla="*/ 894167 w 964857"/>
                <a:gd name="connsiteY1641" fmla="*/ 411997 h 636862"/>
                <a:gd name="connsiteX1642" fmla="*/ 895588 w 964857"/>
                <a:gd name="connsiteY1642" fmla="*/ 411092 h 636862"/>
                <a:gd name="connsiteX1643" fmla="*/ 897010 w 964857"/>
                <a:gd name="connsiteY1643" fmla="*/ 410446 h 636862"/>
                <a:gd name="connsiteX1644" fmla="*/ 898819 w 964857"/>
                <a:gd name="connsiteY1644" fmla="*/ 411350 h 636862"/>
                <a:gd name="connsiteX1645" fmla="*/ 900499 w 964857"/>
                <a:gd name="connsiteY1645" fmla="*/ 410704 h 636862"/>
                <a:gd name="connsiteX1646" fmla="*/ 902438 w 964857"/>
                <a:gd name="connsiteY1646" fmla="*/ 410446 h 636862"/>
                <a:gd name="connsiteX1647" fmla="*/ 903989 w 964857"/>
                <a:gd name="connsiteY1647" fmla="*/ 409799 h 636862"/>
                <a:gd name="connsiteX1648" fmla="*/ 904506 w 964857"/>
                <a:gd name="connsiteY1648" fmla="*/ 408249 h 636862"/>
                <a:gd name="connsiteX1649" fmla="*/ 901275 w 964857"/>
                <a:gd name="connsiteY1649" fmla="*/ 406181 h 636862"/>
                <a:gd name="connsiteX1650" fmla="*/ 900112 w 964857"/>
                <a:gd name="connsiteY1650" fmla="*/ 405018 h 636862"/>
                <a:gd name="connsiteX1651" fmla="*/ 898949 w 964857"/>
                <a:gd name="connsiteY1651" fmla="*/ 402950 h 636862"/>
                <a:gd name="connsiteX1652" fmla="*/ 898044 w 964857"/>
                <a:gd name="connsiteY1652" fmla="*/ 401658 h 636862"/>
                <a:gd name="connsiteX1653" fmla="*/ 897398 w 964857"/>
                <a:gd name="connsiteY1653" fmla="*/ 401270 h 636862"/>
                <a:gd name="connsiteX1654" fmla="*/ 896881 w 964857"/>
                <a:gd name="connsiteY1654" fmla="*/ 401399 h 636862"/>
                <a:gd name="connsiteX1655" fmla="*/ 896493 w 964857"/>
                <a:gd name="connsiteY1655" fmla="*/ 401787 h 636862"/>
                <a:gd name="connsiteX1656" fmla="*/ 895976 w 964857"/>
                <a:gd name="connsiteY1656" fmla="*/ 402045 h 636862"/>
                <a:gd name="connsiteX1657" fmla="*/ 895201 w 964857"/>
                <a:gd name="connsiteY1657" fmla="*/ 402045 h 636862"/>
                <a:gd name="connsiteX1658" fmla="*/ 894813 w 964857"/>
                <a:gd name="connsiteY1658" fmla="*/ 401658 h 636862"/>
                <a:gd name="connsiteX1659" fmla="*/ 893133 w 964857"/>
                <a:gd name="connsiteY1659" fmla="*/ 398815 h 636862"/>
                <a:gd name="connsiteX1660" fmla="*/ 890290 w 964857"/>
                <a:gd name="connsiteY1660" fmla="*/ 394938 h 636862"/>
                <a:gd name="connsiteX1661" fmla="*/ 889773 w 964857"/>
                <a:gd name="connsiteY1661" fmla="*/ 393904 h 636862"/>
                <a:gd name="connsiteX1662" fmla="*/ 889644 w 964857"/>
                <a:gd name="connsiteY1662" fmla="*/ 393257 h 636862"/>
                <a:gd name="connsiteX1663" fmla="*/ 889644 w 964857"/>
                <a:gd name="connsiteY1663" fmla="*/ 392482 h 636862"/>
                <a:gd name="connsiteX1664" fmla="*/ 889773 w 964857"/>
                <a:gd name="connsiteY1664" fmla="*/ 391965 h 636862"/>
                <a:gd name="connsiteX1665" fmla="*/ 890031 w 964857"/>
                <a:gd name="connsiteY1665" fmla="*/ 391190 h 636862"/>
                <a:gd name="connsiteX1666" fmla="*/ 891841 w 964857"/>
                <a:gd name="connsiteY1666" fmla="*/ 387959 h 636862"/>
                <a:gd name="connsiteX1667" fmla="*/ 892875 w 964857"/>
                <a:gd name="connsiteY1667" fmla="*/ 387054 h 636862"/>
                <a:gd name="connsiteX1668" fmla="*/ 893391 w 964857"/>
                <a:gd name="connsiteY1668" fmla="*/ 386925 h 636862"/>
                <a:gd name="connsiteX1669" fmla="*/ 894296 w 964857"/>
                <a:gd name="connsiteY1669" fmla="*/ 386279 h 636862"/>
                <a:gd name="connsiteX1670" fmla="*/ 895072 w 964857"/>
                <a:gd name="connsiteY1670" fmla="*/ 385245 h 636862"/>
                <a:gd name="connsiteX1671" fmla="*/ 896105 w 964857"/>
                <a:gd name="connsiteY1671" fmla="*/ 383177 h 636862"/>
                <a:gd name="connsiteX1672" fmla="*/ 896364 w 964857"/>
                <a:gd name="connsiteY1672" fmla="*/ 382014 h 636862"/>
                <a:gd name="connsiteX1673" fmla="*/ 896364 w 964857"/>
                <a:gd name="connsiteY1673" fmla="*/ 381110 h 636862"/>
                <a:gd name="connsiteX1674" fmla="*/ 896105 w 964857"/>
                <a:gd name="connsiteY1674" fmla="*/ 379817 h 636862"/>
                <a:gd name="connsiteX1675" fmla="*/ 895976 w 964857"/>
                <a:gd name="connsiteY1675" fmla="*/ 378396 h 636862"/>
                <a:gd name="connsiteX1676" fmla="*/ 895976 w 964857"/>
                <a:gd name="connsiteY1676" fmla="*/ 376069 h 636862"/>
                <a:gd name="connsiteX1677" fmla="*/ 897269 w 964857"/>
                <a:gd name="connsiteY1677" fmla="*/ 369737 h 636862"/>
                <a:gd name="connsiteX1678" fmla="*/ 897269 w 964857"/>
                <a:gd name="connsiteY1678" fmla="*/ 368962 h 636862"/>
                <a:gd name="connsiteX1679" fmla="*/ 897139 w 964857"/>
                <a:gd name="connsiteY1679" fmla="*/ 367669 h 636862"/>
                <a:gd name="connsiteX1680" fmla="*/ 897010 w 964857"/>
                <a:gd name="connsiteY1680" fmla="*/ 367282 h 636862"/>
                <a:gd name="connsiteX1681" fmla="*/ 897010 w 964857"/>
                <a:gd name="connsiteY1681" fmla="*/ 367023 h 636862"/>
                <a:gd name="connsiteX1682" fmla="*/ 897010 w 964857"/>
                <a:gd name="connsiteY1682" fmla="*/ 365731 h 636862"/>
                <a:gd name="connsiteX1683" fmla="*/ 897398 w 964857"/>
                <a:gd name="connsiteY1683" fmla="*/ 365214 h 636862"/>
                <a:gd name="connsiteX1684" fmla="*/ 897915 w 964857"/>
                <a:gd name="connsiteY1684" fmla="*/ 364826 h 636862"/>
                <a:gd name="connsiteX1685" fmla="*/ 899982 w 964857"/>
                <a:gd name="connsiteY1685" fmla="*/ 364568 h 636862"/>
                <a:gd name="connsiteX1686" fmla="*/ 900629 w 964857"/>
                <a:gd name="connsiteY1686" fmla="*/ 364438 h 636862"/>
                <a:gd name="connsiteX1687" fmla="*/ 901146 w 964857"/>
                <a:gd name="connsiteY1687" fmla="*/ 364051 h 636862"/>
                <a:gd name="connsiteX1688" fmla="*/ 901662 w 964857"/>
                <a:gd name="connsiteY1688" fmla="*/ 363534 h 636862"/>
                <a:gd name="connsiteX1689" fmla="*/ 903084 w 964857"/>
                <a:gd name="connsiteY1689" fmla="*/ 361208 h 636862"/>
                <a:gd name="connsiteX1690" fmla="*/ 903601 w 964857"/>
                <a:gd name="connsiteY1690" fmla="*/ 360561 h 636862"/>
                <a:gd name="connsiteX1691" fmla="*/ 904376 w 964857"/>
                <a:gd name="connsiteY1691" fmla="*/ 359786 h 636862"/>
                <a:gd name="connsiteX1692" fmla="*/ 905023 w 964857"/>
                <a:gd name="connsiteY1692" fmla="*/ 359269 h 636862"/>
                <a:gd name="connsiteX1693" fmla="*/ 905669 w 964857"/>
                <a:gd name="connsiteY1693" fmla="*/ 358882 h 636862"/>
                <a:gd name="connsiteX1694" fmla="*/ 906315 w 964857"/>
                <a:gd name="connsiteY1694" fmla="*/ 358752 h 636862"/>
                <a:gd name="connsiteX1695" fmla="*/ 909804 w 964857"/>
                <a:gd name="connsiteY1695" fmla="*/ 358364 h 636862"/>
                <a:gd name="connsiteX1696" fmla="*/ 910967 w 964857"/>
                <a:gd name="connsiteY1696" fmla="*/ 357977 h 636862"/>
                <a:gd name="connsiteX1697" fmla="*/ 912906 w 964857"/>
                <a:gd name="connsiteY1697" fmla="*/ 356943 h 636862"/>
                <a:gd name="connsiteX1698" fmla="*/ 916654 w 964857"/>
                <a:gd name="connsiteY1698" fmla="*/ 354229 h 636862"/>
                <a:gd name="connsiteX1699" fmla="*/ 919367 w 964857"/>
                <a:gd name="connsiteY1699" fmla="*/ 352937 h 636862"/>
                <a:gd name="connsiteX1700" fmla="*/ 920014 w 964857"/>
                <a:gd name="connsiteY1700" fmla="*/ 352808 h 636862"/>
                <a:gd name="connsiteX1701" fmla="*/ 920660 w 964857"/>
                <a:gd name="connsiteY1701" fmla="*/ 352678 h 636862"/>
                <a:gd name="connsiteX1702" fmla="*/ 921306 w 964857"/>
                <a:gd name="connsiteY1702" fmla="*/ 352678 h 636862"/>
                <a:gd name="connsiteX1703" fmla="*/ 921952 w 964857"/>
                <a:gd name="connsiteY1703" fmla="*/ 352808 h 636862"/>
                <a:gd name="connsiteX1704" fmla="*/ 923632 w 964857"/>
                <a:gd name="connsiteY1704" fmla="*/ 353583 h 636862"/>
                <a:gd name="connsiteX1705" fmla="*/ 924408 w 964857"/>
                <a:gd name="connsiteY1705" fmla="*/ 353583 h 636862"/>
                <a:gd name="connsiteX1706" fmla="*/ 925700 w 964857"/>
                <a:gd name="connsiteY1706" fmla="*/ 353195 h 636862"/>
                <a:gd name="connsiteX1707" fmla="*/ 931386 w 964857"/>
                <a:gd name="connsiteY1707" fmla="*/ 349706 h 636862"/>
                <a:gd name="connsiteX1708" fmla="*/ 932291 w 964857"/>
                <a:gd name="connsiteY1708" fmla="*/ 349447 h 636862"/>
                <a:gd name="connsiteX1709" fmla="*/ 932679 w 964857"/>
                <a:gd name="connsiteY1709" fmla="*/ 349706 h 636862"/>
                <a:gd name="connsiteX1710" fmla="*/ 932937 w 964857"/>
                <a:gd name="connsiteY1710" fmla="*/ 350223 h 636862"/>
                <a:gd name="connsiteX1711" fmla="*/ 933066 w 964857"/>
                <a:gd name="connsiteY1711" fmla="*/ 350869 h 636862"/>
                <a:gd name="connsiteX1712" fmla="*/ 933325 w 964857"/>
                <a:gd name="connsiteY1712" fmla="*/ 351386 h 636862"/>
                <a:gd name="connsiteX1713" fmla="*/ 933842 w 964857"/>
                <a:gd name="connsiteY1713" fmla="*/ 351774 h 636862"/>
                <a:gd name="connsiteX1714" fmla="*/ 934488 w 964857"/>
                <a:gd name="connsiteY1714" fmla="*/ 351903 h 636862"/>
                <a:gd name="connsiteX1715" fmla="*/ 935392 w 964857"/>
                <a:gd name="connsiteY1715" fmla="*/ 351774 h 636862"/>
                <a:gd name="connsiteX1716" fmla="*/ 936426 w 964857"/>
                <a:gd name="connsiteY1716" fmla="*/ 351515 h 636862"/>
                <a:gd name="connsiteX1717" fmla="*/ 939657 w 964857"/>
                <a:gd name="connsiteY1717" fmla="*/ 350094 h 636862"/>
                <a:gd name="connsiteX1718" fmla="*/ 940303 w 964857"/>
                <a:gd name="connsiteY1718" fmla="*/ 350094 h 636862"/>
                <a:gd name="connsiteX1719" fmla="*/ 940820 w 964857"/>
                <a:gd name="connsiteY1719" fmla="*/ 350352 h 636862"/>
                <a:gd name="connsiteX1720" fmla="*/ 941983 w 964857"/>
                <a:gd name="connsiteY1720" fmla="*/ 350869 h 636862"/>
                <a:gd name="connsiteX1721" fmla="*/ 942629 w 964857"/>
                <a:gd name="connsiteY1721" fmla="*/ 350998 h 636862"/>
                <a:gd name="connsiteX1722" fmla="*/ 943793 w 964857"/>
                <a:gd name="connsiteY1722" fmla="*/ 350611 h 636862"/>
                <a:gd name="connsiteX1723" fmla="*/ 949479 w 964857"/>
                <a:gd name="connsiteY1723" fmla="*/ 347380 h 636862"/>
                <a:gd name="connsiteX1724" fmla="*/ 952968 w 964857"/>
                <a:gd name="connsiteY1724" fmla="*/ 346346 h 636862"/>
                <a:gd name="connsiteX1725" fmla="*/ 953485 w 964857"/>
                <a:gd name="connsiteY1725" fmla="*/ 345958 h 636862"/>
                <a:gd name="connsiteX1726" fmla="*/ 954131 w 964857"/>
                <a:gd name="connsiteY1726" fmla="*/ 345183 h 636862"/>
                <a:gd name="connsiteX1727" fmla="*/ 955682 w 964857"/>
                <a:gd name="connsiteY1727" fmla="*/ 341952 h 636862"/>
                <a:gd name="connsiteX1728" fmla="*/ 955811 w 964857"/>
                <a:gd name="connsiteY1728" fmla="*/ 341306 h 636862"/>
                <a:gd name="connsiteX1729" fmla="*/ 955811 w 964857"/>
                <a:gd name="connsiteY1729" fmla="*/ 340660 h 636862"/>
                <a:gd name="connsiteX1730" fmla="*/ 955682 w 964857"/>
                <a:gd name="connsiteY1730" fmla="*/ 340013 h 636862"/>
                <a:gd name="connsiteX1731" fmla="*/ 955165 w 964857"/>
                <a:gd name="connsiteY1731" fmla="*/ 338850 h 636862"/>
                <a:gd name="connsiteX1732" fmla="*/ 955553 w 964857"/>
                <a:gd name="connsiteY1732" fmla="*/ 337816 h 636862"/>
                <a:gd name="connsiteX1733" fmla="*/ 958396 w 964857"/>
                <a:gd name="connsiteY1733" fmla="*/ 334844 h 636862"/>
                <a:gd name="connsiteX1734" fmla="*/ 959430 w 964857"/>
                <a:gd name="connsiteY1734" fmla="*/ 334069 h 636862"/>
                <a:gd name="connsiteX1735" fmla="*/ 960335 w 964857"/>
                <a:gd name="connsiteY1735" fmla="*/ 333552 h 636862"/>
                <a:gd name="connsiteX1736" fmla="*/ 961885 w 964857"/>
                <a:gd name="connsiteY1736" fmla="*/ 333423 h 636862"/>
                <a:gd name="connsiteX1737" fmla="*/ 962790 w 964857"/>
                <a:gd name="connsiteY1737" fmla="*/ 333293 h 636862"/>
                <a:gd name="connsiteX1738" fmla="*/ 963824 w 964857"/>
                <a:gd name="connsiteY1738" fmla="*/ 332776 h 636862"/>
                <a:gd name="connsiteX1739" fmla="*/ 964341 w 964857"/>
                <a:gd name="connsiteY1739" fmla="*/ 332259 h 636862"/>
                <a:gd name="connsiteX1740" fmla="*/ 964728 w 964857"/>
                <a:gd name="connsiteY1740" fmla="*/ 331613 h 636862"/>
                <a:gd name="connsiteX1741" fmla="*/ 964858 w 964857"/>
                <a:gd name="connsiteY1741" fmla="*/ 330967 h 636862"/>
                <a:gd name="connsiteX1742" fmla="*/ 964470 w 964857"/>
                <a:gd name="connsiteY1742" fmla="*/ 330579 h 636862"/>
                <a:gd name="connsiteX1743" fmla="*/ 851908 w 964857"/>
                <a:gd name="connsiteY1743" fmla="*/ 472607 h 636862"/>
                <a:gd name="connsiteX1744" fmla="*/ 851778 w 964857"/>
                <a:gd name="connsiteY1744" fmla="*/ 472090 h 636862"/>
                <a:gd name="connsiteX1745" fmla="*/ 851649 w 964857"/>
                <a:gd name="connsiteY1745" fmla="*/ 471702 h 636862"/>
                <a:gd name="connsiteX1746" fmla="*/ 851132 w 964857"/>
                <a:gd name="connsiteY1746" fmla="*/ 470927 h 636862"/>
                <a:gd name="connsiteX1747" fmla="*/ 847514 w 964857"/>
                <a:gd name="connsiteY1747" fmla="*/ 471573 h 636862"/>
                <a:gd name="connsiteX1748" fmla="*/ 845834 w 964857"/>
                <a:gd name="connsiteY1748" fmla="*/ 468213 h 636862"/>
                <a:gd name="connsiteX1749" fmla="*/ 846350 w 964857"/>
                <a:gd name="connsiteY1749" fmla="*/ 464724 h 636862"/>
                <a:gd name="connsiteX1750" fmla="*/ 849710 w 964857"/>
                <a:gd name="connsiteY1750" fmla="*/ 465370 h 636862"/>
                <a:gd name="connsiteX1751" fmla="*/ 850486 w 964857"/>
                <a:gd name="connsiteY1751" fmla="*/ 456970 h 636862"/>
                <a:gd name="connsiteX1752" fmla="*/ 849581 w 964857"/>
                <a:gd name="connsiteY1752" fmla="*/ 455677 h 636862"/>
                <a:gd name="connsiteX1753" fmla="*/ 844154 w 964857"/>
                <a:gd name="connsiteY1753" fmla="*/ 451800 h 636862"/>
                <a:gd name="connsiteX1754" fmla="*/ 843120 w 964857"/>
                <a:gd name="connsiteY1754" fmla="*/ 451283 h 636862"/>
                <a:gd name="connsiteX1755" fmla="*/ 841957 w 964857"/>
                <a:gd name="connsiteY1755" fmla="*/ 450896 h 636862"/>
                <a:gd name="connsiteX1756" fmla="*/ 841052 w 964857"/>
                <a:gd name="connsiteY1756" fmla="*/ 450896 h 636862"/>
                <a:gd name="connsiteX1757" fmla="*/ 840147 w 964857"/>
                <a:gd name="connsiteY1757" fmla="*/ 451413 h 636862"/>
                <a:gd name="connsiteX1758" fmla="*/ 839889 w 964857"/>
                <a:gd name="connsiteY1758" fmla="*/ 452059 h 636862"/>
                <a:gd name="connsiteX1759" fmla="*/ 839760 w 964857"/>
                <a:gd name="connsiteY1759" fmla="*/ 452834 h 636862"/>
                <a:gd name="connsiteX1760" fmla="*/ 839243 w 964857"/>
                <a:gd name="connsiteY1760" fmla="*/ 453739 h 636862"/>
                <a:gd name="connsiteX1761" fmla="*/ 838855 w 964857"/>
                <a:gd name="connsiteY1761" fmla="*/ 454514 h 636862"/>
                <a:gd name="connsiteX1762" fmla="*/ 838080 w 964857"/>
                <a:gd name="connsiteY1762" fmla="*/ 458004 h 636862"/>
                <a:gd name="connsiteX1763" fmla="*/ 836916 w 964857"/>
                <a:gd name="connsiteY1763" fmla="*/ 460071 h 636862"/>
                <a:gd name="connsiteX1764" fmla="*/ 830067 w 964857"/>
                <a:gd name="connsiteY1764" fmla="*/ 466791 h 636862"/>
                <a:gd name="connsiteX1765" fmla="*/ 828516 w 964857"/>
                <a:gd name="connsiteY1765" fmla="*/ 467825 h 636862"/>
                <a:gd name="connsiteX1766" fmla="*/ 827224 w 964857"/>
                <a:gd name="connsiteY1766" fmla="*/ 468988 h 636862"/>
                <a:gd name="connsiteX1767" fmla="*/ 826578 w 964857"/>
                <a:gd name="connsiteY1767" fmla="*/ 470668 h 636862"/>
                <a:gd name="connsiteX1768" fmla="*/ 827224 w 964857"/>
                <a:gd name="connsiteY1768" fmla="*/ 473124 h 636862"/>
                <a:gd name="connsiteX1769" fmla="*/ 829938 w 964857"/>
                <a:gd name="connsiteY1769" fmla="*/ 475709 h 636862"/>
                <a:gd name="connsiteX1770" fmla="*/ 833815 w 964857"/>
                <a:gd name="connsiteY1770" fmla="*/ 476096 h 636862"/>
                <a:gd name="connsiteX1771" fmla="*/ 838080 w 964857"/>
                <a:gd name="connsiteY1771" fmla="*/ 474933 h 636862"/>
                <a:gd name="connsiteX1772" fmla="*/ 841957 w 964857"/>
                <a:gd name="connsiteY1772" fmla="*/ 473124 h 636862"/>
                <a:gd name="connsiteX1773" fmla="*/ 842603 w 964857"/>
                <a:gd name="connsiteY1773" fmla="*/ 474028 h 636862"/>
                <a:gd name="connsiteX1774" fmla="*/ 844024 w 964857"/>
                <a:gd name="connsiteY1774" fmla="*/ 473124 h 636862"/>
                <a:gd name="connsiteX1775" fmla="*/ 845058 w 964857"/>
                <a:gd name="connsiteY1775" fmla="*/ 474675 h 636862"/>
                <a:gd name="connsiteX1776" fmla="*/ 845963 w 964857"/>
                <a:gd name="connsiteY1776" fmla="*/ 477130 h 636862"/>
                <a:gd name="connsiteX1777" fmla="*/ 846997 w 964857"/>
                <a:gd name="connsiteY1777" fmla="*/ 478810 h 636862"/>
                <a:gd name="connsiteX1778" fmla="*/ 847643 w 964857"/>
                <a:gd name="connsiteY1778" fmla="*/ 478939 h 636862"/>
                <a:gd name="connsiteX1779" fmla="*/ 848160 w 964857"/>
                <a:gd name="connsiteY1779" fmla="*/ 478939 h 636862"/>
                <a:gd name="connsiteX1780" fmla="*/ 848677 w 964857"/>
                <a:gd name="connsiteY1780" fmla="*/ 479069 h 636862"/>
                <a:gd name="connsiteX1781" fmla="*/ 849194 w 964857"/>
                <a:gd name="connsiteY1781" fmla="*/ 479586 h 636862"/>
                <a:gd name="connsiteX1782" fmla="*/ 850615 w 964857"/>
                <a:gd name="connsiteY1782" fmla="*/ 478810 h 636862"/>
                <a:gd name="connsiteX1783" fmla="*/ 851132 w 964857"/>
                <a:gd name="connsiteY1783" fmla="*/ 478423 h 636862"/>
                <a:gd name="connsiteX1784" fmla="*/ 851778 w 964857"/>
                <a:gd name="connsiteY1784" fmla="*/ 477518 h 636862"/>
                <a:gd name="connsiteX1785" fmla="*/ 851778 w 964857"/>
                <a:gd name="connsiteY1785" fmla="*/ 477001 h 636862"/>
                <a:gd name="connsiteX1786" fmla="*/ 851391 w 964857"/>
                <a:gd name="connsiteY1786" fmla="*/ 476484 h 636862"/>
                <a:gd name="connsiteX1787" fmla="*/ 851261 w 964857"/>
                <a:gd name="connsiteY1787" fmla="*/ 474933 h 636862"/>
                <a:gd name="connsiteX1788" fmla="*/ 850744 w 964857"/>
                <a:gd name="connsiteY1788" fmla="*/ 473641 h 636862"/>
                <a:gd name="connsiteX1789" fmla="*/ 850744 w 964857"/>
                <a:gd name="connsiteY1789" fmla="*/ 472736 h 636862"/>
                <a:gd name="connsiteX1790" fmla="*/ 851908 w 964857"/>
                <a:gd name="connsiteY1790" fmla="*/ 472607 h 63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Lst>
              <a:rect l="l" t="t" r="r" b="b"/>
              <a:pathLst>
                <a:path w="964857" h="636862">
                  <a:moveTo>
                    <a:pt x="736631" y="481136"/>
                  </a:moveTo>
                  <a:lnTo>
                    <a:pt x="735468" y="478681"/>
                  </a:lnTo>
                  <a:lnTo>
                    <a:pt x="733917" y="476613"/>
                  </a:lnTo>
                  <a:lnTo>
                    <a:pt x="733659" y="475967"/>
                  </a:lnTo>
                  <a:lnTo>
                    <a:pt x="733788" y="475450"/>
                  </a:lnTo>
                  <a:lnTo>
                    <a:pt x="733659" y="475062"/>
                  </a:lnTo>
                  <a:lnTo>
                    <a:pt x="732754" y="474933"/>
                  </a:lnTo>
                  <a:lnTo>
                    <a:pt x="730557" y="474933"/>
                  </a:lnTo>
                  <a:lnTo>
                    <a:pt x="727068" y="474158"/>
                  </a:lnTo>
                  <a:lnTo>
                    <a:pt x="725776" y="474158"/>
                  </a:lnTo>
                  <a:lnTo>
                    <a:pt x="726293" y="475192"/>
                  </a:lnTo>
                  <a:lnTo>
                    <a:pt x="726422" y="475967"/>
                  </a:lnTo>
                  <a:lnTo>
                    <a:pt x="726293" y="476613"/>
                  </a:lnTo>
                  <a:lnTo>
                    <a:pt x="725905" y="477389"/>
                  </a:lnTo>
                  <a:lnTo>
                    <a:pt x="725000" y="476872"/>
                  </a:lnTo>
                  <a:lnTo>
                    <a:pt x="724483" y="476742"/>
                  </a:lnTo>
                  <a:lnTo>
                    <a:pt x="723062" y="477389"/>
                  </a:lnTo>
                  <a:lnTo>
                    <a:pt x="724742" y="480102"/>
                  </a:lnTo>
                  <a:lnTo>
                    <a:pt x="725259" y="480619"/>
                  </a:lnTo>
                  <a:lnTo>
                    <a:pt x="726163" y="480878"/>
                  </a:lnTo>
                  <a:lnTo>
                    <a:pt x="727973" y="481007"/>
                  </a:lnTo>
                  <a:lnTo>
                    <a:pt x="728877" y="481395"/>
                  </a:lnTo>
                  <a:lnTo>
                    <a:pt x="730040" y="480102"/>
                  </a:lnTo>
                  <a:lnTo>
                    <a:pt x="731591" y="479973"/>
                  </a:lnTo>
                  <a:lnTo>
                    <a:pt x="736890" y="482429"/>
                  </a:lnTo>
                  <a:lnTo>
                    <a:pt x="736631" y="481136"/>
                  </a:lnTo>
                  <a:close/>
                  <a:moveTo>
                    <a:pt x="610112" y="565009"/>
                  </a:moveTo>
                  <a:lnTo>
                    <a:pt x="609078" y="565397"/>
                  </a:lnTo>
                  <a:lnTo>
                    <a:pt x="606493" y="565267"/>
                  </a:lnTo>
                  <a:lnTo>
                    <a:pt x="605330" y="565397"/>
                  </a:lnTo>
                  <a:lnTo>
                    <a:pt x="603391" y="566431"/>
                  </a:lnTo>
                  <a:lnTo>
                    <a:pt x="600548" y="569532"/>
                  </a:lnTo>
                  <a:lnTo>
                    <a:pt x="595120" y="571729"/>
                  </a:lnTo>
                  <a:lnTo>
                    <a:pt x="588659" y="578449"/>
                  </a:lnTo>
                  <a:lnTo>
                    <a:pt x="584006" y="580646"/>
                  </a:lnTo>
                  <a:lnTo>
                    <a:pt x="571729" y="590339"/>
                  </a:lnTo>
                  <a:lnTo>
                    <a:pt x="567335" y="595637"/>
                  </a:lnTo>
                  <a:lnTo>
                    <a:pt x="566560" y="596413"/>
                  </a:lnTo>
                  <a:lnTo>
                    <a:pt x="566172" y="598480"/>
                  </a:lnTo>
                  <a:lnTo>
                    <a:pt x="564492" y="602487"/>
                  </a:lnTo>
                  <a:lnTo>
                    <a:pt x="564492" y="604942"/>
                  </a:lnTo>
                  <a:lnTo>
                    <a:pt x="565785" y="605459"/>
                  </a:lnTo>
                  <a:lnTo>
                    <a:pt x="566948" y="603779"/>
                  </a:lnTo>
                  <a:lnTo>
                    <a:pt x="568886" y="599256"/>
                  </a:lnTo>
                  <a:lnTo>
                    <a:pt x="571083" y="595637"/>
                  </a:lnTo>
                  <a:lnTo>
                    <a:pt x="572763" y="593699"/>
                  </a:lnTo>
                  <a:lnTo>
                    <a:pt x="576769" y="591631"/>
                  </a:lnTo>
                  <a:lnTo>
                    <a:pt x="601970" y="570308"/>
                  </a:lnTo>
                  <a:lnTo>
                    <a:pt x="604038" y="569144"/>
                  </a:lnTo>
                  <a:lnTo>
                    <a:pt x="607786" y="568110"/>
                  </a:lnTo>
                  <a:lnTo>
                    <a:pt x="612826" y="564492"/>
                  </a:lnTo>
                  <a:lnTo>
                    <a:pt x="612826" y="563717"/>
                  </a:lnTo>
                  <a:lnTo>
                    <a:pt x="611662" y="564104"/>
                  </a:lnTo>
                  <a:lnTo>
                    <a:pt x="610112" y="565009"/>
                  </a:lnTo>
                  <a:close/>
                  <a:moveTo>
                    <a:pt x="964470" y="330579"/>
                  </a:moveTo>
                  <a:lnTo>
                    <a:pt x="964341" y="329804"/>
                  </a:lnTo>
                  <a:lnTo>
                    <a:pt x="964082" y="329028"/>
                  </a:lnTo>
                  <a:lnTo>
                    <a:pt x="961885" y="324893"/>
                  </a:lnTo>
                  <a:lnTo>
                    <a:pt x="959947" y="322308"/>
                  </a:lnTo>
                  <a:lnTo>
                    <a:pt x="958784" y="320241"/>
                  </a:lnTo>
                  <a:lnTo>
                    <a:pt x="958267" y="320111"/>
                  </a:lnTo>
                  <a:lnTo>
                    <a:pt x="957750" y="320241"/>
                  </a:lnTo>
                  <a:lnTo>
                    <a:pt x="957233" y="320628"/>
                  </a:lnTo>
                  <a:lnTo>
                    <a:pt x="956716" y="320887"/>
                  </a:lnTo>
                  <a:lnTo>
                    <a:pt x="956070" y="321145"/>
                  </a:lnTo>
                  <a:lnTo>
                    <a:pt x="954648" y="321145"/>
                  </a:lnTo>
                  <a:lnTo>
                    <a:pt x="951159" y="320628"/>
                  </a:lnTo>
                  <a:lnTo>
                    <a:pt x="948187" y="320757"/>
                  </a:lnTo>
                  <a:lnTo>
                    <a:pt x="946894" y="321016"/>
                  </a:lnTo>
                  <a:lnTo>
                    <a:pt x="945343" y="321404"/>
                  </a:lnTo>
                  <a:lnTo>
                    <a:pt x="944310" y="321533"/>
                  </a:lnTo>
                  <a:lnTo>
                    <a:pt x="943663" y="321145"/>
                  </a:lnTo>
                  <a:lnTo>
                    <a:pt x="942500" y="319853"/>
                  </a:lnTo>
                  <a:lnTo>
                    <a:pt x="941854" y="319724"/>
                  </a:lnTo>
                  <a:lnTo>
                    <a:pt x="941466" y="319853"/>
                  </a:lnTo>
                  <a:lnTo>
                    <a:pt x="940820" y="320887"/>
                  </a:lnTo>
                  <a:lnTo>
                    <a:pt x="940174" y="321275"/>
                  </a:lnTo>
                  <a:lnTo>
                    <a:pt x="939140" y="321533"/>
                  </a:lnTo>
                  <a:lnTo>
                    <a:pt x="937072" y="321533"/>
                  </a:lnTo>
                  <a:lnTo>
                    <a:pt x="936039" y="321662"/>
                  </a:lnTo>
                  <a:lnTo>
                    <a:pt x="935522" y="322050"/>
                  </a:lnTo>
                  <a:lnTo>
                    <a:pt x="935134" y="322567"/>
                  </a:lnTo>
                  <a:lnTo>
                    <a:pt x="934358" y="322954"/>
                  </a:lnTo>
                  <a:lnTo>
                    <a:pt x="930094" y="322954"/>
                  </a:lnTo>
                  <a:lnTo>
                    <a:pt x="929577" y="323084"/>
                  </a:lnTo>
                  <a:lnTo>
                    <a:pt x="929060" y="323342"/>
                  </a:lnTo>
                  <a:lnTo>
                    <a:pt x="928672" y="323601"/>
                  </a:lnTo>
                  <a:lnTo>
                    <a:pt x="928155" y="323859"/>
                  </a:lnTo>
                  <a:lnTo>
                    <a:pt x="927380" y="324118"/>
                  </a:lnTo>
                  <a:lnTo>
                    <a:pt x="925829" y="324247"/>
                  </a:lnTo>
                  <a:lnTo>
                    <a:pt x="924795" y="324247"/>
                  </a:lnTo>
                  <a:lnTo>
                    <a:pt x="924020" y="323988"/>
                  </a:lnTo>
                  <a:lnTo>
                    <a:pt x="922469" y="322567"/>
                  </a:lnTo>
                  <a:lnTo>
                    <a:pt x="921823" y="322438"/>
                  </a:lnTo>
                  <a:lnTo>
                    <a:pt x="921047" y="322567"/>
                  </a:lnTo>
                  <a:lnTo>
                    <a:pt x="920143" y="322825"/>
                  </a:lnTo>
                  <a:lnTo>
                    <a:pt x="918721" y="323084"/>
                  </a:lnTo>
                  <a:lnTo>
                    <a:pt x="917817" y="323084"/>
                  </a:lnTo>
                  <a:lnTo>
                    <a:pt x="917041" y="322954"/>
                  </a:lnTo>
                  <a:lnTo>
                    <a:pt x="914586" y="322050"/>
                  </a:lnTo>
                  <a:lnTo>
                    <a:pt x="914069" y="321791"/>
                  </a:lnTo>
                  <a:lnTo>
                    <a:pt x="913681" y="321404"/>
                  </a:lnTo>
                  <a:lnTo>
                    <a:pt x="913423" y="320887"/>
                  </a:lnTo>
                  <a:lnTo>
                    <a:pt x="913164" y="320370"/>
                  </a:lnTo>
                  <a:lnTo>
                    <a:pt x="912518" y="316881"/>
                  </a:lnTo>
                  <a:lnTo>
                    <a:pt x="912001" y="316234"/>
                  </a:lnTo>
                  <a:lnTo>
                    <a:pt x="911355" y="316105"/>
                  </a:lnTo>
                  <a:lnTo>
                    <a:pt x="910580" y="316105"/>
                  </a:lnTo>
                  <a:lnTo>
                    <a:pt x="910063" y="315847"/>
                  </a:lnTo>
                  <a:lnTo>
                    <a:pt x="909804" y="315459"/>
                  </a:lnTo>
                  <a:lnTo>
                    <a:pt x="909417" y="314554"/>
                  </a:lnTo>
                  <a:lnTo>
                    <a:pt x="907736" y="312487"/>
                  </a:lnTo>
                  <a:lnTo>
                    <a:pt x="906315" y="311323"/>
                  </a:lnTo>
                  <a:lnTo>
                    <a:pt x="905539" y="310419"/>
                  </a:lnTo>
                  <a:lnTo>
                    <a:pt x="905023" y="309643"/>
                  </a:lnTo>
                  <a:lnTo>
                    <a:pt x="902179" y="304216"/>
                  </a:lnTo>
                  <a:lnTo>
                    <a:pt x="901275" y="302923"/>
                  </a:lnTo>
                  <a:lnTo>
                    <a:pt x="900499" y="302148"/>
                  </a:lnTo>
                  <a:lnTo>
                    <a:pt x="899078" y="301114"/>
                  </a:lnTo>
                  <a:lnTo>
                    <a:pt x="895588" y="299693"/>
                  </a:lnTo>
                  <a:lnTo>
                    <a:pt x="894296" y="299434"/>
                  </a:lnTo>
                  <a:lnTo>
                    <a:pt x="892745" y="299305"/>
                  </a:lnTo>
                  <a:lnTo>
                    <a:pt x="885767" y="303440"/>
                  </a:lnTo>
                  <a:lnTo>
                    <a:pt x="882924" y="304474"/>
                  </a:lnTo>
                  <a:lnTo>
                    <a:pt x="882148" y="304474"/>
                  </a:lnTo>
                  <a:lnTo>
                    <a:pt x="880597" y="304216"/>
                  </a:lnTo>
                  <a:lnTo>
                    <a:pt x="877883" y="304216"/>
                  </a:lnTo>
                  <a:lnTo>
                    <a:pt x="876720" y="304474"/>
                  </a:lnTo>
                  <a:lnTo>
                    <a:pt x="875557" y="304991"/>
                  </a:lnTo>
                  <a:lnTo>
                    <a:pt x="873877" y="305896"/>
                  </a:lnTo>
                  <a:lnTo>
                    <a:pt x="872843" y="306283"/>
                  </a:lnTo>
                  <a:lnTo>
                    <a:pt x="871810" y="306413"/>
                  </a:lnTo>
                  <a:lnTo>
                    <a:pt x="869871" y="306025"/>
                  </a:lnTo>
                  <a:lnTo>
                    <a:pt x="868708" y="306283"/>
                  </a:lnTo>
                  <a:lnTo>
                    <a:pt x="862634" y="309127"/>
                  </a:lnTo>
                  <a:lnTo>
                    <a:pt x="861342" y="310031"/>
                  </a:lnTo>
                  <a:lnTo>
                    <a:pt x="855655" y="313262"/>
                  </a:lnTo>
                  <a:lnTo>
                    <a:pt x="854751" y="314037"/>
                  </a:lnTo>
                  <a:lnTo>
                    <a:pt x="853071" y="315847"/>
                  </a:lnTo>
                  <a:lnTo>
                    <a:pt x="851391" y="317268"/>
                  </a:lnTo>
                  <a:lnTo>
                    <a:pt x="850486" y="317527"/>
                  </a:lnTo>
                  <a:lnTo>
                    <a:pt x="849581" y="317527"/>
                  </a:lnTo>
                  <a:lnTo>
                    <a:pt x="848547" y="317397"/>
                  </a:lnTo>
                  <a:lnTo>
                    <a:pt x="848031" y="317656"/>
                  </a:lnTo>
                  <a:lnTo>
                    <a:pt x="847901" y="318173"/>
                  </a:lnTo>
                  <a:lnTo>
                    <a:pt x="848031" y="319465"/>
                  </a:lnTo>
                  <a:lnTo>
                    <a:pt x="847901" y="320241"/>
                  </a:lnTo>
                  <a:lnTo>
                    <a:pt x="847384" y="321275"/>
                  </a:lnTo>
                  <a:lnTo>
                    <a:pt x="846609" y="321921"/>
                  </a:lnTo>
                  <a:lnTo>
                    <a:pt x="845834" y="322308"/>
                  </a:lnTo>
                  <a:lnTo>
                    <a:pt x="837692" y="324764"/>
                  </a:lnTo>
                  <a:lnTo>
                    <a:pt x="833298" y="327219"/>
                  </a:lnTo>
                  <a:lnTo>
                    <a:pt x="832135" y="327607"/>
                  </a:lnTo>
                  <a:lnTo>
                    <a:pt x="831230" y="327607"/>
                  </a:lnTo>
                  <a:lnTo>
                    <a:pt x="830843" y="327219"/>
                  </a:lnTo>
                  <a:lnTo>
                    <a:pt x="830584" y="326702"/>
                  </a:lnTo>
                  <a:lnTo>
                    <a:pt x="830455" y="326056"/>
                  </a:lnTo>
                  <a:lnTo>
                    <a:pt x="830455" y="324505"/>
                  </a:lnTo>
                  <a:lnTo>
                    <a:pt x="830325" y="323859"/>
                  </a:lnTo>
                  <a:lnTo>
                    <a:pt x="830067" y="323342"/>
                  </a:lnTo>
                  <a:lnTo>
                    <a:pt x="829679" y="322954"/>
                  </a:lnTo>
                  <a:lnTo>
                    <a:pt x="828775" y="322179"/>
                  </a:lnTo>
                  <a:lnTo>
                    <a:pt x="828258" y="321791"/>
                  </a:lnTo>
                  <a:lnTo>
                    <a:pt x="827612" y="321533"/>
                  </a:lnTo>
                  <a:lnTo>
                    <a:pt x="826707" y="321404"/>
                  </a:lnTo>
                  <a:lnTo>
                    <a:pt x="826061" y="321533"/>
                  </a:lnTo>
                  <a:lnTo>
                    <a:pt x="825544" y="321791"/>
                  </a:lnTo>
                  <a:lnTo>
                    <a:pt x="823993" y="324247"/>
                  </a:lnTo>
                  <a:lnTo>
                    <a:pt x="823347" y="324893"/>
                  </a:lnTo>
                  <a:lnTo>
                    <a:pt x="822313" y="325668"/>
                  </a:lnTo>
                  <a:lnTo>
                    <a:pt x="820116" y="326961"/>
                  </a:lnTo>
                  <a:lnTo>
                    <a:pt x="818824" y="327478"/>
                  </a:lnTo>
                  <a:lnTo>
                    <a:pt x="818178" y="327090"/>
                  </a:lnTo>
                  <a:lnTo>
                    <a:pt x="814559" y="326444"/>
                  </a:lnTo>
                  <a:lnTo>
                    <a:pt x="814042" y="326185"/>
                  </a:lnTo>
                  <a:lnTo>
                    <a:pt x="813784" y="325668"/>
                  </a:lnTo>
                  <a:lnTo>
                    <a:pt x="813654" y="325022"/>
                  </a:lnTo>
                  <a:lnTo>
                    <a:pt x="813654" y="324376"/>
                  </a:lnTo>
                  <a:lnTo>
                    <a:pt x="813525" y="323730"/>
                  </a:lnTo>
                  <a:lnTo>
                    <a:pt x="813138" y="323213"/>
                  </a:lnTo>
                  <a:lnTo>
                    <a:pt x="812362" y="322954"/>
                  </a:lnTo>
                  <a:lnTo>
                    <a:pt x="811716" y="323084"/>
                  </a:lnTo>
                  <a:lnTo>
                    <a:pt x="811199" y="323342"/>
                  </a:lnTo>
                  <a:lnTo>
                    <a:pt x="809131" y="324893"/>
                  </a:lnTo>
                  <a:lnTo>
                    <a:pt x="806417" y="326315"/>
                  </a:lnTo>
                  <a:lnTo>
                    <a:pt x="805383" y="326702"/>
                  </a:lnTo>
                  <a:lnTo>
                    <a:pt x="804479" y="326831"/>
                  </a:lnTo>
                  <a:lnTo>
                    <a:pt x="803703" y="326831"/>
                  </a:lnTo>
                  <a:lnTo>
                    <a:pt x="803057" y="326702"/>
                  </a:lnTo>
                  <a:lnTo>
                    <a:pt x="802540" y="326444"/>
                  </a:lnTo>
                  <a:lnTo>
                    <a:pt x="802153" y="326056"/>
                  </a:lnTo>
                  <a:lnTo>
                    <a:pt x="801894" y="325539"/>
                  </a:lnTo>
                  <a:lnTo>
                    <a:pt x="801894" y="324893"/>
                  </a:lnTo>
                  <a:lnTo>
                    <a:pt x="802023" y="324247"/>
                  </a:lnTo>
                  <a:lnTo>
                    <a:pt x="802282" y="323601"/>
                  </a:lnTo>
                  <a:lnTo>
                    <a:pt x="802669" y="323084"/>
                  </a:lnTo>
                  <a:lnTo>
                    <a:pt x="803833" y="322050"/>
                  </a:lnTo>
                  <a:lnTo>
                    <a:pt x="804608" y="321145"/>
                  </a:lnTo>
                  <a:lnTo>
                    <a:pt x="805254" y="320111"/>
                  </a:lnTo>
                  <a:lnTo>
                    <a:pt x="805513" y="319594"/>
                  </a:lnTo>
                  <a:lnTo>
                    <a:pt x="804867" y="319078"/>
                  </a:lnTo>
                  <a:lnTo>
                    <a:pt x="803316" y="318819"/>
                  </a:lnTo>
                  <a:lnTo>
                    <a:pt x="798922" y="319207"/>
                  </a:lnTo>
                  <a:lnTo>
                    <a:pt x="797113" y="319724"/>
                  </a:lnTo>
                  <a:lnTo>
                    <a:pt x="796208" y="320370"/>
                  </a:lnTo>
                  <a:lnTo>
                    <a:pt x="796337" y="321016"/>
                  </a:lnTo>
                  <a:lnTo>
                    <a:pt x="796595" y="321533"/>
                  </a:lnTo>
                  <a:lnTo>
                    <a:pt x="796983" y="322050"/>
                  </a:lnTo>
                  <a:lnTo>
                    <a:pt x="798534" y="323730"/>
                  </a:lnTo>
                  <a:lnTo>
                    <a:pt x="798793" y="324247"/>
                  </a:lnTo>
                  <a:lnTo>
                    <a:pt x="799051" y="324764"/>
                  </a:lnTo>
                  <a:lnTo>
                    <a:pt x="799180" y="325410"/>
                  </a:lnTo>
                  <a:lnTo>
                    <a:pt x="798922" y="326185"/>
                  </a:lnTo>
                  <a:lnTo>
                    <a:pt x="798276" y="327090"/>
                  </a:lnTo>
                  <a:lnTo>
                    <a:pt x="789100" y="332647"/>
                  </a:lnTo>
                  <a:lnTo>
                    <a:pt x="788712" y="333035"/>
                  </a:lnTo>
                  <a:lnTo>
                    <a:pt x="788583" y="333552"/>
                  </a:lnTo>
                  <a:lnTo>
                    <a:pt x="788583" y="334198"/>
                  </a:lnTo>
                  <a:lnTo>
                    <a:pt x="788842" y="334715"/>
                  </a:lnTo>
                  <a:lnTo>
                    <a:pt x="789229" y="335102"/>
                  </a:lnTo>
                  <a:lnTo>
                    <a:pt x="789746" y="335490"/>
                  </a:lnTo>
                  <a:lnTo>
                    <a:pt x="790392" y="335619"/>
                  </a:lnTo>
                  <a:lnTo>
                    <a:pt x="791039" y="335619"/>
                  </a:lnTo>
                  <a:lnTo>
                    <a:pt x="793753" y="335361"/>
                  </a:lnTo>
                  <a:lnTo>
                    <a:pt x="795045" y="335361"/>
                  </a:lnTo>
                  <a:lnTo>
                    <a:pt x="795691" y="335490"/>
                  </a:lnTo>
                  <a:lnTo>
                    <a:pt x="796208" y="335619"/>
                  </a:lnTo>
                  <a:lnTo>
                    <a:pt x="796466" y="335749"/>
                  </a:lnTo>
                  <a:lnTo>
                    <a:pt x="796725" y="336136"/>
                  </a:lnTo>
                  <a:lnTo>
                    <a:pt x="796983" y="336524"/>
                  </a:lnTo>
                  <a:lnTo>
                    <a:pt x="797242" y="337041"/>
                  </a:lnTo>
                  <a:lnTo>
                    <a:pt x="797371" y="337687"/>
                  </a:lnTo>
                  <a:lnTo>
                    <a:pt x="797500" y="338333"/>
                  </a:lnTo>
                  <a:lnTo>
                    <a:pt x="797371" y="339755"/>
                  </a:lnTo>
                  <a:lnTo>
                    <a:pt x="797113" y="341306"/>
                  </a:lnTo>
                  <a:lnTo>
                    <a:pt x="796854" y="342081"/>
                  </a:lnTo>
                  <a:lnTo>
                    <a:pt x="796337" y="342986"/>
                  </a:lnTo>
                  <a:lnTo>
                    <a:pt x="795820" y="343373"/>
                  </a:lnTo>
                  <a:lnTo>
                    <a:pt x="795432" y="343503"/>
                  </a:lnTo>
                  <a:lnTo>
                    <a:pt x="794916" y="343373"/>
                  </a:lnTo>
                  <a:lnTo>
                    <a:pt x="793882" y="342727"/>
                  </a:lnTo>
                  <a:lnTo>
                    <a:pt x="793106" y="342598"/>
                  </a:lnTo>
                  <a:lnTo>
                    <a:pt x="792589" y="342857"/>
                  </a:lnTo>
                  <a:lnTo>
                    <a:pt x="792202" y="343373"/>
                  </a:lnTo>
                  <a:lnTo>
                    <a:pt x="792072" y="344020"/>
                  </a:lnTo>
                  <a:lnTo>
                    <a:pt x="792072" y="344666"/>
                  </a:lnTo>
                  <a:lnTo>
                    <a:pt x="792202" y="345312"/>
                  </a:lnTo>
                  <a:lnTo>
                    <a:pt x="792460" y="345829"/>
                  </a:lnTo>
                  <a:lnTo>
                    <a:pt x="792589" y="346475"/>
                  </a:lnTo>
                  <a:lnTo>
                    <a:pt x="792589" y="347121"/>
                  </a:lnTo>
                  <a:lnTo>
                    <a:pt x="792460" y="347897"/>
                  </a:lnTo>
                  <a:lnTo>
                    <a:pt x="792072" y="348543"/>
                  </a:lnTo>
                  <a:lnTo>
                    <a:pt x="791297" y="349447"/>
                  </a:lnTo>
                  <a:lnTo>
                    <a:pt x="790651" y="349835"/>
                  </a:lnTo>
                  <a:lnTo>
                    <a:pt x="790005" y="349964"/>
                  </a:lnTo>
                  <a:lnTo>
                    <a:pt x="789488" y="349706"/>
                  </a:lnTo>
                  <a:lnTo>
                    <a:pt x="789100" y="349318"/>
                  </a:lnTo>
                  <a:lnTo>
                    <a:pt x="788842" y="348801"/>
                  </a:lnTo>
                  <a:lnTo>
                    <a:pt x="788712" y="348155"/>
                  </a:lnTo>
                  <a:lnTo>
                    <a:pt x="788454" y="347638"/>
                  </a:lnTo>
                  <a:lnTo>
                    <a:pt x="787937" y="347250"/>
                  </a:lnTo>
                  <a:lnTo>
                    <a:pt x="786903" y="347250"/>
                  </a:lnTo>
                  <a:lnTo>
                    <a:pt x="786257" y="347509"/>
                  </a:lnTo>
                  <a:lnTo>
                    <a:pt x="785740" y="347897"/>
                  </a:lnTo>
                  <a:lnTo>
                    <a:pt x="785352" y="348413"/>
                  </a:lnTo>
                  <a:lnTo>
                    <a:pt x="784577" y="349577"/>
                  </a:lnTo>
                  <a:lnTo>
                    <a:pt x="784060" y="350223"/>
                  </a:lnTo>
                  <a:lnTo>
                    <a:pt x="783155" y="351127"/>
                  </a:lnTo>
                  <a:lnTo>
                    <a:pt x="782509" y="351257"/>
                  </a:lnTo>
                  <a:lnTo>
                    <a:pt x="781992" y="351127"/>
                  </a:lnTo>
                  <a:lnTo>
                    <a:pt x="781217" y="350352"/>
                  </a:lnTo>
                  <a:lnTo>
                    <a:pt x="780312" y="349706"/>
                  </a:lnTo>
                  <a:lnTo>
                    <a:pt x="779278" y="349189"/>
                  </a:lnTo>
                  <a:lnTo>
                    <a:pt x="778891" y="348801"/>
                  </a:lnTo>
                  <a:lnTo>
                    <a:pt x="778632" y="348284"/>
                  </a:lnTo>
                  <a:lnTo>
                    <a:pt x="778115" y="347121"/>
                  </a:lnTo>
                  <a:lnTo>
                    <a:pt x="777728" y="346604"/>
                  </a:lnTo>
                  <a:lnTo>
                    <a:pt x="777081" y="346346"/>
                  </a:lnTo>
                  <a:lnTo>
                    <a:pt x="776564" y="346475"/>
                  </a:lnTo>
                  <a:lnTo>
                    <a:pt x="776177" y="346863"/>
                  </a:lnTo>
                  <a:lnTo>
                    <a:pt x="775401" y="348026"/>
                  </a:lnTo>
                  <a:lnTo>
                    <a:pt x="774884" y="348543"/>
                  </a:lnTo>
                  <a:lnTo>
                    <a:pt x="774368" y="348672"/>
                  </a:lnTo>
                  <a:lnTo>
                    <a:pt x="773075" y="348284"/>
                  </a:lnTo>
                  <a:lnTo>
                    <a:pt x="772041" y="348155"/>
                  </a:lnTo>
                  <a:lnTo>
                    <a:pt x="771395" y="348413"/>
                  </a:lnTo>
                  <a:lnTo>
                    <a:pt x="771007" y="348801"/>
                  </a:lnTo>
                  <a:lnTo>
                    <a:pt x="770361" y="349835"/>
                  </a:lnTo>
                  <a:lnTo>
                    <a:pt x="769844" y="350481"/>
                  </a:lnTo>
                  <a:lnTo>
                    <a:pt x="769069" y="351127"/>
                  </a:lnTo>
                  <a:lnTo>
                    <a:pt x="767776" y="352161"/>
                  </a:lnTo>
                  <a:lnTo>
                    <a:pt x="766872" y="352678"/>
                  </a:lnTo>
                  <a:lnTo>
                    <a:pt x="765967" y="353066"/>
                  </a:lnTo>
                  <a:lnTo>
                    <a:pt x="763383" y="353454"/>
                  </a:lnTo>
                  <a:lnTo>
                    <a:pt x="754853" y="355134"/>
                  </a:lnTo>
                  <a:lnTo>
                    <a:pt x="752527" y="354875"/>
                  </a:lnTo>
                  <a:lnTo>
                    <a:pt x="752268" y="354358"/>
                  </a:lnTo>
                  <a:lnTo>
                    <a:pt x="752139" y="353841"/>
                  </a:lnTo>
                  <a:lnTo>
                    <a:pt x="752268" y="353324"/>
                  </a:lnTo>
                  <a:lnTo>
                    <a:pt x="752527" y="352808"/>
                  </a:lnTo>
                  <a:lnTo>
                    <a:pt x="752785" y="352290"/>
                  </a:lnTo>
                  <a:lnTo>
                    <a:pt x="753044" y="351774"/>
                  </a:lnTo>
                  <a:lnTo>
                    <a:pt x="753044" y="351127"/>
                  </a:lnTo>
                  <a:lnTo>
                    <a:pt x="752527" y="350352"/>
                  </a:lnTo>
                  <a:lnTo>
                    <a:pt x="751881" y="350094"/>
                  </a:lnTo>
                  <a:lnTo>
                    <a:pt x="751235" y="349964"/>
                  </a:lnTo>
                  <a:lnTo>
                    <a:pt x="747875" y="350611"/>
                  </a:lnTo>
                  <a:lnTo>
                    <a:pt x="747228" y="350869"/>
                  </a:lnTo>
                  <a:lnTo>
                    <a:pt x="746712" y="351127"/>
                  </a:lnTo>
                  <a:lnTo>
                    <a:pt x="746324" y="351515"/>
                  </a:lnTo>
                  <a:lnTo>
                    <a:pt x="745936" y="351903"/>
                  </a:lnTo>
                  <a:lnTo>
                    <a:pt x="745419" y="352420"/>
                  </a:lnTo>
                  <a:lnTo>
                    <a:pt x="744773" y="352808"/>
                  </a:lnTo>
                  <a:lnTo>
                    <a:pt x="743481" y="353195"/>
                  </a:lnTo>
                  <a:lnTo>
                    <a:pt x="742705" y="353066"/>
                  </a:lnTo>
                  <a:lnTo>
                    <a:pt x="741930" y="352808"/>
                  </a:lnTo>
                  <a:lnTo>
                    <a:pt x="741154" y="352420"/>
                  </a:lnTo>
                  <a:lnTo>
                    <a:pt x="740508" y="352420"/>
                  </a:lnTo>
                  <a:lnTo>
                    <a:pt x="739991" y="352678"/>
                  </a:lnTo>
                  <a:lnTo>
                    <a:pt x="739474" y="353066"/>
                  </a:lnTo>
                  <a:lnTo>
                    <a:pt x="738828" y="353454"/>
                  </a:lnTo>
                  <a:lnTo>
                    <a:pt x="737794" y="353841"/>
                  </a:lnTo>
                  <a:lnTo>
                    <a:pt x="737019" y="353841"/>
                  </a:lnTo>
                  <a:lnTo>
                    <a:pt x="735856" y="352937"/>
                  </a:lnTo>
                  <a:lnTo>
                    <a:pt x="734822" y="352420"/>
                  </a:lnTo>
                  <a:lnTo>
                    <a:pt x="732754" y="352420"/>
                  </a:lnTo>
                  <a:lnTo>
                    <a:pt x="731720" y="352161"/>
                  </a:lnTo>
                  <a:lnTo>
                    <a:pt x="730945" y="351903"/>
                  </a:lnTo>
                  <a:lnTo>
                    <a:pt x="730557" y="351515"/>
                  </a:lnTo>
                  <a:lnTo>
                    <a:pt x="730040" y="350869"/>
                  </a:lnTo>
                  <a:lnTo>
                    <a:pt x="729265" y="349318"/>
                  </a:lnTo>
                  <a:lnTo>
                    <a:pt x="729006" y="348026"/>
                  </a:lnTo>
                  <a:lnTo>
                    <a:pt x="728748" y="346734"/>
                  </a:lnTo>
                  <a:lnTo>
                    <a:pt x="728619" y="345312"/>
                  </a:lnTo>
                  <a:lnTo>
                    <a:pt x="728748" y="343115"/>
                  </a:lnTo>
                  <a:lnTo>
                    <a:pt x="728877" y="342469"/>
                  </a:lnTo>
                  <a:lnTo>
                    <a:pt x="729136" y="341823"/>
                  </a:lnTo>
                  <a:lnTo>
                    <a:pt x="729911" y="340143"/>
                  </a:lnTo>
                  <a:lnTo>
                    <a:pt x="729523" y="339367"/>
                  </a:lnTo>
                  <a:lnTo>
                    <a:pt x="728490" y="338333"/>
                  </a:lnTo>
                  <a:lnTo>
                    <a:pt x="722157" y="334715"/>
                  </a:lnTo>
                  <a:lnTo>
                    <a:pt x="720219" y="333164"/>
                  </a:lnTo>
                  <a:lnTo>
                    <a:pt x="717375" y="330838"/>
                  </a:lnTo>
                  <a:lnTo>
                    <a:pt x="716988" y="330192"/>
                  </a:lnTo>
                  <a:lnTo>
                    <a:pt x="716729" y="329416"/>
                  </a:lnTo>
                  <a:lnTo>
                    <a:pt x="716858" y="328899"/>
                  </a:lnTo>
                  <a:lnTo>
                    <a:pt x="717246" y="328382"/>
                  </a:lnTo>
                  <a:lnTo>
                    <a:pt x="717634" y="327995"/>
                  </a:lnTo>
                  <a:lnTo>
                    <a:pt x="718668" y="327349"/>
                  </a:lnTo>
                  <a:lnTo>
                    <a:pt x="723966" y="325410"/>
                  </a:lnTo>
                  <a:lnTo>
                    <a:pt x="724613" y="325022"/>
                  </a:lnTo>
                  <a:lnTo>
                    <a:pt x="725388" y="324376"/>
                  </a:lnTo>
                  <a:lnTo>
                    <a:pt x="725517" y="323730"/>
                  </a:lnTo>
                  <a:lnTo>
                    <a:pt x="725388" y="323084"/>
                  </a:lnTo>
                  <a:lnTo>
                    <a:pt x="723837" y="320628"/>
                  </a:lnTo>
                  <a:lnTo>
                    <a:pt x="723449" y="319982"/>
                  </a:lnTo>
                  <a:lnTo>
                    <a:pt x="723191" y="319207"/>
                  </a:lnTo>
                  <a:lnTo>
                    <a:pt x="722932" y="317785"/>
                  </a:lnTo>
                  <a:lnTo>
                    <a:pt x="723062" y="317010"/>
                  </a:lnTo>
                  <a:lnTo>
                    <a:pt x="723320" y="316364"/>
                  </a:lnTo>
                  <a:lnTo>
                    <a:pt x="723708" y="315976"/>
                  </a:lnTo>
                  <a:lnTo>
                    <a:pt x="724742" y="315330"/>
                  </a:lnTo>
                  <a:lnTo>
                    <a:pt x="725259" y="314813"/>
                  </a:lnTo>
                  <a:lnTo>
                    <a:pt x="725776" y="314296"/>
                  </a:lnTo>
                  <a:lnTo>
                    <a:pt x="726293" y="313391"/>
                  </a:lnTo>
                  <a:lnTo>
                    <a:pt x="726034" y="313133"/>
                  </a:lnTo>
                  <a:lnTo>
                    <a:pt x="725517" y="313004"/>
                  </a:lnTo>
                  <a:lnTo>
                    <a:pt x="723966" y="313004"/>
                  </a:lnTo>
                  <a:lnTo>
                    <a:pt x="722416" y="312874"/>
                  </a:lnTo>
                  <a:lnTo>
                    <a:pt x="719831" y="312099"/>
                  </a:lnTo>
                  <a:lnTo>
                    <a:pt x="718926" y="311711"/>
                  </a:lnTo>
                  <a:lnTo>
                    <a:pt x="714403" y="308739"/>
                  </a:lnTo>
                  <a:lnTo>
                    <a:pt x="712335" y="307834"/>
                  </a:lnTo>
                  <a:lnTo>
                    <a:pt x="710138" y="307317"/>
                  </a:lnTo>
                  <a:lnTo>
                    <a:pt x="709492" y="306930"/>
                  </a:lnTo>
                  <a:lnTo>
                    <a:pt x="709105" y="306413"/>
                  </a:lnTo>
                  <a:lnTo>
                    <a:pt x="708975" y="305767"/>
                  </a:lnTo>
                  <a:lnTo>
                    <a:pt x="708975" y="304086"/>
                  </a:lnTo>
                  <a:lnTo>
                    <a:pt x="708717" y="303053"/>
                  </a:lnTo>
                  <a:lnTo>
                    <a:pt x="708200" y="302536"/>
                  </a:lnTo>
                  <a:lnTo>
                    <a:pt x="707554" y="302148"/>
                  </a:lnTo>
                  <a:lnTo>
                    <a:pt x="703935" y="301502"/>
                  </a:lnTo>
                  <a:lnTo>
                    <a:pt x="698637" y="299434"/>
                  </a:lnTo>
                  <a:lnTo>
                    <a:pt x="697473" y="298659"/>
                  </a:lnTo>
                  <a:lnTo>
                    <a:pt x="696827" y="297883"/>
                  </a:lnTo>
                  <a:lnTo>
                    <a:pt x="696698" y="297237"/>
                  </a:lnTo>
                  <a:lnTo>
                    <a:pt x="696957" y="295040"/>
                  </a:lnTo>
                  <a:lnTo>
                    <a:pt x="696827" y="294265"/>
                  </a:lnTo>
                  <a:lnTo>
                    <a:pt x="696440" y="293360"/>
                  </a:lnTo>
                  <a:lnTo>
                    <a:pt x="692692" y="289225"/>
                  </a:lnTo>
                  <a:lnTo>
                    <a:pt x="692304" y="288708"/>
                  </a:lnTo>
                  <a:lnTo>
                    <a:pt x="692175" y="288449"/>
                  </a:lnTo>
                  <a:lnTo>
                    <a:pt x="691916" y="287415"/>
                  </a:lnTo>
                  <a:lnTo>
                    <a:pt x="692433" y="284572"/>
                  </a:lnTo>
                  <a:lnTo>
                    <a:pt x="696310" y="275655"/>
                  </a:lnTo>
                  <a:lnTo>
                    <a:pt x="698378" y="272683"/>
                  </a:lnTo>
                  <a:lnTo>
                    <a:pt x="699800" y="271261"/>
                  </a:lnTo>
                  <a:lnTo>
                    <a:pt x="702514" y="268935"/>
                  </a:lnTo>
                  <a:lnTo>
                    <a:pt x="703031" y="268030"/>
                  </a:lnTo>
                  <a:lnTo>
                    <a:pt x="703160" y="267255"/>
                  </a:lnTo>
                  <a:lnTo>
                    <a:pt x="700575" y="263507"/>
                  </a:lnTo>
                  <a:lnTo>
                    <a:pt x="700187" y="263119"/>
                  </a:lnTo>
                  <a:lnTo>
                    <a:pt x="699670" y="262861"/>
                  </a:lnTo>
                  <a:lnTo>
                    <a:pt x="699024" y="262732"/>
                  </a:lnTo>
                  <a:lnTo>
                    <a:pt x="695406" y="262473"/>
                  </a:lnTo>
                  <a:lnTo>
                    <a:pt x="694760" y="262344"/>
                  </a:lnTo>
                  <a:lnTo>
                    <a:pt x="694113" y="261956"/>
                  </a:lnTo>
                  <a:lnTo>
                    <a:pt x="693467" y="261439"/>
                  </a:lnTo>
                  <a:lnTo>
                    <a:pt x="692821" y="260405"/>
                  </a:lnTo>
                  <a:lnTo>
                    <a:pt x="692692" y="259630"/>
                  </a:lnTo>
                  <a:lnTo>
                    <a:pt x="692950" y="259113"/>
                  </a:lnTo>
                  <a:lnTo>
                    <a:pt x="693467" y="258855"/>
                  </a:lnTo>
                  <a:lnTo>
                    <a:pt x="695535" y="258596"/>
                  </a:lnTo>
                  <a:lnTo>
                    <a:pt x="696181" y="258338"/>
                  </a:lnTo>
                  <a:lnTo>
                    <a:pt x="696698" y="257821"/>
                  </a:lnTo>
                  <a:lnTo>
                    <a:pt x="696698" y="257304"/>
                  </a:lnTo>
                  <a:lnTo>
                    <a:pt x="696310" y="256787"/>
                  </a:lnTo>
                  <a:lnTo>
                    <a:pt x="695794" y="256270"/>
                  </a:lnTo>
                  <a:lnTo>
                    <a:pt x="695406" y="255365"/>
                  </a:lnTo>
                  <a:lnTo>
                    <a:pt x="695535" y="254719"/>
                  </a:lnTo>
                  <a:lnTo>
                    <a:pt x="695794" y="254202"/>
                  </a:lnTo>
                  <a:lnTo>
                    <a:pt x="696569" y="253298"/>
                  </a:lnTo>
                  <a:lnTo>
                    <a:pt x="696957" y="252910"/>
                  </a:lnTo>
                  <a:lnTo>
                    <a:pt x="697473" y="252652"/>
                  </a:lnTo>
                  <a:lnTo>
                    <a:pt x="698120" y="252522"/>
                  </a:lnTo>
                  <a:lnTo>
                    <a:pt x="698766" y="252652"/>
                  </a:lnTo>
                  <a:lnTo>
                    <a:pt x="699541" y="252652"/>
                  </a:lnTo>
                  <a:lnTo>
                    <a:pt x="700317" y="252393"/>
                  </a:lnTo>
                  <a:lnTo>
                    <a:pt x="701092" y="251488"/>
                  </a:lnTo>
                  <a:lnTo>
                    <a:pt x="701221" y="250842"/>
                  </a:lnTo>
                  <a:lnTo>
                    <a:pt x="701092" y="250196"/>
                  </a:lnTo>
                  <a:lnTo>
                    <a:pt x="699283" y="247353"/>
                  </a:lnTo>
                  <a:lnTo>
                    <a:pt x="696569" y="240891"/>
                  </a:lnTo>
                  <a:lnTo>
                    <a:pt x="696310" y="239728"/>
                  </a:lnTo>
                  <a:lnTo>
                    <a:pt x="696569" y="239082"/>
                  </a:lnTo>
                  <a:lnTo>
                    <a:pt x="697732" y="238177"/>
                  </a:lnTo>
                  <a:lnTo>
                    <a:pt x="698249" y="237273"/>
                  </a:lnTo>
                  <a:lnTo>
                    <a:pt x="698378" y="236627"/>
                  </a:lnTo>
                  <a:lnTo>
                    <a:pt x="698249" y="235980"/>
                  </a:lnTo>
                  <a:lnTo>
                    <a:pt x="697861" y="235593"/>
                  </a:lnTo>
                  <a:lnTo>
                    <a:pt x="697473" y="235334"/>
                  </a:lnTo>
                  <a:lnTo>
                    <a:pt x="697086" y="235205"/>
                  </a:lnTo>
                  <a:lnTo>
                    <a:pt x="696569" y="234817"/>
                  </a:lnTo>
                  <a:lnTo>
                    <a:pt x="696052" y="234171"/>
                  </a:lnTo>
                  <a:lnTo>
                    <a:pt x="695535" y="232620"/>
                  </a:lnTo>
                  <a:lnTo>
                    <a:pt x="695535" y="231586"/>
                  </a:lnTo>
                  <a:lnTo>
                    <a:pt x="695664" y="230811"/>
                  </a:lnTo>
                  <a:lnTo>
                    <a:pt x="695923" y="230294"/>
                  </a:lnTo>
                  <a:lnTo>
                    <a:pt x="696310" y="229777"/>
                  </a:lnTo>
                  <a:lnTo>
                    <a:pt x="697215" y="229002"/>
                  </a:lnTo>
                  <a:lnTo>
                    <a:pt x="699024" y="227709"/>
                  </a:lnTo>
                  <a:lnTo>
                    <a:pt x="699412" y="227322"/>
                  </a:lnTo>
                  <a:lnTo>
                    <a:pt x="699929" y="226029"/>
                  </a:lnTo>
                  <a:lnTo>
                    <a:pt x="701867" y="216983"/>
                  </a:lnTo>
                  <a:lnTo>
                    <a:pt x="702384" y="215820"/>
                  </a:lnTo>
                  <a:lnTo>
                    <a:pt x="702901" y="215691"/>
                  </a:lnTo>
                  <a:lnTo>
                    <a:pt x="705486" y="216208"/>
                  </a:lnTo>
                  <a:lnTo>
                    <a:pt x="706132" y="216208"/>
                  </a:lnTo>
                  <a:lnTo>
                    <a:pt x="706649" y="215820"/>
                  </a:lnTo>
                  <a:lnTo>
                    <a:pt x="707037" y="215045"/>
                  </a:lnTo>
                  <a:lnTo>
                    <a:pt x="709105" y="209746"/>
                  </a:lnTo>
                  <a:lnTo>
                    <a:pt x="709363" y="209229"/>
                  </a:lnTo>
                  <a:lnTo>
                    <a:pt x="709751" y="208712"/>
                  </a:lnTo>
                  <a:lnTo>
                    <a:pt x="710138" y="208324"/>
                  </a:lnTo>
                  <a:lnTo>
                    <a:pt x="711043" y="207549"/>
                  </a:lnTo>
                  <a:lnTo>
                    <a:pt x="711560" y="207032"/>
                  </a:lnTo>
                  <a:lnTo>
                    <a:pt x="711689" y="206644"/>
                  </a:lnTo>
                  <a:lnTo>
                    <a:pt x="711301" y="205998"/>
                  </a:lnTo>
                  <a:lnTo>
                    <a:pt x="711301" y="202897"/>
                  </a:lnTo>
                  <a:lnTo>
                    <a:pt x="711689" y="201475"/>
                  </a:lnTo>
                  <a:lnTo>
                    <a:pt x="712335" y="200441"/>
                  </a:lnTo>
                  <a:lnTo>
                    <a:pt x="712723" y="199924"/>
                  </a:lnTo>
                  <a:lnTo>
                    <a:pt x="713111" y="199537"/>
                  </a:lnTo>
                  <a:lnTo>
                    <a:pt x="714145" y="198632"/>
                  </a:lnTo>
                  <a:lnTo>
                    <a:pt x="714532" y="198115"/>
                  </a:lnTo>
                  <a:lnTo>
                    <a:pt x="714403" y="197727"/>
                  </a:lnTo>
                  <a:lnTo>
                    <a:pt x="714145" y="197340"/>
                  </a:lnTo>
                  <a:lnTo>
                    <a:pt x="713757" y="196693"/>
                  </a:lnTo>
                  <a:lnTo>
                    <a:pt x="713498" y="195660"/>
                  </a:lnTo>
                  <a:lnTo>
                    <a:pt x="712852" y="190619"/>
                  </a:lnTo>
                  <a:lnTo>
                    <a:pt x="712594" y="190102"/>
                  </a:lnTo>
                  <a:lnTo>
                    <a:pt x="712206" y="189586"/>
                  </a:lnTo>
                  <a:lnTo>
                    <a:pt x="711818" y="189069"/>
                  </a:lnTo>
                  <a:lnTo>
                    <a:pt x="711172" y="188552"/>
                  </a:lnTo>
                  <a:lnTo>
                    <a:pt x="710526" y="188164"/>
                  </a:lnTo>
                  <a:lnTo>
                    <a:pt x="709880" y="187905"/>
                  </a:lnTo>
                  <a:lnTo>
                    <a:pt x="708587" y="187518"/>
                  </a:lnTo>
                  <a:lnTo>
                    <a:pt x="707166" y="187259"/>
                  </a:lnTo>
                  <a:lnTo>
                    <a:pt x="706391" y="187259"/>
                  </a:lnTo>
                  <a:lnTo>
                    <a:pt x="705744" y="187259"/>
                  </a:lnTo>
                  <a:lnTo>
                    <a:pt x="705227" y="187389"/>
                  </a:lnTo>
                  <a:lnTo>
                    <a:pt x="704452" y="187647"/>
                  </a:lnTo>
                  <a:lnTo>
                    <a:pt x="703935" y="187776"/>
                  </a:lnTo>
                  <a:lnTo>
                    <a:pt x="703289" y="187776"/>
                  </a:lnTo>
                  <a:lnTo>
                    <a:pt x="702384" y="187259"/>
                  </a:lnTo>
                  <a:lnTo>
                    <a:pt x="702126" y="186613"/>
                  </a:lnTo>
                  <a:lnTo>
                    <a:pt x="701867" y="185708"/>
                  </a:lnTo>
                  <a:lnTo>
                    <a:pt x="701480" y="185192"/>
                  </a:lnTo>
                  <a:lnTo>
                    <a:pt x="700834" y="184933"/>
                  </a:lnTo>
                  <a:lnTo>
                    <a:pt x="699283" y="184416"/>
                  </a:lnTo>
                  <a:lnTo>
                    <a:pt x="698507" y="183770"/>
                  </a:lnTo>
                  <a:lnTo>
                    <a:pt x="698249" y="182995"/>
                  </a:lnTo>
                  <a:lnTo>
                    <a:pt x="697990" y="180927"/>
                  </a:lnTo>
                  <a:lnTo>
                    <a:pt x="697603" y="180539"/>
                  </a:lnTo>
                  <a:lnTo>
                    <a:pt x="697086" y="180539"/>
                  </a:lnTo>
                  <a:lnTo>
                    <a:pt x="696569" y="180798"/>
                  </a:lnTo>
                  <a:lnTo>
                    <a:pt x="695664" y="181573"/>
                  </a:lnTo>
                  <a:lnTo>
                    <a:pt x="695276" y="181961"/>
                  </a:lnTo>
                  <a:lnTo>
                    <a:pt x="694243" y="183253"/>
                  </a:lnTo>
                  <a:lnTo>
                    <a:pt x="693726" y="183512"/>
                  </a:lnTo>
                  <a:lnTo>
                    <a:pt x="693209" y="183641"/>
                  </a:lnTo>
                  <a:lnTo>
                    <a:pt x="692692" y="183512"/>
                  </a:lnTo>
                  <a:lnTo>
                    <a:pt x="692175" y="183253"/>
                  </a:lnTo>
                  <a:lnTo>
                    <a:pt x="690236" y="181831"/>
                  </a:lnTo>
                  <a:lnTo>
                    <a:pt x="687393" y="180281"/>
                  </a:lnTo>
                  <a:lnTo>
                    <a:pt x="685196" y="179505"/>
                  </a:lnTo>
                  <a:lnTo>
                    <a:pt x="684679" y="179376"/>
                  </a:lnTo>
                  <a:lnTo>
                    <a:pt x="684033" y="179376"/>
                  </a:lnTo>
                  <a:lnTo>
                    <a:pt x="682741" y="179505"/>
                  </a:lnTo>
                  <a:lnTo>
                    <a:pt x="679898" y="179376"/>
                  </a:lnTo>
                  <a:lnTo>
                    <a:pt x="679252" y="179505"/>
                  </a:lnTo>
                  <a:lnTo>
                    <a:pt x="678864" y="179893"/>
                  </a:lnTo>
                  <a:lnTo>
                    <a:pt x="678476" y="180410"/>
                  </a:lnTo>
                  <a:lnTo>
                    <a:pt x="677830" y="181444"/>
                  </a:lnTo>
                  <a:lnTo>
                    <a:pt x="677442" y="181831"/>
                  </a:lnTo>
                  <a:lnTo>
                    <a:pt x="677054" y="182219"/>
                  </a:lnTo>
                  <a:lnTo>
                    <a:pt x="676538" y="182478"/>
                  </a:lnTo>
                  <a:lnTo>
                    <a:pt x="675891" y="182607"/>
                  </a:lnTo>
                  <a:lnTo>
                    <a:pt x="674599" y="182607"/>
                  </a:lnTo>
                  <a:lnTo>
                    <a:pt x="674082" y="182865"/>
                  </a:lnTo>
                  <a:lnTo>
                    <a:pt x="673565" y="183124"/>
                  </a:lnTo>
                  <a:lnTo>
                    <a:pt x="672790" y="183899"/>
                  </a:lnTo>
                  <a:lnTo>
                    <a:pt x="672402" y="184287"/>
                  </a:lnTo>
                  <a:lnTo>
                    <a:pt x="671885" y="184545"/>
                  </a:lnTo>
                  <a:lnTo>
                    <a:pt x="671239" y="184675"/>
                  </a:lnTo>
                  <a:lnTo>
                    <a:pt x="662451" y="185321"/>
                  </a:lnTo>
                  <a:lnTo>
                    <a:pt x="660900" y="185062"/>
                  </a:lnTo>
                  <a:lnTo>
                    <a:pt x="660125" y="184675"/>
                  </a:lnTo>
                  <a:lnTo>
                    <a:pt x="659737" y="184158"/>
                  </a:lnTo>
                  <a:lnTo>
                    <a:pt x="659737" y="183512"/>
                  </a:lnTo>
                  <a:lnTo>
                    <a:pt x="659867" y="183124"/>
                  </a:lnTo>
                  <a:lnTo>
                    <a:pt x="660771" y="180410"/>
                  </a:lnTo>
                  <a:lnTo>
                    <a:pt x="660771" y="179764"/>
                  </a:lnTo>
                  <a:lnTo>
                    <a:pt x="660771" y="179118"/>
                  </a:lnTo>
                  <a:lnTo>
                    <a:pt x="660642" y="178471"/>
                  </a:lnTo>
                  <a:lnTo>
                    <a:pt x="660513" y="177955"/>
                  </a:lnTo>
                  <a:lnTo>
                    <a:pt x="658445" y="174465"/>
                  </a:lnTo>
                  <a:lnTo>
                    <a:pt x="658057" y="173302"/>
                  </a:lnTo>
                  <a:lnTo>
                    <a:pt x="657411" y="170976"/>
                  </a:lnTo>
                  <a:lnTo>
                    <a:pt x="656894" y="169813"/>
                  </a:lnTo>
                  <a:lnTo>
                    <a:pt x="655085" y="164902"/>
                  </a:lnTo>
                  <a:lnTo>
                    <a:pt x="654439" y="161800"/>
                  </a:lnTo>
                  <a:lnTo>
                    <a:pt x="654051" y="161025"/>
                  </a:lnTo>
                  <a:lnTo>
                    <a:pt x="653405" y="160637"/>
                  </a:lnTo>
                  <a:lnTo>
                    <a:pt x="652629" y="160249"/>
                  </a:lnTo>
                  <a:lnTo>
                    <a:pt x="651725" y="159603"/>
                  </a:lnTo>
                  <a:lnTo>
                    <a:pt x="646685" y="153529"/>
                  </a:lnTo>
                  <a:lnTo>
                    <a:pt x="646168" y="152625"/>
                  </a:lnTo>
                  <a:lnTo>
                    <a:pt x="645909" y="151720"/>
                  </a:lnTo>
                  <a:lnTo>
                    <a:pt x="646039" y="148489"/>
                  </a:lnTo>
                  <a:lnTo>
                    <a:pt x="645909" y="147585"/>
                  </a:lnTo>
                  <a:lnTo>
                    <a:pt x="643842" y="140477"/>
                  </a:lnTo>
                  <a:lnTo>
                    <a:pt x="643712" y="139055"/>
                  </a:lnTo>
                  <a:lnTo>
                    <a:pt x="643712" y="138538"/>
                  </a:lnTo>
                  <a:lnTo>
                    <a:pt x="643712" y="138538"/>
                  </a:lnTo>
                  <a:lnTo>
                    <a:pt x="643842" y="138151"/>
                  </a:lnTo>
                  <a:lnTo>
                    <a:pt x="644358" y="137117"/>
                  </a:lnTo>
                  <a:lnTo>
                    <a:pt x="644488" y="136341"/>
                  </a:lnTo>
                  <a:lnTo>
                    <a:pt x="644229" y="135824"/>
                  </a:lnTo>
                  <a:lnTo>
                    <a:pt x="643066" y="134790"/>
                  </a:lnTo>
                  <a:lnTo>
                    <a:pt x="642291" y="133886"/>
                  </a:lnTo>
                  <a:lnTo>
                    <a:pt x="640998" y="131818"/>
                  </a:lnTo>
                  <a:lnTo>
                    <a:pt x="640223" y="130914"/>
                  </a:lnTo>
                  <a:lnTo>
                    <a:pt x="639448" y="130526"/>
                  </a:lnTo>
                  <a:lnTo>
                    <a:pt x="638801" y="130526"/>
                  </a:lnTo>
                  <a:lnTo>
                    <a:pt x="638026" y="130397"/>
                  </a:lnTo>
                  <a:lnTo>
                    <a:pt x="637380" y="129880"/>
                  </a:lnTo>
                  <a:lnTo>
                    <a:pt x="636475" y="128846"/>
                  </a:lnTo>
                  <a:lnTo>
                    <a:pt x="636217" y="128070"/>
                  </a:lnTo>
                  <a:lnTo>
                    <a:pt x="636087" y="127295"/>
                  </a:lnTo>
                  <a:lnTo>
                    <a:pt x="636605" y="124969"/>
                  </a:lnTo>
                  <a:lnTo>
                    <a:pt x="637638" y="116698"/>
                  </a:lnTo>
                  <a:lnTo>
                    <a:pt x="638414" y="114501"/>
                  </a:lnTo>
                  <a:lnTo>
                    <a:pt x="639835" y="113596"/>
                  </a:lnTo>
                  <a:lnTo>
                    <a:pt x="640482" y="113079"/>
                  </a:lnTo>
                  <a:lnTo>
                    <a:pt x="641128" y="112175"/>
                  </a:lnTo>
                  <a:lnTo>
                    <a:pt x="642161" y="110365"/>
                  </a:lnTo>
                  <a:lnTo>
                    <a:pt x="642679" y="108944"/>
                  </a:lnTo>
                  <a:lnTo>
                    <a:pt x="642937" y="107652"/>
                  </a:lnTo>
                  <a:lnTo>
                    <a:pt x="643195" y="105067"/>
                  </a:lnTo>
                  <a:lnTo>
                    <a:pt x="643583" y="104421"/>
                  </a:lnTo>
                  <a:lnTo>
                    <a:pt x="644229" y="104162"/>
                  </a:lnTo>
                  <a:lnTo>
                    <a:pt x="645522" y="104033"/>
                  </a:lnTo>
                  <a:lnTo>
                    <a:pt x="646168" y="103645"/>
                  </a:lnTo>
                  <a:lnTo>
                    <a:pt x="646814" y="102999"/>
                  </a:lnTo>
                  <a:lnTo>
                    <a:pt x="647719" y="101707"/>
                  </a:lnTo>
                  <a:lnTo>
                    <a:pt x="648106" y="100673"/>
                  </a:lnTo>
                  <a:lnTo>
                    <a:pt x="648365" y="99639"/>
                  </a:lnTo>
                  <a:lnTo>
                    <a:pt x="648365" y="97830"/>
                  </a:lnTo>
                  <a:lnTo>
                    <a:pt x="648235" y="96796"/>
                  </a:lnTo>
                  <a:lnTo>
                    <a:pt x="645522" y="87362"/>
                  </a:lnTo>
                  <a:lnTo>
                    <a:pt x="645005" y="86328"/>
                  </a:lnTo>
                  <a:lnTo>
                    <a:pt x="644746" y="85811"/>
                  </a:lnTo>
                  <a:lnTo>
                    <a:pt x="644358" y="85423"/>
                  </a:lnTo>
                  <a:lnTo>
                    <a:pt x="643971" y="85036"/>
                  </a:lnTo>
                  <a:lnTo>
                    <a:pt x="643454" y="84648"/>
                  </a:lnTo>
                  <a:lnTo>
                    <a:pt x="632986" y="79349"/>
                  </a:lnTo>
                  <a:lnTo>
                    <a:pt x="632081" y="78703"/>
                  </a:lnTo>
                  <a:lnTo>
                    <a:pt x="629109" y="75601"/>
                  </a:lnTo>
                  <a:lnTo>
                    <a:pt x="628592" y="74697"/>
                  </a:lnTo>
                  <a:lnTo>
                    <a:pt x="628463" y="73922"/>
                  </a:lnTo>
                  <a:lnTo>
                    <a:pt x="628463" y="73146"/>
                  </a:lnTo>
                  <a:lnTo>
                    <a:pt x="628850" y="71983"/>
                  </a:lnTo>
                  <a:lnTo>
                    <a:pt x="629238" y="70691"/>
                  </a:lnTo>
                  <a:lnTo>
                    <a:pt x="629755" y="67848"/>
                  </a:lnTo>
                  <a:lnTo>
                    <a:pt x="630013" y="60998"/>
                  </a:lnTo>
                  <a:lnTo>
                    <a:pt x="630272" y="58801"/>
                  </a:lnTo>
                  <a:lnTo>
                    <a:pt x="630401" y="58155"/>
                  </a:lnTo>
                  <a:lnTo>
                    <a:pt x="630660" y="57638"/>
                  </a:lnTo>
                  <a:lnTo>
                    <a:pt x="631047" y="57121"/>
                  </a:lnTo>
                  <a:lnTo>
                    <a:pt x="632727" y="55700"/>
                  </a:lnTo>
                  <a:lnTo>
                    <a:pt x="633115" y="55312"/>
                  </a:lnTo>
                  <a:lnTo>
                    <a:pt x="633503" y="54666"/>
                  </a:lnTo>
                  <a:lnTo>
                    <a:pt x="633761" y="53632"/>
                  </a:lnTo>
                  <a:lnTo>
                    <a:pt x="634020" y="51823"/>
                  </a:lnTo>
                  <a:lnTo>
                    <a:pt x="634020" y="50789"/>
                  </a:lnTo>
                  <a:lnTo>
                    <a:pt x="634020" y="50143"/>
                  </a:lnTo>
                  <a:lnTo>
                    <a:pt x="634537" y="48204"/>
                  </a:lnTo>
                  <a:lnTo>
                    <a:pt x="632986" y="45878"/>
                  </a:lnTo>
                  <a:lnTo>
                    <a:pt x="632340" y="43681"/>
                  </a:lnTo>
                  <a:lnTo>
                    <a:pt x="628075" y="40192"/>
                  </a:lnTo>
                  <a:lnTo>
                    <a:pt x="627041" y="38512"/>
                  </a:lnTo>
                  <a:lnTo>
                    <a:pt x="619287" y="33471"/>
                  </a:lnTo>
                  <a:lnTo>
                    <a:pt x="617736" y="33342"/>
                  </a:lnTo>
                  <a:lnTo>
                    <a:pt x="616832" y="33084"/>
                  </a:lnTo>
                  <a:lnTo>
                    <a:pt x="615152" y="31921"/>
                  </a:lnTo>
                  <a:lnTo>
                    <a:pt x="612567" y="28948"/>
                  </a:lnTo>
                  <a:lnTo>
                    <a:pt x="612567" y="28431"/>
                  </a:lnTo>
                  <a:lnTo>
                    <a:pt x="612826" y="28044"/>
                  </a:lnTo>
                  <a:lnTo>
                    <a:pt x="612955" y="27268"/>
                  </a:lnTo>
                  <a:lnTo>
                    <a:pt x="613084" y="26234"/>
                  </a:lnTo>
                  <a:lnTo>
                    <a:pt x="613342" y="25330"/>
                  </a:lnTo>
                  <a:lnTo>
                    <a:pt x="613472" y="24425"/>
                  </a:lnTo>
                  <a:lnTo>
                    <a:pt x="613084" y="23262"/>
                  </a:lnTo>
                  <a:lnTo>
                    <a:pt x="612438" y="22616"/>
                  </a:lnTo>
                  <a:lnTo>
                    <a:pt x="610370" y="21194"/>
                  </a:lnTo>
                  <a:lnTo>
                    <a:pt x="609336" y="20160"/>
                  </a:lnTo>
                  <a:lnTo>
                    <a:pt x="607398" y="21453"/>
                  </a:lnTo>
                  <a:lnTo>
                    <a:pt x="605072" y="22487"/>
                  </a:lnTo>
                  <a:lnTo>
                    <a:pt x="602616" y="23133"/>
                  </a:lnTo>
                  <a:lnTo>
                    <a:pt x="600290" y="23391"/>
                  </a:lnTo>
                  <a:lnTo>
                    <a:pt x="597576" y="24037"/>
                  </a:lnTo>
                  <a:lnTo>
                    <a:pt x="596413" y="25588"/>
                  </a:lnTo>
                  <a:lnTo>
                    <a:pt x="595638" y="27397"/>
                  </a:lnTo>
                  <a:lnTo>
                    <a:pt x="594087" y="28948"/>
                  </a:lnTo>
                  <a:lnTo>
                    <a:pt x="591502" y="29465"/>
                  </a:lnTo>
                  <a:lnTo>
                    <a:pt x="589693" y="28431"/>
                  </a:lnTo>
                  <a:lnTo>
                    <a:pt x="586979" y="24684"/>
                  </a:lnTo>
                  <a:lnTo>
                    <a:pt x="584782" y="22745"/>
                  </a:lnTo>
                  <a:lnTo>
                    <a:pt x="582972" y="22228"/>
                  </a:lnTo>
                  <a:lnTo>
                    <a:pt x="569403" y="22745"/>
                  </a:lnTo>
                  <a:lnTo>
                    <a:pt x="568240" y="23133"/>
                  </a:lnTo>
                  <a:lnTo>
                    <a:pt x="567335" y="23908"/>
                  </a:lnTo>
                  <a:lnTo>
                    <a:pt x="566431" y="25071"/>
                  </a:lnTo>
                  <a:lnTo>
                    <a:pt x="565655" y="25717"/>
                  </a:lnTo>
                  <a:lnTo>
                    <a:pt x="565914" y="27010"/>
                  </a:lnTo>
                  <a:lnTo>
                    <a:pt x="566818" y="28948"/>
                  </a:lnTo>
                  <a:lnTo>
                    <a:pt x="566689" y="30887"/>
                  </a:lnTo>
                  <a:lnTo>
                    <a:pt x="566172" y="33730"/>
                  </a:lnTo>
                  <a:lnTo>
                    <a:pt x="565138" y="36315"/>
                  </a:lnTo>
                  <a:lnTo>
                    <a:pt x="563587" y="37478"/>
                  </a:lnTo>
                  <a:lnTo>
                    <a:pt x="562424" y="37736"/>
                  </a:lnTo>
                  <a:lnTo>
                    <a:pt x="561391" y="37995"/>
                  </a:lnTo>
                  <a:lnTo>
                    <a:pt x="560357" y="37995"/>
                  </a:lnTo>
                  <a:lnTo>
                    <a:pt x="559194" y="37090"/>
                  </a:lnTo>
                  <a:lnTo>
                    <a:pt x="558547" y="35927"/>
                  </a:lnTo>
                  <a:lnTo>
                    <a:pt x="558418" y="34634"/>
                  </a:lnTo>
                  <a:lnTo>
                    <a:pt x="558418" y="33342"/>
                  </a:lnTo>
                  <a:lnTo>
                    <a:pt x="558160" y="32050"/>
                  </a:lnTo>
                  <a:lnTo>
                    <a:pt x="558418" y="29853"/>
                  </a:lnTo>
                  <a:lnTo>
                    <a:pt x="557513" y="28690"/>
                  </a:lnTo>
                  <a:lnTo>
                    <a:pt x="556350" y="27914"/>
                  </a:lnTo>
                  <a:lnTo>
                    <a:pt x="554929" y="27397"/>
                  </a:lnTo>
                  <a:lnTo>
                    <a:pt x="554800" y="32696"/>
                  </a:lnTo>
                  <a:lnTo>
                    <a:pt x="554283" y="35022"/>
                  </a:lnTo>
                  <a:lnTo>
                    <a:pt x="552990" y="37090"/>
                  </a:lnTo>
                  <a:lnTo>
                    <a:pt x="552473" y="37478"/>
                  </a:lnTo>
                  <a:lnTo>
                    <a:pt x="551052" y="37865"/>
                  </a:lnTo>
                  <a:lnTo>
                    <a:pt x="550406" y="38253"/>
                  </a:lnTo>
                  <a:lnTo>
                    <a:pt x="550018" y="38641"/>
                  </a:lnTo>
                  <a:lnTo>
                    <a:pt x="549243" y="39675"/>
                  </a:lnTo>
                  <a:lnTo>
                    <a:pt x="548597" y="40192"/>
                  </a:lnTo>
                  <a:lnTo>
                    <a:pt x="547304" y="41096"/>
                  </a:lnTo>
                  <a:lnTo>
                    <a:pt x="546012" y="41355"/>
                  </a:lnTo>
                  <a:lnTo>
                    <a:pt x="544719" y="41096"/>
                  </a:lnTo>
                  <a:lnTo>
                    <a:pt x="541618" y="39158"/>
                  </a:lnTo>
                  <a:lnTo>
                    <a:pt x="537353" y="37478"/>
                  </a:lnTo>
                  <a:lnTo>
                    <a:pt x="535673" y="35927"/>
                  </a:lnTo>
                  <a:lnTo>
                    <a:pt x="534381" y="33213"/>
                  </a:lnTo>
                  <a:lnTo>
                    <a:pt x="533476" y="30370"/>
                  </a:lnTo>
                  <a:lnTo>
                    <a:pt x="532184" y="27785"/>
                  </a:lnTo>
                  <a:lnTo>
                    <a:pt x="529728" y="25717"/>
                  </a:lnTo>
                  <a:lnTo>
                    <a:pt x="527531" y="29078"/>
                  </a:lnTo>
                  <a:lnTo>
                    <a:pt x="529987" y="37090"/>
                  </a:lnTo>
                  <a:lnTo>
                    <a:pt x="527531" y="39804"/>
                  </a:lnTo>
                  <a:lnTo>
                    <a:pt x="525464" y="39804"/>
                  </a:lnTo>
                  <a:lnTo>
                    <a:pt x="522233" y="37348"/>
                  </a:lnTo>
                  <a:lnTo>
                    <a:pt x="519777" y="36702"/>
                  </a:lnTo>
                  <a:lnTo>
                    <a:pt x="510602" y="36702"/>
                  </a:lnTo>
                  <a:lnTo>
                    <a:pt x="505949" y="37348"/>
                  </a:lnTo>
                  <a:lnTo>
                    <a:pt x="503494" y="37995"/>
                  </a:lnTo>
                  <a:lnTo>
                    <a:pt x="502460" y="38641"/>
                  </a:lnTo>
                  <a:lnTo>
                    <a:pt x="501168" y="39029"/>
                  </a:lnTo>
                  <a:lnTo>
                    <a:pt x="492897" y="38253"/>
                  </a:lnTo>
                  <a:lnTo>
                    <a:pt x="490700" y="39158"/>
                  </a:lnTo>
                  <a:lnTo>
                    <a:pt x="486952" y="41613"/>
                  </a:lnTo>
                  <a:lnTo>
                    <a:pt x="485143" y="42130"/>
                  </a:lnTo>
                  <a:lnTo>
                    <a:pt x="482687" y="41872"/>
                  </a:lnTo>
                  <a:lnTo>
                    <a:pt x="476613" y="40579"/>
                  </a:lnTo>
                  <a:lnTo>
                    <a:pt x="475063" y="40579"/>
                  </a:lnTo>
                  <a:lnTo>
                    <a:pt x="470798" y="41484"/>
                  </a:lnTo>
                  <a:lnTo>
                    <a:pt x="465629" y="41484"/>
                  </a:lnTo>
                  <a:lnTo>
                    <a:pt x="462915" y="42905"/>
                  </a:lnTo>
                  <a:lnTo>
                    <a:pt x="461622" y="45619"/>
                  </a:lnTo>
                  <a:lnTo>
                    <a:pt x="460847" y="48850"/>
                  </a:lnTo>
                  <a:lnTo>
                    <a:pt x="459425" y="51952"/>
                  </a:lnTo>
                  <a:lnTo>
                    <a:pt x="458133" y="53890"/>
                  </a:lnTo>
                  <a:lnTo>
                    <a:pt x="458133" y="55053"/>
                  </a:lnTo>
                  <a:lnTo>
                    <a:pt x="458650" y="56216"/>
                  </a:lnTo>
                  <a:lnTo>
                    <a:pt x="459038" y="58026"/>
                  </a:lnTo>
                  <a:lnTo>
                    <a:pt x="459038" y="64358"/>
                  </a:lnTo>
                  <a:lnTo>
                    <a:pt x="459296" y="65909"/>
                  </a:lnTo>
                  <a:lnTo>
                    <a:pt x="460201" y="69011"/>
                  </a:lnTo>
                  <a:lnTo>
                    <a:pt x="460459" y="70691"/>
                  </a:lnTo>
                  <a:lnTo>
                    <a:pt x="459942" y="71725"/>
                  </a:lnTo>
                  <a:lnTo>
                    <a:pt x="456841" y="74309"/>
                  </a:lnTo>
                  <a:lnTo>
                    <a:pt x="455161" y="73275"/>
                  </a:lnTo>
                  <a:lnTo>
                    <a:pt x="450508" y="71337"/>
                  </a:lnTo>
                  <a:lnTo>
                    <a:pt x="449474" y="70045"/>
                  </a:lnTo>
                  <a:lnTo>
                    <a:pt x="448699" y="61127"/>
                  </a:lnTo>
                  <a:lnTo>
                    <a:pt x="449216" y="50789"/>
                  </a:lnTo>
                  <a:lnTo>
                    <a:pt x="448311" y="45619"/>
                  </a:lnTo>
                  <a:lnTo>
                    <a:pt x="445727" y="41872"/>
                  </a:lnTo>
                  <a:lnTo>
                    <a:pt x="441591" y="40967"/>
                  </a:lnTo>
                  <a:lnTo>
                    <a:pt x="438748" y="43939"/>
                  </a:lnTo>
                  <a:lnTo>
                    <a:pt x="435388" y="51823"/>
                  </a:lnTo>
                  <a:lnTo>
                    <a:pt x="433062" y="55053"/>
                  </a:lnTo>
                  <a:lnTo>
                    <a:pt x="430089" y="58155"/>
                  </a:lnTo>
                  <a:lnTo>
                    <a:pt x="426600" y="59577"/>
                  </a:lnTo>
                  <a:lnTo>
                    <a:pt x="422852" y="58026"/>
                  </a:lnTo>
                  <a:lnTo>
                    <a:pt x="421689" y="56346"/>
                  </a:lnTo>
                  <a:lnTo>
                    <a:pt x="420268" y="52469"/>
                  </a:lnTo>
                  <a:lnTo>
                    <a:pt x="417424" y="48850"/>
                  </a:lnTo>
                  <a:lnTo>
                    <a:pt x="414840" y="43422"/>
                  </a:lnTo>
                  <a:lnTo>
                    <a:pt x="414064" y="41096"/>
                  </a:lnTo>
                  <a:lnTo>
                    <a:pt x="413289" y="36185"/>
                  </a:lnTo>
                  <a:lnTo>
                    <a:pt x="413160" y="33342"/>
                  </a:lnTo>
                  <a:lnTo>
                    <a:pt x="414064" y="30499"/>
                  </a:lnTo>
                  <a:lnTo>
                    <a:pt x="414194" y="29078"/>
                  </a:lnTo>
                  <a:lnTo>
                    <a:pt x="414452" y="27785"/>
                  </a:lnTo>
                  <a:lnTo>
                    <a:pt x="415227" y="27268"/>
                  </a:lnTo>
                  <a:lnTo>
                    <a:pt x="415615" y="27010"/>
                  </a:lnTo>
                  <a:lnTo>
                    <a:pt x="419234" y="25717"/>
                  </a:lnTo>
                  <a:lnTo>
                    <a:pt x="420009" y="23650"/>
                  </a:lnTo>
                  <a:lnTo>
                    <a:pt x="418975" y="22228"/>
                  </a:lnTo>
                  <a:lnTo>
                    <a:pt x="416778" y="21323"/>
                  </a:lnTo>
                  <a:lnTo>
                    <a:pt x="414452" y="21065"/>
                  </a:lnTo>
                  <a:lnTo>
                    <a:pt x="411997" y="21194"/>
                  </a:lnTo>
                  <a:lnTo>
                    <a:pt x="404760" y="22616"/>
                  </a:lnTo>
                  <a:lnTo>
                    <a:pt x="402433" y="21065"/>
                  </a:lnTo>
                  <a:lnTo>
                    <a:pt x="392612" y="17963"/>
                  </a:lnTo>
                  <a:lnTo>
                    <a:pt x="387442" y="16930"/>
                  </a:lnTo>
                  <a:lnTo>
                    <a:pt x="351515" y="17059"/>
                  </a:lnTo>
                  <a:lnTo>
                    <a:pt x="337170" y="14991"/>
                  </a:lnTo>
                  <a:lnTo>
                    <a:pt x="302665" y="10080"/>
                  </a:lnTo>
                  <a:lnTo>
                    <a:pt x="299951" y="8917"/>
                  </a:lnTo>
                  <a:lnTo>
                    <a:pt x="295945" y="3619"/>
                  </a:lnTo>
                  <a:lnTo>
                    <a:pt x="293360" y="1292"/>
                  </a:lnTo>
                  <a:lnTo>
                    <a:pt x="290000" y="0"/>
                  </a:lnTo>
                  <a:lnTo>
                    <a:pt x="286511" y="129"/>
                  </a:lnTo>
                  <a:lnTo>
                    <a:pt x="282763" y="1292"/>
                  </a:lnTo>
                  <a:lnTo>
                    <a:pt x="279274" y="2972"/>
                  </a:lnTo>
                  <a:lnTo>
                    <a:pt x="277077" y="7366"/>
                  </a:lnTo>
                  <a:lnTo>
                    <a:pt x="268806" y="15120"/>
                  </a:lnTo>
                  <a:lnTo>
                    <a:pt x="266867" y="16283"/>
                  </a:lnTo>
                  <a:lnTo>
                    <a:pt x="264153" y="17576"/>
                  </a:lnTo>
                  <a:lnTo>
                    <a:pt x="245673" y="24037"/>
                  </a:lnTo>
                  <a:lnTo>
                    <a:pt x="243218" y="25588"/>
                  </a:lnTo>
                  <a:lnTo>
                    <a:pt x="237014" y="30887"/>
                  </a:lnTo>
                  <a:lnTo>
                    <a:pt x="232491" y="36315"/>
                  </a:lnTo>
                  <a:lnTo>
                    <a:pt x="228744" y="46266"/>
                  </a:lnTo>
                  <a:lnTo>
                    <a:pt x="225900" y="50660"/>
                  </a:lnTo>
                  <a:lnTo>
                    <a:pt x="222540" y="54666"/>
                  </a:lnTo>
                  <a:lnTo>
                    <a:pt x="219697" y="56863"/>
                  </a:lnTo>
                  <a:lnTo>
                    <a:pt x="217112" y="58414"/>
                  </a:lnTo>
                  <a:lnTo>
                    <a:pt x="203284" y="62678"/>
                  </a:lnTo>
                  <a:lnTo>
                    <a:pt x="196952" y="65909"/>
                  </a:lnTo>
                  <a:lnTo>
                    <a:pt x="195014" y="67589"/>
                  </a:lnTo>
                  <a:lnTo>
                    <a:pt x="191007" y="72112"/>
                  </a:lnTo>
                  <a:lnTo>
                    <a:pt x="189456" y="74826"/>
                  </a:lnTo>
                  <a:lnTo>
                    <a:pt x="184804" y="80512"/>
                  </a:lnTo>
                  <a:lnTo>
                    <a:pt x="182478" y="84131"/>
                  </a:lnTo>
                  <a:lnTo>
                    <a:pt x="176792" y="89946"/>
                  </a:lnTo>
                  <a:lnTo>
                    <a:pt x="171751" y="91110"/>
                  </a:lnTo>
                  <a:lnTo>
                    <a:pt x="169813" y="92402"/>
                  </a:lnTo>
                  <a:lnTo>
                    <a:pt x="168908" y="94728"/>
                  </a:lnTo>
                  <a:lnTo>
                    <a:pt x="167874" y="99768"/>
                  </a:lnTo>
                  <a:lnTo>
                    <a:pt x="165548" y="104162"/>
                  </a:lnTo>
                  <a:lnTo>
                    <a:pt x="165290" y="106747"/>
                  </a:lnTo>
                  <a:lnTo>
                    <a:pt x="165419" y="111916"/>
                  </a:lnTo>
                  <a:lnTo>
                    <a:pt x="164256" y="124323"/>
                  </a:lnTo>
                  <a:lnTo>
                    <a:pt x="163222" y="126261"/>
                  </a:lnTo>
                  <a:lnTo>
                    <a:pt x="155726" y="134403"/>
                  </a:lnTo>
                  <a:lnTo>
                    <a:pt x="153400" y="136341"/>
                  </a:lnTo>
                  <a:lnTo>
                    <a:pt x="153271" y="136729"/>
                  </a:lnTo>
                  <a:lnTo>
                    <a:pt x="152108" y="137763"/>
                  </a:lnTo>
                  <a:lnTo>
                    <a:pt x="149265" y="144612"/>
                  </a:lnTo>
                  <a:lnTo>
                    <a:pt x="147585" y="147843"/>
                  </a:lnTo>
                  <a:lnTo>
                    <a:pt x="147068" y="148489"/>
                  </a:lnTo>
                  <a:lnTo>
                    <a:pt x="146292" y="149006"/>
                  </a:lnTo>
                  <a:lnTo>
                    <a:pt x="144483" y="149782"/>
                  </a:lnTo>
                  <a:lnTo>
                    <a:pt x="141769" y="151979"/>
                  </a:lnTo>
                  <a:lnTo>
                    <a:pt x="139960" y="153012"/>
                  </a:lnTo>
                  <a:lnTo>
                    <a:pt x="138668" y="154693"/>
                  </a:lnTo>
                  <a:lnTo>
                    <a:pt x="138280" y="157794"/>
                  </a:lnTo>
                  <a:lnTo>
                    <a:pt x="140348" y="167487"/>
                  </a:lnTo>
                  <a:lnTo>
                    <a:pt x="140735" y="172268"/>
                  </a:lnTo>
                  <a:lnTo>
                    <a:pt x="139055" y="177308"/>
                  </a:lnTo>
                  <a:lnTo>
                    <a:pt x="132594" y="184028"/>
                  </a:lnTo>
                  <a:lnTo>
                    <a:pt x="131689" y="186355"/>
                  </a:lnTo>
                  <a:lnTo>
                    <a:pt x="128588" y="191395"/>
                  </a:lnTo>
                  <a:lnTo>
                    <a:pt x="126907" y="192816"/>
                  </a:lnTo>
                  <a:lnTo>
                    <a:pt x="124969" y="193463"/>
                  </a:lnTo>
                  <a:lnTo>
                    <a:pt x="123289" y="193333"/>
                  </a:lnTo>
                  <a:lnTo>
                    <a:pt x="121609" y="192816"/>
                  </a:lnTo>
                  <a:lnTo>
                    <a:pt x="119541" y="192558"/>
                  </a:lnTo>
                  <a:lnTo>
                    <a:pt x="118249" y="192558"/>
                  </a:lnTo>
                  <a:lnTo>
                    <a:pt x="117215" y="192816"/>
                  </a:lnTo>
                  <a:lnTo>
                    <a:pt x="116440" y="193463"/>
                  </a:lnTo>
                  <a:lnTo>
                    <a:pt x="115793" y="194626"/>
                  </a:lnTo>
                  <a:lnTo>
                    <a:pt x="115664" y="195272"/>
                  </a:lnTo>
                  <a:lnTo>
                    <a:pt x="115664" y="195789"/>
                  </a:lnTo>
                  <a:lnTo>
                    <a:pt x="115535" y="196306"/>
                  </a:lnTo>
                  <a:lnTo>
                    <a:pt x="115276" y="196823"/>
                  </a:lnTo>
                  <a:lnTo>
                    <a:pt x="114889" y="197081"/>
                  </a:lnTo>
                  <a:lnTo>
                    <a:pt x="113984" y="197469"/>
                  </a:lnTo>
                  <a:lnTo>
                    <a:pt x="113596" y="197727"/>
                  </a:lnTo>
                  <a:lnTo>
                    <a:pt x="113338" y="200829"/>
                  </a:lnTo>
                  <a:lnTo>
                    <a:pt x="117990" y="208841"/>
                  </a:lnTo>
                  <a:lnTo>
                    <a:pt x="119283" y="209358"/>
                  </a:lnTo>
                  <a:lnTo>
                    <a:pt x="120187" y="210780"/>
                  </a:lnTo>
                  <a:lnTo>
                    <a:pt x="120317" y="211555"/>
                  </a:lnTo>
                  <a:lnTo>
                    <a:pt x="119929" y="214140"/>
                  </a:lnTo>
                  <a:lnTo>
                    <a:pt x="118119" y="216208"/>
                  </a:lnTo>
                  <a:lnTo>
                    <a:pt x="116052" y="218017"/>
                  </a:lnTo>
                  <a:lnTo>
                    <a:pt x="113596" y="219826"/>
                  </a:lnTo>
                  <a:lnTo>
                    <a:pt x="109719" y="221506"/>
                  </a:lnTo>
                  <a:lnTo>
                    <a:pt x="108169" y="222540"/>
                  </a:lnTo>
                  <a:lnTo>
                    <a:pt x="104679" y="228226"/>
                  </a:lnTo>
                  <a:lnTo>
                    <a:pt x="104292" y="229519"/>
                  </a:lnTo>
                  <a:lnTo>
                    <a:pt x="104162" y="231845"/>
                  </a:lnTo>
                  <a:lnTo>
                    <a:pt x="103775" y="233267"/>
                  </a:lnTo>
                  <a:lnTo>
                    <a:pt x="103129" y="234559"/>
                  </a:lnTo>
                  <a:lnTo>
                    <a:pt x="102353" y="235722"/>
                  </a:lnTo>
                  <a:lnTo>
                    <a:pt x="101448" y="236756"/>
                  </a:lnTo>
                  <a:lnTo>
                    <a:pt x="100285" y="237402"/>
                  </a:lnTo>
                  <a:lnTo>
                    <a:pt x="98347" y="238177"/>
                  </a:lnTo>
                  <a:lnTo>
                    <a:pt x="97571" y="238694"/>
                  </a:lnTo>
                  <a:lnTo>
                    <a:pt x="92144" y="243864"/>
                  </a:lnTo>
                  <a:lnTo>
                    <a:pt x="91110" y="245544"/>
                  </a:lnTo>
                  <a:lnTo>
                    <a:pt x="90722" y="247224"/>
                  </a:lnTo>
                  <a:lnTo>
                    <a:pt x="90463" y="250584"/>
                  </a:lnTo>
                  <a:lnTo>
                    <a:pt x="89947" y="252264"/>
                  </a:lnTo>
                  <a:lnTo>
                    <a:pt x="86716" y="258855"/>
                  </a:lnTo>
                  <a:lnTo>
                    <a:pt x="86328" y="259889"/>
                  </a:lnTo>
                  <a:lnTo>
                    <a:pt x="85682" y="262990"/>
                  </a:lnTo>
                  <a:lnTo>
                    <a:pt x="85165" y="263766"/>
                  </a:lnTo>
                  <a:lnTo>
                    <a:pt x="77799" y="270356"/>
                  </a:lnTo>
                  <a:lnTo>
                    <a:pt x="75989" y="272812"/>
                  </a:lnTo>
                  <a:lnTo>
                    <a:pt x="75214" y="273458"/>
                  </a:lnTo>
                  <a:lnTo>
                    <a:pt x="72500" y="274750"/>
                  </a:lnTo>
                  <a:lnTo>
                    <a:pt x="71725" y="275267"/>
                  </a:lnTo>
                  <a:lnTo>
                    <a:pt x="69140" y="277981"/>
                  </a:lnTo>
                  <a:lnTo>
                    <a:pt x="68106" y="278627"/>
                  </a:lnTo>
                  <a:lnTo>
                    <a:pt x="67072" y="279015"/>
                  </a:lnTo>
                  <a:lnTo>
                    <a:pt x="64875" y="279403"/>
                  </a:lnTo>
                  <a:lnTo>
                    <a:pt x="63712" y="279790"/>
                  </a:lnTo>
                  <a:lnTo>
                    <a:pt x="61774" y="280954"/>
                  </a:lnTo>
                  <a:lnTo>
                    <a:pt x="58284" y="283797"/>
                  </a:lnTo>
                  <a:lnTo>
                    <a:pt x="52340" y="286123"/>
                  </a:lnTo>
                  <a:lnTo>
                    <a:pt x="50660" y="287157"/>
                  </a:lnTo>
                  <a:lnTo>
                    <a:pt x="47300" y="290129"/>
                  </a:lnTo>
                  <a:lnTo>
                    <a:pt x="37348" y="296074"/>
                  </a:lnTo>
                  <a:lnTo>
                    <a:pt x="36702" y="296591"/>
                  </a:lnTo>
                  <a:lnTo>
                    <a:pt x="36185" y="297366"/>
                  </a:lnTo>
                  <a:lnTo>
                    <a:pt x="35152" y="300209"/>
                  </a:lnTo>
                  <a:lnTo>
                    <a:pt x="34635" y="300856"/>
                  </a:lnTo>
                  <a:lnTo>
                    <a:pt x="26493" y="304862"/>
                  </a:lnTo>
                  <a:lnTo>
                    <a:pt x="24554" y="305508"/>
                  </a:lnTo>
                  <a:lnTo>
                    <a:pt x="22874" y="305508"/>
                  </a:lnTo>
                  <a:lnTo>
                    <a:pt x="21970" y="304733"/>
                  </a:lnTo>
                  <a:lnTo>
                    <a:pt x="21324" y="305250"/>
                  </a:lnTo>
                  <a:lnTo>
                    <a:pt x="19127" y="308351"/>
                  </a:lnTo>
                  <a:lnTo>
                    <a:pt x="17447" y="312099"/>
                  </a:lnTo>
                  <a:lnTo>
                    <a:pt x="16413" y="313262"/>
                  </a:lnTo>
                  <a:lnTo>
                    <a:pt x="15379" y="313650"/>
                  </a:lnTo>
                  <a:lnTo>
                    <a:pt x="13957" y="314037"/>
                  </a:lnTo>
                  <a:lnTo>
                    <a:pt x="12665" y="314554"/>
                  </a:lnTo>
                  <a:lnTo>
                    <a:pt x="12148" y="315330"/>
                  </a:lnTo>
                  <a:lnTo>
                    <a:pt x="6203" y="326831"/>
                  </a:lnTo>
                  <a:lnTo>
                    <a:pt x="3360" y="330450"/>
                  </a:lnTo>
                  <a:lnTo>
                    <a:pt x="0" y="333423"/>
                  </a:lnTo>
                  <a:lnTo>
                    <a:pt x="129" y="333552"/>
                  </a:lnTo>
                  <a:lnTo>
                    <a:pt x="1809" y="333164"/>
                  </a:lnTo>
                  <a:lnTo>
                    <a:pt x="5686" y="331742"/>
                  </a:lnTo>
                  <a:lnTo>
                    <a:pt x="6720" y="330967"/>
                  </a:lnTo>
                  <a:lnTo>
                    <a:pt x="12019" y="325798"/>
                  </a:lnTo>
                  <a:lnTo>
                    <a:pt x="17059" y="321921"/>
                  </a:lnTo>
                  <a:lnTo>
                    <a:pt x="18868" y="320628"/>
                  </a:lnTo>
                  <a:lnTo>
                    <a:pt x="21453" y="319078"/>
                  </a:lnTo>
                  <a:lnTo>
                    <a:pt x="23650" y="318431"/>
                  </a:lnTo>
                  <a:lnTo>
                    <a:pt x="29465" y="318302"/>
                  </a:lnTo>
                  <a:lnTo>
                    <a:pt x="30887" y="318690"/>
                  </a:lnTo>
                  <a:lnTo>
                    <a:pt x="33601" y="320370"/>
                  </a:lnTo>
                  <a:lnTo>
                    <a:pt x="35410" y="320757"/>
                  </a:lnTo>
                  <a:lnTo>
                    <a:pt x="40062" y="320628"/>
                  </a:lnTo>
                  <a:lnTo>
                    <a:pt x="50789" y="322308"/>
                  </a:lnTo>
                  <a:lnTo>
                    <a:pt x="53244" y="321791"/>
                  </a:lnTo>
                  <a:lnTo>
                    <a:pt x="59318" y="318431"/>
                  </a:lnTo>
                  <a:lnTo>
                    <a:pt x="63066" y="318948"/>
                  </a:lnTo>
                  <a:lnTo>
                    <a:pt x="66038" y="321404"/>
                  </a:lnTo>
                  <a:lnTo>
                    <a:pt x="69269" y="323601"/>
                  </a:lnTo>
                  <a:lnTo>
                    <a:pt x="73792" y="323084"/>
                  </a:lnTo>
                  <a:lnTo>
                    <a:pt x="75602" y="322438"/>
                  </a:lnTo>
                  <a:lnTo>
                    <a:pt x="77282" y="322179"/>
                  </a:lnTo>
                  <a:lnTo>
                    <a:pt x="81547" y="322308"/>
                  </a:lnTo>
                  <a:lnTo>
                    <a:pt x="84002" y="322696"/>
                  </a:lnTo>
                  <a:lnTo>
                    <a:pt x="88913" y="323988"/>
                  </a:lnTo>
                  <a:lnTo>
                    <a:pt x="91368" y="323988"/>
                  </a:lnTo>
                  <a:lnTo>
                    <a:pt x="94211" y="321921"/>
                  </a:lnTo>
                  <a:lnTo>
                    <a:pt x="95374" y="321533"/>
                  </a:lnTo>
                  <a:lnTo>
                    <a:pt x="96796" y="321791"/>
                  </a:lnTo>
                  <a:lnTo>
                    <a:pt x="97701" y="322308"/>
                  </a:lnTo>
                  <a:lnTo>
                    <a:pt x="98347" y="322825"/>
                  </a:lnTo>
                  <a:lnTo>
                    <a:pt x="98993" y="323084"/>
                  </a:lnTo>
                  <a:lnTo>
                    <a:pt x="99898" y="323988"/>
                  </a:lnTo>
                  <a:lnTo>
                    <a:pt x="100415" y="325798"/>
                  </a:lnTo>
                  <a:lnTo>
                    <a:pt x="101578" y="326961"/>
                  </a:lnTo>
                  <a:lnTo>
                    <a:pt x="104421" y="326315"/>
                  </a:lnTo>
                  <a:lnTo>
                    <a:pt x="106101" y="324764"/>
                  </a:lnTo>
                  <a:lnTo>
                    <a:pt x="107522" y="322308"/>
                  </a:lnTo>
                  <a:lnTo>
                    <a:pt x="108427" y="319594"/>
                  </a:lnTo>
                  <a:lnTo>
                    <a:pt x="108815" y="317268"/>
                  </a:lnTo>
                  <a:lnTo>
                    <a:pt x="109849" y="315201"/>
                  </a:lnTo>
                  <a:lnTo>
                    <a:pt x="112304" y="313779"/>
                  </a:lnTo>
                  <a:lnTo>
                    <a:pt x="115276" y="313004"/>
                  </a:lnTo>
                  <a:lnTo>
                    <a:pt x="117732" y="312874"/>
                  </a:lnTo>
                  <a:lnTo>
                    <a:pt x="122126" y="314037"/>
                  </a:lnTo>
                  <a:lnTo>
                    <a:pt x="126649" y="315976"/>
                  </a:lnTo>
                  <a:lnTo>
                    <a:pt x="138280" y="323084"/>
                  </a:lnTo>
                  <a:lnTo>
                    <a:pt x="140348" y="323730"/>
                  </a:lnTo>
                  <a:lnTo>
                    <a:pt x="143062" y="323988"/>
                  </a:lnTo>
                  <a:lnTo>
                    <a:pt x="149911" y="323342"/>
                  </a:lnTo>
                  <a:lnTo>
                    <a:pt x="152237" y="323988"/>
                  </a:lnTo>
                  <a:lnTo>
                    <a:pt x="155468" y="327478"/>
                  </a:lnTo>
                  <a:lnTo>
                    <a:pt x="157536" y="329158"/>
                  </a:lnTo>
                  <a:lnTo>
                    <a:pt x="159216" y="329158"/>
                  </a:lnTo>
                  <a:lnTo>
                    <a:pt x="161284" y="327995"/>
                  </a:lnTo>
                  <a:lnTo>
                    <a:pt x="163351" y="327995"/>
                  </a:lnTo>
                  <a:lnTo>
                    <a:pt x="165290" y="328641"/>
                  </a:lnTo>
                  <a:lnTo>
                    <a:pt x="169037" y="330579"/>
                  </a:lnTo>
                  <a:lnTo>
                    <a:pt x="171105" y="331355"/>
                  </a:lnTo>
                  <a:lnTo>
                    <a:pt x="173302" y="331742"/>
                  </a:lnTo>
                  <a:lnTo>
                    <a:pt x="177308" y="331742"/>
                  </a:lnTo>
                  <a:lnTo>
                    <a:pt x="179505" y="331355"/>
                  </a:lnTo>
                  <a:lnTo>
                    <a:pt x="181056" y="330838"/>
                  </a:lnTo>
                  <a:lnTo>
                    <a:pt x="181444" y="330579"/>
                  </a:lnTo>
                  <a:lnTo>
                    <a:pt x="182090" y="330062"/>
                  </a:lnTo>
                  <a:lnTo>
                    <a:pt x="184546" y="328641"/>
                  </a:lnTo>
                  <a:lnTo>
                    <a:pt x="185063" y="328253"/>
                  </a:lnTo>
                  <a:lnTo>
                    <a:pt x="185838" y="327995"/>
                  </a:lnTo>
                  <a:lnTo>
                    <a:pt x="187001" y="327995"/>
                  </a:lnTo>
                  <a:lnTo>
                    <a:pt x="189198" y="328253"/>
                  </a:lnTo>
                  <a:lnTo>
                    <a:pt x="190361" y="328253"/>
                  </a:lnTo>
                  <a:lnTo>
                    <a:pt x="191266" y="328124"/>
                  </a:lnTo>
                  <a:lnTo>
                    <a:pt x="192429" y="327736"/>
                  </a:lnTo>
                  <a:lnTo>
                    <a:pt x="193075" y="327607"/>
                  </a:lnTo>
                  <a:lnTo>
                    <a:pt x="193850" y="327607"/>
                  </a:lnTo>
                  <a:lnTo>
                    <a:pt x="194755" y="327865"/>
                  </a:lnTo>
                  <a:lnTo>
                    <a:pt x="196047" y="328382"/>
                  </a:lnTo>
                  <a:lnTo>
                    <a:pt x="197986" y="329545"/>
                  </a:lnTo>
                  <a:lnTo>
                    <a:pt x="201088" y="330838"/>
                  </a:lnTo>
                  <a:lnTo>
                    <a:pt x="203543" y="332130"/>
                  </a:lnTo>
                  <a:lnTo>
                    <a:pt x="212331" y="338075"/>
                  </a:lnTo>
                  <a:lnTo>
                    <a:pt x="219956" y="341176"/>
                  </a:lnTo>
                  <a:lnTo>
                    <a:pt x="231716" y="344278"/>
                  </a:lnTo>
                  <a:lnTo>
                    <a:pt x="244639" y="347509"/>
                  </a:lnTo>
                  <a:lnTo>
                    <a:pt x="245932" y="348284"/>
                  </a:lnTo>
                  <a:lnTo>
                    <a:pt x="247095" y="349189"/>
                  </a:lnTo>
                  <a:lnTo>
                    <a:pt x="251618" y="355004"/>
                  </a:lnTo>
                  <a:lnTo>
                    <a:pt x="252393" y="356426"/>
                  </a:lnTo>
                  <a:lnTo>
                    <a:pt x="253427" y="359398"/>
                  </a:lnTo>
                  <a:lnTo>
                    <a:pt x="254073" y="360691"/>
                  </a:lnTo>
                  <a:lnTo>
                    <a:pt x="254849" y="361724"/>
                  </a:lnTo>
                  <a:lnTo>
                    <a:pt x="255624" y="362371"/>
                  </a:lnTo>
                  <a:lnTo>
                    <a:pt x="257045" y="362888"/>
                  </a:lnTo>
                  <a:lnTo>
                    <a:pt x="258726" y="363017"/>
                  </a:lnTo>
                  <a:lnTo>
                    <a:pt x="261310" y="362629"/>
                  </a:lnTo>
                  <a:lnTo>
                    <a:pt x="262990" y="361983"/>
                  </a:lnTo>
                  <a:lnTo>
                    <a:pt x="264412" y="361208"/>
                  </a:lnTo>
                  <a:lnTo>
                    <a:pt x="266609" y="359528"/>
                  </a:lnTo>
                  <a:lnTo>
                    <a:pt x="268806" y="359140"/>
                  </a:lnTo>
                  <a:lnTo>
                    <a:pt x="271778" y="359140"/>
                  </a:lnTo>
                  <a:lnTo>
                    <a:pt x="280825" y="360432"/>
                  </a:lnTo>
                  <a:lnTo>
                    <a:pt x="283022" y="361078"/>
                  </a:lnTo>
                  <a:lnTo>
                    <a:pt x="283538" y="361466"/>
                  </a:lnTo>
                  <a:lnTo>
                    <a:pt x="284055" y="361724"/>
                  </a:lnTo>
                  <a:lnTo>
                    <a:pt x="284702" y="361983"/>
                  </a:lnTo>
                  <a:lnTo>
                    <a:pt x="285348" y="362112"/>
                  </a:lnTo>
                  <a:lnTo>
                    <a:pt x="291939" y="361595"/>
                  </a:lnTo>
                  <a:lnTo>
                    <a:pt x="293102" y="362112"/>
                  </a:lnTo>
                  <a:lnTo>
                    <a:pt x="295040" y="359528"/>
                  </a:lnTo>
                  <a:lnTo>
                    <a:pt x="296203" y="358494"/>
                  </a:lnTo>
                  <a:lnTo>
                    <a:pt x="297883" y="358106"/>
                  </a:lnTo>
                  <a:lnTo>
                    <a:pt x="299693" y="358494"/>
                  </a:lnTo>
                  <a:lnTo>
                    <a:pt x="301114" y="359398"/>
                  </a:lnTo>
                  <a:lnTo>
                    <a:pt x="303311" y="361337"/>
                  </a:lnTo>
                  <a:lnTo>
                    <a:pt x="304474" y="361983"/>
                  </a:lnTo>
                  <a:lnTo>
                    <a:pt x="306284" y="362758"/>
                  </a:lnTo>
                  <a:lnTo>
                    <a:pt x="307834" y="362888"/>
                  </a:lnTo>
                  <a:lnTo>
                    <a:pt x="308481" y="361724"/>
                  </a:lnTo>
                  <a:lnTo>
                    <a:pt x="309256" y="360949"/>
                  </a:lnTo>
                  <a:lnTo>
                    <a:pt x="310936" y="360820"/>
                  </a:lnTo>
                  <a:lnTo>
                    <a:pt x="312745" y="361208"/>
                  </a:lnTo>
                  <a:lnTo>
                    <a:pt x="313908" y="361724"/>
                  </a:lnTo>
                  <a:lnTo>
                    <a:pt x="316752" y="362371"/>
                  </a:lnTo>
                  <a:lnTo>
                    <a:pt x="325669" y="361466"/>
                  </a:lnTo>
                  <a:lnTo>
                    <a:pt x="327607" y="360820"/>
                  </a:lnTo>
                  <a:lnTo>
                    <a:pt x="328512" y="360432"/>
                  </a:lnTo>
                  <a:lnTo>
                    <a:pt x="336137" y="358106"/>
                  </a:lnTo>
                  <a:lnTo>
                    <a:pt x="337429" y="358235"/>
                  </a:lnTo>
                  <a:lnTo>
                    <a:pt x="339367" y="359011"/>
                  </a:lnTo>
                  <a:lnTo>
                    <a:pt x="339367" y="357201"/>
                  </a:lnTo>
                  <a:lnTo>
                    <a:pt x="340272" y="356684"/>
                  </a:lnTo>
                  <a:lnTo>
                    <a:pt x="341435" y="357201"/>
                  </a:lnTo>
                  <a:lnTo>
                    <a:pt x="342340" y="358106"/>
                  </a:lnTo>
                  <a:lnTo>
                    <a:pt x="342727" y="359915"/>
                  </a:lnTo>
                  <a:lnTo>
                    <a:pt x="342469" y="362888"/>
                  </a:lnTo>
                  <a:lnTo>
                    <a:pt x="343374" y="364180"/>
                  </a:lnTo>
                  <a:lnTo>
                    <a:pt x="346734" y="365731"/>
                  </a:lnTo>
                  <a:lnTo>
                    <a:pt x="348285" y="366765"/>
                  </a:lnTo>
                  <a:lnTo>
                    <a:pt x="348931" y="368186"/>
                  </a:lnTo>
                  <a:lnTo>
                    <a:pt x="348543" y="371417"/>
                  </a:lnTo>
                  <a:lnTo>
                    <a:pt x="348931" y="372451"/>
                  </a:lnTo>
                  <a:lnTo>
                    <a:pt x="350481" y="374002"/>
                  </a:lnTo>
                  <a:lnTo>
                    <a:pt x="351903" y="374906"/>
                  </a:lnTo>
                  <a:lnTo>
                    <a:pt x="353066" y="375165"/>
                  </a:lnTo>
                  <a:lnTo>
                    <a:pt x="356297" y="375423"/>
                  </a:lnTo>
                  <a:lnTo>
                    <a:pt x="357331" y="375811"/>
                  </a:lnTo>
                  <a:lnTo>
                    <a:pt x="360303" y="377750"/>
                  </a:lnTo>
                  <a:lnTo>
                    <a:pt x="361337" y="378267"/>
                  </a:lnTo>
                  <a:lnTo>
                    <a:pt x="363663" y="379300"/>
                  </a:lnTo>
                  <a:lnTo>
                    <a:pt x="364309" y="379430"/>
                  </a:lnTo>
                  <a:lnTo>
                    <a:pt x="364956" y="379430"/>
                  </a:lnTo>
                  <a:lnTo>
                    <a:pt x="366248" y="379171"/>
                  </a:lnTo>
                  <a:lnTo>
                    <a:pt x="366894" y="379171"/>
                  </a:lnTo>
                  <a:lnTo>
                    <a:pt x="367540" y="379559"/>
                  </a:lnTo>
                  <a:lnTo>
                    <a:pt x="367928" y="380205"/>
                  </a:lnTo>
                  <a:lnTo>
                    <a:pt x="368186" y="381627"/>
                  </a:lnTo>
                  <a:lnTo>
                    <a:pt x="368186" y="382660"/>
                  </a:lnTo>
                  <a:lnTo>
                    <a:pt x="368445" y="383565"/>
                  </a:lnTo>
                  <a:lnTo>
                    <a:pt x="368833" y="384211"/>
                  </a:lnTo>
                  <a:lnTo>
                    <a:pt x="371417" y="386537"/>
                  </a:lnTo>
                  <a:lnTo>
                    <a:pt x="374260" y="390673"/>
                  </a:lnTo>
                  <a:lnTo>
                    <a:pt x="377620" y="398039"/>
                  </a:lnTo>
                  <a:lnTo>
                    <a:pt x="379688" y="408249"/>
                  </a:lnTo>
                  <a:lnTo>
                    <a:pt x="380205" y="413547"/>
                  </a:lnTo>
                  <a:lnTo>
                    <a:pt x="380076" y="415227"/>
                  </a:lnTo>
                  <a:lnTo>
                    <a:pt x="377233" y="422981"/>
                  </a:lnTo>
                  <a:lnTo>
                    <a:pt x="376716" y="424403"/>
                  </a:lnTo>
                  <a:lnTo>
                    <a:pt x="376587" y="424791"/>
                  </a:lnTo>
                  <a:lnTo>
                    <a:pt x="376457" y="425437"/>
                  </a:lnTo>
                  <a:lnTo>
                    <a:pt x="376199" y="425954"/>
                  </a:lnTo>
                  <a:lnTo>
                    <a:pt x="376070" y="426600"/>
                  </a:lnTo>
                  <a:lnTo>
                    <a:pt x="376199" y="427246"/>
                  </a:lnTo>
                  <a:lnTo>
                    <a:pt x="376845" y="428151"/>
                  </a:lnTo>
                  <a:lnTo>
                    <a:pt x="378008" y="429055"/>
                  </a:lnTo>
                  <a:lnTo>
                    <a:pt x="378396" y="429572"/>
                  </a:lnTo>
                  <a:lnTo>
                    <a:pt x="378913" y="430606"/>
                  </a:lnTo>
                  <a:lnTo>
                    <a:pt x="379171" y="432157"/>
                  </a:lnTo>
                  <a:lnTo>
                    <a:pt x="379301" y="436809"/>
                  </a:lnTo>
                  <a:lnTo>
                    <a:pt x="379817" y="439006"/>
                  </a:lnTo>
                  <a:lnTo>
                    <a:pt x="381239" y="442108"/>
                  </a:lnTo>
                  <a:lnTo>
                    <a:pt x="383307" y="445468"/>
                  </a:lnTo>
                  <a:lnTo>
                    <a:pt x="384211" y="446631"/>
                  </a:lnTo>
                  <a:lnTo>
                    <a:pt x="385633" y="447923"/>
                  </a:lnTo>
                  <a:lnTo>
                    <a:pt x="386408" y="448569"/>
                  </a:lnTo>
                  <a:lnTo>
                    <a:pt x="386796" y="449345"/>
                  </a:lnTo>
                  <a:lnTo>
                    <a:pt x="386925" y="450379"/>
                  </a:lnTo>
                  <a:lnTo>
                    <a:pt x="386021" y="456324"/>
                  </a:lnTo>
                  <a:lnTo>
                    <a:pt x="385762" y="461751"/>
                  </a:lnTo>
                  <a:lnTo>
                    <a:pt x="385504" y="463302"/>
                  </a:lnTo>
                  <a:lnTo>
                    <a:pt x="385245" y="464465"/>
                  </a:lnTo>
                  <a:lnTo>
                    <a:pt x="384599" y="465499"/>
                  </a:lnTo>
                  <a:lnTo>
                    <a:pt x="384211" y="465887"/>
                  </a:lnTo>
                  <a:lnTo>
                    <a:pt x="383694" y="466275"/>
                  </a:lnTo>
                  <a:lnTo>
                    <a:pt x="382402" y="466533"/>
                  </a:lnTo>
                  <a:lnTo>
                    <a:pt x="381885" y="466791"/>
                  </a:lnTo>
                  <a:lnTo>
                    <a:pt x="381627" y="467308"/>
                  </a:lnTo>
                  <a:lnTo>
                    <a:pt x="381627" y="468084"/>
                  </a:lnTo>
                  <a:lnTo>
                    <a:pt x="382273" y="470152"/>
                  </a:lnTo>
                  <a:lnTo>
                    <a:pt x="382790" y="470927"/>
                  </a:lnTo>
                  <a:lnTo>
                    <a:pt x="383307" y="471315"/>
                  </a:lnTo>
                  <a:lnTo>
                    <a:pt x="384082" y="471444"/>
                  </a:lnTo>
                  <a:lnTo>
                    <a:pt x="384858" y="471831"/>
                  </a:lnTo>
                  <a:lnTo>
                    <a:pt x="385504" y="472219"/>
                  </a:lnTo>
                  <a:lnTo>
                    <a:pt x="387442" y="475450"/>
                  </a:lnTo>
                  <a:lnTo>
                    <a:pt x="388605" y="476225"/>
                  </a:lnTo>
                  <a:lnTo>
                    <a:pt x="389122" y="476355"/>
                  </a:lnTo>
                  <a:lnTo>
                    <a:pt x="389768" y="476355"/>
                  </a:lnTo>
                  <a:lnTo>
                    <a:pt x="390285" y="476096"/>
                  </a:lnTo>
                  <a:lnTo>
                    <a:pt x="390802" y="475967"/>
                  </a:lnTo>
                  <a:lnTo>
                    <a:pt x="391190" y="476225"/>
                  </a:lnTo>
                  <a:lnTo>
                    <a:pt x="391319" y="476742"/>
                  </a:lnTo>
                  <a:lnTo>
                    <a:pt x="391061" y="478035"/>
                  </a:lnTo>
                  <a:lnTo>
                    <a:pt x="391190" y="478681"/>
                  </a:lnTo>
                  <a:lnTo>
                    <a:pt x="391707" y="479327"/>
                  </a:lnTo>
                  <a:lnTo>
                    <a:pt x="392095" y="479973"/>
                  </a:lnTo>
                  <a:lnTo>
                    <a:pt x="392482" y="481265"/>
                  </a:lnTo>
                  <a:lnTo>
                    <a:pt x="393129" y="482687"/>
                  </a:lnTo>
                  <a:lnTo>
                    <a:pt x="394808" y="485401"/>
                  </a:lnTo>
                  <a:lnTo>
                    <a:pt x="396489" y="487469"/>
                  </a:lnTo>
                  <a:lnTo>
                    <a:pt x="397652" y="489407"/>
                  </a:lnTo>
                  <a:lnTo>
                    <a:pt x="398039" y="489924"/>
                  </a:lnTo>
                  <a:lnTo>
                    <a:pt x="398556" y="490312"/>
                  </a:lnTo>
                  <a:lnTo>
                    <a:pt x="399719" y="490829"/>
                  </a:lnTo>
                  <a:lnTo>
                    <a:pt x="400236" y="491346"/>
                  </a:lnTo>
                  <a:lnTo>
                    <a:pt x="400753" y="491992"/>
                  </a:lnTo>
                  <a:lnTo>
                    <a:pt x="401529" y="493155"/>
                  </a:lnTo>
                  <a:lnTo>
                    <a:pt x="402046" y="493801"/>
                  </a:lnTo>
                  <a:lnTo>
                    <a:pt x="402692" y="494318"/>
                  </a:lnTo>
                  <a:lnTo>
                    <a:pt x="403338" y="494577"/>
                  </a:lnTo>
                  <a:lnTo>
                    <a:pt x="405793" y="495352"/>
                  </a:lnTo>
                  <a:lnTo>
                    <a:pt x="406181" y="495610"/>
                  </a:lnTo>
                  <a:lnTo>
                    <a:pt x="406956" y="496127"/>
                  </a:lnTo>
                  <a:lnTo>
                    <a:pt x="407861" y="496774"/>
                  </a:lnTo>
                  <a:lnTo>
                    <a:pt x="408249" y="497161"/>
                  </a:lnTo>
                  <a:lnTo>
                    <a:pt x="409283" y="498712"/>
                  </a:lnTo>
                  <a:lnTo>
                    <a:pt x="410058" y="499617"/>
                  </a:lnTo>
                  <a:lnTo>
                    <a:pt x="410446" y="500392"/>
                  </a:lnTo>
                  <a:lnTo>
                    <a:pt x="410704" y="501426"/>
                  </a:lnTo>
                  <a:lnTo>
                    <a:pt x="410575" y="505949"/>
                  </a:lnTo>
                  <a:lnTo>
                    <a:pt x="410316" y="507500"/>
                  </a:lnTo>
                  <a:lnTo>
                    <a:pt x="409929" y="508792"/>
                  </a:lnTo>
                  <a:lnTo>
                    <a:pt x="409929" y="509568"/>
                  </a:lnTo>
                  <a:lnTo>
                    <a:pt x="410187" y="510343"/>
                  </a:lnTo>
                  <a:lnTo>
                    <a:pt x="410963" y="511119"/>
                  </a:lnTo>
                  <a:lnTo>
                    <a:pt x="411738" y="511506"/>
                  </a:lnTo>
                  <a:lnTo>
                    <a:pt x="412514" y="511765"/>
                  </a:lnTo>
                  <a:lnTo>
                    <a:pt x="413030" y="512023"/>
                  </a:lnTo>
                  <a:lnTo>
                    <a:pt x="413547" y="512411"/>
                  </a:lnTo>
                  <a:lnTo>
                    <a:pt x="414064" y="513445"/>
                  </a:lnTo>
                  <a:lnTo>
                    <a:pt x="415615" y="518485"/>
                  </a:lnTo>
                  <a:lnTo>
                    <a:pt x="416390" y="519906"/>
                  </a:lnTo>
                  <a:lnTo>
                    <a:pt x="417166" y="520682"/>
                  </a:lnTo>
                  <a:lnTo>
                    <a:pt x="417812" y="520940"/>
                  </a:lnTo>
                  <a:lnTo>
                    <a:pt x="418329" y="521199"/>
                  </a:lnTo>
                  <a:lnTo>
                    <a:pt x="419234" y="521974"/>
                  </a:lnTo>
                  <a:lnTo>
                    <a:pt x="419751" y="522233"/>
                  </a:lnTo>
                  <a:lnTo>
                    <a:pt x="420397" y="522362"/>
                  </a:lnTo>
                  <a:lnTo>
                    <a:pt x="421043" y="522620"/>
                  </a:lnTo>
                  <a:lnTo>
                    <a:pt x="421560" y="523008"/>
                  </a:lnTo>
                  <a:lnTo>
                    <a:pt x="421948" y="523396"/>
                  </a:lnTo>
                  <a:lnTo>
                    <a:pt x="422335" y="523913"/>
                  </a:lnTo>
                  <a:lnTo>
                    <a:pt x="422464" y="524688"/>
                  </a:lnTo>
                  <a:lnTo>
                    <a:pt x="422206" y="526110"/>
                  </a:lnTo>
                  <a:lnTo>
                    <a:pt x="421301" y="527402"/>
                  </a:lnTo>
                  <a:lnTo>
                    <a:pt x="420655" y="528177"/>
                  </a:lnTo>
                  <a:lnTo>
                    <a:pt x="420009" y="528565"/>
                  </a:lnTo>
                  <a:lnTo>
                    <a:pt x="419621" y="528953"/>
                  </a:lnTo>
                  <a:lnTo>
                    <a:pt x="419492" y="529470"/>
                  </a:lnTo>
                  <a:lnTo>
                    <a:pt x="419880" y="530374"/>
                  </a:lnTo>
                  <a:lnTo>
                    <a:pt x="420785" y="531408"/>
                  </a:lnTo>
                  <a:lnTo>
                    <a:pt x="420914" y="531925"/>
                  </a:lnTo>
                  <a:lnTo>
                    <a:pt x="420655" y="532571"/>
                  </a:lnTo>
                  <a:lnTo>
                    <a:pt x="419621" y="533347"/>
                  </a:lnTo>
                  <a:lnTo>
                    <a:pt x="418975" y="533734"/>
                  </a:lnTo>
                  <a:lnTo>
                    <a:pt x="416003" y="534898"/>
                  </a:lnTo>
                  <a:lnTo>
                    <a:pt x="415486" y="535156"/>
                  </a:lnTo>
                  <a:lnTo>
                    <a:pt x="414969" y="535544"/>
                  </a:lnTo>
                  <a:lnTo>
                    <a:pt x="414711" y="536061"/>
                  </a:lnTo>
                  <a:lnTo>
                    <a:pt x="414840" y="536707"/>
                  </a:lnTo>
                  <a:lnTo>
                    <a:pt x="415098" y="537224"/>
                  </a:lnTo>
                  <a:lnTo>
                    <a:pt x="417295" y="538775"/>
                  </a:lnTo>
                  <a:lnTo>
                    <a:pt x="416390" y="541747"/>
                  </a:lnTo>
                  <a:lnTo>
                    <a:pt x="416261" y="543427"/>
                  </a:lnTo>
                  <a:lnTo>
                    <a:pt x="416390" y="544073"/>
                  </a:lnTo>
                  <a:lnTo>
                    <a:pt x="416390" y="544719"/>
                  </a:lnTo>
                  <a:lnTo>
                    <a:pt x="416003" y="545365"/>
                  </a:lnTo>
                  <a:lnTo>
                    <a:pt x="415615" y="545753"/>
                  </a:lnTo>
                  <a:lnTo>
                    <a:pt x="412901" y="545753"/>
                  </a:lnTo>
                  <a:lnTo>
                    <a:pt x="412255" y="546399"/>
                  </a:lnTo>
                  <a:lnTo>
                    <a:pt x="412126" y="546916"/>
                  </a:lnTo>
                  <a:lnTo>
                    <a:pt x="411997" y="547692"/>
                  </a:lnTo>
                  <a:lnTo>
                    <a:pt x="411997" y="548467"/>
                  </a:lnTo>
                  <a:lnTo>
                    <a:pt x="412126" y="549113"/>
                  </a:lnTo>
                  <a:lnTo>
                    <a:pt x="412255" y="549759"/>
                  </a:lnTo>
                  <a:lnTo>
                    <a:pt x="414064" y="552861"/>
                  </a:lnTo>
                  <a:lnTo>
                    <a:pt x="414194" y="553507"/>
                  </a:lnTo>
                  <a:lnTo>
                    <a:pt x="414194" y="554153"/>
                  </a:lnTo>
                  <a:lnTo>
                    <a:pt x="413547" y="557772"/>
                  </a:lnTo>
                  <a:lnTo>
                    <a:pt x="413547" y="558547"/>
                  </a:lnTo>
                  <a:lnTo>
                    <a:pt x="413806" y="559839"/>
                  </a:lnTo>
                  <a:lnTo>
                    <a:pt x="414064" y="560486"/>
                  </a:lnTo>
                  <a:lnTo>
                    <a:pt x="414323" y="561003"/>
                  </a:lnTo>
                  <a:lnTo>
                    <a:pt x="414581" y="561520"/>
                  </a:lnTo>
                  <a:lnTo>
                    <a:pt x="415874" y="562166"/>
                  </a:lnTo>
                  <a:lnTo>
                    <a:pt x="422852" y="564234"/>
                  </a:lnTo>
                  <a:lnTo>
                    <a:pt x="424791" y="564492"/>
                  </a:lnTo>
                  <a:lnTo>
                    <a:pt x="426342" y="564492"/>
                  </a:lnTo>
                  <a:lnTo>
                    <a:pt x="428280" y="563200"/>
                  </a:lnTo>
                  <a:lnTo>
                    <a:pt x="430606" y="562812"/>
                  </a:lnTo>
                  <a:lnTo>
                    <a:pt x="436551" y="564104"/>
                  </a:lnTo>
                  <a:lnTo>
                    <a:pt x="440557" y="563717"/>
                  </a:lnTo>
                  <a:lnTo>
                    <a:pt x="443271" y="561778"/>
                  </a:lnTo>
                  <a:lnTo>
                    <a:pt x="443142" y="557901"/>
                  </a:lnTo>
                  <a:lnTo>
                    <a:pt x="445468" y="558547"/>
                  </a:lnTo>
                  <a:lnTo>
                    <a:pt x="448570" y="561907"/>
                  </a:lnTo>
                  <a:lnTo>
                    <a:pt x="451413" y="562683"/>
                  </a:lnTo>
                  <a:lnTo>
                    <a:pt x="459942" y="562036"/>
                  </a:lnTo>
                  <a:lnTo>
                    <a:pt x="462656" y="562295"/>
                  </a:lnTo>
                  <a:lnTo>
                    <a:pt x="462527" y="562036"/>
                  </a:lnTo>
                  <a:lnTo>
                    <a:pt x="462139" y="561649"/>
                  </a:lnTo>
                  <a:lnTo>
                    <a:pt x="462010" y="561390"/>
                  </a:lnTo>
                  <a:lnTo>
                    <a:pt x="464465" y="561261"/>
                  </a:lnTo>
                  <a:lnTo>
                    <a:pt x="466145" y="562424"/>
                  </a:lnTo>
                  <a:lnTo>
                    <a:pt x="467696" y="563975"/>
                  </a:lnTo>
                  <a:lnTo>
                    <a:pt x="469635" y="565138"/>
                  </a:lnTo>
                  <a:lnTo>
                    <a:pt x="470281" y="565138"/>
                  </a:lnTo>
                  <a:lnTo>
                    <a:pt x="470798" y="564880"/>
                  </a:lnTo>
                  <a:lnTo>
                    <a:pt x="471186" y="564621"/>
                  </a:lnTo>
                  <a:lnTo>
                    <a:pt x="471573" y="564492"/>
                  </a:lnTo>
                  <a:lnTo>
                    <a:pt x="473382" y="564880"/>
                  </a:lnTo>
                  <a:lnTo>
                    <a:pt x="473900" y="564880"/>
                  </a:lnTo>
                  <a:lnTo>
                    <a:pt x="477647" y="564492"/>
                  </a:lnTo>
                  <a:lnTo>
                    <a:pt x="479198" y="563975"/>
                  </a:lnTo>
                  <a:lnTo>
                    <a:pt x="479586" y="562812"/>
                  </a:lnTo>
                  <a:lnTo>
                    <a:pt x="480878" y="562941"/>
                  </a:lnTo>
                  <a:lnTo>
                    <a:pt x="481653" y="565267"/>
                  </a:lnTo>
                  <a:lnTo>
                    <a:pt x="481912" y="566043"/>
                  </a:lnTo>
                  <a:lnTo>
                    <a:pt x="482687" y="566560"/>
                  </a:lnTo>
                  <a:lnTo>
                    <a:pt x="483334" y="566560"/>
                  </a:lnTo>
                  <a:lnTo>
                    <a:pt x="483850" y="566301"/>
                  </a:lnTo>
                  <a:lnTo>
                    <a:pt x="484755" y="565526"/>
                  </a:lnTo>
                  <a:lnTo>
                    <a:pt x="485660" y="564880"/>
                  </a:lnTo>
                  <a:lnTo>
                    <a:pt x="487727" y="563717"/>
                  </a:lnTo>
                  <a:lnTo>
                    <a:pt x="488374" y="563587"/>
                  </a:lnTo>
                  <a:lnTo>
                    <a:pt x="489020" y="563458"/>
                  </a:lnTo>
                  <a:lnTo>
                    <a:pt x="489795" y="563458"/>
                  </a:lnTo>
                  <a:lnTo>
                    <a:pt x="490571" y="563587"/>
                  </a:lnTo>
                  <a:lnTo>
                    <a:pt x="491217" y="563846"/>
                  </a:lnTo>
                  <a:lnTo>
                    <a:pt x="491863" y="564363"/>
                  </a:lnTo>
                  <a:lnTo>
                    <a:pt x="492251" y="564880"/>
                  </a:lnTo>
                  <a:lnTo>
                    <a:pt x="492509" y="565526"/>
                  </a:lnTo>
                  <a:lnTo>
                    <a:pt x="492768" y="566043"/>
                  </a:lnTo>
                  <a:lnTo>
                    <a:pt x="493414" y="567077"/>
                  </a:lnTo>
                  <a:lnTo>
                    <a:pt x="493801" y="567464"/>
                  </a:lnTo>
                  <a:lnTo>
                    <a:pt x="494318" y="567852"/>
                  </a:lnTo>
                  <a:lnTo>
                    <a:pt x="494835" y="568110"/>
                  </a:lnTo>
                  <a:lnTo>
                    <a:pt x="500522" y="570178"/>
                  </a:lnTo>
                  <a:lnTo>
                    <a:pt x="501038" y="570437"/>
                  </a:lnTo>
                  <a:lnTo>
                    <a:pt x="501297" y="571212"/>
                  </a:lnTo>
                  <a:lnTo>
                    <a:pt x="501038" y="572505"/>
                  </a:lnTo>
                  <a:lnTo>
                    <a:pt x="499746" y="575089"/>
                  </a:lnTo>
                  <a:lnTo>
                    <a:pt x="498971" y="576252"/>
                  </a:lnTo>
                  <a:lnTo>
                    <a:pt x="498325" y="577028"/>
                  </a:lnTo>
                  <a:lnTo>
                    <a:pt x="496257" y="578191"/>
                  </a:lnTo>
                  <a:lnTo>
                    <a:pt x="495352" y="578837"/>
                  </a:lnTo>
                  <a:lnTo>
                    <a:pt x="495094" y="579742"/>
                  </a:lnTo>
                  <a:lnTo>
                    <a:pt x="494964" y="581163"/>
                  </a:lnTo>
                  <a:lnTo>
                    <a:pt x="495352" y="584394"/>
                  </a:lnTo>
                  <a:lnTo>
                    <a:pt x="495611" y="585816"/>
                  </a:lnTo>
                  <a:lnTo>
                    <a:pt x="495740" y="586849"/>
                  </a:lnTo>
                  <a:lnTo>
                    <a:pt x="495094" y="587625"/>
                  </a:lnTo>
                  <a:lnTo>
                    <a:pt x="494060" y="588529"/>
                  </a:lnTo>
                  <a:lnTo>
                    <a:pt x="493672" y="589046"/>
                  </a:lnTo>
                  <a:lnTo>
                    <a:pt x="493285" y="590597"/>
                  </a:lnTo>
                  <a:lnTo>
                    <a:pt x="493801" y="594345"/>
                  </a:lnTo>
                  <a:lnTo>
                    <a:pt x="493414" y="597317"/>
                  </a:lnTo>
                  <a:lnTo>
                    <a:pt x="493155" y="597964"/>
                  </a:lnTo>
                  <a:lnTo>
                    <a:pt x="492768" y="598739"/>
                  </a:lnTo>
                  <a:lnTo>
                    <a:pt x="492380" y="599126"/>
                  </a:lnTo>
                  <a:lnTo>
                    <a:pt x="490441" y="600419"/>
                  </a:lnTo>
                  <a:lnTo>
                    <a:pt x="490054" y="600806"/>
                  </a:lnTo>
                  <a:lnTo>
                    <a:pt x="490054" y="600806"/>
                  </a:lnTo>
                  <a:lnTo>
                    <a:pt x="490054" y="600806"/>
                  </a:lnTo>
                  <a:lnTo>
                    <a:pt x="490054" y="600936"/>
                  </a:lnTo>
                  <a:lnTo>
                    <a:pt x="490183" y="601582"/>
                  </a:lnTo>
                  <a:lnTo>
                    <a:pt x="490441" y="602616"/>
                  </a:lnTo>
                  <a:lnTo>
                    <a:pt x="491992" y="606363"/>
                  </a:lnTo>
                  <a:lnTo>
                    <a:pt x="492509" y="607010"/>
                  </a:lnTo>
                  <a:lnTo>
                    <a:pt x="492897" y="607527"/>
                  </a:lnTo>
                  <a:lnTo>
                    <a:pt x="495352" y="608948"/>
                  </a:lnTo>
                  <a:lnTo>
                    <a:pt x="498842" y="610628"/>
                  </a:lnTo>
                  <a:lnTo>
                    <a:pt x="499488" y="610758"/>
                  </a:lnTo>
                  <a:lnTo>
                    <a:pt x="500005" y="610628"/>
                  </a:lnTo>
                  <a:lnTo>
                    <a:pt x="500522" y="609982"/>
                  </a:lnTo>
                  <a:lnTo>
                    <a:pt x="500909" y="609336"/>
                  </a:lnTo>
                  <a:lnTo>
                    <a:pt x="501426" y="608044"/>
                  </a:lnTo>
                  <a:lnTo>
                    <a:pt x="501685" y="607527"/>
                  </a:lnTo>
                  <a:lnTo>
                    <a:pt x="502072" y="607010"/>
                  </a:lnTo>
                  <a:lnTo>
                    <a:pt x="502460" y="606622"/>
                  </a:lnTo>
                  <a:lnTo>
                    <a:pt x="503365" y="605976"/>
                  </a:lnTo>
                  <a:lnTo>
                    <a:pt x="503752" y="605588"/>
                  </a:lnTo>
                  <a:lnTo>
                    <a:pt x="504011" y="605071"/>
                  </a:lnTo>
                  <a:lnTo>
                    <a:pt x="504140" y="604425"/>
                  </a:lnTo>
                  <a:lnTo>
                    <a:pt x="504140" y="603779"/>
                  </a:lnTo>
                  <a:lnTo>
                    <a:pt x="503623" y="601970"/>
                  </a:lnTo>
                  <a:lnTo>
                    <a:pt x="503623" y="601065"/>
                  </a:lnTo>
                  <a:lnTo>
                    <a:pt x="503623" y="600936"/>
                  </a:lnTo>
                  <a:lnTo>
                    <a:pt x="503752" y="600419"/>
                  </a:lnTo>
                  <a:lnTo>
                    <a:pt x="504011" y="599902"/>
                  </a:lnTo>
                  <a:lnTo>
                    <a:pt x="504399" y="599385"/>
                  </a:lnTo>
                  <a:lnTo>
                    <a:pt x="505303" y="598610"/>
                  </a:lnTo>
                  <a:lnTo>
                    <a:pt x="507371" y="597446"/>
                  </a:lnTo>
                  <a:lnTo>
                    <a:pt x="507759" y="597059"/>
                  </a:lnTo>
                  <a:lnTo>
                    <a:pt x="508017" y="596283"/>
                  </a:lnTo>
                  <a:lnTo>
                    <a:pt x="508276" y="596154"/>
                  </a:lnTo>
                  <a:lnTo>
                    <a:pt x="508922" y="596154"/>
                  </a:lnTo>
                  <a:lnTo>
                    <a:pt x="510602" y="597446"/>
                  </a:lnTo>
                  <a:lnTo>
                    <a:pt x="511377" y="597834"/>
                  </a:lnTo>
                  <a:lnTo>
                    <a:pt x="513574" y="597964"/>
                  </a:lnTo>
                  <a:lnTo>
                    <a:pt x="514479" y="598222"/>
                  </a:lnTo>
                  <a:lnTo>
                    <a:pt x="515383" y="598868"/>
                  </a:lnTo>
                  <a:lnTo>
                    <a:pt x="515900" y="599385"/>
                  </a:lnTo>
                  <a:lnTo>
                    <a:pt x="516288" y="599902"/>
                  </a:lnTo>
                  <a:lnTo>
                    <a:pt x="516546" y="600290"/>
                  </a:lnTo>
                  <a:lnTo>
                    <a:pt x="516676" y="600806"/>
                  </a:lnTo>
                  <a:lnTo>
                    <a:pt x="516805" y="601194"/>
                  </a:lnTo>
                  <a:lnTo>
                    <a:pt x="516934" y="601711"/>
                  </a:lnTo>
                  <a:lnTo>
                    <a:pt x="517193" y="602228"/>
                  </a:lnTo>
                  <a:lnTo>
                    <a:pt x="517839" y="602487"/>
                  </a:lnTo>
                  <a:lnTo>
                    <a:pt x="518873" y="602616"/>
                  </a:lnTo>
                  <a:lnTo>
                    <a:pt x="520811" y="602228"/>
                  </a:lnTo>
                  <a:lnTo>
                    <a:pt x="521974" y="602228"/>
                  </a:lnTo>
                  <a:lnTo>
                    <a:pt x="523008" y="602745"/>
                  </a:lnTo>
                  <a:lnTo>
                    <a:pt x="523267" y="603391"/>
                  </a:lnTo>
                  <a:lnTo>
                    <a:pt x="523396" y="604037"/>
                  </a:lnTo>
                  <a:lnTo>
                    <a:pt x="523654" y="604554"/>
                  </a:lnTo>
                  <a:lnTo>
                    <a:pt x="524301" y="604684"/>
                  </a:lnTo>
                  <a:lnTo>
                    <a:pt x="524947" y="604684"/>
                  </a:lnTo>
                  <a:lnTo>
                    <a:pt x="528565" y="602228"/>
                  </a:lnTo>
                  <a:lnTo>
                    <a:pt x="530633" y="608948"/>
                  </a:lnTo>
                  <a:lnTo>
                    <a:pt x="531150" y="611404"/>
                  </a:lnTo>
                  <a:lnTo>
                    <a:pt x="531150" y="612179"/>
                  </a:lnTo>
                  <a:lnTo>
                    <a:pt x="533347" y="618124"/>
                  </a:lnTo>
                  <a:lnTo>
                    <a:pt x="533735" y="619675"/>
                  </a:lnTo>
                  <a:lnTo>
                    <a:pt x="533735" y="620838"/>
                  </a:lnTo>
                  <a:lnTo>
                    <a:pt x="533347" y="622130"/>
                  </a:lnTo>
                  <a:lnTo>
                    <a:pt x="533218" y="622906"/>
                  </a:lnTo>
                  <a:lnTo>
                    <a:pt x="533476" y="623681"/>
                  </a:lnTo>
                  <a:lnTo>
                    <a:pt x="534122" y="624585"/>
                  </a:lnTo>
                  <a:lnTo>
                    <a:pt x="535544" y="625748"/>
                  </a:lnTo>
                  <a:lnTo>
                    <a:pt x="536449" y="626395"/>
                  </a:lnTo>
                  <a:lnTo>
                    <a:pt x="537224" y="626783"/>
                  </a:lnTo>
                  <a:lnTo>
                    <a:pt x="543298" y="628463"/>
                  </a:lnTo>
                  <a:lnTo>
                    <a:pt x="544073" y="628592"/>
                  </a:lnTo>
                  <a:lnTo>
                    <a:pt x="544849" y="628592"/>
                  </a:lnTo>
                  <a:lnTo>
                    <a:pt x="545495" y="628463"/>
                  </a:lnTo>
                  <a:lnTo>
                    <a:pt x="546012" y="628075"/>
                  </a:lnTo>
                  <a:lnTo>
                    <a:pt x="546400" y="627687"/>
                  </a:lnTo>
                  <a:lnTo>
                    <a:pt x="546787" y="627170"/>
                  </a:lnTo>
                  <a:lnTo>
                    <a:pt x="547175" y="626783"/>
                  </a:lnTo>
                  <a:lnTo>
                    <a:pt x="547692" y="626395"/>
                  </a:lnTo>
                  <a:lnTo>
                    <a:pt x="548209" y="626266"/>
                  </a:lnTo>
                  <a:lnTo>
                    <a:pt x="548984" y="626266"/>
                  </a:lnTo>
                  <a:lnTo>
                    <a:pt x="549501" y="626653"/>
                  </a:lnTo>
                  <a:lnTo>
                    <a:pt x="549889" y="627558"/>
                  </a:lnTo>
                  <a:lnTo>
                    <a:pt x="549113" y="628850"/>
                  </a:lnTo>
                  <a:lnTo>
                    <a:pt x="546270" y="632986"/>
                  </a:lnTo>
                  <a:lnTo>
                    <a:pt x="545236" y="634149"/>
                  </a:lnTo>
                  <a:lnTo>
                    <a:pt x="544590" y="635441"/>
                  </a:lnTo>
                  <a:lnTo>
                    <a:pt x="544461" y="636863"/>
                  </a:lnTo>
                  <a:lnTo>
                    <a:pt x="544461" y="636863"/>
                  </a:lnTo>
                  <a:lnTo>
                    <a:pt x="545107" y="635183"/>
                  </a:lnTo>
                  <a:lnTo>
                    <a:pt x="546012" y="633632"/>
                  </a:lnTo>
                  <a:lnTo>
                    <a:pt x="551181" y="627300"/>
                  </a:lnTo>
                  <a:lnTo>
                    <a:pt x="552990" y="625878"/>
                  </a:lnTo>
                  <a:lnTo>
                    <a:pt x="558547" y="624327"/>
                  </a:lnTo>
                  <a:lnTo>
                    <a:pt x="561778" y="619287"/>
                  </a:lnTo>
                  <a:lnTo>
                    <a:pt x="565526" y="607398"/>
                  </a:lnTo>
                  <a:lnTo>
                    <a:pt x="563975" y="607268"/>
                  </a:lnTo>
                  <a:lnTo>
                    <a:pt x="562554" y="607656"/>
                  </a:lnTo>
                  <a:lnTo>
                    <a:pt x="561261" y="608431"/>
                  </a:lnTo>
                  <a:lnTo>
                    <a:pt x="560098" y="609465"/>
                  </a:lnTo>
                  <a:lnTo>
                    <a:pt x="558935" y="610111"/>
                  </a:lnTo>
                  <a:lnTo>
                    <a:pt x="557513" y="609853"/>
                  </a:lnTo>
                  <a:lnTo>
                    <a:pt x="555058" y="608948"/>
                  </a:lnTo>
                  <a:lnTo>
                    <a:pt x="552861" y="608690"/>
                  </a:lnTo>
                  <a:lnTo>
                    <a:pt x="550018" y="608044"/>
                  </a:lnTo>
                  <a:lnTo>
                    <a:pt x="547950" y="606880"/>
                  </a:lnTo>
                  <a:lnTo>
                    <a:pt x="547950" y="604942"/>
                  </a:lnTo>
                  <a:lnTo>
                    <a:pt x="548726" y="605976"/>
                  </a:lnTo>
                  <a:lnTo>
                    <a:pt x="549760" y="606363"/>
                  </a:lnTo>
                  <a:lnTo>
                    <a:pt x="550664" y="605976"/>
                  </a:lnTo>
                  <a:lnTo>
                    <a:pt x="551052" y="604554"/>
                  </a:lnTo>
                  <a:lnTo>
                    <a:pt x="550923" y="603262"/>
                  </a:lnTo>
                  <a:lnTo>
                    <a:pt x="551052" y="602357"/>
                  </a:lnTo>
                  <a:lnTo>
                    <a:pt x="551827" y="601841"/>
                  </a:lnTo>
                  <a:lnTo>
                    <a:pt x="556609" y="601711"/>
                  </a:lnTo>
                  <a:lnTo>
                    <a:pt x="557901" y="602099"/>
                  </a:lnTo>
                  <a:lnTo>
                    <a:pt x="557772" y="603262"/>
                  </a:lnTo>
                  <a:lnTo>
                    <a:pt x="556609" y="603779"/>
                  </a:lnTo>
                  <a:lnTo>
                    <a:pt x="555058" y="603521"/>
                  </a:lnTo>
                  <a:lnTo>
                    <a:pt x="553637" y="603779"/>
                  </a:lnTo>
                  <a:lnTo>
                    <a:pt x="552732" y="605717"/>
                  </a:lnTo>
                  <a:lnTo>
                    <a:pt x="558031" y="606363"/>
                  </a:lnTo>
                  <a:lnTo>
                    <a:pt x="560874" y="604425"/>
                  </a:lnTo>
                  <a:lnTo>
                    <a:pt x="565268" y="595896"/>
                  </a:lnTo>
                  <a:lnTo>
                    <a:pt x="566043" y="594991"/>
                  </a:lnTo>
                  <a:lnTo>
                    <a:pt x="566689" y="594474"/>
                  </a:lnTo>
                  <a:lnTo>
                    <a:pt x="567335" y="594086"/>
                  </a:lnTo>
                  <a:lnTo>
                    <a:pt x="568111" y="593569"/>
                  </a:lnTo>
                  <a:lnTo>
                    <a:pt x="570825" y="589951"/>
                  </a:lnTo>
                  <a:lnTo>
                    <a:pt x="572505" y="588142"/>
                  </a:lnTo>
                  <a:lnTo>
                    <a:pt x="593053" y="571858"/>
                  </a:lnTo>
                  <a:lnTo>
                    <a:pt x="598351" y="569015"/>
                  </a:lnTo>
                  <a:lnTo>
                    <a:pt x="601065" y="566818"/>
                  </a:lnTo>
                  <a:lnTo>
                    <a:pt x="603133" y="565784"/>
                  </a:lnTo>
                  <a:lnTo>
                    <a:pt x="604167" y="563975"/>
                  </a:lnTo>
                  <a:lnTo>
                    <a:pt x="605588" y="563975"/>
                  </a:lnTo>
                  <a:lnTo>
                    <a:pt x="607915" y="564621"/>
                  </a:lnTo>
                  <a:lnTo>
                    <a:pt x="610887" y="563200"/>
                  </a:lnTo>
                  <a:lnTo>
                    <a:pt x="612438" y="562683"/>
                  </a:lnTo>
                  <a:lnTo>
                    <a:pt x="613859" y="563070"/>
                  </a:lnTo>
                  <a:lnTo>
                    <a:pt x="641774" y="545882"/>
                  </a:lnTo>
                  <a:lnTo>
                    <a:pt x="646556" y="540713"/>
                  </a:lnTo>
                  <a:lnTo>
                    <a:pt x="647977" y="540067"/>
                  </a:lnTo>
                  <a:lnTo>
                    <a:pt x="650691" y="537224"/>
                  </a:lnTo>
                  <a:lnTo>
                    <a:pt x="652371" y="536578"/>
                  </a:lnTo>
                  <a:lnTo>
                    <a:pt x="653405" y="535931"/>
                  </a:lnTo>
                  <a:lnTo>
                    <a:pt x="655602" y="531020"/>
                  </a:lnTo>
                  <a:lnTo>
                    <a:pt x="655731" y="533605"/>
                  </a:lnTo>
                  <a:lnTo>
                    <a:pt x="657282" y="533993"/>
                  </a:lnTo>
                  <a:lnTo>
                    <a:pt x="659350" y="533088"/>
                  </a:lnTo>
                  <a:lnTo>
                    <a:pt x="661030" y="531538"/>
                  </a:lnTo>
                  <a:lnTo>
                    <a:pt x="661030" y="530504"/>
                  </a:lnTo>
                  <a:lnTo>
                    <a:pt x="659867" y="527790"/>
                  </a:lnTo>
                  <a:lnTo>
                    <a:pt x="660254" y="527273"/>
                  </a:lnTo>
                  <a:lnTo>
                    <a:pt x="660900" y="526627"/>
                  </a:lnTo>
                  <a:lnTo>
                    <a:pt x="662064" y="522491"/>
                  </a:lnTo>
                  <a:lnTo>
                    <a:pt x="664519" y="518743"/>
                  </a:lnTo>
                  <a:lnTo>
                    <a:pt x="667750" y="515771"/>
                  </a:lnTo>
                  <a:lnTo>
                    <a:pt x="676538" y="510472"/>
                  </a:lnTo>
                  <a:lnTo>
                    <a:pt x="688556" y="504398"/>
                  </a:lnTo>
                  <a:lnTo>
                    <a:pt x="704581" y="494189"/>
                  </a:lnTo>
                  <a:lnTo>
                    <a:pt x="717892" y="488373"/>
                  </a:lnTo>
                  <a:lnTo>
                    <a:pt x="724613" y="484755"/>
                  </a:lnTo>
                  <a:lnTo>
                    <a:pt x="725517" y="485143"/>
                  </a:lnTo>
                  <a:lnTo>
                    <a:pt x="726163" y="485530"/>
                  </a:lnTo>
                  <a:lnTo>
                    <a:pt x="726551" y="486176"/>
                  </a:lnTo>
                  <a:lnTo>
                    <a:pt x="726680" y="487210"/>
                  </a:lnTo>
                  <a:lnTo>
                    <a:pt x="727714" y="486564"/>
                  </a:lnTo>
                  <a:lnTo>
                    <a:pt x="728102" y="485530"/>
                  </a:lnTo>
                  <a:lnTo>
                    <a:pt x="728102" y="482816"/>
                  </a:lnTo>
                  <a:lnTo>
                    <a:pt x="727585" y="482041"/>
                  </a:lnTo>
                  <a:lnTo>
                    <a:pt x="726293" y="481912"/>
                  </a:lnTo>
                  <a:lnTo>
                    <a:pt x="724871" y="481912"/>
                  </a:lnTo>
                  <a:lnTo>
                    <a:pt x="723708" y="481653"/>
                  </a:lnTo>
                  <a:lnTo>
                    <a:pt x="723320" y="481007"/>
                  </a:lnTo>
                  <a:lnTo>
                    <a:pt x="722416" y="478681"/>
                  </a:lnTo>
                  <a:lnTo>
                    <a:pt x="722286" y="478035"/>
                  </a:lnTo>
                  <a:lnTo>
                    <a:pt x="721899" y="477776"/>
                  </a:lnTo>
                  <a:lnTo>
                    <a:pt x="720865" y="477389"/>
                  </a:lnTo>
                  <a:lnTo>
                    <a:pt x="719831" y="476613"/>
                  </a:lnTo>
                  <a:lnTo>
                    <a:pt x="719314" y="475192"/>
                  </a:lnTo>
                  <a:lnTo>
                    <a:pt x="721640" y="475838"/>
                  </a:lnTo>
                  <a:lnTo>
                    <a:pt x="724096" y="476096"/>
                  </a:lnTo>
                  <a:lnTo>
                    <a:pt x="724225" y="475709"/>
                  </a:lnTo>
                  <a:lnTo>
                    <a:pt x="723966" y="474804"/>
                  </a:lnTo>
                  <a:lnTo>
                    <a:pt x="724096" y="473899"/>
                  </a:lnTo>
                  <a:lnTo>
                    <a:pt x="725388" y="473512"/>
                  </a:lnTo>
                  <a:lnTo>
                    <a:pt x="726422" y="472478"/>
                  </a:lnTo>
                  <a:lnTo>
                    <a:pt x="726163" y="470410"/>
                  </a:lnTo>
                  <a:lnTo>
                    <a:pt x="726551" y="468859"/>
                  </a:lnTo>
                  <a:lnTo>
                    <a:pt x="729394" y="469505"/>
                  </a:lnTo>
                  <a:lnTo>
                    <a:pt x="729394" y="470410"/>
                  </a:lnTo>
                  <a:lnTo>
                    <a:pt x="728748" y="471315"/>
                  </a:lnTo>
                  <a:lnTo>
                    <a:pt x="729394" y="472090"/>
                  </a:lnTo>
                  <a:lnTo>
                    <a:pt x="730687" y="472607"/>
                  </a:lnTo>
                  <a:lnTo>
                    <a:pt x="733659" y="473124"/>
                  </a:lnTo>
                  <a:lnTo>
                    <a:pt x="734951" y="473899"/>
                  </a:lnTo>
                  <a:lnTo>
                    <a:pt x="735727" y="475062"/>
                  </a:lnTo>
                  <a:lnTo>
                    <a:pt x="735985" y="476484"/>
                  </a:lnTo>
                  <a:lnTo>
                    <a:pt x="736373" y="477518"/>
                  </a:lnTo>
                  <a:lnTo>
                    <a:pt x="737277" y="478681"/>
                  </a:lnTo>
                  <a:lnTo>
                    <a:pt x="738053" y="479973"/>
                  </a:lnTo>
                  <a:lnTo>
                    <a:pt x="738182" y="481653"/>
                  </a:lnTo>
                  <a:lnTo>
                    <a:pt x="737277" y="482946"/>
                  </a:lnTo>
                  <a:lnTo>
                    <a:pt x="734564" y="483979"/>
                  </a:lnTo>
                  <a:lnTo>
                    <a:pt x="733788" y="485660"/>
                  </a:lnTo>
                  <a:lnTo>
                    <a:pt x="737019" y="486176"/>
                  </a:lnTo>
                  <a:lnTo>
                    <a:pt x="739216" y="484884"/>
                  </a:lnTo>
                  <a:lnTo>
                    <a:pt x="740767" y="483204"/>
                  </a:lnTo>
                  <a:lnTo>
                    <a:pt x="742835" y="482041"/>
                  </a:lnTo>
                  <a:lnTo>
                    <a:pt x="744256" y="481524"/>
                  </a:lnTo>
                  <a:lnTo>
                    <a:pt x="745678" y="481265"/>
                  </a:lnTo>
                  <a:lnTo>
                    <a:pt x="746324" y="481912"/>
                  </a:lnTo>
                  <a:lnTo>
                    <a:pt x="746841" y="482946"/>
                  </a:lnTo>
                  <a:lnTo>
                    <a:pt x="747875" y="483075"/>
                  </a:lnTo>
                  <a:lnTo>
                    <a:pt x="749167" y="482558"/>
                  </a:lnTo>
                  <a:lnTo>
                    <a:pt x="750072" y="481524"/>
                  </a:lnTo>
                  <a:lnTo>
                    <a:pt x="749684" y="480490"/>
                  </a:lnTo>
                  <a:lnTo>
                    <a:pt x="749813" y="478423"/>
                  </a:lnTo>
                  <a:lnTo>
                    <a:pt x="750201" y="476096"/>
                  </a:lnTo>
                  <a:lnTo>
                    <a:pt x="750718" y="474416"/>
                  </a:lnTo>
                  <a:lnTo>
                    <a:pt x="751752" y="472736"/>
                  </a:lnTo>
                  <a:lnTo>
                    <a:pt x="755887" y="467954"/>
                  </a:lnTo>
                  <a:lnTo>
                    <a:pt x="753690" y="467954"/>
                  </a:lnTo>
                  <a:lnTo>
                    <a:pt x="752268" y="468601"/>
                  </a:lnTo>
                  <a:lnTo>
                    <a:pt x="748262" y="472865"/>
                  </a:lnTo>
                  <a:lnTo>
                    <a:pt x="746712" y="473899"/>
                  </a:lnTo>
                  <a:lnTo>
                    <a:pt x="745031" y="474287"/>
                  </a:lnTo>
                  <a:lnTo>
                    <a:pt x="742705" y="474416"/>
                  </a:lnTo>
                  <a:lnTo>
                    <a:pt x="742705" y="473512"/>
                  </a:lnTo>
                  <a:lnTo>
                    <a:pt x="745936" y="472607"/>
                  </a:lnTo>
                  <a:lnTo>
                    <a:pt x="748650" y="470927"/>
                  </a:lnTo>
                  <a:lnTo>
                    <a:pt x="750847" y="468601"/>
                  </a:lnTo>
                  <a:lnTo>
                    <a:pt x="752268" y="465499"/>
                  </a:lnTo>
                  <a:lnTo>
                    <a:pt x="753044" y="465499"/>
                  </a:lnTo>
                  <a:lnTo>
                    <a:pt x="753173" y="466145"/>
                  </a:lnTo>
                  <a:lnTo>
                    <a:pt x="753302" y="466404"/>
                  </a:lnTo>
                  <a:lnTo>
                    <a:pt x="757309" y="464724"/>
                  </a:lnTo>
                  <a:lnTo>
                    <a:pt x="759376" y="463690"/>
                  </a:lnTo>
                  <a:lnTo>
                    <a:pt x="761444" y="463173"/>
                  </a:lnTo>
                  <a:lnTo>
                    <a:pt x="763899" y="463819"/>
                  </a:lnTo>
                  <a:lnTo>
                    <a:pt x="765063" y="463819"/>
                  </a:lnTo>
                  <a:lnTo>
                    <a:pt x="765967" y="461751"/>
                  </a:lnTo>
                  <a:lnTo>
                    <a:pt x="767130" y="460717"/>
                  </a:lnTo>
                  <a:lnTo>
                    <a:pt x="769069" y="459425"/>
                  </a:lnTo>
                  <a:lnTo>
                    <a:pt x="772687" y="458004"/>
                  </a:lnTo>
                  <a:lnTo>
                    <a:pt x="782509" y="455548"/>
                  </a:lnTo>
                  <a:lnTo>
                    <a:pt x="786903" y="455419"/>
                  </a:lnTo>
                  <a:lnTo>
                    <a:pt x="787808" y="455677"/>
                  </a:lnTo>
                  <a:lnTo>
                    <a:pt x="790134" y="456711"/>
                  </a:lnTo>
                  <a:lnTo>
                    <a:pt x="791297" y="457099"/>
                  </a:lnTo>
                  <a:lnTo>
                    <a:pt x="798276" y="457357"/>
                  </a:lnTo>
                  <a:lnTo>
                    <a:pt x="805254" y="459554"/>
                  </a:lnTo>
                  <a:lnTo>
                    <a:pt x="805383" y="459425"/>
                  </a:lnTo>
                  <a:lnTo>
                    <a:pt x="807451" y="459554"/>
                  </a:lnTo>
                  <a:lnTo>
                    <a:pt x="807968" y="459813"/>
                  </a:lnTo>
                  <a:lnTo>
                    <a:pt x="808356" y="460717"/>
                  </a:lnTo>
                  <a:lnTo>
                    <a:pt x="808873" y="460976"/>
                  </a:lnTo>
                  <a:lnTo>
                    <a:pt x="810036" y="460976"/>
                  </a:lnTo>
                  <a:lnTo>
                    <a:pt x="813654" y="460201"/>
                  </a:lnTo>
                  <a:lnTo>
                    <a:pt x="815981" y="460847"/>
                  </a:lnTo>
                  <a:lnTo>
                    <a:pt x="818436" y="463948"/>
                  </a:lnTo>
                  <a:lnTo>
                    <a:pt x="820504" y="464853"/>
                  </a:lnTo>
                  <a:lnTo>
                    <a:pt x="821667" y="464724"/>
                  </a:lnTo>
                  <a:lnTo>
                    <a:pt x="823864" y="463561"/>
                  </a:lnTo>
                  <a:lnTo>
                    <a:pt x="825415" y="463302"/>
                  </a:lnTo>
                  <a:lnTo>
                    <a:pt x="826319" y="463561"/>
                  </a:lnTo>
                  <a:lnTo>
                    <a:pt x="827224" y="463948"/>
                  </a:lnTo>
                  <a:lnTo>
                    <a:pt x="828258" y="464207"/>
                  </a:lnTo>
                  <a:lnTo>
                    <a:pt x="829550" y="464078"/>
                  </a:lnTo>
                  <a:lnTo>
                    <a:pt x="831747" y="462914"/>
                  </a:lnTo>
                  <a:lnTo>
                    <a:pt x="833039" y="460847"/>
                  </a:lnTo>
                  <a:lnTo>
                    <a:pt x="833169" y="458520"/>
                  </a:lnTo>
                  <a:lnTo>
                    <a:pt x="832135" y="456453"/>
                  </a:lnTo>
                  <a:lnTo>
                    <a:pt x="831747" y="455419"/>
                  </a:lnTo>
                  <a:lnTo>
                    <a:pt x="832523" y="452834"/>
                  </a:lnTo>
                  <a:lnTo>
                    <a:pt x="832393" y="451283"/>
                  </a:lnTo>
                  <a:lnTo>
                    <a:pt x="831747" y="450767"/>
                  </a:lnTo>
                  <a:lnTo>
                    <a:pt x="830713" y="450637"/>
                  </a:lnTo>
                  <a:lnTo>
                    <a:pt x="829809" y="450120"/>
                  </a:lnTo>
                  <a:lnTo>
                    <a:pt x="829421" y="448569"/>
                  </a:lnTo>
                  <a:lnTo>
                    <a:pt x="829292" y="447277"/>
                  </a:lnTo>
                  <a:lnTo>
                    <a:pt x="828775" y="444822"/>
                  </a:lnTo>
                  <a:lnTo>
                    <a:pt x="828775" y="443400"/>
                  </a:lnTo>
                  <a:lnTo>
                    <a:pt x="829292" y="442108"/>
                  </a:lnTo>
                  <a:lnTo>
                    <a:pt x="830455" y="440686"/>
                  </a:lnTo>
                  <a:lnTo>
                    <a:pt x="830843" y="439394"/>
                  </a:lnTo>
                  <a:lnTo>
                    <a:pt x="833427" y="440169"/>
                  </a:lnTo>
                  <a:lnTo>
                    <a:pt x="835624" y="439265"/>
                  </a:lnTo>
                  <a:lnTo>
                    <a:pt x="837692" y="437843"/>
                  </a:lnTo>
                  <a:lnTo>
                    <a:pt x="840018" y="437068"/>
                  </a:lnTo>
                  <a:lnTo>
                    <a:pt x="840664" y="436551"/>
                  </a:lnTo>
                  <a:lnTo>
                    <a:pt x="841569" y="435388"/>
                  </a:lnTo>
                  <a:lnTo>
                    <a:pt x="842732" y="434224"/>
                  </a:lnTo>
                  <a:lnTo>
                    <a:pt x="844024" y="433708"/>
                  </a:lnTo>
                  <a:lnTo>
                    <a:pt x="845187" y="434095"/>
                  </a:lnTo>
                  <a:lnTo>
                    <a:pt x="846738" y="435646"/>
                  </a:lnTo>
                  <a:lnTo>
                    <a:pt x="848031" y="436034"/>
                  </a:lnTo>
                  <a:lnTo>
                    <a:pt x="851132" y="434742"/>
                  </a:lnTo>
                  <a:lnTo>
                    <a:pt x="852424" y="434483"/>
                  </a:lnTo>
                  <a:lnTo>
                    <a:pt x="853458" y="433966"/>
                  </a:lnTo>
                  <a:lnTo>
                    <a:pt x="853200" y="432674"/>
                  </a:lnTo>
                  <a:lnTo>
                    <a:pt x="852037" y="430477"/>
                  </a:lnTo>
                  <a:lnTo>
                    <a:pt x="853458" y="428280"/>
                  </a:lnTo>
                  <a:lnTo>
                    <a:pt x="855268" y="428538"/>
                  </a:lnTo>
                  <a:lnTo>
                    <a:pt x="857335" y="429314"/>
                  </a:lnTo>
                  <a:lnTo>
                    <a:pt x="859403" y="428797"/>
                  </a:lnTo>
                  <a:lnTo>
                    <a:pt x="858886" y="427246"/>
                  </a:lnTo>
                  <a:lnTo>
                    <a:pt x="858757" y="425308"/>
                  </a:lnTo>
                  <a:lnTo>
                    <a:pt x="859274" y="424015"/>
                  </a:lnTo>
                  <a:lnTo>
                    <a:pt x="860566" y="424532"/>
                  </a:lnTo>
                  <a:lnTo>
                    <a:pt x="861729" y="425566"/>
                  </a:lnTo>
                  <a:lnTo>
                    <a:pt x="862892" y="426341"/>
                  </a:lnTo>
                  <a:lnTo>
                    <a:pt x="864185" y="426987"/>
                  </a:lnTo>
                  <a:lnTo>
                    <a:pt x="865477" y="427246"/>
                  </a:lnTo>
                  <a:lnTo>
                    <a:pt x="864702" y="425178"/>
                  </a:lnTo>
                  <a:lnTo>
                    <a:pt x="865348" y="424532"/>
                  </a:lnTo>
                  <a:lnTo>
                    <a:pt x="866640" y="425178"/>
                  </a:lnTo>
                  <a:lnTo>
                    <a:pt x="867674" y="427246"/>
                  </a:lnTo>
                  <a:lnTo>
                    <a:pt x="869871" y="422335"/>
                  </a:lnTo>
                  <a:lnTo>
                    <a:pt x="871551" y="421043"/>
                  </a:lnTo>
                  <a:lnTo>
                    <a:pt x="874394" y="420913"/>
                  </a:lnTo>
                  <a:lnTo>
                    <a:pt x="872973" y="419234"/>
                  </a:lnTo>
                  <a:lnTo>
                    <a:pt x="871034" y="418329"/>
                  </a:lnTo>
                  <a:lnTo>
                    <a:pt x="869871" y="417166"/>
                  </a:lnTo>
                  <a:lnTo>
                    <a:pt x="870646" y="414581"/>
                  </a:lnTo>
                  <a:lnTo>
                    <a:pt x="871422" y="415744"/>
                  </a:lnTo>
                  <a:lnTo>
                    <a:pt x="872326" y="415744"/>
                  </a:lnTo>
                  <a:lnTo>
                    <a:pt x="874523" y="414452"/>
                  </a:lnTo>
                  <a:lnTo>
                    <a:pt x="875299" y="414193"/>
                  </a:lnTo>
                  <a:lnTo>
                    <a:pt x="876720" y="413935"/>
                  </a:lnTo>
                  <a:lnTo>
                    <a:pt x="877496" y="413676"/>
                  </a:lnTo>
                  <a:lnTo>
                    <a:pt x="878013" y="413030"/>
                  </a:lnTo>
                  <a:lnTo>
                    <a:pt x="878659" y="411609"/>
                  </a:lnTo>
                  <a:lnTo>
                    <a:pt x="879176" y="411350"/>
                  </a:lnTo>
                  <a:lnTo>
                    <a:pt x="880468" y="410058"/>
                  </a:lnTo>
                  <a:lnTo>
                    <a:pt x="884087" y="407861"/>
                  </a:lnTo>
                  <a:lnTo>
                    <a:pt x="887059" y="406956"/>
                  </a:lnTo>
                  <a:lnTo>
                    <a:pt x="886413" y="409670"/>
                  </a:lnTo>
                  <a:lnTo>
                    <a:pt x="887964" y="409024"/>
                  </a:lnTo>
                  <a:lnTo>
                    <a:pt x="888739" y="408895"/>
                  </a:lnTo>
                  <a:lnTo>
                    <a:pt x="889773" y="408895"/>
                  </a:lnTo>
                  <a:lnTo>
                    <a:pt x="890807" y="409283"/>
                  </a:lnTo>
                  <a:lnTo>
                    <a:pt x="891324" y="410187"/>
                  </a:lnTo>
                  <a:lnTo>
                    <a:pt x="891711" y="411221"/>
                  </a:lnTo>
                  <a:lnTo>
                    <a:pt x="892358" y="411997"/>
                  </a:lnTo>
                  <a:lnTo>
                    <a:pt x="894167" y="411997"/>
                  </a:lnTo>
                  <a:lnTo>
                    <a:pt x="895588" y="411092"/>
                  </a:lnTo>
                  <a:lnTo>
                    <a:pt x="897010" y="410446"/>
                  </a:lnTo>
                  <a:lnTo>
                    <a:pt x="898819" y="411350"/>
                  </a:lnTo>
                  <a:lnTo>
                    <a:pt x="900499" y="410704"/>
                  </a:lnTo>
                  <a:lnTo>
                    <a:pt x="902438" y="410446"/>
                  </a:lnTo>
                  <a:lnTo>
                    <a:pt x="903989" y="409799"/>
                  </a:lnTo>
                  <a:lnTo>
                    <a:pt x="904506" y="408249"/>
                  </a:lnTo>
                  <a:lnTo>
                    <a:pt x="901275" y="406181"/>
                  </a:lnTo>
                  <a:lnTo>
                    <a:pt x="900112" y="405018"/>
                  </a:lnTo>
                  <a:lnTo>
                    <a:pt x="898949" y="402950"/>
                  </a:lnTo>
                  <a:lnTo>
                    <a:pt x="898044" y="401658"/>
                  </a:lnTo>
                  <a:lnTo>
                    <a:pt x="897398" y="401270"/>
                  </a:lnTo>
                  <a:lnTo>
                    <a:pt x="896881" y="401399"/>
                  </a:lnTo>
                  <a:lnTo>
                    <a:pt x="896493" y="401787"/>
                  </a:lnTo>
                  <a:lnTo>
                    <a:pt x="895976" y="402045"/>
                  </a:lnTo>
                  <a:lnTo>
                    <a:pt x="895201" y="402045"/>
                  </a:lnTo>
                  <a:lnTo>
                    <a:pt x="894813" y="401658"/>
                  </a:lnTo>
                  <a:lnTo>
                    <a:pt x="893133" y="398815"/>
                  </a:lnTo>
                  <a:lnTo>
                    <a:pt x="890290" y="394938"/>
                  </a:lnTo>
                  <a:lnTo>
                    <a:pt x="889773" y="393904"/>
                  </a:lnTo>
                  <a:lnTo>
                    <a:pt x="889644" y="393257"/>
                  </a:lnTo>
                  <a:lnTo>
                    <a:pt x="889644" y="392482"/>
                  </a:lnTo>
                  <a:lnTo>
                    <a:pt x="889773" y="391965"/>
                  </a:lnTo>
                  <a:lnTo>
                    <a:pt x="890031" y="391190"/>
                  </a:lnTo>
                  <a:lnTo>
                    <a:pt x="891841" y="387959"/>
                  </a:lnTo>
                  <a:lnTo>
                    <a:pt x="892875" y="387054"/>
                  </a:lnTo>
                  <a:lnTo>
                    <a:pt x="893391" y="386925"/>
                  </a:lnTo>
                  <a:lnTo>
                    <a:pt x="894296" y="386279"/>
                  </a:lnTo>
                  <a:lnTo>
                    <a:pt x="895072" y="385245"/>
                  </a:lnTo>
                  <a:lnTo>
                    <a:pt x="896105" y="383177"/>
                  </a:lnTo>
                  <a:lnTo>
                    <a:pt x="896364" y="382014"/>
                  </a:lnTo>
                  <a:lnTo>
                    <a:pt x="896364" y="381110"/>
                  </a:lnTo>
                  <a:lnTo>
                    <a:pt x="896105" y="379817"/>
                  </a:lnTo>
                  <a:lnTo>
                    <a:pt x="895976" y="378396"/>
                  </a:lnTo>
                  <a:lnTo>
                    <a:pt x="895976" y="376069"/>
                  </a:lnTo>
                  <a:lnTo>
                    <a:pt x="897269" y="369737"/>
                  </a:lnTo>
                  <a:lnTo>
                    <a:pt x="897269" y="368962"/>
                  </a:lnTo>
                  <a:lnTo>
                    <a:pt x="897139" y="367669"/>
                  </a:lnTo>
                  <a:lnTo>
                    <a:pt x="897010" y="367282"/>
                  </a:lnTo>
                  <a:lnTo>
                    <a:pt x="897010" y="367023"/>
                  </a:lnTo>
                  <a:lnTo>
                    <a:pt x="897010" y="365731"/>
                  </a:lnTo>
                  <a:lnTo>
                    <a:pt x="897398" y="365214"/>
                  </a:lnTo>
                  <a:lnTo>
                    <a:pt x="897915" y="364826"/>
                  </a:lnTo>
                  <a:lnTo>
                    <a:pt x="899982" y="364568"/>
                  </a:lnTo>
                  <a:lnTo>
                    <a:pt x="900629" y="364438"/>
                  </a:lnTo>
                  <a:lnTo>
                    <a:pt x="901146" y="364051"/>
                  </a:lnTo>
                  <a:lnTo>
                    <a:pt x="901662" y="363534"/>
                  </a:lnTo>
                  <a:lnTo>
                    <a:pt x="903084" y="361208"/>
                  </a:lnTo>
                  <a:lnTo>
                    <a:pt x="903601" y="360561"/>
                  </a:lnTo>
                  <a:lnTo>
                    <a:pt x="904376" y="359786"/>
                  </a:lnTo>
                  <a:lnTo>
                    <a:pt x="905023" y="359269"/>
                  </a:lnTo>
                  <a:lnTo>
                    <a:pt x="905669" y="358882"/>
                  </a:lnTo>
                  <a:lnTo>
                    <a:pt x="906315" y="358752"/>
                  </a:lnTo>
                  <a:lnTo>
                    <a:pt x="909804" y="358364"/>
                  </a:lnTo>
                  <a:lnTo>
                    <a:pt x="910967" y="357977"/>
                  </a:lnTo>
                  <a:lnTo>
                    <a:pt x="912906" y="356943"/>
                  </a:lnTo>
                  <a:lnTo>
                    <a:pt x="916654" y="354229"/>
                  </a:lnTo>
                  <a:lnTo>
                    <a:pt x="919367" y="352937"/>
                  </a:lnTo>
                  <a:lnTo>
                    <a:pt x="920014" y="352808"/>
                  </a:lnTo>
                  <a:lnTo>
                    <a:pt x="920660" y="352678"/>
                  </a:lnTo>
                  <a:lnTo>
                    <a:pt x="921306" y="352678"/>
                  </a:lnTo>
                  <a:lnTo>
                    <a:pt x="921952" y="352808"/>
                  </a:lnTo>
                  <a:lnTo>
                    <a:pt x="923632" y="353583"/>
                  </a:lnTo>
                  <a:lnTo>
                    <a:pt x="924408" y="353583"/>
                  </a:lnTo>
                  <a:lnTo>
                    <a:pt x="925700" y="353195"/>
                  </a:lnTo>
                  <a:lnTo>
                    <a:pt x="931386" y="349706"/>
                  </a:lnTo>
                  <a:lnTo>
                    <a:pt x="932291" y="349447"/>
                  </a:lnTo>
                  <a:lnTo>
                    <a:pt x="932679" y="349706"/>
                  </a:lnTo>
                  <a:lnTo>
                    <a:pt x="932937" y="350223"/>
                  </a:lnTo>
                  <a:lnTo>
                    <a:pt x="933066" y="350869"/>
                  </a:lnTo>
                  <a:lnTo>
                    <a:pt x="933325" y="351386"/>
                  </a:lnTo>
                  <a:lnTo>
                    <a:pt x="933842" y="351774"/>
                  </a:lnTo>
                  <a:lnTo>
                    <a:pt x="934488" y="351903"/>
                  </a:lnTo>
                  <a:lnTo>
                    <a:pt x="935392" y="351774"/>
                  </a:lnTo>
                  <a:lnTo>
                    <a:pt x="936426" y="351515"/>
                  </a:lnTo>
                  <a:lnTo>
                    <a:pt x="939657" y="350094"/>
                  </a:lnTo>
                  <a:lnTo>
                    <a:pt x="940303" y="350094"/>
                  </a:lnTo>
                  <a:lnTo>
                    <a:pt x="940820" y="350352"/>
                  </a:lnTo>
                  <a:lnTo>
                    <a:pt x="941983" y="350869"/>
                  </a:lnTo>
                  <a:lnTo>
                    <a:pt x="942629" y="350998"/>
                  </a:lnTo>
                  <a:lnTo>
                    <a:pt x="943793" y="350611"/>
                  </a:lnTo>
                  <a:lnTo>
                    <a:pt x="949479" y="347380"/>
                  </a:lnTo>
                  <a:lnTo>
                    <a:pt x="952968" y="346346"/>
                  </a:lnTo>
                  <a:lnTo>
                    <a:pt x="953485" y="345958"/>
                  </a:lnTo>
                  <a:lnTo>
                    <a:pt x="954131" y="345183"/>
                  </a:lnTo>
                  <a:lnTo>
                    <a:pt x="955682" y="341952"/>
                  </a:lnTo>
                  <a:lnTo>
                    <a:pt x="955811" y="341306"/>
                  </a:lnTo>
                  <a:lnTo>
                    <a:pt x="955811" y="340660"/>
                  </a:lnTo>
                  <a:lnTo>
                    <a:pt x="955682" y="340013"/>
                  </a:lnTo>
                  <a:lnTo>
                    <a:pt x="955165" y="338850"/>
                  </a:lnTo>
                  <a:lnTo>
                    <a:pt x="955553" y="337816"/>
                  </a:lnTo>
                  <a:lnTo>
                    <a:pt x="958396" y="334844"/>
                  </a:lnTo>
                  <a:lnTo>
                    <a:pt x="959430" y="334069"/>
                  </a:lnTo>
                  <a:lnTo>
                    <a:pt x="960335" y="333552"/>
                  </a:lnTo>
                  <a:lnTo>
                    <a:pt x="961885" y="333423"/>
                  </a:lnTo>
                  <a:lnTo>
                    <a:pt x="962790" y="333293"/>
                  </a:lnTo>
                  <a:lnTo>
                    <a:pt x="963824" y="332776"/>
                  </a:lnTo>
                  <a:lnTo>
                    <a:pt x="964341" y="332259"/>
                  </a:lnTo>
                  <a:lnTo>
                    <a:pt x="964728" y="331613"/>
                  </a:lnTo>
                  <a:lnTo>
                    <a:pt x="964858" y="330967"/>
                  </a:lnTo>
                  <a:lnTo>
                    <a:pt x="964470" y="330579"/>
                  </a:lnTo>
                  <a:close/>
                  <a:moveTo>
                    <a:pt x="851908" y="472607"/>
                  </a:moveTo>
                  <a:lnTo>
                    <a:pt x="851778" y="472090"/>
                  </a:lnTo>
                  <a:lnTo>
                    <a:pt x="851649" y="471702"/>
                  </a:lnTo>
                  <a:lnTo>
                    <a:pt x="851132" y="470927"/>
                  </a:lnTo>
                  <a:lnTo>
                    <a:pt x="847514" y="471573"/>
                  </a:lnTo>
                  <a:lnTo>
                    <a:pt x="845834" y="468213"/>
                  </a:lnTo>
                  <a:lnTo>
                    <a:pt x="846350" y="464724"/>
                  </a:lnTo>
                  <a:lnTo>
                    <a:pt x="849710" y="465370"/>
                  </a:lnTo>
                  <a:lnTo>
                    <a:pt x="850486" y="456970"/>
                  </a:lnTo>
                  <a:lnTo>
                    <a:pt x="849581" y="455677"/>
                  </a:lnTo>
                  <a:lnTo>
                    <a:pt x="844154" y="451800"/>
                  </a:lnTo>
                  <a:lnTo>
                    <a:pt x="843120" y="451283"/>
                  </a:lnTo>
                  <a:lnTo>
                    <a:pt x="841957" y="450896"/>
                  </a:lnTo>
                  <a:lnTo>
                    <a:pt x="841052" y="450896"/>
                  </a:lnTo>
                  <a:lnTo>
                    <a:pt x="840147" y="451413"/>
                  </a:lnTo>
                  <a:lnTo>
                    <a:pt x="839889" y="452059"/>
                  </a:lnTo>
                  <a:lnTo>
                    <a:pt x="839760" y="452834"/>
                  </a:lnTo>
                  <a:lnTo>
                    <a:pt x="839243" y="453739"/>
                  </a:lnTo>
                  <a:lnTo>
                    <a:pt x="838855" y="454514"/>
                  </a:lnTo>
                  <a:lnTo>
                    <a:pt x="838080" y="458004"/>
                  </a:lnTo>
                  <a:lnTo>
                    <a:pt x="836916" y="460071"/>
                  </a:lnTo>
                  <a:lnTo>
                    <a:pt x="830067" y="466791"/>
                  </a:lnTo>
                  <a:lnTo>
                    <a:pt x="828516" y="467825"/>
                  </a:lnTo>
                  <a:lnTo>
                    <a:pt x="827224" y="468988"/>
                  </a:lnTo>
                  <a:lnTo>
                    <a:pt x="826578" y="470668"/>
                  </a:lnTo>
                  <a:lnTo>
                    <a:pt x="827224" y="473124"/>
                  </a:lnTo>
                  <a:lnTo>
                    <a:pt x="829938" y="475709"/>
                  </a:lnTo>
                  <a:lnTo>
                    <a:pt x="833815" y="476096"/>
                  </a:lnTo>
                  <a:lnTo>
                    <a:pt x="838080" y="474933"/>
                  </a:lnTo>
                  <a:lnTo>
                    <a:pt x="841957" y="473124"/>
                  </a:lnTo>
                  <a:lnTo>
                    <a:pt x="842603" y="474028"/>
                  </a:lnTo>
                  <a:lnTo>
                    <a:pt x="844024" y="473124"/>
                  </a:lnTo>
                  <a:lnTo>
                    <a:pt x="845058" y="474675"/>
                  </a:lnTo>
                  <a:lnTo>
                    <a:pt x="845963" y="477130"/>
                  </a:lnTo>
                  <a:lnTo>
                    <a:pt x="846997" y="478810"/>
                  </a:lnTo>
                  <a:lnTo>
                    <a:pt x="847643" y="478939"/>
                  </a:lnTo>
                  <a:lnTo>
                    <a:pt x="848160" y="478939"/>
                  </a:lnTo>
                  <a:lnTo>
                    <a:pt x="848677" y="479069"/>
                  </a:lnTo>
                  <a:lnTo>
                    <a:pt x="849194" y="479586"/>
                  </a:lnTo>
                  <a:lnTo>
                    <a:pt x="850615" y="478810"/>
                  </a:lnTo>
                  <a:lnTo>
                    <a:pt x="851132" y="478423"/>
                  </a:lnTo>
                  <a:lnTo>
                    <a:pt x="851778" y="477518"/>
                  </a:lnTo>
                  <a:lnTo>
                    <a:pt x="851778" y="477001"/>
                  </a:lnTo>
                  <a:lnTo>
                    <a:pt x="851391" y="476484"/>
                  </a:lnTo>
                  <a:lnTo>
                    <a:pt x="851261" y="474933"/>
                  </a:lnTo>
                  <a:lnTo>
                    <a:pt x="850744" y="473641"/>
                  </a:lnTo>
                  <a:lnTo>
                    <a:pt x="850744" y="472736"/>
                  </a:lnTo>
                  <a:lnTo>
                    <a:pt x="851908" y="472607"/>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6" name="Graphic 2">
              <a:extLst>
                <a:ext uri="{FF2B5EF4-FFF2-40B4-BE49-F238E27FC236}">
                  <a16:creationId xmlns:a16="http://schemas.microsoft.com/office/drawing/2014/main" id="{2CF4DED5-BDF2-C014-18F6-1194BBCD5489}"/>
                </a:ext>
              </a:extLst>
            </p:cNvPr>
            <p:cNvSpPr/>
            <p:nvPr/>
          </p:nvSpPr>
          <p:spPr>
            <a:xfrm>
              <a:off x="5841797" y="4663050"/>
              <a:ext cx="584523" cy="407344"/>
            </a:xfrm>
            <a:custGeom>
              <a:avLst/>
              <a:gdLst>
                <a:gd name="connsiteX0" fmla="*/ 559194 w 584523"/>
                <a:gd name="connsiteY0" fmla="*/ 30758 h 407344"/>
                <a:gd name="connsiteX1" fmla="*/ 556738 w 584523"/>
                <a:gd name="connsiteY1" fmla="*/ 32179 h 407344"/>
                <a:gd name="connsiteX2" fmla="*/ 555963 w 584523"/>
                <a:gd name="connsiteY2" fmla="*/ 33601 h 407344"/>
                <a:gd name="connsiteX3" fmla="*/ 555575 w 584523"/>
                <a:gd name="connsiteY3" fmla="*/ 34764 h 407344"/>
                <a:gd name="connsiteX4" fmla="*/ 554799 w 584523"/>
                <a:gd name="connsiteY4" fmla="*/ 35539 h 407344"/>
                <a:gd name="connsiteX5" fmla="*/ 552861 w 584523"/>
                <a:gd name="connsiteY5" fmla="*/ 35798 h 407344"/>
                <a:gd name="connsiteX6" fmla="*/ 551698 w 584523"/>
                <a:gd name="connsiteY6" fmla="*/ 36186 h 407344"/>
                <a:gd name="connsiteX7" fmla="*/ 550793 w 584523"/>
                <a:gd name="connsiteY7" fmla="*/ 37090 h 407344"/>
                <a:gd name="connsiteX8" fmla="*/ 548984 w 584523"/>
                <a:gd name="connsiteY8" fmla="*/ 40192 h 407344"/>
                <a:gd name="connsiteX9" fmla="*/ 548725 w 584523"/>
                <a:gd name="connsiteY9" fmla="*/ 40709 h 407344"/>
                <a:gd name="connsiteX10" fmla="*/ 549113 w 584523"/>
                <a:gd name="connsiteY10" fmla="*/ 41226 h 407344"/>
                <a:gd name="connsiteX11" fmla="*/ 553636 w 584523"/>
                <a:gd name="connsiteY11" fmla="*/ 44586 h 407344"/>
                <a:gd name="connsiteX12" fmla="*/ 555187 w 584523"/>
                <a:gd name="connsiteY12" fmla="*/ 46266 h 407344"/>
                <a:gd name="connsiteX13" fmla="*/ 556867 w 584523"/>
                <a:gd name="connsiteY13" fmla="*/ 49755 h 407344"/>
                <a:gd name="connsiteX14" fmla="*/ 558677 w 584523"/>
                <a:gd name="connsiteY14" fmla="*/ 52727 h 407344"/>
                <a:gd name="connsiteX15" fmla="*/ 560744 w 584523"/>
                <a:gd name="connsiteY15" fmla="*/ 52856 h 407344"/>
                <a:gd name="connsiteX16" fmla="*/ 561391 w 584523"/>
                <a:gd name="connsiteY16" fmla="*/ 53503 h 407344"/>
                <a:gd name="connsiteX17" fmla="*/ 561778 w 584523"/>
                <a:gd name="connsiteY17" fmla="*/ 53632 h 407344"/>
                <a:gd name="connsiteX18" fmla="*/ 562295 w 584523"/>
                <a:gd name="connsiteY18" fmla="*/ 53632 h 407344"/>
                <a:gd name="connsiteX19" fmla="*/ 562166 w 584523"/>
                <a:gd name="connsiteY19" fmla="*/ 50789 h 407344"/>
                <a:gd name="connsiteX20" fmla="*/ 562295 w 584523"/>
                <a:gd name="connsiteY20" fmla="*/ 49367 h 407344"/>
                <a:gd name="connsiteX21" fmla="*/ 562683 w 584523"/>
                <a:gd name="connsiteY21" fmla="*/ 48334 h 407344"/>
                <a:gd name="connsiteX22" fmla="*/ 565655 w 584523"/>
                <a:gd name="connsiteY22" fmla="*/ 45490 h 407344"/>
                <a:gd name="connsiteX23" fmla="*/ 566043 w 584523"/>
                <a:gd name="connsiteY23" fmla="*/ 44327 h 407344"/>
                <a:gd name="connsiteX24" fmla="*/ 566560 w 584523"/>
                <a:gd name="connsiteY24" fmla="*/ 41613 h 407344"/>
                <a:gd name="connsiteX25" fmla="*/ 569015 w 584523"/>
                <a:gd name="connsiteY25" fmla="*/ 37090 h 407344"/>
                <a:gd name="connsiteX26" fmla="*/ 569920 w 584523"/>
                <a:gd name="connsiteY26" fmla="*/ 34118 h 407344"/>
                <a:gd name="connsiteX27" fmla="*/ 571471 w 584523"/>
                <a:gd name="connsiteY27" fmla="*/ 32567 h 407344"/>
                <a:gd name="connsiteX28" fmla="*/ 571858 w 584523"/>
                <a:gd name="connsiteY28" fmla="*/ 31662 h 407344"/>
                <a:gd name="connsiteX29" fmla="*/ 571729 w 584523"/>
                <a:gd name="connsiteY29" fmla="*/ 30628 h 407344"/>
                <a:gd name="connsiteX30" fmla="*/ 571341 w 584523"/>
                <a:gd name="connsiteY30" fmla="*/ 29595 h 407344"/>
                <a:gd name="connsiteX31" fmla="*/ 568886 w 584523"/>
                <a:gd name="connsiteY31" fmla="*/ 25459 h 407344"/>
                <a:gd name="connsiteX32" fmla="*/ 567335 w 584523"/>
                <a:gd name="connsiteY32" fmla="*/ 23779 h 407344"/>
                <a:gd name="connsiteX33" fmla="*/ 565526 w 584523"/>
                <a:gd name="connsiteY33" fmla="*/ 23391 h 407344"/>
                <a:gd name="connsiteX34" fmla="*/ 563587 w 584523"/>
                <a:gd name="connsiteY34" fmla="*/ 25071 h 407344"/>
                <a:gd name="connsiteX35" fmla="*/ 564363 w 584523"/>
                <a:gd name="connsiteY35" fmla="*/ 27914 h 407344"/>
                <a:gd name="connsiteX36" fmla="*/ 562295 w 584523"/>
                <a:gd name="connsiteY36" fmla="*/ 29465 h 407344"/>
                <a:gd name="connsiteX37" fmla="*/ 559194 w 584523"/>
                <a:gd name="connsiteY37" fmla="*/ 30758 h 407344"/>
                <a:gd name="connsiteX38" fmla="*/ 583619 w 584523"/>
                <a:gd name="connsiteY38" fmla="*/ 174982 h 407344"/>
                <a:gd name="connsiteX39" fmla="*/ 582455 w 584523"/>
                <a:gd name="connsiteY39" fmla="*/ 173173 h 407344"/>
                <a:gd name="connsiteX40" fmla="*/ 580517 w 584523"/>
                <a:gd name="connsiteY40" fmla="*/ 170718 h 407344"/>
                <a:gd name="connsiteX41" fmla="*/ 578579 w 584523"/>
                <a:gd name="connsiteY41" fmla="*/ 169425 h 407344"/>
                <a:gd name="connsiteX42" fmla="*/ 577674 w 584523"/>
                <a:gd name="connsiteY42" fmla="*/ 171364 h 407344"/>
                <a:gd name="connsiteX43" fmla="*/ 576511 w 584523"/>
                <a:gd name="connsiteY43" fmla="*/ 172268 h 407344"/>
                <a:gd name="connsiteX44" fmla="*/ 570825 w 584523"/>
                <a:gd name="connsiteY44" fmla="*/ 173949 h 407344"/>
                <a:gd name="connsiteX45" fmla="*/ 568886 w 584523"/>
                <a:gd name="connsiteY45" fmla="*/ 174207 h 407344"/>
                <a:gd name="connsiteX46" fmla="*/ 569403 w 584523"/>
                <a:gd name="connsiteY46" fmla="*/ 176145 h 407344"/>
                <a:gd name="connsiteX47" fmla="*/ 568628 w 584523"/>
                <a:gd name="connsiteY47" fmla="*/ 177308 h 407344"/>
                <a:gd name="connsiteX48" fmla="*/ 567465 w 584523"/>
                <a:gd name="connsiteY48" fmla="*/ 178342 h 407344"/>
                <a:gd name="connsiteX49" fmla="*/ 566689 w 584523"/>
                <a:gd name="connsiteY49" fmla="*/ 179893 h 407344"/>
                <a:gd name="connsiteX50" fmla="*/ 566947 w 584523"/>
                <a:gd name="connsiteY50" fmla="*/ 180798 h 407344"/>
                <a:gd name="connsiteX51" fmla="*/ 568498 w 584523"/>
                <a:gd name="connsiteY51" fmla="*/ 182219 h 407344"/>
                <a:gd name="connsiteX52" fmla="*/ 568886 w 584523"/>
                <a:gd name="connsiteY52" fmla="*/ 183641 h 407344"/>
                <a:gd name="connsiteX53" fmla="*/ 568757 w 584523"/>
                <a:gd name="connsiteY53" fmla="*/ 184287 h 407344"/>
                <a:gd name="connsiteX54" fmla="*/ 568498 w 584523"/>
                <a:gd name="connsiteY54" fmla="*/ 184933 h 407344"/>
                <a:gd name="connsiteX55" fmla="*/ 568240 w 584523"/>
                <a:gd name="connsiteY55" fmla="*/ 185580 h 407344"/>
                <a:gd name="connsiteX56" fmla="*/ 568240 w 584523"/>
                <a:gd name="connsiteY56" fmla="*/ 186484 h 407344"/>
                <a:gd name="connsiteX57" fmla="*/ 569274 w 584523"/>
                <a:gd name="connsiteY57" fmla="*/ 187001 h 407344"/>
                <a:gd name="connsiteX58" fmla="*/ 570049 w 584523"/>
                <a:gd name="connsiteY58" fmla="*/ 187518 h 407344"/>
                <a:gd name="connsiteX59" fmla="*/ 570437 w 584523"/>
                <a:gd name="connsiteY59" fmla="*/ 188164 h 407344"/>
                <a:gd name="connsiteX60" fmla="*/ 570308 w 584523"/>
                <a:gd name="connsiteY60" fmla="*/ 189586 h 407344"/>
                <a:gd name="connsiteX61" fmla="*/ 569920 w 584523"/>
                <a:gd name="connsiteY61" fmla="*/ 190619 h 407344"/>
                <a:gd name="connsiteX62" fmla="*/ 569144 w 584523"/>
                <a:gd name="connsiteY62" fmla="*/ 191266 h 407344"/>
                <a:gd name="connsiteX63" fmla="*/ 567852 w 584523"/>
                <a:gd name="connsiteY63" fmla="*/ 191524 h 407344"/>
                <a:gd name="connsiteX64" fmla="*/ 565784 w 584523"/>
                <a:gd name="connsiteY64" fmla="*/ 192170 h 407344"/>
                <a:gd name="connsiteX65" fmla="*/ 566560 w 584523"/>
                <a:gd name="connsiteY65" fmla="*/ 193850 h 407344"/>
                <a:gd name="connsiteX66" fmla="*/ 568111 w 584523"/>
                <a:gd name="connsiteY66" fmla="*/ 196306 h 407344"/>
                <a:gd name="connsiteX67" fmla="*/ 568369 w 584523"/>
                <a:gd name="connsiteY67" fmla="*/ 199020 h 407344"/>
                <a:gd name="connsiteX68" fmla="*/ 565526 w 584523"/>
                <a:gd name="connsiteY68" fmla="*/ 201992 h 407344"/>
                <a:gd name="connsiteX69" fmla="*/ 564621 w 584523"/>
                <a:gd name="connsiteY69" fmla="*/ 203930 h 407344"/>
                <a:gd name="connsiteX70" fmla="*/ 566172 w 584523"/>
                <a:gd name="connsiteY70" fmla="*/ 204835 h 407344"/>
                <a:gd name="connsiteX71" fmla="*/ 564751 w 584523"/>
                <a:gd name="connsiteY71" fmla="*/ 208066 h 407344"/>
                <a:gd name="connsiteX72" fmla="*/ 564104 w 584523"/>
                <a:gd name="connsiteY72" fmla="*/ 211943 h 407344"/>
                <a:gd name="connsiteX73" fmla="*/ 563975 w 584523"/>
                <a:gd name="connsiteY73" fmla="*/ 220860 h 407344"/>
                <a:gd name="connsiteX74" fmla="*/ 564104 w 584523"/>
                <a:gd name="connsiteY74" fmla="*/ 221248 h 407344"/>
                <a:gd name="connsiteX75" fmla="*/ 564492 w 584523"/>
                <a:gd name="connsiteY75" fmla="*/ 221377 h 407344"/>
                <a:gd name="connsiteX76" fmla="*/ 565397 w 584523"/>
                <a:gd name="connsiteY76" fmla="*/ 221506 h 407344"/>
                <a:gd name="connsiteX77" fmla="*/ 566431 w 584523"/>
                <a:gd name="connsiteY77" fmla="*/ 221119 h 407344"/>
                <a:gd name="connsiteX78" fmla="*/ 567335 w 584523"/>
                <a:gd name="connsiteY78" fmla="*/ 220085 h 407344"/>
                <a:gd name="connsiteX79" fmla="*/ 568886 w 584523"/>
                <a:gd name="connsiteY79" fmla="*/ 217759 h 407344"/>
                <a:gd name="connsiteX80" fmla="*/ 569791 w 584523"/>
                <a:gd name="connsiteY80" fmla="*/ 217242 h 407344"/>
                <a:gd name="connsiteX81" fmla="*/ 571858 w 584523"/>
                <a:gd name="connsiteY81" fmla="*/ 216595 h 407344"/>
                <a:gd name="connsiteX82" fmla="*/ 572634 w 584523"/>
                <a:gd name="connsiteY82" fmla="*/ 216078 h 407344"/>
                <a:gd name="connsiteX83" fmla="*/ 573021 w 584523"/>
                <a:gd name="connsiteY83" fmla="*/ 214269 h 407344"/>
                <a:gd name="connsiteX84" fmla="*/ 571341 w 584523"/>
                <a:gd name="connsiteY84" fmla="*/ 210004 h 407344"/>
                <a:gd name="connsiteX85" fmla="*/ 571471 w 584523"/>
                <a:gd name="connsiteY85" fmla="*/ 207420 h 407344"/>
                <a:gd name="connsiteX86" fmla="*/ 576252 w 584523"/>
                <a:gd name="connsiteY86" fmla="*/ 199149 h 407344"/>
                <a:gd name="connsiteX87" fmla="*/ 577415 w 584523"/>
                <a:gd name="connsiteY87" fmla="*/ 198374 h 407344"/>
                <a:gd name="connsiteX88" fmla="*/ 578966 w 584523"/>
                <a:gd name="connsiteY88" fmla="*/ 196564 h 407344"/>
                <a:gd name="connsiteX89" fmla="*/ 580388 w 584523"/>
                <a:gd name="connsiteY89" fmla="*/ 194367 h 407344"/>
                <a:gd name="connsiteX90" fmla="*/ 581163 w 584523"/>
                <a:gd name="connsiteY90" fmla="*/ 192429 h 407344"/>
                <a:gd name="connsiteX91" fmla="*/ 581163 w 584523"/>
                <a:gd name="connsiteY91" fmla="*/ 191136 h 407344"/>
                <a:gd name="connsiteX92" fmla="*/ 580517 w 584523"/>
                <a:gd name="connsiteY92" fmla="*/ 188423 h 407344"/>
                <a:gd name="connsiteX93" fmla="*/ 580388 w 584523"/>
                <a:gd name="connsiteY93" fmla="*/ 187001 h 407344"/>
                <a:gd name="connsiteX94" fmla="*/ 580646 w 584523"/>
                <a:gd name="connsiteY94" fmla="*/ 185708 h 407344"/>
                <a:gd name="connsiteX95" fmla="*/ 581163 w 584523"/>
                <a:gd name="connsiteY95" fmla="*/ 184933 h 407344"/>
                <a:gd name="connsiteX96" fmla="*/ 581680 w 584523"/>
                <a:gd name="connsiteY96" fmla="*/ 184287 h 407344"/>
                <a:gd name="connsiteX97" fmla="*/ 582455 w 584523"/>
                <a:gd name="connsiteY97" fmla="*/ 182090 h 407344"/>
                <a:gd name="connsiteX98" fmla="*/ 583619 w 584523"/>
                <a:gd name="connsiteY98" fmla="*/ 180152 h 407344"/>
                <a:gd name="connsiteX99" fmla="*/ 584523 w 584523"/>
                <a:gd name="connsiteY99" fmla="*/ 177825 h 407344"/>
                <a:gd name="connsiteX100" fmla="*/ 583619 w 584523"/>
                <a:gd name="connsiteY100" fmla="*/ 174982 h 407344"/>
                <a:gd name="connsiteX101" fmla="*/ 556092 w 584523"/>
                <a:gd name="connsiteY101" fmla="*/ 176275 h 407344"/>
                <a:gd name="connsiteX102" fmla="*/ 557255 w 584523"/>
                <a:gd name="connsiteY102" fmla="*/ 175112 h 407344"/>
                <a:gd name="connsiteX103" fmla="*/ 558677 w 584523"/>
                <a:gd name="connsiteY103" fmla="*/ 174078 h 407344"/>
                <a:gd name="connsiteX104" fmla="*/ 559969 w 584523"/>
                <a:gd name="connsiteY104" fmla="*/ 173561 h 407344"/>
                <a:gd name="connsiteX105" fmla="*/ 561132 w 584523"/>
                <a:gd name="connsiteY105" fmla="*/ 173302 h 407344"/>
                <a:gd name="connsiteX106" fmla="*/ 562037 w 584523"/>
                <a:gd name="connsiteY106" fmla="*/ 172656 h 407344"/>
                <a:gd name="connsiteX107" fmla="*/ 562424 w 584523"/>
                <a:gd name="connsiteY107" fmla="*/ 171234 h 407344"/>
                <a:gd name="connsiteX108" fmla="*/ 562554 w 584523"/>
                <a:gd name="connsiteY108" fmla="*/ 169942 h 407344"/>
                <a:gd name="connsiteX109" fmla="*/ 562812 w 584523"/>
                <a:gd name="connsiteY109" fmla="*/ 168908 h 407344"/>
                <a:gd name="connsiteX110" fmla="*/ 563200 w 584523"/>
                <a:gd name="connsiteY110" fmla="*/ 167875 h 407344"/>
                <a:gd name="connsiteX111" fmla="*/ 563846 w 584523"/>
                <a:gd name="connsiteY111" fmla="*/ 166712 h 407344"/>
                <a:gd name="connsiteX112" fmla="*/ 564104 w 584523"/>
                <a:gd name="connsiteY112" fmla="*/ 167358 h 407344"/>
                <a:gd name="connsiteX113" fmla="*/ 565268 w 584523"/>
                <a:gd name="connsiteY113" fmla="*/ 169038 h 407344"/>
                <a:gd name="connsiteX114" fmla="*/ 565009 w 584523"/>
                <a:gd name="connsiteY114" fmla="*/ 163610 h 407344"/>
                <a:gd name="connsiteX115" fmla="*/ 564363 w 584523"/>
                <a:gd name="connsiteY115" fmla="*/ 161542 h 407344"/>
                <a:gd name="connsiteX116" fmla="*/ 563200 w 584523"/>
                <a:gd name="connsiteY116" fmla="*/ 159991 h 407344"/>
                <a:gd name="connsiteX117" fmla="*/ 559581 w 584523"/>
                <a:gd name="connsiteY117" fmla="*/ 159345 h 407344"/>
                <a:gd name="connsiteX118" fmla="*/ 559194 w 584523"/>
                <a:gd name="connsiteY118" fmla="*/ 159216 h 407344"/>
                <a:gd name="connsiteX119" fmla="*/ 558806 w 584523"/>
                <a:gd name="connsiteY119" fmla="*/ 158570 h 407344"/>
                <a:gd name="connsiteX120" fmla="*/ 558030 w 584523"/>
                <a:gd name="connsiteY120" fmla="*/ 153917 h 407344"/>
                <a:gd name="connsiteX121" fmla="*/ 558030 w 584523"/>
                <a:gd name="connsiteY121" fmla="*/ 152237 h 407344"/>
                <a:gd name="connsiteX122" fmla="*/ 558160 w 584523"/>
                <a:gd name="connsiteY122" fmla="*/ 151203 h 407344"/>
                <a:gd name="connsiteX123" fmla="*/ 558547 w 584523"/>
                <a:gd name="connsiteY123" fmla="*/ 150428 h 407344"/>
                <a:gd name="connsiteX124" fmla="*/ 559452 w 584523"/>
                <a:gd name="connsiteY124" fmla="*/ 149394 h 407344"/>
                <a:gd name="connsiteX125" fmla="*/ 562941 w 584523"/>
                <a:gd name="connsiteY125" fmla="*/ 146551 h 407344"/>
                <a:gd name="connsiteX126" fmla="*/ 563458 w 584523"/>
                <a:gd name="connsiteY126" fmla="*/ 146034 h 407344"/>
                <a:gd name="connsiteX127" fmla="*/ 564363 w 584523"/>
                <a:gd name="connsiteY127" fmla="*/ 145775 h 407344"/>
                <a:gd name="connsiteX128" fmla="*/ 566301 w 584523"/>
                <a:gd name="connsiteY128" fmla="*/ 144483 h 407344"/>
                <a:gd name="connsiteX129" fmla="*/ 567465 w 584523"/>
                <a:gd name="connsiteY129" fmla="*/ 144483 h 407344"/>
                <a:gd name="connsiteX130" fmla="*/ 568886 w 584523"/>
                <a:gd name="connsiteY130" fmla="*/ 145259 h 407344"/>
                <a:gd name="connsiteX131" fmla="*/ 569532 w 584523"/>
                <a:gd name="connsiteY131" fmla="*/ 146422 h 407344"/>
                <a:gd name="connsiteX132" fmla="*/ 569144 w 584523"/>
                <a:gd name="connsiteY132" fmla="*/ 147455 h 407344"/>
                <a:gd name="connsiteX133" fmla="*/ 567465 w 584523"/>
                <a:gd name="connsiteY133" fmla="*/ 147843 h 407344"/>
                <a:gd name="connsiteX134" fmla="*/ 568240 w 584523"/>
                <a:gd name="connsiteY134" fmla="*/ 149265 h 407344"/>
                <a:gd name="connsiteX135" fmla="*/ 569144 w 584523"/>
                <a:gd name="connsiteY135" fmla="*/ 149394 h 407344"/>
                <a:gd name="connsiteX136" fmla="*/ 570308 w 584523"/>
                <a:gd name="connsiteY136" fmla="*/ 149006 h 407344"/>
                <a:gd name="connsiteX137" fmla="*/ 571600 w 584523"/>
                <a:gd name="connsiteY137" fmla="*/ 148748 h 407344"/>
                <a:gd name="connsiteX138" fmla="*/ 572375 w 584523"/>
                <a:gd name="connsiteY138" fmla="*/ 148102 h 407344"/>
                <a:gd name="connsiteX139" fmla="*/ 572246 w 584523"/>
                <a:gd name="connsiteY139" fmla="*/ 146680 h 407344"/>
                <a:gd name="connsiteX140" fmla="*/ 571212 w 584523"/>
                <a:gd name="connsiteY140" fmla="*/ 143837 h 407344"/>
                <a:gd name="connsiteX141" fmla="*/ 571988 w 584523"/>
                <a:gd name="connsiteY141" fmla="*/ 143320 h 407344"/>
                <a:gd name="connsiteX142" fmla="*/ 572505 w 584523"/>
                <a:gd name="connsiteY142" fmla="*/ 142803 h 407344"/>
                <a:gd name="connsiteX143" fmla="*/ 573280 w 584523"/>
                <a:gd name="connsiteY143" fmla="*/ 141381 h 407344"/>
                <a:gd name="connsiteX144" fmla="*/ 571083 w 584523"/>
                <a:gd name="connsiteY144" fmla="*/ 140735 h 407344"/>
                <a:gd name="connsiteX145" fmla="*/ 570049 w 584523"/>
                <a:gd name="connsiteY145" fmla="*/ 138797 h 407344"/>
                <a:gd name="connsiteX146" fmla="*/ 569015 w 584523"/>
                <a:gd name="connsiteY146" fmla="*/ 137375 h 407344"/>
                <a:gd name="connsiteX147" fmla="*/ 567077 w 584523"/>
                <a:gd name="connsiteY147" fmla="*/ 138538 h 407344"/>
                <a:gd name="connsiteX148" fmla="*/ 566431 w 584523"/>
                <a:gd name="connsiteY148" fmla="*/ 139701 h 407344"/>
                <a:gd name="connsiteX149" fmla="*/ 566043 w 584523"/>
                <a:gd name="connsiteY149" fmla="*/ 140865 h 407344"/>
                <a:gd name="connsiteX150" fmla="*/ 565397 w 584523"/>
                <a:gd name="connsiteY150" fmla="*/ 141769 h 407344"/>
                <a:gd name="connsiteX151" fmla="*/ 563975 w 584523"/>
                <a:gd name="connsiteY151" fmla="*/ 142157 h 407344"/>
                <a:gd name="connsiteX152" fmla="*/ 562424 w 584523"/>
                <a:gd name="connsiteY152" fmla="*/ 141769 h 407344"/>
                <a:gd name="connsiteX153" fmla="*/ 561520 w 584523"/>
                <a:gd name="connsiteY153" fmla="*/ 140865 h 407344"/>
                <a:gd name="connsiteX154" fmla="*/ 559452 w 584523"/>
                <a:gd name="connsiteY154" fmla="*/ 135308 h 407344"/>
                <a:gd name="connsiteX155" fmla="*/ 559840 w 584523"/>
                <a:gd name="connsiteY155" fmla="*/ 134144 h 407344"/>
                <a:gd name="connsiteX156" fmla="*/ 560615 w 584523"/>
                <a:gd name="connsiteY156" fmla="*/ 133111 h 407344"/>
                <a:gd name="connsiteX157" fmla="*/ 561649 w 584523"/>
                <a:gd name="connsiteY157" fmla="*/ 128717 h 407344"/>
                <a:gd name="connsiteX158" fmla="*/ 562683 w 584523"/>
                <a:gd name="connsiteY158" fmla="*/ 126778 h 407344"/>
                <a:gd name="connsiteX159" fmla="*/ 562941 w 584523"/>
                <a:gd name="connsiteY159" fmla="*/ 124840 h 407344"/>
                <a:gd name="connsiteX160" fmla="*/ 561132 w 584523"/>
                <a:gd name="connsiteY160" fmla="*/ 122514 h 407344"/>
                <a:gd name="connsiteX161" fmla="*/ 560873 w 584523"/>
                <a:gd name="connsiteY161" fmla="*/ 122643 h 407344"/>
                <a:gd name="connsiteX162" fmla="*/ 560098 w 584523"/>
                <a:gd name="connsiteY162" fmla="*/ 122643 h 407344"/>
                <a:gd name="connsiteX163" fmla="*/ 559064 w 584523"/>
                <a:gd name="connsiteY163" fmla="*/ 122126 h 407344"/>
                <a:gd name="connsiteX164" fmla="*/ 558160 w 584523"/>
                <a:gd name="connsiteY164" fmla="*/ 120833 h 407344"/>
                <a:gd name="connsiteX165" fmla="*/ 558030 w 584523"/>
                <a:gd name="connsiteY165" fmla="*/ 119800 h 407344"/>
                <a:gd name="connsiteX166" fmla="*/ 558160 w 584523"/>
                <a:gd name="connsiteY166" fmla="*/ 115406 h 407344"/>
                <a:gd name="connsiteX167" fmla="*/ 558289 w 584523"/>
                <a:gd name="connsiteY167" fmla="*/ 114759 h 407344"/>
                <a:gd name="connsiteX168" fmla="*/ 558806 w 584523"/>
                <a:gd name="connsiteY168" fmla="*/ 113726 h 407344"/>
                <a:gd name="connsiteX169" fmla="*/ 558935 w 584523"/>
                <a:gd name="connsiteY169" fmla="*/ 112950 h 407344"/>
                <a:gd name="connsiteX170" fmla="*/ 558677 w 584523"/>
                <a:gd name="connsiteY170" fmla="*/ 112304 h 407344"/>
                <a:gd name="connsiteX171" fmla="*/ 557643 w 584523"/>
                <a:gd name="connsiteY171" fmla="*/ 111141 h 407344"/>
                <a:gd name="connsiteX172" fmla="*/ 557384 w 584523"/>
                <a:gd name="connsiteY172" fmla="*/ 110495 h 407344"/>
                <a:gd name="connsiteX173" fmla="*/ 557126 w 584523"/>
                <a:gd name="connsiteY173" fmla="*/ 106618 h 407344"/>
                <a:gd name="connsiteX174" fmla="*/ 557384 w 584523"/>
                <a:gd name="connsiteY174" fmla="*/ 105067 h 407344"/>
                <a:gd name="connsiteX175" fmla="*/ 558030 w 584523"/>
                <a:gd name="connsiteY175" fmla="*/ 103258 h 407344"/>
                <a:gd name="connsiteX176" fmla="*/ 559194 w 584523"/>
                <a:gd name="connsiteY176" fmla="*/ 101190 h 407344"/>
                <a:gd name="connsiteX177" fmla="*/ 560486 w 584523"/>
                <a:gd name="connsiteY177" fmla="*/ 99381 h 407344"/>
                <a:gd name="connsiteX178" fmla="*/ 562037 w 584523"/>
                <a:gd name="connsiteY178" fmla="*/ 98218 h 407344"/>
                <a:gd name="connsiteX179" fmla="*/ 562554 w 584523"/>
                <a:gd name="connsiteY179" fmla="*/ 97184 h 407344"/>
                <a:gd name="connsiteX180" fmla="*/ 562683 w 584523"/>
                <a:gd name="connsiteY180" fmla="*/ 96021 h 407344"/>
                <a:gd name="connsiteX181" fmla="*/ 562166 w 584523"/>
                <a:gd name="connsiteY181" fmla="*/ 94987 h 407344"/>
                <a:gd name="connsiteX182" fmla="*/ 561132 w 584523"/>
                <a:gd name="connsiteY182" fmla="*/ 94599 h 407344"/>
                <a:gd name="connsiteX183" fmla="*/ 558677 w 584523"/>
                <a:gd name="connsiteY183" fmla="*/ 95374 h 407344"/>
                <a:gd name="connsiteX184" fmla="*/ 557384 w 584523"/>
                <a:gd name="connsiteY184" fmla="*/ 95374 h 407344"/>
                <a:gd name="connsiteX185" fmla="*/ 552603 w 584523"/>
                <a:gd name="connsiteY185" fmla="*/ 91627 h 407344"/>
                <a:gd name="connsiteX186" fmla="*/ 551827 w 584523"/>
                <a:gd name="connsiteY186" fmla="*/ 90593 h 407344"/>
                <a:gd name="connsiteX187" fmla="*/ 551439 w 584523"/>
                <a:gd name="connsiteY187" fmla="*/ 89171 h 407344"/>
                <a:gd name="connsiteX188" fmla="*/ 551310 w 584523"/>
                <a:gd name="connsiteY188" fmla="*/ 82451 h 407344"/>
                <a:gd name="connsiteX189" fmla="*/ 552215 w 584523"/>
                <a:gd name="connsiteY189" fmla="*/ 74439 h 407344"/>
                <a:gd name="connsiteX190" fmla="*/ 553378 w 584523"/>
                <a:gd name="connsiteY190" fmla="*/ 69786 h 407344"/>
                <a:gd name="connsiteX191" fmla="*/ 558806 w 584523"/>
                <a:gd name="connsiteY191" fmla="*/ 58026 h 407344"/>
                <a:gd name="connsiteX192" fmla="*/ 559452 w 584523"/>
                <a:gd name="connsiteY192" fmla="*/ 55700 h 407344"/>
                <a:gd name="connsiteX193" fmla="*/ 558547 w 584523"/>
                <a:gd name="connsiteY193" fmla="*/ 54666 h 407344"/>
                <a:gd name="connsiteX194" fmla="*/ 557255 w 584523"/>
                <a:gd name="connsiteY194" fmla="*/ 54408 h 407344"/>
                <a:gd name="connsiteX195" fmla="*/ 556480 w 584523"/>
                <a:gd name="connsiteY195" fmla="*/ 53632 h 407344"/>
                <a:gd name="connsiteX196" fmla="*/ 556092 w 584523"/>
                <a:gd name="connsiteY196" fmla="*/ 52469 h 407344"/>
                <a:gd name="connsiteX197" fmla="*/ 555963 w 584523"/>
                <a:gd name="connsiteY197" fmla="*/ 51047 h 407344"/>
                <a:gd name="connsiteX198" fmla="*/ 555704 w 584523"/>
                <a:gd name="connsiteY198" fmla="*/ 49626 h 407344"/>
                <a:gd name="connsiteX199" fmla="*/ 554929 w 584523"/>
                <a:gd name="connsiteY199" fmla="*/ 48592 h 407344"/>
                <a:gd name="connsiteX200" fmla="*/ 554024 w 584523"/>
                <a:gd name="connsiteY200" fmla="*/ 47946 h 407344"/>
                <a:gd name="connsiteX201" fmla="*/ 547433 w 584523"/>
                <a:gd name="connsiteY201" fmla="*/ 44844 h 407344"/>
                <a:gd name="connsiteX202" fmla="*/ 546658 w 584523"/>
                <a:gd name="connsiteY202" fmla="*/ 43681 h 407344"/>
                <a:gd name="connsiteX203" fmla="*/ 545753 w 584523"/>
                <a:gd name="connsiteY203" fmla="*/ 41743 h 407344"/>
                <a:gd name="connsiteX204" fmla="*/ 543685 w 584523"/>
                <a:gd name="connsiteY204" fmla="*/ 40838 h 407344"/>
                <a:gd name="connsiteX205" fmla="*/ 539291 w 584523"/>
                <a:gd name="connsiteY205" fmla="*/ 40062 h 407344"/>
                <a:gd name="connsiteX206" fmla="*/ 539938 w 584523"/>
                <a:gd name="connsiteY206" fmla="*/ 38899 h 407344"/>
                <a:gd name="connsiteX207" fmla="*/ 540972 w 584523"/>
                <a:gd name="connsiteY207" fmla="*/ 38382 h 407344"/>
                <a:gd name="connsiteX208" fmla="*/ 542264 w 584523"/>
                <a:gd name="connsiteY208" fmla="*/ 38253 h 407344"/>
                <a:gd name="connsiteX209" fmla="*/ 543685 w 584523"/>
                <a:gd name="connsiteY209" fmla="*/ 38382 h 407344"/>
                <a:gd name="connsiteX210" fmla="*/ 541488 w 584523"/>
                <a:gd name="connsiteY210" fmla="*/ 35023 h 407344"/>
                <a:gd name="connsiteX211" fmla="*/ 542522 w 584523"/>
                <a:gd name="connsiteY211" fmla="*/ 34893 h 407344"/>
                <a:gd name="connsiteX212" fmla="*/ 543427 w 584523"/>
                <a:gd name="connsiteY212" fmla="*/ 34376 h 407344"/>
                <a:gd name="connsiteX213" fmla="*/ 543815 w 584523"/>
                <a:gd name="connsiteY213" fmla="*/ 33471 h 407344"/>
                <a:gd name="connsiteX214" fmla="*/ 543298 w 584523"/>
                <a:gd name="connsiteY214" fmla="*/ 32308 h 407344"/>
                <a:gd name="connsiteX215" fmla="*/ 542910 w 584523"/>
                <a:gd name="connsiteY215" fmla="*/ 30887 h 407344"/>
                <a:gd name="connsiteX216" fmla="*/ 543815 w 584523"/>
                <a:gd name="connsiteY216" fmla="*/ 27914 h 407344"/>
                <a:gd name="connsiteX217" fmla="*/ 543298 w 584523"/>
                <a:gd name="connsiteY217" fmla="*/ 26493 h 407344"/>
                <a:gd name="connsiteX218" fmla="*/ 543039 w 584523"/>
                <a:gd name="connsiteY218" fmla="*/ 25976 h 407344"/>
                <a:gd name="connsiteX219" fmla="*/ 542910 w 584523"/>
                <a:gd name="connsiteY219" fmla="*/ 25330 h 407344"/>
                <a:gd name="connsiteX220" fmla="*/ 542910 w 584523"/>
                <a:gd name="connsiteY220" fmla="*/ 24038 h 407344"/>
                <a:gd name="connsiteX221" fmla="*/ 542652 w 584523"/>
                <a:gd name="connsiteY221" fmla="*/ 23133 h 407344"/>
                <a:gd name="connsiteX222" fmla="*/ 542005 w 584523"/>
                <a:gd name="connsiteY222" fmla="*/ 22616 h 407344"/>
                <a:gd name="connsiteX223" fmla="*/ 541230 w 584523"/>
                <a:gd name="connsiteY223" fmla="*/ 22228 h 407344"/>
                <a:gd name="connsiteX224" fmla="*/ 540842 w 584523"/>
                <a:gd name="connsiteY224" fmla="*/ 21840 h 407344"/>
                <a:gd name="connsiteX225" fmla="*/ 540455 w 584523"/>
                <a:gd name="connsiteY225" fmla="*/ 20807 h 407344"/>
                <a:gd name="connsiteX226" fmla="*/ 540196 w 584523"/>
                <a:gd name="connsiteY226" fmla="*/ 19644 h 407344"/>
                <a:gd name="connsiteX227" fmla="*/ 540325 w 584523"/>
                <a:gd name="connsiteY227" fmla="*/ 18351 h 407344"/>
                <a:gd name="connsiteX228" fmla="*/ 540972 w 584523"/>
                <a:gd name="connsiteY228" fmla="*/ 16930 h 407344"/>
                <a:gd name="connsiteX229" fmla="*/ 539421 w 584523"/>
                <a:gd name="connsiteY229" fmla="*/ 13957 h 407344"/>
                <a:gd name="connsiteX230" fmla="*/ 539550 w 584523"/>
                <a:gd name="connsiteY230" fmla="*/ 11631 h 407344"/>
                <a:gd name="connsiteX231" fmla="*/ 540325 w 584523"/>
                <a:gd name="connsiteY231" fmla="*/ 10985 h 407344"/>
                <a:gd name="connsiteX232" fmla="*/ 541101 w 584523"/>
                <a:gd name="connsiteY232" fmla="*/ 14216 h 407344"/>
                <a:gd name="connsiteX233" fmla="*/ 542135 w 584523"/>
                <a:gd name="connsiteY233" fmla="*/ 15379 h 407344"/>
                <a:gd name="connsiteX234" fmla="*/ 542393 w 584523"/>
                <a:gd name="connsiteY234" fmla="*/ 16413 h 407344"/>
                <a:gd name="connsiteX235" fmla="*/ 542522 w 584523"/>
                <a:gd name="connsiteY235" fmla="*/ 18868 h 407344"/>
                <a:gd name="connsiteX236" fmla="*/ 543039 w 584523"/>
                <a:gd name="connsiteY236" fmla="*/ 20936 h 407344"/>
                <a:gd name="connsiteX237" fmla="*/ 544461 w 584523"/>
                <a:gd name="connsiteY237" fmla="*/ 24038 h 407344"/>
                <a:gd name="connsiteX238" fmla="*/ 544978 w 584523"/>
                <a:gd name="connsiteY238" fmla="*/ 25847 h 407344"/>
                <a:gd name="connsiteX239" fmla="*/ 545236 w 584523"/>
                <a:gd name="connsiteY239" fmla="*/ 28561 h 407344"/>
                <a:gd name="connsiteX240" fmla="*/ 546270 w 584523"/>
                <a:gd name="connsiteY240" fmla="*/ 30112 h 407344"/>
                <a:gd name="connsiteX241" fmla="*/ 548596 w 584523"/>
                <a:gd name="connsiteY241" fmla="*/ 31145 h 407344"/>
                <a:gd name="connsiteX242" fmla="*/ 551310 w 584523"/>
                <a:gd name="connsiteY242" fmla="*/ 31662 h 407344"/>
                <a:gd name="connsiteX243" fmla="*/ 553378 w 584523"/>
                <a:gd name="connsiteY243" fmla="*/ 31404 h 407344"/>
                <a:gd name="connsiteX244" fmla="*/ 554670 w 584523"/>
                <a:gd name="connsiteY244" fmla="*/ 30112 h 407344"/>
                <a:gd name="connsiteX245" fmla="*/ 555704 w 584523"/>
                <a:gd name="connsiteY245" fmla="*/ 28173 h 407344"/>
                <a:gd name="connsiteX246" fmla="*/ 556867 w 584523"/>
                <a:gd name="connsiteY246" fmla="*/ 26493 h 407344"/>
                <a:gd name="connsiteX247" fmla="*/ 558806 w 584523"/>
                <a:gd name="connsiteY247" fmla="*/ 25718 h 407344"/>
                <a:gd name="connsiteX248" fmla="*/ 561391 w 584523"/>
                <a:gd name="connsiteY248" fmla="*/ 25201 h 407344"/>
                <a:gd name="connsiteX249" fmla="*/ 562424 w 584523"/>
                <a:gd name="connsiteY249" fmla="*/ 23908 h 407344"/>
                <a:gd name="connsiteX250" fmla="*/ 562424 w 584523"/>
                <a:gd name="connsiteY250" fmla="*/ 22099 h 407344"/>
                <a:gd name="connsiteX251" fmla="*/ 560615 w 584523"/>
                <a:gd name="connsiteY251" fmla="*/ 11890 h 407344"/>
                <a:gd name="connsiteX252" fmla="*/ 559581 w 584523"/>
                <a:gd name="connsiteY252" fmla="*/ 9951 h 407344"/>
                <a:gd name="connsiteX253" fmla="*/ 559323 w 584523"/>
                <a:gd name="connsiteY253" fmla="*/ 8271 h 407344"/>
                <a:gd name="connsiteX254" fmla="*/ 560227 w 584523"/>
                <a:gd name="connsiteY254" fmla="*/ 6203 h 407344"/>
                <a:gd name="connsiteX255" fmla="*/ 562166 w 584523"/>
                <a:gd name="connsiteY255" fmla="*/ 2973 h 407344"/>
                <a:gd name="connsiteX256" fmla="*/ 562554 w 584523"/>
                <a:gd name="connsiteY256" fmla="*/ 1163 h 407344"/>
                <a:gd name="connsiteX257" fmla="*/ 562424 w 584523"/>
                <a:gd name="connsiteY257" fmla="*/ 1163 h 407344"/>
                <a:gd name="connsiteX258" fmla="*/ 559581 w 584523"/>
                <a:gd name="connsiteY258" fmla="*/ 1551 h 407344"/>
                <a:gd name="connsiteX259" fmla="*/ 558030 w 584523"/>
                <a:gd name="connsiteY259" fmla="*/ 1292 h 407344"/>
                <a:gd name="connsiteX260" fmla="*/ 555187 w 584523"/>
                <a:gd name="connsiteY260" fmla="*/ 0 h 407344"/>
                <a:gd name="connsiteX261" fmla="*/ 526368 w 584523"/>
                <a:gd name="connsiteY261" fmla="*/ 775 h 407344"/>
                <a:gd name="connsiteX262" fmla="*/ 525851 w 584523"/>
                <a:gd name="connsiteY262" fmla="*/ 1034 h 407344"/>
                <a:gd name="connsiteX263" fmla="*/ 525464 w 584523"/>
                <a:gd name="connsiteY263" fmla="*/ 1551 h 407344"/>
                <a:gd name="connsiteX264" fmla="*/ 525334 w 584523"/>
                <a:gd name="connsiteY264" fmla="*/ 2068 h 407344"/>
                <a:gd name="connsiteX265" fmla="*/ 525076 w 584523"/>
                <a:gd name="connsiteY265" fmla="*/ 3102 h 407344"/>
                <a:gd name="connsiteX266" fmla="*/ 523525 w 584523"/>
                <a:gd name="connsiteY266" fmla="*/ 4136 h 407344"/>
                <a:gd name="connsiteX267" fmla="*/ 521457 w 584523"/>
                <a:gd name="connsiteY267" fmla="*/ 4265 h 407344"/>
                <a:gd name="connsiteX268" fmla="*/ 519906 w 584523"/>
                <a:gd name="connsiteY268" fmla="*/ 4136 h 407344"/>
                <a:gd name="connsiteX269" fmla="*/ 517322 w 584523"/>
                <a:gd name="connsiteY269" fmla="*/ 4911 h 407344"/>
                <a:gd name="connsiteX270" fmla="*/ 515125 w 584523"/>
                <a:gd name="connsiteY270" fmla="*/ 3619 h 407344"/>
                <a:gd name="connsiteX271" fmla="*/ 514220 w 584523"/>
                <a:gd name="connsiteY271" fmla="*/ 3490 h 407344"/>
                <a:gd name="connsiteX272" fmla="*/ 514091 w 584523"/>
                <a:gd name="connsiteY272" fmla="*/ 3619 h 407344"/>
                <a:gd name="connsiteX273" fmla="*/ 513832 w 584523"/>
                <a:gd name="connsiteY273" fmla="*/ 4006 h 407344"/>
                <a:gd name="connsiteX274" fmla="*/ 513574 w 584523"/>
                <a:gd name="connsiteY274" fmla="*/ 4523 h 407344"/>
                <a:gd name="connsiteX275" fmla="*/ 513186 w 584523"/>
                <a:gd name="connsiteY275" fmla="*/ 5040 h 407344"/>
                <a:gd name="connsiteX276" fmla="*/ 512669 w 584523"/>
                <a:gd name="connsiteY276" fmla="*/ 5557 h 407344"/>
                <a:gd name="connsiteX277" fmla="*/ 512023 w 584523"/>
                <a:gd name="connsiteY277" fmla="*/ 5428 h 407344"/>
                <a:gd name="connsiteX278" fmla="*/ 510343 w 584523"/>
                <a:gd name="connsiteY278" fmla="*/ 4653 h 407344"/>
                <a:gd name="connsiteX279" fmla="*/ 509568 w 584523"/>
                <a:gd name="connsiteY279" fmla="*/ 4782 h 407344"/>
                <a:gd name="connsiteX280" fmla="*/ 507758 w 584523"/>
                <a:gd name="connsiteY280" fmla="*/ 5428 h 407344"/>
                <a:gd name="connsiteX281" fmla="*/ 507112 w 584523"/>
                <a:gd name="connsiteY281" fmla="*/ 5428 h 407344"/>
                <a:gd name="connsiteX282" fmla="*/ 506595 w 584523"/>
                <a:gd name="connsiteY282" fmla="*/ 5170 h 407344"/>
                <a:gd name="connsiteX283" fmla="*/ 506466 w 584523"/>
                <a:gd name="connsiteY283" fmla="*/ 4653 h 407344"/>
                <a:gd name="connsiteX284" fmla="*/ 506466 w 584523"/>
                <a:gd name="connsiteY284" fmla="*/ 4136 h 407344"/>
                <a:gd name="connsiteX285" fmla="*/ 506466 w 584523"/>
                <a:gd name="connsiteY285" fmla="*/ 3619 h 407344"/>
                <a:gd name="connsiteX286" fmla="*/ 506466 w 584523"/>
                <a:gd name="connsiteY286" fmla="*/ 3619 h 407344"/>
                <a:gd name="connsiteX287" fmla="*/ 506466 w 584523"/>
                <a:gd name="connsiteY287" fmla="*/ 3490 h 407344"/>
                <a:gd name="connsiteX288" fmla="*/ 506337 w 584523"/>
                <a:gd name="connsiteY288" fmla="*/ 3231 h 407344"/>
                <a:gd name="connsiteX289" fmla="*/ 505820 w 584523"/>
                <a:gd name="connsiteY289" fmla="*/ 2843 h 407344"/>
                <a:gd name="connsiteX290" fmla="*/ 505303 w 584523"/>
                <a:gd name="connsiteY290" fmla="*/ 2843 h 407344"/>
                <a:gd name="connsiteX291" fmla="*/ 504786 w 584523"/>
                <a:gd name="connsiteY291" fmla="*/ 2973 h 407344"/>
                <a:gd name="connsiteX292" fmla="*/ 504269 w 584523"/>
                <a:gd name="connsiteY292" fmla="*/ 3231 h 407344"/>
                <a:gd name="connsiteX293" fmla="*/ 503752 w 584523"/>
                <a:gd name="connsiteY293" fmla="*/ 3619 h 407344"/>
                <a:gd name="connsiteX294" fmla="*/ 503752 w 584523"/>
                <a:gd name="connsiteY294" fmla="*/ 3619 h 407344"/>
                <a:gd name="connsiteX295" fmla="*/ 503623 w 584523"/>
                <a:gd name="connsiteY295" fmla="*/ 3748 h 407344"/>
                <a:gd name="connsiteX296" fmla="*/ 503106 w 584523"/>
                <a:gd name="connsiteY296" fmla="*/ 4006 h 407344"/>
                <a:gd name="connsiteX297" fmla="*/ 502331 w 584523"/>
                <a:gd name="connsiteY297" fmla="*/ 4394 h 407344"/>
                <a:gd name="connsiteX298" fmla="*/ 498712 w 584523"/>
                <a:gd name="connsiteY298" fmla="*/ 5170 h 407344"/>
                <a:gd name="connsiteX299" fmla="*/ 496386 w 584523"/>
                <a:gd name="connsiteY299" fmla="*/ 6074 h 407344"/>
                <a:gd name="connsiteX300" fmla="*/ 494577 w 584523"/>
                <a:gd name="connsiteY300" fmla="*/ 6979 h 407344"/>
                <a:gd name="connsiteX301" fmla="*/ 492121 w 584523"/>
                <a:gd name="connsiteY301" fmla="*/ 8788 h 407344"/>
                <a:gd name="connsiteX302" fmla="*/ 490570 w 584523"/>
                <a:gd name="connsiteY302" fmla="*/ 10468 h 407344"/>
                <a:gd name="connsiteX303" fmla="*/ 487469 w 584523"/>
                <a:gd name="connsiteY303" fmla="*/ 14733 h 407344"/>
                <a:gd name="connsiteX304" fmla="*/ 486694 w 584523"/>
                <a:gd name="connsiteY304" fmla="*/ 15638 h 407344"/>
                <a:gd name="connsiteX305" fmla="*/ 485789 w 584523"/>
                <a:gd name="connsiteY305" fmla="*/ 16413 h 407344"/>
                <a:gd name="connsiteX306" fmla="*/ 477259 w 584523"/>
                <a:gd name="connsiteY306" fmla="*/ 21065 h 407344"/>
                <a:gd name="connsiteX307" fmla="*/ 471961 w 584523"/>
                <a:gd name="connsiteY307" fmla="*/ 22875 h 407344"/>
                <a:gd name="connsiteX308" fmla="*/ 470281 w 584523"/>
                <a:gd name="connsiteY308" fmla="*/ 23133 h 407344"/>
                <a:gd name="connsiteX309" fmla="*/ 469247 w 584523"/>
                <a:gd name="connsiteY309" fmla="*/ 23521 h 407344"/>
                <a:gd name="connsiteX310" fmla="*/ 468601 w 584523"/>
                <a:gd name="connsiteY310" fmla="*/ 23779 h 407344"/>
                <a:gd name="connsiteX311" fmla="*/ 467696 w 584523"/>
                <a:gd name="connsiteY311" fmla="*/ 24555 h 407344"/>
                <a:gd name="connsiteX312" fmla="*/ 466921 w 584523"/>
                <a:gd name="connsiteY312" fmla="*/ 25330 h 407344"/>
                <a:gd name="connsiteX313" fmla="*/ 466404 w 584523"/>
                <a:gd name="connsiteY313" fmla="*/ 26364 h 407344"/>
                <a:gd name="connsiteX314" fmla="*/ 465628 w 584523"/>
                <a:gd name="connsiteY314" fmla="*/ 28819 h 407344"/>
                <a:gd name="connsiteX315" fmla="*/ 464982 w 584523"/>
                <a:gd name="connsiteY315" fmla="*/ 29982 h 407344"/>
                <a:gd name="connsiteX316" fmla="*/ 462398 w 584523"/>
                <a:gd name="connsiteY316" fmla="*/ 30758 h 407344"/>
                <a:gd name="connsiteX317" fmla="*/ 458262 w 584523"/>
                <a:gd name="connsiteY317" fmla="*/ 30887 h 407344"/>
                <a:gd name="connsiteX318" fmla="*/ 455290 w 584523"/>
                <a:gd name="connsiteY318" fmla="*/ 30499 h 407344"/>
                <a:gd name="connsiteX319" fmla="*/ 453739 w 584523"/>
                <a:gd name="connsiteY319" fmla="*/ 30112 h 407344"/>
                <a:gd name="connsiteX320" fmla="*/ 445985 w 584523"/>
                <a:gd name="connsiteY320" fmla="*/ 26622 h 407344"/>
                <a:gd name="connsiteX321" fmla="*/ 439911 w 584523"/>
                <a:gd name="connsiteY321" fmla="*/ 22616 h 407344"/>
                <a:gd name="connsiteX322" fmla="*/ 439265 w 584523"/>
                <a:gd name="connsiteY322" fmla="*/ 21840 h 407344"/>
                <a:gd name="connsiteX323" fmla="*/ 439135 w 584523"/>
                <a:gd name="connsiteY323" fmla="*/ 20548 h 407344"/>
                <a:gd name="connsiteX324" fmla="*/ 438360 w 584523"/>
                <a:gd name="connsiteY324" fmla="*/ 19514 h 407344"/>
                <a:gd name="connsiteX325" fmla="*/ 436939 w 584523"/>
                <a:gd name="connsiteY325" fmla="*/ 18351 h 407344"/>
                <a:gd name="connsiteX326" fmla="*/ 429960 w 584523"/>
                <a:gd name="connsiteY326" fmla="*/ 14216 h 407344"/>
                <a:gd name="connsiteX327" fmla="*/ 428151 w 584523"/>
                <a:gd name="connsiteY327" fmla="*/ 12794 h 407344"/>
                <a:gd name="connsiteX328" fmla="*/ 426600 w 584523"/>
                <a:gd name="connsiteY328" fmla="*/ 11114 h 407344"/>
                <a:gd name="connsiteX329" fmla="*/ 426212 w 584523"/>
                <a:gd name="connsiteY329" fmla="*/ 10727 h 407344"/>
                <a:gd name="connsiteX330" fmla="*/ 424661 w 584523"/>
                <a:gd name="connsiteY330" fmla="*/ 9305 h 407344"/>
                <a:gd name="connsiteX331" fmla="*/ 422852 w 584523"/>
                <a:gd name="connsiteY331" fmla="*/ 8012 h 407344"/>
                <a:gd name="connsiteX332" fmla="*/ 421818 w 584523"/>
                <a:gd name="connsiteY332" fmla="*/ 7496 h 407344"/>
                <a:gd name="connsiteX333" fmla="*/ 420784 w 584523"/>
                <a:gd name="connsiteY333" fmla="*/ 7237 h 407344"/>
                <a:gd name="connsiteX334" fmla="*/ 419104 w 584523"/>
                <a:gd name="connsiteY334" fmla="*/ 7108 h 407344"/>
                <a:gd name="connsiteX335" fmla="*/ 418070 w 584523"/>
                <a:gd name="connsiteY335" fmla="*/ 6849 h 407344"/>
                <a:gd name="connsiteX336" fmla="*/ 417424 w 584523"/>
                <a:gd name="connsiteY336" fmla="*/ 6462 h 407344"/>
                <a:gd name="connsiteX337" fmla="*/ 416907 w 584523"/>
                <a:gd name="connsiteY337" fmla="*/ 5816 h 407344"/>
                <a:gd name="connsiteX338" fmla="*/ 416390 w 584523"/>
                <a:gd name="connsiteY338" fmla="*/ 5428 h 407344"/>
                <a:gd name="connsiteX339" fmla="*/ 415744 w 584523"/>
                <a:gd name="connsiteY339" fmla="*/ 5299 h 407344"/>
                <a:gd name="connsiteX340" fmla="*/ 414194 w 584523"/>
                <a:gd name="connsiteY340" fmla="*/ 5428 h 407344"/>
                <a:gd name="connsiteX341" fmla="*/ 411221 w 584523"/>
                <a:gd name="connsiteY341" fmla="*/ 5040 h 407344"/>
                <a:gd name="connsiteX342" fmla="*/ 409670 w 584523"/>
                <a:gd name="connsiteY342" fmla="*/ 5945 h 407344"/>
                <a:gd name="connsiteX343" fmla="*/ 409153 w 584523"/>
                <a:gd name="connsiteY343" fmla="*/ 6591 h 407344"/>
                <a:gd name="connsiteX344" fmla="*/ 407732 w 584523"/>
                <a:gd name="connsiteY344" fmla="*/ 7108 h 407344"/>
                <a:gd name="connsiteX345" fmla="*/ 398168 w 584523"/>
                <a:gd name="connsiteY345" fmla="*/ 9047 h 407344"/>
                <a:gd name="connsiteX346" fmla="*/ 394550 w 584523"/>
                <a:gd name="connsiteY346" fmla="*/ 8917 h 407344"/>
                <a:gd name="connsiteX347" fmla="*/ 393387 w 584523"/>
                <a:gd name="connsiteY347" fmla="*/ 9176 h 407344"/>
                <a:gd name="connsiteX348" fmla="*/ 391836 w 584523"/>
                <a:gd name="connsiteY348" fmla="*/ 9822 h 407344"/>
                <a:gd name="connsiteX349" fmla="*/ 390931 w 584523"/>
                <a:gd name="connsiteY349" fmla="*/ 10080 h 407344"/>
                <a:gd name="connsiteX350" fmla="*/ 390156 w 584523"/>
                <a:gd name="connsiteY350" fmla="*/ 10210 h 407344"/>
                <a:gd name="connsiteX351" fmla="*/ 388347 w 584523"/>
                <a:gd name="connsiteY351" fmla="*/ 9822 h 407344"/>
                <a:gd name="connsiteX352" fmla="*/ 387701 w 584523"/>
                <a:gd name="connsiteY352" fmla="*/ 9564 h 407344"/>
                <a:gd name="connsiteX353" fmla="*/ 387184 w 584523"/>
                <a:gd name="connsiteY353" fmla="*/ 9305 h 407344"/>
                <a:gd name="connsiteX354" fmla="*/ 386667 w 584523"/>
                <a:gd name="connsiteY354" fmla="*/ 8917 h 407344"/>
                <a:gd name="connsiteX355" fmla="*/ 385762 w 584523"/>
                <a:gd name="connsiteY355" fmla="*/ 8529 h 407344"/>
                <a:gd name="connsiteX356" fmla="*/ 384470 w 584523"/>
                <a:gd name="connsiteY356" fmla="*/ 8271 h 407344"/>
                <a:gd name="connsiteX357" fmla="*/ 381627 w 584523"/>
                <a:gd name="connsiteY357" fmla="*/ 8142 h 407344"/>
                <a:gd name="connsiteX358" fmla="*/ 380205 w 584523"/>
                <a:gd name="connsiteY358" fmla="*/ 8271 h 407344"/>
                <a:gd name="connsiteX359" fmla="*/ 379171 w 584523"/>
                <a:gd name="connsiteY359" fmla="*/ 8529 h 407344"/>
                <a:gd name="connsiteX360" fmla="*/ 378654 w 584523"/>
                <a:gd name="connsiteY360" fmla="*/ 8788 h 407344"/>
                <a:gd name="connsiteX361" fmla="*/ 376716 w 584523"/>
                <a:gd name="connsiteY361" fmla="*/ 10080 h 407344"/>
                <a:gd name="connsiteX362" fmla="*/ 376328 w 584523"/>
                <a:gd name="connsiteY362" fmla="*/ 10468 h 407344"/>
                <a:gd name="connsiteX363" fmla="*/ 375682 w 584523"/>
                <a:gd name="connsiteY363" fmla="*/ 11502 h 407344"/>
                <a:gd name="connsiteX364" fmla="*/ 375553 w 584523"/>
                <a:gd name="connsiteY364" fmla="*/ 12148 h 407344"/>
                <a:gd name="connsiteX365" fmla="*/ 375423 w 584523"/>
                <a:gd name="connsiteY365" fmla="*/ 12794 h 407344"/>
                <a:gd name="connsiteX366" fmla="*/ 375423 w 584523"/>
                <a:gd name="connsiteY366" fmla="*/ 13440 h 407344"/>
                <a:gd name="connsiteX367" fmla="*/ 375553 w 584523"/>
                <a:gd name="connsiteY367" fmla="*/ 14086 h 407344"/>
                <a:gd name="connsiteX368" fmla="*/ 375811 w 584523"/>
                <a:gd name="connsiteY368" fmla="*/ 14733 h 407344"/>
                <a:gd name="connsiteX369" fmla="*/ 375940 w 584523"/>
                <a:gd name="connsiteY369" fmla="*/ 15379 h 407344"/>
                <a:gd name="connsiteX370" fmla="*/ 375811 w 584523"/>
                <a:gd name="connsiteY370" fmla="*/ 16025 h 407344"/>
                <a:gd name="connsiteX371" fmla="*/ 375294 w 584523"/>
                <a:gd name="connsiteY371" fmla="*/ 16801 h 407344"/>
                <a:gd name="connsiteX372" fmla="*/ 374648 w 584523"/>
                <a:gd name="connsiteY372" fmla="*/ 16930 h 407344"/>
                <a:gd name="connsiteX373" fmla="*/ 374002 w 584523"/>
                <a:gd name="connsiteY373" fmla="*/ 16930 h 407344"/>
                <a:gd name="connsiteX374" fmla="*/ 372839 w 584523"/>
                <a:gd name="connsiteY374" fmla="*/ 16413 h 407344"/>
                <a:gd name="connsiteX375" fmla="*/ 372322 w 584523"/>
                <a:gd name="connsiteY375" fmla="*/ 16154 h 407344"/>
                <a:gd name="connsiteX376" fmla="*/ 371934 w 584523"/>
                <a:gd name="connsiteY376" fmla="*/ 15767 h 407344"/>
                <a:gd name="connsiteX377" fmla="*/ 371676 w 584523"/>
                <a:gd name="connsiteY377" fmla="*/ 15250 h 407344"/>
                <a:gd name="connsiteX378" fmla="*/ 371029 w 584523"/>
                <a:gd name="connsiteY378" fmla="*/ 12794 h 407344"/>
                <a:gd name="connsiteX379" fmla="*/ 370771 w 584523"/>
                <a:gd name="connsiteY379" fmla="*/ 12277 h 407344"/>
                <a:gd name="connsiteX380" fmla="*/ 370513 w 584523"/>
                <a:gd name="connsiteY380" fmla="*/ 11760 h 407344"/>
                <a:gd name="connsiteX381" fmla="*/ 370125 w 584523"/>
                <a:gd name="connsiteY381" fmla="*/ 11373 h 407344"/>
                <a:gd name="connsiteX382" fmla="*/ 369608 w 584523"/>
                <a:gd name="connsiteY382" fmla="*/ 10985 h 407344"/>
                <a:gd name="connsiteX383" fmla="*/ 368962 w 584523"/>
                <a:gd name="connsiteY383" fmla="*/ 10727 h 407344"/>
                <a:gd name="connsiteX384" fmla="*/ 368057 w 584523"/>
                <a:gd name="connsiteY384" fmla="*/ 10468 h 407344"/>
                <a:gd name="connsiteX385" fmla="*/ 364568 w 584523"/>
                <a:gd name="connsiteY385" fmla="*/ 10080 h 407344"/>
                <a:gd name="connsiteX386" fmla="*/ 363792 w 584523"/>
                <a:gd name="connsiteY386" fmla="*/ 9822 h 407344"/>
                <a:gd name="connsiteX387" fmla="*/ 363275 w 584523"/>
                <a:gd name="connsiteY387" fmla="*/ 9564 h 407344"/>
                <a:gd name="connsiteX388" fmla="*/ 362888 w 584523"/>
                <a:gd name="connsiteY388" fmla="*/ 9176 h 407344"/>
                <a:gd name="connsiteX389" fmla="*/ 362629 w 584523"/>
                <a:gd name="connsiteY389" fmla="*/ 8659 h 407344"/>
                <a:gd name="connsiteX390" fmla="*/ 362500 w 584523"/>
                <a:gd name="connsiteY390" fmla="*/ 8012 h 407344"/>
                <a:gd name="connsiteX391" fmla="*/ 362112 w 584523"/>
                <a:gd name="connsiteY391" fmla="*/ 7366 h 407344"/>
                <a:gd name="connsiteX392" fmla="*/ 361466 w 584523"/>
                <a:gd name="connsiteY392" fmla="*/ 6849 h 407344"/>
                <a:gd name="connsiteX393" fmla="*/ 359528 w 584523"/>
                <a:gd name="connsiteY393" fmla="*/ 6333 h 407344"/>
                <a:gd name="connsiteX394" fmla="*/ 352549 w 584523"/>
                <a:gd name="connsiteY394" fmla="*/ 6591 h 407344"/>
                <a:gd name="connsiteX395" fmla="*/ 351515 w 584523"/>
                <a:gd name="connsiteY395" fmla="*/ 6333 h 407344"/>
                <a:gd name="connsiteX396" fmla="*/ 350481 w 584523"/>
                <a:gd name="connsiteY396" fmla="*/ 5557 h 407344"/>
                <a:gd name="connsiteX397" fmla="*/ 349706 w 584523"/>
                <a:gd name="connsiteY397" fmla="*/ 5170 h 407344"/>
                <a:gd name="connsiteX398" fmla="*/ 348414 w 584523"/>
                <a:gd name="connsiteY398" fmla="*/ 4653 h 407344"/>
                <a:gd name="connsiteX399" fmla="*/ 347638 w 584523"/>
                <a:gd name="connsiteY399" fmla="*/ 4653 h 407344"/>
                <a:gd name="connsiteX400" fmla="*/ 347121 w 584523"/>
                <a:gd name="connsiteY400" fmla="*/ 4911 h 407344"/>
                <a:gd name="connsiteX401" fmla="*/ 346992 w 584523"/>
                <a:gd name="connsiteY401" fmla="*/ 5428 h 407344"/>
                <a:gd name="connsiteX402" fmla="*/ 347121 w 584523"/>
                <a:gd name="connsiteY402" fmla="*/ 5945 h 407344"/>
                <a:gd name="connsiteX403" fmla="*/ 347509 w 584523"/>
                <a:gd name="connsiteY403" fmla="*/ 6333 h 407344"/>
                <a:gd name="connsiteX404" fmla="*/ 348026 w 584523"/>
                <a:gd name="connsiteY404" fmla="*/ 6720 h 407344"/>
                <a:gd name="connsiteX405" fmla="*/ 350223 w 584523"/>
                <a:gd name="connsiteY405" fmla="*/ 7754 h 407344"/>
                <a:gd name="connsiteX406" fmla="*/ 350740 w 584523"/>
                <a:gd name="connsiteY406" fmla="*/ 8142 h 407344"/>
                <a:gd name="connsiteX407" fmla="*/ 350998 w 584523"/>
                <a:gd name="connsiteY407" fmla="*/ 8529 h 407344"/>
                <a:gd name="connsiteX408" fmla="*/ 351127 w 584523"/>
                <a:gd name="connsiteY408" fmla="*/ 9047 h 407344"/>
                <a:gd name="connsiteX409" fmla="*/ 350352 w 584523"/>
                <a:gd name="connsiteY409" fmla="*/ 9564 h 407344"/>
                <a:gd name="connsiteX410" fmla="*/ 348931 w 584523"/>
                <a:gd name="connsiteY410" fmla="*/ 9951 h 407344"/>
                <a:gd name="connsiteX411" fmla="*/ 344020 w 584523"/>
                <a:gd name="connsiteY411" fmla="*/ 10727 h 407344"/>
                <a:gd name="connsiteX412" fmla="*/ 342857 w 584523"/>
                <a:gd name="connsiteY412" fmla="*/ 11114 h 407344"/>
                <a:gd name="connsiteX413" fmla="*/ 342469 w 584523"/>
                <a:gd name="connsiteY413" fmla="*/ 11373 h 407344"/>
                <a:gd name="connsiteX414" fmla="*/ 341693 w 584523"/>
                <a:gd name="connsiteY414" fmla="*/ 12277 h 407344"/>
                <a:gd name="connsiteX415" fmla="*/ 339884 w 584523"/>
                <a:gd name="connsiteY415" fmla="*/ 18610 h 407344"/>
                <a:gd name="connsiteX416" fmla="*/ 338721 w 584523"/>
                <a:gd name="connsiteY416" fmla="*/ 21324 h 407344"/>
                <a:gd name="connsiteX417" fmla="*/ 337946 w 584523"/>
                <a:gd name="connsiteY417" fmla="*/ 22487 h 407344"/>
                <a:gd name="connsiteX418" fmla="*/ 336136 w 584523"/>
                <a:gd name="connsiteY418" fmla="*/ 24425 h 407344"/>
                <a:gd name="connsiteX419" fmla="*/ 333810 w 584523"/>
                <a:gd name="connsiteY419" fmla="*/ 27397 h 407344"/>
                <a:gd name="connsiteX420" fmla="*/ 333164 w 584523"/>
                <a:gd name="connsiteY420" fmla="*/ 28690 h 407344"/>
                <a:gd name="connsiteX421" fmla="*/ 332776 w 584523"/>
                <a:gd name="connsiteY421" fmla="*/ 29982 h 407344"/>
                <a:gd name="connsiteX422" fmla="*/ 332389 w 584523"/>
                <a:gd name="connsiteY422" fmla="*/ 31404 h 407344"/>
                <a:gd name="connsiteX423" fmla="*/ 331872 w 584523"/>
                <a:gd name="connsiteY423" fmla="*/ 31921 h 407344"/>
                <a:gd name="connsiteX424" fmla="*/ 331484 w 584523"/>
                <a:gd name="connsiteY424" fmla="*/ 31921 h 407344"/>
                <a:gd name="connsiteX425" fmla="*/ 330709 w 584523"/>
                <a:gd name="connsiteY425" fmla="*/ 31145 h 407344"/>
                <a:gd name="connsiteX426" fmla="*/ 329675 w 584523"/>
                <a:gd name="connsiteY426" fmla="*/ 30499 h 407344"/>
                <a:gd name="connsiteX427" fmla="*/ 329028 w 584523"/>
                <a:gd name="connsiteY427" fmla="*/ 30241 h 407344"/>
                <a:gd name="connsiteX428" fmla="*/ 328382 w 584523"/>
                <a:gd name="connsiteY428" fmla="*/ 30112 h 407344"/>
                <a:gd name="connsiteX429" fmla="*/ 327736 w 584523"/>
                <a:gd name="connsiteY429" fmla="*/ 30112 h 407344"/>
                <a:gd name="connsiteX430" fmla="*/ 326444 w 584523"/>
                <a:gd name="connsiteY430" fmla="*/ 30370 h 407344"/>
                <a:gd name="connsiteX431" fmla="*/ 325410 w 584523"/>
                <a:gd name="connsiteY431" fmla="*/ 31016 h 407344"/>
                <a:gd name="connsiteX432" fmla="*/ 321791 w 584523"/>
                <a:gd name="connsiteY432" fmla="*/ 33730 h 407344"/>
                <a:gd name="connsiteX433" fmla="*/ 321275 w 584523"/>
                <a:gd name="connsiteY433" fmla="*/ 33988 h 407344"/>
                <a:gd name="connsiteX434" fmla="*/ 320628 w 584523"/>
                <a:gd name="connsiteY434" fmla="*/ 34118 h 407344"/>
                <a:gd name="connsiteX435" fmla="*/ 319982 w 584523"/>
                <a:gd name="connsiteY435" fmla="*/ 34118 h 407344"/>
                <a:gd name="connsiteX436" fmla="*/ 319336 w 584523"/>
                <a:gd name="connsiteY436" fmla="*/ 33988 h 407344"/>
                <a:gd name="connsiteX437" fmla="*/ 318690 w 584523"/>
                <a:gd name="connsiteY437" fmla="*/ 33730 h 407344"/>
                <a:gd name="connsiteX438" fmla="*/ 317139 w 584523"/>
                <a:gd name="connsiteY438" fmla="*/ 33471 h 407344"/>
                <a:gd name="connsiteX439" fmla="*/ 316105 w 584523"/>
                <a:gd name="connsiteY439" fmla="*/ 33730 h 407344"/>
                <a:gd name="connsiteX440" fmla="*/ 315588 w 584523"/>
                <a:gd name="connsiteY440" fmla="*/ 34118 h 407344"/>
                <a:gd name="connsiteX441" fmla="*/ 315330 w 584523"/>
                <a:gd name="connsiteY441" fmla="*/ 34893 h 407344"/>
                <a:gd name="connsiteX442" fmla="*/ 315071 w 584523"/>
                <a:gd name="connsiteY442" fmla="*/ 35669 h 407344"/>
                <a:gd name="connsiteX443" fmla="*/ 314554 w 584523"/>
                <a:gd name="connsiteY443" fmla="*/ 36573 h 407344"/>
                <a:gd name="connsiteX444" fmla="*/ 313908 w 584523"/>
                <a:gd name="connsiteY444" fmla="*/ 36832 h 407344"/>
                <a:gd name="connsiteX445" fmla="*/ 313391 w 584523"/>
                <a:gd name="connsiteY445" fmla="*/ 36702 h 407344"/>
                <a:gd name="connsiteX446" fmla="*/ 313133 w 584523"/>
                <a:gd name="connsiteY446" fmla="*/ 36186 h 407344"/>
                <a:gd name="connsiteX447" fmla="*/ 313004 w 584523"/>
                <a:gd name="connsiteY447" fmla="*/ 34764 h 407344"/>
                <a:gd name="connsiteX448" fmla="*/ 312874 w 584523"/>
                <a:gd name="connsiteY448" fmla="*/ 34118 h 407344"/>
                <a:gd name="connsiteX449" fmla="*/ 312616 w 584523"/>
                <a:gd name="connsiteY449" fmla="*/ 33601 h 407344"/>
                <a:gd name="connsiteX450" fmla="*/ 312228 w 584523"/>
                <a:gd name="connsiteY450" fmla="*/ 33213 h 407344"/>
                <a:gd name="connsiteX451" fmla="*/ 311711 w 584523"/>
                <a:gd name="connsiteY451" fmla="*/ 32825 h 407344"/>
                <a:gd name="connsiteX452" fmla="*/ 310936 w 584523"/>
                <a:gd name="connsiteY452" fmla="*/ 32696 h 407344"/>
                <a:gd name="connsiteX453" fmla="*/ 309902 w 584523"/>
                <a:gd name="connsiteY453" fmla="*/ 32825 h 407344"/>
                <a:gd name="connsiteX454" fmla="*/ 309256 w 584523"/>
                <a:gd name="connsiteY454" fmla="*/ 33342 h 407344"/>
                <a:gd name="connsiteX455" fmla="*/ 308739 w 584523"/>
                <a:gd name="connsiteY455" fmla="*/ 33988 h 407344"/>
                <a:gd name="connsiteX456" fmla="*/ 308222 w 584523"/>
                <a:gd name="connsiteY456" fmla="*/ 35023 h 407344"/>
                <a:gd name="connsiteX457" fmla="*/ 307705 w 584523"/>
                <a:gd name="connsiteY457" fmla="*/ 35281 h 407344"/>
                <a:gd name="connsiteX458" fmla="*/ 307188 w 584523"/>
                <a:gd name="connsiteY458" fmla="*/ 35152 h 407344"/>
                <a:gd name="connsiteX459" fmla="*/ 306800 w 584523"/>
                <a:gd name="connsiteY459" fmla="*/ 34764 h 407344"/>
                <a:gd name="connsiteX460" fmla="*/ 305767 w 584523"/>
                <a:gd name="connsiteY460" fmla="*/ 33342 h 407344"/>
                <a:gd name="connsiteX461" fmla="*/ 304991 w 584523"/>
                <a:gd name="connsiteY461" fmla="*/ 32567 h 407344"/>
                <a:gd name="connsiteX462" fmla="*/ 304474 w 584523"/>
                <a:gd name="connsiteY462" fmla="*/ 32308 h 407344"/>
                <a:gd name="connsiteX463" fmla="*/ 304086 w 584523"/>
                <a:gd name="connsiteY463" fmla="*/ 32179 h 407344"/>
                <a:gd name="connsiteX464" fmla="*/ 303828 w 584523"/>
                <a:gd name="connsiteY464" fmla="*/ 32050 h 407344"/>
                <a:gd name="connsiteX465" fmla="*/ 303699 w 584523"/>
                <a:gd name="connsiteY465" fmla="*/ 32050 h 407344"/>
                <a:gd name="connsiteX466" fmla="*/ 303570 w 584523"/>
                <a:gd name="connsiteY466" fmla="*/ 32050 h 407344"/>
                <a:gd name="connsiteX467" fmla="*/ 301890 w 584523"/>
                <a:gd name="connsiteY467" fmla="*/ 32308 h 407344"/>
                <a:gd name="connsiteX468" fmla="*/ 300209 w 584523"/>
                <a:gd name="connsiteY468" fmla="*/ 32955 h 407344"/>
                <a:gd name="connsiteX469" fmla="*/ 299176 w 584523"/>
                <a:gd name="connsiteY469" fmla="*/ 33084 h 407344"/>
                <a:gd name="connsiteX470" fmla="*/ 298271 w 584523"/>
                <a:gd name="connsiteY470" fmla="*/ 33084 h 407344"/>
                <a:gd name="connsiteX471" fmla="*/ 297754 w 584523"/>
                <a:gd name="connsiteY471" fmla="*/ 32825 h 407344"/>
                <a:gd name="connsiteX472" fmla="*/ 297108 w 584523"/>
                <a:gd name="connsiteY472" fmla="*/ 32179 h 407344"/>
                <a:gd name="connsiteX473" fmla="*/ 296720 w 584523"/>
                <a:gd name="connsiteY473" fmla="*/ 31921 h 407344"/>
                <a:gd name="connsiteX474" fmla="*/ 296074 w 584523"/>
                <a:gd name="connsiteY474" fmla="*/ 31792 h 407344"/>
                <a:gd name="connsiteX475" fmla="*/ 295557 w 584523"/>
                <a:gd name="connsiteY475" fmla="*/ 31921 h 407344"/>
                <a:gd name="connsiteX476" fmla="*/ 295040 w 584523"/>
                <a:gd name="connsiteY476" fmla="*/ 32179 h 407344"/>
                <a:gd name="connsiteX477" fmla="*/ 293877 w 584523"/>
                <a:gd name="connsiteY477" fmla="*/ 33342 h 407344"/>
                <a:gd name="connsiteX478" fmla="*/ 292714 w 584523"/>
                <a:gd name="connsiteY478" fmla="*/ 35023 h 407344"/>
                <a:gd name="connsiteX479" fmla="*/ 292068 w 584523"/>
                <a:gd name="connsiteY479" fmla="*/ 35798 h 407344"/>
                <a:gd name="connsiteX480" fmla="*/ 290775 w 584523"/>
                <a:gd name="connsiteY480" fmla="*/ 36961 h 407344"/>
                <a:gd name="connsiteX481" fmla="*/ 289871 w 584523"/>
                <a:gd name="connsiteY481" fmla="*/ 37478 h 407344"/>
                <a:gd name="connsiteX482" fmla="*/ 289095 w 584523"/>
                <a:gd name="connsiteY482" fmla="*/ 37866 h 407344"/>
                <a:gd name="connsiteX483" fmla="*/ 282763 w 584523"/>
                <a:gd name="connsiteY483" fmla="*/ 39675 h 407344"/>
                <a:gd name="connsiteX484" fmla="*/ 281600 w 584523"/>
                <a:gd name="connsiteY484" fmla="*/ 40321 h 407344"/>
                <a:gd name="connsiteX485" fmla="*/ 280824 w 584523"/>
                <a:gd name="connsiteY485" fmla="*/ 40967 h 407344"/>
                <a:gd name="connsiteX486" fmla="*/ 279532 w 584523"/>
                <a:gd name="connsiteY486" fmla="*/ 42389 h 407344"/>
                <a:gd name="connsiteX487" fmla="*/ 278111 w 584523"/>
                <a:gd name="connsiteY487" fmla="*/ 43681 h 407344"/>
                <a:gd name="connsiteX488" fmla="*/ 277335 w 584523"/>
                <a:gd name="connsiteY488" fmla="*/ 44456 h 407344"/>
                <a:gd name="connsiteX489" fmla="*/ 276818 w 584523"/>
                <a:gd name="connsiteY489" fmla="*/ 45103 h 407344"/>
                <a:gd name="connsiteX490" fmla="*/ 276560 w 584523"/>
                <a:gd name="connsiteY490" fmla="*/ 45749 h 407344"/>
                <a:gd name="connsiteX491" fmla="*/ 276431 w 584523"/>
                <a:gd name="connsiteY491" fmla="*/ 46395 h 407344"/>
                <a:gd name="connsiteX492" fmla="*/ 276043 w 584523"/>
                <a:gd name="connsiteY492" fmla="*/ 49367 h 407344"/>
                <a:gd name="connsiteX493" fmla="*/ 275655 w 584523"/>
                <a:gd name="connsiteY493" fmla="*/ 50272 h 407344"/>
                <a:gd name="connsiteX494" fmla="*/ 275138 w 584523"/>
                <a:gd name="connsiteY494" fmla="*/ 51306 h 407344"/>
                <a:gd name="connsiteX495" fmla="*/ 273200 w 584523"/>
                <a:gd name="connsiteY495" fmla="*/ 53632 h 407344"/>
                <a:gd name="connsiteX496" fmla="*/ 272683 w 584523"/>
                <a:gd name="connsiteY496" fmla="*/ 54278 h 407344"/>
                <a:gd name="connsiteX497" fmla="*/ 272424 w 584523"/>
                <a:gd name="connsiteY497" fmla="*/ 54924 h 407344"/>
                <a:gd name="connsiteX498" fmla="*/ 272295 w 584523"/>
                <a:gd name="connsiteY498" fmla="*/ 55571 h 407344"/>
                <a:gd name="connsiteX499" fmla="*/ 272295 w 584523"/>
                <a:gd name="connsiteY499" fmla="*/ 56217 h 407344"/>
                <a:gd name="connsiteX500" fmla="*/ 272424 w 584523"/>
                <a:gd name="connsiteY500" fmla="*/ 56734 h 407344"/>
                <a:gd name="connsiteX501" fmla="*/ 273071 w 584523"/>
                <a:gd name="connsiteY501" fmla="*/ 57638 h 407344"/>
                <a:gd name="connsiteX502" fmla="*/ 274363 w 584523"/>
                <a:gd name="connsiteY502" fmla="*/ 58801 h 407344"/>
                <a:gd name="connsiteX503" fmla="*/ 274750 w 584523"/>
                <a:gd name="connsiteY503" fmla="*/ 59318 h 407344"/>
                <a:gd name="connsiteX504" fmla="*/ 274880 w 584523"/>
                <a:gd name="connsiteY504" fmla="*/ 59965 h 407344"/>
                <a:gd name="connsiteX505" fmla="*/ 274750 w 584523"/>
                <a:gd name="connsiteY505" fmla="*/ 60740 h 407344"/>
                <a:gd name="connsiteX506" fmla="*/ 273846 w 584523"/>
                <a:gd name="connsiteY506" fmla="*/ 62420 h 407344"/>
                <a:gd name="connsiteX507" fmla="*/ 273587 w 584523"/>
                <a:gd name="connsiteY507" fmla="*/ 62937 h 407344"/>
                <a:gd name="connsiteX508" fmla="*/ 273587 w 584523"/>
                <a:gd name="connsiteY508" fmla="*/ 63325 h 407344"/>
                <a:gd name="connsiteX509" fmla="*/ 276947 w 584523"/>
                <a:gd name="connsiteY509" fmla="*/ 69269 h 407344"/>
                <a:gd name="connsiteX510" fmla="*/ 277723 w 584523"/>
                <a:gd name="connsiteY510" fmla="*/ 71595 h 407344"/>
                <a:gd name="connsiteX511" fmla="*/ 278111 w 584523"/>
                <a:gd name="connsiteY511" fmla="*/ 72888 h 407344"/>
                <a:gd name="connsiteX512" fmla="*/ 278240 w 584523"/>
                <a:gd name="connsiteY512" fmla="*/ 74309 h 407344"/>
                <a:gd name="connsiteX513" fmla="*/ 277981 w 584523"/>
                <a:gd name="connsiteY513" fmla="*/ 75989 h 407344"/>
                <a:gd name="connsiteX514" fmla="*/ 276431 w 584523"/>
                <a:gd name="connsiteY514" fmla="*/ 78703 h 407344"/>
                <a:gd name="connsiteX515" fmla="*/ 272941 w 584523"/>
                <a:gd name="connsiteY515" fmla="*/ 81417 h 407344"/>
                <a:gd name="connsiteX516" fmla="*/ 272166 w 584523"/>
                <a:gd name="connsiteY516" fmla="*/ 81805 h 407344"/>
                <a:gd name="connsiteX517" fmla="*/ 271132 w 584523"/>
                <a:gd name="connsiteY517" fmla="*/ 82063 h 407344"/>
                <a:gd name="connsiteX518" fmla="*/ 267772 w 584523"/>
                <a:gd name="connsiteY518" fmla="*/ 82580 h 407344"/>
                <a:gd name="connsiteX519" fmla="*/ 261827 w 584523"/>
                <a:gd name="connsiteY519" fmla="*/ 84261 h 407344"/>
                <a:gd name="connsiteX520" fmla="*/ 260664 w 584523"/>
                <a:gd name="connsiteY520" fmla="*/ 84777 h 407344"/>
                <a:gd name="connsiteX521" fmla="*/ 260276 w 584523"/>
                <a:gd name="connsiteY521" fmla="*/ 85294 h 407344"/>
                <a:gd name="connsiteX522" fmla="*/ 259889 w 584523"/>
                <a:gd name="connsiteY522" fmla="*/ 86716 h 407344"/>
                <a:gd name="connsiteX523" fmla="*/ 259372 w 584523"/>
                <a:gd name="connsiteY523" fmla="*/ 87620 h 407344"/>
                <a:gd name="connsiteX524" fmla="*/ 258855 w 584523"/>
                <a:gd name="connsiteY524" fmla="*/ 87750 h 407344"/>
                <a:gd name="connsiteX525" fmla="*/ 258338 w 584523"/>
                <a:gd name="connsiteY525" fmla="*/ 87491 h 407344"/>
                <a:gd name="connsiteX526" fmla="*/ 257950 w 584523"/>
                <a:gd name="connsiteY526" fmla="*/ 87104 h 407344"/>
                <a:gd name="connsiteX527" fmla="*/ 256787 w 584523"/>
                <a:gd name="connsiteY527" fmla="*/ 85036 h 407344"/>
                <a:gd name="connsiteX528" fmla="*/ 256141 w 584523"/>
                <a:gd name="connsiteY528" fmla="*/ 83356 h 407344"/>
                <a:gd name="connsiteX529" fmla="*/ 255495 w 584523"/>
                <a:gd name="connsiteY529" fmla="*/ 82322 h 407344"/>
                <a:gd name="connsiteX530" fmla="*/ 255107 w 584523"/>
                <a:gd name="connsiteY530" fmla="*/ 81805 h 407344"/>
                <a:gd name="connsiteX531" fmla="*/ 254331 w 584523"/>
                <a:gd name="connsiteY531" fmla="*/ 81030 h 407344"/>
                <a:gd name="connsiteX532" fmla="*/ 252781 w 584523"/>
                <a:gd name="connsiteY532" fmla="*/ 80125 h 407344"/>
                <a:gd name="connsiteX533" fmla="*/ 252264 w 584523"/>
                <a:gd name="connsiteY533" fmla="*/ 79737 h 407344"/>
                <a:gd name="connsiteX534" fmla="*/ 251876 w 584523"/>
                <a:gd name="connsiteY534" fmla="*/ 79220 h 407344"/>
                <a:gd name="connsiteX535" fmla="*/ 251618 w 584523"/>
                <a:gd name="connsiteY535" fmla="*/ 78703 h 407344"/>
                <a:gd name="connsiteX536" fmla="*/ 251488 w 584523"/>
                <a:gd name="connsiteY536" fmla="*/ 78187 h 407344"/>
                <a:gd name="connsiteX537" fmla="*/ 251488 w 584523"/>
                <a:gd name="connsiteY537" fmla="*/ 77023 h 407344"/>
                <a:gd name="connsiteX538" fmla="*/ 251359 w 584523"/>
                <a:gd name="connsiteY538" fmla="*/ 76506 h 407344"/>
                <a:gd name="connsiteX539" fmla="*/ 251101 w 584523"/>
                <a:gd name="connsiteY539" fmla="*/ 75989 h 407344"/>
                <a:gd name="connsiteX540" fmla="*/ 250584 w 584523"/>
                <a:gd name="connsiteY540" fmla="*/ 75472 h 407344"/>
                <a:gd name="connsiteX541" fmla="*/ 249808 w 584523"/>
                <a:gd name="connsiteY541" fmla="*/ 75214 h 407344"/>
                <a:gd name="connsiteX542" fmla="*/ 249679 w 584523"/>
                <a:gd name="connsiteY542" fmla="*/ 75214 h 407344"/>
                <a:gd name="connsiteX543" fmla="*/ 249550 w 584523"/>
                <a:gd name="connsiteY543" fmla="*/ 75214 h 407344"/>
                <a:gd name="connsiteX544" fmla="*/ 237790 w 584523"/>
                <a:gd name="connsiteY544" fmla="*/ 75731 h 407344"/>
                <a:gd name="connsiteX545" fmla="*/ 236627 w 584523"/>
                <a:gd name="connsiteY545" fmla="*/ 75472 h 407344"/>
                <a:gd name="connsiteX546" fmla="*/ 235980 w 584523"/>
                <a:gd name="connsiteY546" fmla="*/ 75085 h 407344"/>
                <a:gd name="connsiteX547" fmla="*/ 235593 w 584523"/>
                <a:gd name="connsiteY547" fmla="*/ 74439 h 407344"/>
                <a:gd name="connsiteX548" fmla="*/ 235076 w 584523"/>
                <a:gd name="connsiteY548" fmla="*/ 73793 h 407344"/>
                <a:gd name="connsiteX549" fmla="*/ 234042 w 584523"/>
                <a:gd name="connsiteY549" fmla="*/ 73276 h 407344"/>
                <a:gd name="connsiteX550" fmla="*/ 233267 w 584523"/>
                <a:gd name="connsiteY550" fmla="*/ 73146 h 407344"/>
                <a:gd name="connsiteX551" fmla="*/ 232620 w 584523"/>
                <a:gd name="connsiteY551" fmla="*/ 73276 h 407344"/>
                <a:gd name="connsiteX552" fmla="*/ 232103 w 584523"/>
                <a:gd name="connsiteY552" fmla="*/ 73534 h 407344"/>
                <a:gd name="connsiteX553" fmla="*/ 230165 w 584523"/>
                <a:gd name="connsiteY553" fmla="*/ 74826 h 407344"/>
                <a:gd name="connsiteX554" fmla="*/ 229002 w 584523"/>
                <a:gd name="connsiteY554" fmla="*/ 75214 h 407344"/>
                <a:gd name="connsiteX555" fmla="*/ 227580 w 584523"/>
                <a:gd name="connsiteY555" fmla="*/ 75472 h 407344"/>
                <a:gd name="connsiteX556" fmla="*/ 209617 w 584523"/>
                <a:gd name="connsiteY556" fmla="*/ 75214 h 407344"/>
                <a:gd name="connsiteX557" fmla="*/ 202509 w 584523"/>
                <a:gd name="connsiteY557" fmla="*/ 73146 h 407344"/>
                <a:gd name="connsiteX558" fmla="*/ 200312 w 584523"/>
                <a:gd name="connsiteY558" fmla="*/ 72759 h 407344"/>
                <a:gd name="connsiteX559" fmla="*/ 196564 w 584523"/>
                <a:gd name="connsiteY559" fmla="*/ 73017 h 407344"/>
                <a:gd name="connsiteX560" fmla="*/ 195530 w 584523"/>
                <a:gd name="connsiteY560" fmla="*/ 73017 h 407344"/>
                <a:gd name="connsiteX561" fmla="*/ 194755 w 584523"/>
                <a:gd name="connsiteY561" fmla="*/ 72759 h 407344"/>
                <a:gd name="connsiteX562" fmla="*/ 194238 w 584523"/>
                <a:gd name="connsiteY562" fmla="*/ 72371 h 407344"/>
                <a:gd name="connsiteX563" fmla="*/ 192300 w 584523"/>
                <a:gd name="connsiteY563" fmla="*/ 70562 h 407344"/>
                <a:gd name="connsiteX564" fmla="*/ 186096 w 584523"/>
                <a:gd name="connsiteY564" fmla="*/ 66556 h 407344"/>
                <a:gd name="connsiteX565" fmla="*/ 184287 w 584523"/>
                <a:gd name="connsiteY565" fmla="*/ 65004 h 407344"/>
                <a:gd name="connsiteX566" fmla="*/ 184029 w 584523"/>
                <a:gd name="connsiteY566" fmla="*/ 64488 h 407344"/>
                <a:gd name="connsiteX567" fmla="*/ 183382 w 584523"/>
                <a:gd name="connsiteY567" fmla="*/ 63066 h 407344"/>
                <a:gd name="connsiteX568" fmla="*/ 182865 w 584523"/>
                <a:gd name="connsiteY568" fmla="*/ 62032 h 407344"/>
                <a:gd name="connsiteX569" fmla="*/ 182349 w 584523"/>
                <a:gd name="connsiteY569" fmla="*/ 61515 h 407344"/>
                <a:gd name="connsiteX570" fmla="*/ 177179 w 584523"/>
                <a:gd name="connsiteY570" fmla="*/ 58414 h 407344"/>
                <a:gd name="connsiteX571" fmla="*/ 175887 w 584523"/>
                <a:gd name="connsiteY571" fmla="*/ 57767 h 407344"/>
                <a:gd name="connsiteX572" fmla="*/ 174853 w 584523"/>
                <a:gd name="connsiteY572" fmla="*/ 57380 h 407344"/>
                <a:gd name="connsiteX573" fmla="*/ 174207 w 584523"/>
                <a:gd name="connsiteY573" fmla="*/ 57380 h 407344"/>
                <a:gd name="connsiteX574" fmla="*/ 172010 w 584523"/>
                <a:gd name="connsiteY574" fmla="*/ 57638 h 407344"/>
                <a:gd name="connsiteX575" fmla="*/ 169425 w 584523"/>
                <a:gd name="connsiteY575" fmla="*/ 57251 h 407344"/>
                <a:gd name="connsiteX576" fmla="*/ 166582 w 584523"/>
                <a:gd name="connsiteY576" fmla="*/ 56346 h 407344"/>
                <a:gd name="connsiteX577" fmla="*/ 163868 w 584523"/>
                <a:gd name="connsiteY577" fmla="*/ 55829 h 407344"/>
                <a:gd name="connsiteX578" fmla="*/ 160508 w 584523"/>
                <a:gd name="connsiteY578" fmla="*/ 56475 h 407344"/>
                <a:gd name="connsiteX579" fmla="*/ 159474 w 584523"/>
                <a:gd name="connsiteY579" fmla="*/ 56475 h 407344"/>
                <a:gd name="connsiteX580" fmla="*/ 158182 w 584523"/>
                <a:gd name="connsiteY580" fmla="*/ 56346 h 407344"/>
                <a:gd name="connsiteX581" fmla="*/ 153012 w 584523"/>
                <a:gd name="connsiteY581" fmla="*/ 55054 h 407344"/>
                <a:gd name="connsiteX582" fmla="*/ 147326 w 584523"/>
                <a:gd name="connsiteY582" fmla="*/ 55054 h 407344"/>
                <a:gd name="connsiteX583" fmla="*/ 146551 w 584523"/>
                <a:gd name="connsiteY583" fmla="*/ 54924 h 407344"/>
                <a:gd name="connsiteX584" fmla="*/ 145905 w 584523"/>
                <a:gd name="connsiteY584" fmla="*/ 54666 h 407344"/>
                <a:gd name="connsiteX585" fmla="*/ 142157 w 584523"/>
                <a:gd name="connsiteY585" fmla="*/ 52598 h 407344"/>
                <a:gd name="connsiteX586" fmla="*/ 138021 w 584523"/>
                <a:gd name="connsiteY586" fmla="*/ 51435 h 407344"/>
                <a:gd name="connsiteX587" fmla="*/ 129880 w 584523"/>
                <a:gd name="connsiteY587" fmla="*/ 51823 h 407344"/>
                <a:gd name="connsiteX588" fmla="*/ 127424 w 584523"/>
                <a:gd name="connsiteY588" fmla="*/ 51435 h 407344"/>
                <a:gd name="connsiteX589" fmla="*/ 127037 w 584523"/>
                <a:gd name="connsiteY589" fmla="*/ 51047 h 407344"/>
                <a:gd name="connsiteX590" fmla="*/ 126649 w 584523"/>
                <a:gd name="connsiteY590" fmla="*/ 50530 h 407344"/>
                <a:gd name="connsiteX591" fmla="*/ 126132 w 584523"/>
                <a:gd name="connsiteY591" fmla="*/ 49497 h 407344"/>
                <a:gd name="connsiteX592" fmla="*/ 124452 w 584523"/>
                <a:gd name="connsiteY592" fmla="*/ 48592 h 407344"/>
                <a:gd name="connsiteX593" fmla="*/ 108944 w 584523"/>
                <a:gd name="connsiteY593" fmla="*/ 43681 h 407344"/>
                <a:gd name="connsiteX594" fmla="*/ 107522 w 584523"/>
                <a:gd name="connsiteY594" fmla="*/ 43810 h 407344"/>
                <a:gd name="connsiteX595" fmla="*/ 105455 w 584523"/>
                <a:gd name="connsiteY595" fmla="*/ 44198 h 407344"/>
                <a:gd name="connsiteX596" fmla="*/ 104421 w 584523"/>
                <a:gd name="connsiteY596" fmla="*/ 44586 h 407344"/>
                <a:gd name="connsiteX597" fmla="*/ 102224 w 584523"/>
                <a:gd name="connsiteY597" fmla="*/ 45619 h 407344"/>
                <a:gd name="connsiteX598" fmla="*/ 98476 w 584523"/>
                <a:gd name="connsiteY598" fmla="*/ 46912 h 407344"/>
                <a:gd name="connsiteX599" fmla="*/ 95633 w 584523"/>
                <a:gd name="connsiteY599" fmla="*/ 47300 h 407344"/>
                <a:gd name="connsiteX600" fmla="*/ 94599 w 584523"/>
                <a:gd name="connsiteY600" fmla="*/ 47171 h 407344"/>
                <a:gd name="connsiteX601" fmla="*/ 93823 w 584523"/>
                <a:gd name="connsiteY601" fmla="*/ 46912 h 407344"/>
                <a:gd name="connsiteX602" fmla="*/ 92660 w 584523"/>
                <a:gd name="connsiteY602" fmla="*/ 46007 h 407344"/>
                <a:gd name="connsiteX603" fmla="*/ 91627 w 584523"/>
                <a:gd name="connsiteY603" fmla="*/ 45490 h 407344"/>
                <a:gd name="connsiteX604" fmla="*/ 90851 w 584523"/>
                <a:gd name="connsiteY604" fmla="*/ 45361 h 407344"/>
                <a:gd name="connsiteX605" fmla="*/ 90205 w 584523"/>
                <a:gd name="connsiteY605" fmla="*/ 45361 h 407344"/>
                <a:gd name="connsiteX606" fmla="*/ 89430 w 584523"/>
                <a:gd name="connsiteY606" fmla="*/ 45749 h 407344"/>
                <a:gd name="connsiteX607" fmla="*/ 84777 w 584523"/>
                <a:gd name="connsiteY607" fmla="*/ 47171 h 407344"/>
                <a:gd name="connsiteX608" fmla="*/ 78962 w 584523"/>
                <a:gd name="connsiteY608" fmla="*/ 47687 h 407344"/>
                <a:gd name="connsiteX609" fmla="*/ 77411 w 584523"/>
                <a:gd name="connsiteY609" fmla="*/ 47558 h 407344"/>
                <a:gd name="connsiteX610" fmla="*/ 76377 w 584523"/>
                <a:gd name="connsiteY610" fmla="*/ 47300 h 407344"/>
                <a:gd name="connsiteX611" fmla="*/ 75860 w 584523"/>
                <a:gd name="connsiteY611" fmla="*/ 46912 h 407344"/>
                <a:gd name="connsiteX612" fmla="*/ 75085 w 584523"/>
                <a:gd name="connsiteY612" fmla="*/ 46007 h 407344"/>
                <a:gd name="connsiteX613" fmla="*/ 74826 w 584523"/>
                <a:gd name="connsiteY613" fmla="*/ 45490 h 407344"/>
                <a:gd name="connsiteX614" fmla="*/ 74309 w 584523"/>
                <a:gd name="connsiteY614" fmla="*/ 44844 h 407344"/>
                <a:gd name="connsiteX615" fmla="*/ 73534 w 584523"/>
                <a:gd name="connsiteY615" fmla="*/ 44198 h 407344"/>
                <a:gd name="connsiteX616" fmla="*/ 70045 w 584523"/>
                <a:gd name="connsiteY616" fmla="*/ 42518 h 407344"/>
                <a:gd name="connsiteX617" fmla="*/ 68235 w 584523"/>
                <a:gd name="connsiteY617" fmla="*/ 41097 h 407344"/>
                <a:gd name="connsiteX618" fmla="*/ 63195 w 584523"/>
                <a:gd name="connsiteY618" fmla="*/ 37866 h 407344"/>
                <a:gd name="connsiteX619" fmla="*/ 62808 w 584523"/>
                <a:gd name="connsiteY619" fmla="*/ 37478 h 407344"/>
                <a:gd name="connsiteX620" fmla="*/ 62420 w 584523"/>
                <a:gd name="connsiteY620" fmla="*/ 36961 h 407344"/>
                <a:gd name="connsiteX621" fmla="*/ 62161 w 584523"/>
                <a:gd name="connsiteY621" fmla="*/ 36444 h 407344"/>
                <a:gd name="connsiteX622" fmla="*/ 61127 w 584523"/>
                <a:gd name="connsiteY622" fmla="*/ 35669 h 407344"/>
                <a:gd name="connsiteX623" fmla="*/ 59447 w 584523"/>
                <a:gd name="connsiteY623" fmla="*/ 34635 h 407344"/>
                <a:gd name="connsiteX624" fmla="*/ 52986 w 584523"/>
                <a:gd name="connsiteY624" fmla="*/ 32438 h 407344"/>
                <a:gd name="connsiteX625" fmla="*/ 51435 w 584523"/>
                <a:gd name="connsiteY625" fmla="*/ 32179 h 407344"/>
                <a:gd name="connsiteX626" fmla="*/ 50013 w 584523"/>
                <a:gd name="connsiteY626" fmla="*/ 32308 h 407344"/>
                <a:gd name="connsiteX627" fmla="*/ 49367 w 584523"/>
                <a:gd name="connsiteY627" fmla="*/ 32438 h 407344"/>
                <a:gd name="connsiteX628" fmla="*/ 48850 w 584523"/>
                <a:gd name="connsiteY628" fmla="*/ 32696 h 407344"/>
                <a:gd name="connsiteX629" fmla="*/ 40321 w 584523"/>
                <a:gd name="connsiteY629" fmla="*/ 37736 h 407344"/>
                <a:gd name="connsiteX630" fmla="*/ 39545 w 584523"/>
                <a:gd name="connsiteY630" fmla="*/ 37995 h 407344"/>
                <a:gd name="connsiteX631" fmla="*/ 38512 w 584523"/>
                <a:gd name="connsiteY631" fmla="*/ 38253 h 407344"/>
                <a:gd name="connsiteX632" fmla="*/ 36444 w 584523"/>
                <a:gd name="connsiteY632" fmla="*/ 38382 h 407344"/>
                <a:gd name="connsiteX633" fmla="*/ 35281 w 584523"/>
                <a:gd name="connsiteY633" fmla="*/ 38253 h 407344"/>
                <a:gd name="connsiteX634" fmla="*/ 34376 w 584523"/>
                <a:gd name="connsiteY634" fmla="*/ 38124 h 407344"/>
                <a:gd name="connsiteX635" fmla="*/ 30628 w 584523"/>
                <a:gd name="connsiteY635" fmla="*/ 36056 h 407344"/>
                <a:gd name="connsiteX636" fmla="*/ 24037 w 584523"/>
                <a:gd name="connsiteY636" fmla="*/ 34247 h 407344"/>
                <a:gd name="connsiteX637" fmla="*/ 23133 w 584523"/>
                <a:gd name="connsiteY637" fmla="*/ 34118 h 407344"/>
                <a:gd name="connsiteX638" fmla="*/ 21840 w 584523"/>
                <a:gd name="connsiteY638" fmla="*/ 34376 h 407344"/>
                <a:gd name="connsiteX639" fmla="*/ 20160 w 584523"/>
                <a:gd name="connsiteY639" fmla="*/ 34893 h 407344"/>
                <a:gd name="connsiteX640" fmla="*/ 18739 w 584523"/>
                <a:gd name="connsiteY640" fmla="*/ 34506 h 407344"/>
                <a:gd name="connsiteX641" fmla="*/ 17446 w 584523"/>
                <a:gd name="connsiteY641" fmla="*/ 38382 h 407344"/>
                <a:gd name="connsiteX642" fmla="*/ 12923 w 584523"/>
                <a:gd name="connsiteY642" fmla="*/ 44844 h 407344"/>
                <a:gd name="connsiteX643" fmla="*/ 12019 w 584523"/>
                <a:gd name="connsiteY643" fmla="*/ 48334 h 407344"/>
                <a:gd name="connsiteX644" fmla="*/ 13311 w 584523"/>
                <a:gd name="connsiteY644" fmla="*/ 59447 h 407344"/>
                <a:gd name="connsiteX645" fmla="*/ 13311 w 584523"/>
                <a:gd name="connsiteY645" fmla="*/ 63066 h 407344"/>
                <a:gd name="connsiteX646" fmla="*/ 13311 w 584523"/>
                <a:gd name="connsiteY646" fmla="*/ 63066 h 407344"/>
                <a:gd name="connsiteX647" fmla="*/ 11760 w 584523"/>
                <a:gd name="connsiteY647" fmla="*/ 64358 h 407344"/>
                <a:gd name="connsiteX648" fmla="*/ 10985 w 584523"/>
                <a:gd name="connsiteY648" fmla="*/ 65134 h 407344"/>
                <a:gd name="connsiteX649" fmla="*/ 10726 w 584523"/>
                <a:gd name="connsiteY649" fmla="*/ 65909 h 407344"/>
                <a:gd name="connsiteX650" fmla="*/ 10985 w 584523"/>
                <a:gd name="connsiteY650" fmla="*/ 67072 h 407344"/>
                <a:gd name="connsiteX651" fmla="*/ 11373 w 584523"/>
                <a:gd name="connsiteY651" fmla="*/ 68365 h 407344"/>
                <a:gd name="connsiteX652" fmla="*/ 11760 w 584523"/>
                <a:gd name="connsiteY652" fmla="*/ 69140 h 407344"/>
                <a:gd name="connsiteX653" fmla="*/ 11889 w 584523"/>
                <a:gd name="connsiteY653" fmla="*/ 68752 h 407344"/>
                <a:gd name="connsiteX654" fmla="*/ 11631 w 584523"/>
                <a:gd name="connsiteY654" fmla="*/ 70820 h 407344"/>
                <a:gd name="connsiteX655" fmla="*/ 10209 w 584523"/>
                <a:gd name="connsiteY655" fmla="*/ 74956 h 407344"/>
                <a:gd name="connsiteX656" fmla="*/ 10209 w 584523"/>
                <a:gd name="connsiteY656" fmla="*/ 77152 h 407344"/>
                <a:gd name="connsiteX657" fmla="*/ 10726 w 584523"/>
                <a:gd name="connsiteY657" fmla="*/ 81676 h 407344"/>
                <a:gd name="connsiteX658" fmla="*/ 10597 w 584523"/>
                <a:gd name="connsiteY658" fmla="*/ 83873 h 407344"/>
                <a:gd name="connsiteX659" fmla="*/ 9951 w 584523"/>
                <a:gd name="connsiteY659" fmla="*/ 86070 h 407344"/>
                <a:gd name="connsiteX660" fmla="*/ 9175 w 584523"/>
                <a:gd name="connsiteY660" fmla="*/ 86716 h 407344"/>
                <a:gd name="connsiteX661" fmla="*/ 8142 w 584523"/>
                <a:gd name="connsiteY661" fmla="*/ 86845 h 407344"/>
                <a:gd name="connsiteX662" fmla="*/ 7237 w 584523"/>
                <a:gd name="connsiteY662" fmla="*/ 87233 h 407344"/>
                <a:gd name="connsiteX663" fmla="*/ 6979 w 584523"/>
                <a:gd name="connsiteY663" fmla="*/ 88525 h 407344"/>
                <a:gd name="connsiteX664" fmla="*/ 7496 w 584523"/>
                <a:gd name="connsiteY664" fmla="*/ 89947 h 407344"/>
                <a:gd name="connsiteX665" fmla="*/ 8400 w 584523"/>
                <a:gd name="connsiteY665" fmla="*/ 90722 h 407344"/>
                <a:gd name="connsiteX666" fmla="*/ 9305 w 584523"/>
                <a:gd name="connsiteY666" fmla="*/ 91110 h 407344"/>
                <a:gd name="connsiteX667" fmla="*/ 9822 w 584523"/>
                <a:gd name="connsiteY667" fmla="*/ 91498 h 407344"/>
                <a:gd name="connsiteX668" fmla="*/ 9822 w 584523"/>
                <a:gd name="connsiteY668" fmla="*/ 92661 h 407344"/>
                <a:gd name="connsiteX669" fmla="*/ 9175 w 584523"/>
                <a:gd name="connsiteY669" fmla="*/ 94341 h 407344"/>
                <a:gd name="connsiteX670" fmla="*/ 9305 w 584523"/>
                <a:gd name="connsiteY670" fmla="*/ 95504 h 407344"/>
                <a:gd name="connsiteX671" fmla="*/ 9693 w 584523"/>
                <a:gd name="connsiteY671" fmla="*/ 95762 h 407344"/>
                <a:gd name="connsiteX672" fmla="*/ 10985 w 584523"/>
                <a:gd name="connsiteY672" fmla="*/ 95891 h 407344"/>
                <a:gd name="connsiteX673" fmla="*/ 11373 w 584523"/>
                <a:gd name="connsiteY673" fmla="*/ 96150 h 407344"/>
                <a:gd name="connsiteX674" fmla="*/ 12665 w 584523"/>
                <a:gd name="connsiteY674" fmla="*/ 100544 h 407344"/>
                <a:gd name="connsiteX675" fmla="*/ 13957 w 584523"/>
                <a:gd name="connsiteY675" fmla="*/ 107652 h 407344"/>
                <a:gd name="connsiteX676" fmla="*/ 13828 w 584523"/>
                <a:gd name="connsiteY676" fmla="*/ 111270 h 407344"/>
                <a:gd name="connsiteX677" fmla="*/ 12536 w 584523"/>
                <a:gd name="connsiteY677" fmla="*/ 115535 h 407344"/>
                <a:gd name="connsiteX678" fmla="*/ 7883 w 584523"/>
                <a:gd name="connsiteY678" fmla="*/ 125486 h 407344"/>
                <a:gd name="connsiteX679" fmla="*/ 7366 w 584523"/>
                <a:gd name="connsiteY679" fmla="*/ 126261 h 407344"/>
                <a:gd name="connsiteX680" fmla="*/ 6591 w 584523"/>
                <a:gd name="connsiteY680" fmla="*/ 126649 h 407344"/>
                <a:gd name="connsiteX681" fmla="*/ 4911 w 584523"/>
                <a:gd name="connsiteY681" fmla="*/ 126907 h 407344"/>
                <a:gd name="connsiteX682" fmla="*/ 4394 w 584523"/>
                <a:gd name="connsiteY682" fmla="*/ 127295 h 407344"/>
                <a:gd name="connsiteX683" fmla="*/ 4006 w 584523"/>
                <a:gd name="connsiteY683" fmla="*/ 128846 h 407344"/>
                <a:gd name="connsiteX684" fmla="*/ 4135 w 584523"/>
                <a:gd name="connsiteY684" fmla="*/ 132206 h 407344"/>
                <a:gd name="connsiteX685" fmla="*/ 4006 w 584523"/>
                <a:gd name="connsiteY685" fmla="*/ 133886 h 407344"/>
                <a:gd name="connsiteX686" fmla="*/ 3489 w 584523"/>
                <a:gd name="connsiteY686" fmla="*/ 134661 h 407344"/>
                <a:gd name="connsiteX687" fmla="*/ 1938 w 584523"/>
                <a:gd name="connsiteY687" fmla="*/ 135695 h 407344"/>
                <a:gd name="connsiteX688" fmla="*/ 1422 w 584523"/>
                <a:gd name="connsiteY688" fmla="*/ 136342 h 407344"/>
                <a:gd name="connsiteX689" fmla="*/ 1422 w 584523"/>
                <a:gd name="connsiteY689" fmla="*/ 137246 h 407344"/>
                <a:gd name="connsiteX690" fmla="*/ 2455 w 584523"/>
                <a:gd name="connsiteY690" fmla="*/ 138409 h 407344"/>
                <a:gd name="connsiteX691" fmla="*/ 2455 w 584523"/>
                <a:gd name="connsiteY691" fmla="*/ 139443 h 407344"/>
                <a:gd name="connsiteX692" fmla="*/ 1292 w 584523"/>
                <a:gd name="connsiteY692" fmla="*/ 141511 h 407344"/>
                <a:gd name="connsiteX693" fmla="*/ 0 w 584523"/>
                <a:gd name="connsiteY693" fmla="*/ 142286 h 407344"/>
                <a:gd name="connsiteX694" fmla="*/ 129 w 584523"/>
                <a:gd name="connsiteY694" fmla="*/ 142803 h 407344"/>
                <a:gd name="connsiteX695" fmla="*/ 1163 w 584523"/>
                <a:gd name="connsiteY695" fmla="*/ 142545 h 407344"/>
                <a:gd name="connsiteX696" fmla="*/ 2068 w 584523"/>
                <a:gd name="connsiteY696" fmla="*/ 142028 h 407344"/>
                <a:gd name="connsiteX697" fmla="*/ 2843 w 584523"/>
                <a:gd name="connsiteY697" fmla="*/ 141511 h 407344"/>
                <a:gd name="connsiteX698" fmla="*/ 3748 w 584523"/>
                <a:gd name="connsiteY698" fmla="*/ 141123 h 407344"/>
                <a:gd name="connsiteX699" fmla="*/ 6074 w 584523"/>
                <a:gd name="connsiteY699" fmla="*/ 140477 h 407344"/>
                <a:gd name="connsiteX700" fmla="*/ 6849 w 584523"/>
                <a:gd name="connsiteY700" fmla="*/ 140735 h 407344"/>
                <a:gd name="connsiteX701" fmla="*/ 7754 w 584523"/>
                <a:gd name="connsiteY701" fmla="*/ 141640 h 407344"/>
                <a:gd name="connsiteX702" fmla="*/ 8271 w 584523"/>
                <a:gd name="connsiteY702" fmla="*/ 142674 h 407344"/>
                <a:gd name="connsiteX703" fmla="*/ 8529 w 584523"/>
                <a:gd name="connsiteY703" fmla="*/ 143579 h 407344"/>
                <a:gd name="connsiteX704" fmla="*/ 8917 w 584523"/>
                <a:gd name="connsiteY704" fmla="*/ 144225 h 407344"/>
                <a:gd name="connsiteX705" fmla="*/ 10080 w 584523"/>
                <a:gd name="connsiteY705" fmla="*/ 144483 h 407344"/>
                <a:gd name="connsiteX706" fmla="*/ 11502 w 584523"/>
                <a:gd name="connsiteY706" fmla="*/ 144483 h 407344"/>
                <a:gd name="connsiteX707" fmla="*/ 12536 w 584523"/>
                <a:gd name="connsiteY707" fmla="*/ 144225 h 407344"/>
                <a:gd name="connsiteX708" fmla="*/ 14991 w 584523"/>
                <a:gd name="connsiteY708" fmla="*/ 142932 h 407344"/>
                <a:gd name="connsiteX709" fmla="*/ 16154 w 584523"/>
                <a:gd name="connsiteY709" fmla="*/ 141769 h 407344"/>
                <a:gd name="connsiteX710" fmla="*/ 16930 w 584523"/>
                <a:gd name="connsiteY710" fmla="*/ 141253 h 407344"/>
                <a:gd name="connsiteX711" fmla="*/ 17963 w 584523"/>
                <a:gd name="connsiteY711" fmla="*/ 141253 h 407344"/>
                <a:gd name="connsiteX712" fmla="*/ 19644 w 584523"/>
                <a:gd name="connsiteY712" fmla="*/ 142674 h 407344"/>
                <a:gd name="connsiteX713" fmla="*/ 20290 w 584523"/>
                <a:gd name="connsiteY713" fmla="*/ 145259 h 407344"/>
                <a:gd name="connsiteX714" fmla="*/ 20548 w 584523"/>
                <a:gd name="connsiteY714" fmla="*/ 148748 h 407344"/>
                <a:gd name="connsiteX715" fmla="*/ 22874 w 584523"/>
                <a:gd name="connsiteY715" fmla="*/ 148102 h 407344"/>
                <a:gd name="connsiteX716" fmla="*/ 25588 w 584523"/>
                <a:gd name="connsiteY716" fmla="*/ 145000 h 407344"/>
                <a:gd name="connsiteX717" fmla="*/ 27527 w 584523"/>
                <a:gd name="connsiteY717" fmla="*/ 143966 h 407344"/>
                <a:gd name="connsiteX718" fmla="*/ 29982 w 584523"/>
                <a:gd name="connsiteY718" fmla="*/ 144354 h 407344"/>
                <a:gd name="connsiteX719" fmla="*/ 35022 w 584523"/>
                <a:gd name="connsiteY719" fmla="*/ 146422 h 407344"/>
                <a:gd name="connsiteX720" fmla="*/ 36702 w 584523"/>
                <a:gd name="connsiteY720" fmla="*/ 146034 h 407344"/>
                <a:gd name="connsiteX721" fmla="*/ 37219 w 584523"/>
                <a:gd name="connsiteY721" fmla="*/ 143837 h 407344"/>
                <a:gd name="connsiteX722" fmla="*/ 36961 w 584523"/>
                <a:gd name="connsiteY722" fmla="*/ 140994 h 407344"/>
                <a:gd name="connsiteX723" fmla="*/ 36961 w 584523"/>
                <a:gd name="connsiteY723" fmla="*/ 138280 h 407344"/>
                <a:gd name="connsiteX724" fmla="*/ 38512 w 584523"/>
                <a:gd name="connsiteY724" fmla="*/ 136729 h 407344"/>
                <a:gd name="connsiteX725" fmla="*/ 39675 w 584523"/>
                <a:gd name="connsiteY725" fmla="*/ 136988 h 407344"/>
                <a:gd name="connsiteX726" fmla="*/ 40579 w 584523"/>
                <a:gd name="connsiteY726" fmla="*/ 138151 h 407344"/>
                <a:gd name="connsiteX727" fmla="*/ 41226 w 584523"/>
                <a:gd name="connsiteY727" fmla="*/ 139314 h 407344"/>
                <a:gd name="connsiteX728" fmla="*/ 41872 w 584523"/>
                <a:gd name="connsiteY728" fmla="*/ 139831 h 407344"/>
                <a:gd name="connsiteX729" fmla="*/ 42776 w 584523"/>
                <a:gd name="connsiteY729" fmla="*/ 139572 h 407344"/>
                <a:gd name="connsiteX730" fmla="*/ 44456 w 584523"/>
                <a:gd name="connsiteY730" fmla="*/ 138538 h 407344"/>
                <a:gd name="connsiteX731" fmla="*/ 45490 w 584523"/>
                <a:gd name="connsiteY731" fmla="*/ 138280 h 407344"/>
                <a:gd name="connsiteX732" fmla="*/ 47429 w 584523"/>
                <a:gd name="connsiteY732" fmla="*/ 137505 h 407344"/>
                <a:gd name="connsiteX733" fmla="*/ 48979 w 584523"/>
                <a:gd name="connsiteY733" fmla="*/ 135566 h 407344"/>
                <a:gd name="connsiteX734" fmla="*/ 51047 w 584523"/>
                <a:gd name="connsiteY734" fmla="*/ 131689 h 407344"/>
                <a:gd name="connsiteX735" fmla="*/ 55183 w 584523"/>
                <a:gd name="connsiteY735" fmla="*/ 134661 h 407344"/>
                <a:gd name="connsiteX736" fmla="*/ 57380 w 584523"/>
                <a:gd name="connsiteY736" fmla="*/ 135437 h 407344"/>
                <a:gd name="connsiteX737" fmla="*/ 60223 w 584523"/>
                <a:gd name="connsiteY737" fmla="*/ 135695 h 407344"/>
                <a:gd name="connsiteX738" fmla="*/ 60869 w 584523"/>
                <a:gd name="connsiteY738" fmla="*/ 137246 h 407344"/>
                <a:gd name="connsiteX739" fmla="*/ 59706 w 584523"/>
                <a:gd name="connsiteY739" fmla="*/ 140735 h 407344"/>
                <a:gd name="connsiteX740" fmla="*/ 56992 w 584523"/>
                <a:gd name="connsiteY740" fmla="*/ 146292 h 407344"/>
                <a:gd name="connsiteX741" fmla="*/ 59577 w 584523"/>
                <a:gd name="connsiteY741" fmla="*/ 146551 h 407344"/>
                <a:gd name="connsiteX742" fmla="*/ 64617 w 584523"/>
                <a:gd name="connsiteY742" fmla="*/ 143191 h 407344"/>
                <a:gd name="connsiteX743" fmla="*/ 67331 w 584523"/>
                <a:gd name="connsiteY743" fmla="*/ 142286 h 407344"/>
                <a:gd name="connsiteX744" fmla="*/ 68752 w 584523"/>
                <a:gd name="connsiteY744" fmla="*/ 142674 h 407344"/>
                <a:gd name="connsiteX745" fmla="*/ 70820 w 584523"/>
                <a:gd name="connsiteY745" fmla="*/ 144483 h 407344"/>
                <a:gd name="connsiteX746" fmla="*/ 71725 w 584523"/>
                <a:gd name="connsiteY746" fmla="*/ 144742 h 407344"/>
                <a:gd name="connsiteX747" fmla="*/ 72888 w 584523"/>
                <a:gd name="connsiteY747" fmla="*/ 143837 h 407344"/>
                <a:gd name="connsiteX748" fmla="*/ 73663 w 584523"/>
                <a:gd name="connsiteY748" fmla="*/ 142286 h 407344"/>
                <a:gd name="connsiteX749" fmla="*/ 74568 w 584523"/>
                <a:gd name="connsiteY749" fmla="*/ 138926 h 407344"/>
                <a:gd name="connsiteX750" fmla="*/ 77152 w 584523"/>
                <a:gd name="connsiteY750" fmla="*/ 141769 h 407344"/>
                <a:gd name="connsiteX751" fmla="*/ 78832 w 584523"/>
                <a:gd name="connsiteY751" fmla="*/ 142545 h 407344"/>
                <a:gd name="connsiteX752" fmla="*/ 81029 w 584523"/>
                <a:gd name="connsiteY752" fmla="*/ 142286 h 407344"/>
                <a:gd name="connsiteX753" fmla="*/ 83097 w 584523"/>
                <a:gd name="connsiteY753" fmla="*/ 140994 h 407344"/>
                <a:gd name="connsiteX754" fmla="*/ 83873 w 584523"/>
                <a:gd name="connsiteY754" fmla="*/ 139314 h 407344"/>
                <a:gd name="connsiteX755" fmla="*/ 84131 w 584523"/>
                <a:gd name="connsiteY755" fmla="*/ 137246 h 407344"/>
                <a:gd name="connsiteX756" fmla="*/ 84906 w 584523"/>
                <a:gd name="connsiteY756" fmla="*/ 134920 h 407344"/>
                <a:gd name="connsiteX757" fmla="*/ 86586 w 584523"/>
                <a:gd name="connsiteY757" fmla="*/ 133369 h 407344"/>
                <a:gd name="connsiteX758" fmla="*/ 88783 w 584523"/>
                <a:gd name="connsiteY758" fmla="*/ 132981 h 407344"/>
                <a:gd name="connsiteX759" fmla="*/ 90334 w 584523"/>
                <a:gd name="connsiteY759" fmla="*/ 133498 h 407344"/>
                <a:gd name="connsiteX760" fmla="*/ 90334 w 584523"/>
                <a:gd name="connsiteY760" fmla="*/ 134532 h 407344"/>
                <a:gd name="connsiteX761" fmla="*/ 88654 w 584523"/>
                <a:gd name="connsiteY761" fmla="*/ 136600 h 407344"/>
                <a:gd name="connsiteX762" fmla="*/ 88008 w 584523"/>
                <a:gd name="connsiteY762" fmla="*/ 137892 h 407344"/>
                <a:gd name="connsiteX763" fmla="*/ 87749 w 584523"/>
                <a:gd name="connsiteY763" fmla="*/ 139055 h 407344"/>
                <a:gd name="connsiteX764" fmla="*/ 88396 w 584523"/>
                <a:gd name="connsiteY764" fmla="*/ 140606 h 407344"/>
                <a:gd name="connsiteX765" fmla="*/ 89300 w 584523"/>
                <a:gd name="connsiteY765" fmla="*/ 140735 h 407344"/>
                <a:gd name="connsiteX766" fmla="*/ 90205 w 584523"/>
                <a:gd name="connsiteY766" fmla="*/ 140218 h 407344"/>
                <a:gd name="connsiteX767" fmla="*/ 90593 w 584523"/>
                <a:gd name="connsiteY767" fmla="*/ 139960 h 407344"/>
                <a:gd name="connsiteX768" fmla="*/ 91885 w 584523"/>
                <a:gd name="connsiteY768" fmla="*/ 141381 h 407344"/>
                <a:gd name="connsiteX769" fmla="*/ 92144 w 584523"/>
                <a:gd name="connsiteY769" fmla="*/ 143191 h 407344"/>
                <a:gd name="connsiteX770" fmla="*/ 91497 w 584523"/>
                <a:gd name="connsiteY770" fmla="*/ 145129 h 407344"/>
                <a:gd name="connsiteX771" fmla="*/ 90205 w 584523"/>
                <a:gd name="connsiteY771" fmla="*/ 146938 h 407344"/>
                <a:gd name="connsiteX772" fmla="*/ 89946 w 584523"/>
                <a:gd name="connsiteY772" fmla="*/ 147714 h 407344"/>
                <a:gd name="connsiteX773" fmla="*/ 90205 w 584523"/>
                <a:gd name="connsiteY773" fmla="*/ 148748 h 407344"/>
                <a:gd name="connsiteX774" fmla="*/ 90980 w 584523"/>
                <a:gd name="connsiteY774" fmla="*/ 149653 h 407344"/>
                <a:gd name="connsiteX775" fmla="*/ 92014 w 584523"/>
                <a:gd name="connsiteY775" fmla="*/ 149782 h 407344"/>
                <a:gd name="connsiteX776" fmla="*/ 92919 w 584523"/>
                <a:gd name="connsiteY776" fmla="*/ 149136 h 407344"/>
                <a:gd name="connsiteX777" fmla="*/ 93436 w 584523"/>
                <a:gd name="connsiteY777" fmla="*/ 148102 h 407344"/>
                <a:gd name="connsiteX778" fmla="*/ 93694 w 584523"/>
                <a:gd name="connsiteY778" fmla="*/ 146809 h 407344"/>
                <a:gd name="connsiteX779" fmla="*/ 94211 w 584523"/>
                <a:gd name="connsiteY779" fmla="*/ 145646 h 407344"/>
                <a:gd name="connsiteX780" fmla="*/ 96279 w 584523"/>
                <a:gd name="connsiteY780" fmla="*/ 142674 h 407344"/>
                <a:gd name="connsiteX781" fmla="*/ 96667 w 584523"/>
                <a:gd name="connsiteY781" fmla="*/ 143579 h 407344"/>
                <a:gd name="connsiteX782" fmla="*/ 96796 w 584523"/>
                <a:gd name="connsiteY782" fmla="*/ 145905 h 407344"/>
                <a:gd name="connsiteX783" fmla="*/ 98217 w 584523"/>
                <a:gd name="connsiteY783" fmla="*/ 147197 h 407344"/>
                <a:gd name="connsiteX784" fmla="*/ 100285 w 584523"/>
                <a:gd name="connsiteY784" fmla="*/ 146551 h 407344"/>
                <a:gd name="connsiteX785" fmla="*/ 101836 w 584523"/>
                <a:gd name="connsiteY785" fmla="*/ 145000 h 407344"/>
                <a:gd name="connsiteX786" fmla="*/ 103128 w 584523"/>
                <a:gd name="connsiteY786" fmla="*/ 143320 h 407344"/>
                <a:gd name="connsiteX787" fmla="*/ 104550 w 584523"/>
                <a:gd name="connsiteY787" fmla="*/ 142286 h 407344"/>
                <a:gd name="connsiteX788" fmla="*/ 107135 w 584523"/>
                <a:gd name="connsiteY788" fmla="*/ 142545 h 407344"/>
                <a:gd name="connsiteX789" fmla="*/ 108168 w 584523"/>
                <a:gd name="connsiteY789" fmla="*/ 144612 h 407344"/>
                <a:gd name="connsiteX790" fmla="*/ 108944 w 584523"/>
                <a:gd name="connsiteY790" fmla="*/ 146938 h 407344"/>
                <a:gd name="connsiteX791" fmla="*/ 110753 w 584523"/>
                <a:gd name="connsiteY791" fmla="*/ 148102 h 407344"/>
                <a:gd name="connsiteX792" fmla="*/ 113338 w 584523"/>
                <a:gd name="connsiteY792" fmla="*/ 148490 h 407344"/>
                <a:gd name="connsiteX793" fmla="*/ 115018 w 584523"/>
                <a:gd name="connsiteY793" fmla="*/ 149653 h 407344"/>
                <a:gd name="connsiteX794" fmla="*/ 118378 w 584523"/>
                <a:gd name="connsiteY794" fmla="*/ 153012 h 407344"/>
                <a:gd name="connsiteX795" fmla="*/ 119412 w 584523"/>
                <a:gd name="connsiteY795" fmla="*/ 151720 h 407344"/>
                <a:gd name="connsiteX796" fmla="*/ 120575 w 584523"/>
                <a:gd name="connsiteY796" fmla="*/ 151462 h 407344"/>
                <a:gd name="connsiteX797" fmla="*/ 121609 w 584523"/>
                <a:gd name="connsiteY797" fmla="*/ 152366 h 407344"/>
                <a:gd name="connsiteX798" fmla="*/ 121996 w 584523"/>
                <a:gd name="connsiteY798" fmla="*/ 154305 h 407344"/>
                <a:gd name="connsiteX799" fmla="*/ 122513 w 584523"/>
                <a:gd name="connsiteY799" fmla="*/ 155856 h 407344"/>
                <a:gd name="connsiteX800" fmla="*/ 123676 w 584523"/>
                <a:gd name="connsiteY800" fmla="*/ 155210 h 407344"/>
                <a:gd name="connsiteX801" fmla="*/ 124840 w 584523"/>
                <a:gd name="connsiteY801" fmla="*/ 153788 h 407344"/>
                <a:gd name="connsiteX802" fmla="*/ 125356 w 584523"/>
                <a:gd name="connsiteY802" fmla="*/ 153012 h 407344"/>
                <a:gd name="connsiteX803" fmla="*/ 126649 w 584523"/>
                <a:gd name="connsiteY803" fmla="*/ 153142 h 407344"/>
                <a:gd name="connsiteX804" fmla="*/ 129104 w 584523"/>
                <a:gd name="connsiteY804" fmla="*/ 153788 h 407344"/>
                <a:gd name="connsiteX805" fmla="*/ 130784 w 584523"/>
                <a:gd name="connsiteY805" fmla="*/ 153917 h 407344"/>
                <a:gd name="connsiteX806" fmla="*/ 132077 w 584523"/>
                <a:gd name="connsiteY806" fmla="*/ 153659 h 407344"/>
                <a:gd name="connsiteX807" fmla="*/ 134920 w 584523"/>
                <a:gd name="connsiteY807" fmla="*/ 152625 h 407344"/>
                <a:gd name="connsiteX808" fmla="*/ 136471 w 584523"/>
                <a:gd name="connsiteY808" fmla="*/ 152237 h 407344"/>
                <a:gd name="connsiteX809" fmla="*/ 138151 w 584523"/>
                <a:gd name="connsiteY809" fmla="*/ 151591 h 407344"/>
                <a:gd name="connsiteX810" fmla="*/ 139055 w 584523"/>
                <a:gd name="connsiteY810" fmla="*/ 151462 h 407344"/>
                <a:gd name="connsiteX811" fmla="*/ 139443 w 584523"/>
                <a:gd name="connsiteY811" fmla="*/ 151720 h 407344"/>
                <a:gd name="connsiteX812" fmla="*/ 140089 w 584523"/>
                <a:gd name="connsiteY812" fmla="*/ 152883 h 407344"/>
                <a:gd name="connsiteX813" fmla="*/ 140477 w 584523"/>
                <a:gd name="connsiteY813" fmla="*/ 153142 h 407344"/>
                <a:gd name="connsiteX814" fmla="*/ 143449 w 584523"/>
                <a:gd name="connsiteY814" fmla="*/ 154047 h 407344"/>
                <a:gd name="connsiteX815" fmla="*/ 145259 w 584523"/>
                <a:gd name="connsiteY815" fmla="*/ 154047 h 407344"/>
                <a:gd name="connsiteX816" fmla="*/ 146034 w 584523"/>
                <a:gd name="connsiteY816" fmla="*/ 152754 h 407344"/>
                <a:gd name="connsiteX817" fmla="*/ 146292 w 584523"/>
                <a:gd name="connsiteY817" fmla="*/ 151849 h 407344"/>
                <a:gd name="connsiteX818" fmla="*/ 146809 w 584523"/>
                <a:gd name="connsiteY818" fmla="*/ 150686 h 407344"/>
                <a:gd name="connsiteX819" fmla="*/ 147585 w 584523"/>
                <a:gd name="connsiteY819" fmla="*/ 149653 h 407344"/>
                <a:gd name="connsiteX820" fmla="*/ 148360 w 584523"/>
                <a:gd name="connsiteY820" fmla="*/ 149136 h 407344"/>
                <a:gd name="connsiteX821" fmla="*/ 149394 w 584523"/>
                <a:gd name="connsiteY821" fmla="*/ 149136 h 407344"/>
                <a:gd name="connsiteX822" fmla="*/ 149523 w 584523"/>
                <a:gd name="connsiteY822" fmla="*/ 149523 h 407344"/>
                <a:gd name="connsiteX823" fmla="*/ 149523 w 584523"/>
                <a:gd name="connsiteY823" fmla="*/ 150169 h 407344"/>
                <a:gd name="connsiteX824" fmla="*/ 149782 w 584523"/>
                <a:gd name="connsiteY824" fmla="*/ 150816 h 407344"/>
                <a:gd name="connsiteX825" fmla="*/ 150557 w 584523"/>
                <a:gd name="connsiteY825" fmla="*/ 152108 h 407344"/>
                <a:gd name="connsiteX826" fmla="*/ 151591 w 584523"/>
                <a:gd name="connsiteY826" fmla="*/ 154693 h 407344"/>
                <a:gd name="connsiteX827" fmla="*/ 152754 w 584523"/>
                <a:gd name="connsiteY827" fmla="*/ 155856 h 407344"/>
                <a:gd name="connsiteX828" fmla="*/ 153142 w 584523"/>
                <a:gd name="connsiteY828" fmla="*/ 154693 h 407344"/>
                <a:gd name="connsiteX829" fmla="*/ 153142 w 584523"/>
                <a:gd name="connsiteY829" fmla="*/ 154047 h 407344"/>
                <a:gd name="connsiteX830" fmla="*/ 152883 w 584523"/>
                <a:gd name="connsiteY830" fmla="*/ 153529 h 407344"/>
                <a:gd name="connsiteX831" fmla="*/ 152754 w 584523"/>
                <a:gd name="connsiteY831" fmla="*/ 152883 h 407344"/>
                <a:gd name="connsiteX832" fmla="*/ 153142 w 584523"/>
                <a:gd name="connsiteY832" fmla="*/ 151979 h 407344"/>
                <a:gd name="connsiteX833" fmla="*/ 153917 w 584523"/>
                <a:gd name="connsiteY833" fmla="*/ 151979 h 407344"/>
                <a:gd name="connsiteX834" fmla="*/ 154693 w 584523"/>
                <a:gd name="connsiteY834" fmla="*/ 152366 h 407344"/>
                <a:gd name="connsiteX835" fmla="*/ 155080 w 584523"/>
                <a:gd name="connsiteY835" fmla="*/ 152883 h 407344"/>
                <a:gd name="connsiteX836" fmla="*/ 155339 w 584523"/>
                <a:gd name="connsiteY836" fmla="*/ 154047 h 407344"/>
                <a:gd name="connsiteX837" fmla="*/ 156243 w 584523"/>
                <a:gd name="connsiteY837" fmla="*/ 156760 h 407344"/>
                <a:gd name="connsiteX838" fmla="*/ 156502 w 584523"/>
                <a:gd name="connsiteY838" fmla="*/ 157794 h 407344"/>
                <a:gd name="connsiteX839" fmla="*/ 157148 w 584523"/>
                <a:gd name="connsiteY839" fmla="*/ 157148 h 407344"/>
                <a:gd name="connsiteX840" fmla="*/ 158699 w 584523"/>
                <a:gd name="connsiteY840" fmla="*/ 156760 h 407344"/>
                <a:gd name="connsiteX841" fmla="*/ 160379 w 584523"/>
                <a:gd name="connsiteY841" fmla="*/ 156502 h 407344"/>
                <a:gd name="connsiteX842" fmla="*/ 161542 w 584523"/>
                <a:gd name="connsiteY842" fmla="*/ 156631 h 407344"/>
                <a:gd name="connsiteX843" fmla="*/ 162317 w 584523"/>
                <a:gd name="connsiteY843" fmla="*/ 157407 h 407344"/>
                <a:gd name="connsiteX844" fmla="*/ 162834 w 584523"/>
                <a:gd name="connsiteY844" fmla="*/ 158311 h 407344"/>
                <a:gd name="connsiteX845" fmla="*/ 163610 w 584523"/>
                <a:gd name="connsiteY845" fmla="*/ 158828 h 407344"/>
                <a:gd name="connsiteX846" fmla="*/ 165160 w 584523"/>
                <a:gd name="connsiteY846" fmla="*/ 158311 h 407344"/>
                <a:gd name="connsiteX847" fmla="*/ 164256 w 584523"/>
                <a:gd name="connsiteY847" fmla="*/ 155727 h 407344"/>
                <a:gd name="connsiteX848" fmla="*/ 164256 w 584523"/>
                <a:gd name="connsiteY848" fmla="*/ 153788 h 407344"/>
                <a:gd name="connsiteX849" fmla="*/ 165419 w 584523"/>
                <a:gd name="connsiteY849" fmla="*/ 152625 h 407344"/>
                <a:gd name="connsiteX850" fmla="*/ 168133 w 584523"/>
                <a:gd name="connsiteY850" fmla="*/ 152366 h 407344"/>
                <a:gd name="connsiteX851" fmla="*/ 170459 w 584523"/>
                <a:gd name="connsiteY851" fmla="*/ 153012 h 407344"/>
                <a:gd name="connsiteX852" fmla="*/ 171493 w 584523"/>
                <a:gd name="connsiteY852" fmla="*/ 154176 h 407344"/>
                <a:gd name="connsiteX853" fmla="*/ 170976 w 584523"/>
                <a:gd name="connsiteY853" fmla="*/ 155210 h 407344"/>
                <a:gd name="connsiteX854" fmla="*/ 168520 w 584523"/>
                <a:gd name="connsiteY854" fmla="*/ 155727 h 407344"/>
                <a:gd name="connsiteX855" fmla="*/ 168650 w 584523"/>
                <a:gd name="connsiteY855" fmla="*/ 156631 h 407344"/>
                <a:gd name="connsiteX856" fmla="*/ 169554 w 584523"/>
                <a:gd name="connsiteY856" fmla="*/ 158699 h 407344"/>
                <a:gd name="connsiteX857" fmla="*/ 170976 w 584523"/>
                <a:gd name="connsiteY857" fmla="*/ 160638 h 407344"/>
                <a:gd name="connsiteX858" fmla="*/ 172656 w 584523"/>
                <a:gd name="connsiteY858" fmla="*/ 161413 h 407344"/>
                <a:gd name="connsiteX859" fmla="*/ 176016 w 584523"/>
                <a:gd name="connsiteY859" fmla="*/ 157277 h 407344"/>
                <a:gd name="connsiteX860" fmla="*/ 178342 w 584523"/>
                <a:gd name="connsiteY860" fmla="*/ 155210 h 407344"/>
                <a:gd name="connsiteX861" fmla="*/ 179376 w 584523"/>
                <a:gd name="connsiteY861" fmla="*/ 155985 h 407344"/>
                <a:gd name="connsiteX862" fmla="*/ 180410 w 584523"/>
                <a:gd name="connsiteY862" fmla="*/ 158440 h 407344"/>
                <a:gd name="connsiteX863" fmla="*/ 182736 w 584523"/>
                <a:gd name="connsiteY863" fmla="*/ 158440 h 407344"/>
                <a:gd name="connsiteX864" fmla="*/ 184933 w 584523"/>
                <a:gd name="connsiteY864" fmla="*/ 158053 h 407344"/>
                <a:gd name="connsiteX865" fmla="*/ 185967 w 584523"/>
                <a:gd name="connsiteY865" fmla="*/ 159086 h 407344"/>
                <a:gd name="connsiteX866" fmla="*/ 185321 w 584523"/>
                <a:gd name="connsiteY866" fmla="*/ 161542 h 407344"/>
                <a:gd name="connsiteX867" fmla="*/ 185579 w 584523"/>
                <a:gd name="connsiteY867" fmla="*/ 162447 h 407344"/>
                <a:gd name="connsiteX868" fmla="*/ 187001 w 584523"/>
                <a:gd name="connsiteY868" fmla="*/ 162834 h 407344"/>
                <a:gd name="connsiteX869" fmla="*/ 194884 w 584523"/>
                <a:gd name="connsiteY869" fmla="*/ 162705 h 407344"/>
                <a:gd name="connsiteX870" fmla="*/ 195272 w 584523"/>
                <a:gd name="connsiteY870" fmla="*/ 162447 h 407344"/>
                <a:gd name="connsiteX871" fmla="*/ 195401 w 584523"/>
                <a:gd name="connsiteY871" fmla="*/ 162705 h 407344"/>
                <a:gd name="connsiteX872" fmla="*/ 195401 w 584523"/>
                <a:gd name="connsiteY872" fmla="*/ 164256 h 407344"/>
                <a:gd name="connsiteX873" fmla="*/ 196435 w 584523"/>
                <a:gd name="connsiteY873" fmla="*/ 166195 h 407344"/>
                <a:gd name="connsiteX874" fmla="*/ 201087 w 584523"/>
                <a:gd name="connsiteY874" fmla="*/ 167228 h 407344"/>
                <a:gd name="connsiteX875" fmla="*/ 202638 w 584523"/>
                <a:gd name="connsiteY875" fmla="*/ 169554 h 407344"/>
                <a:gd name="connsiteX876" fmla="*/ 199149 w 584523"/>
                <a:gd name="connsiteY876" fmla="*/ 169425 h 407344"/>
                <a:gd name="connsiteX877" fmla="*/ 197469 w 584523"/>
                <a:gd name="connsiteY877" fmla="*/ 169684 h 407344"/>
                <a:gd name="connsiteX878" fmla="*/ 196047 w 584523"/>
                <a:gd name="connsiteY878" fmla="*/ 170330 h 407344"/>
                <a:gd name="connsiteX879" fmla="*/ 202380 w 584523"/>
                <a:gd name="connsiteY879" fmla="*/ 173949 h 407344"/>
                <a:gd name="connsiteX880" fmla="*/ 204706 w 584523"/>
                <a:gd name="connsiteY880" fmla="*/ 176533 h 407344"/>
                <a:gd name="connsiteX881" fmla="*/ 201992 w 584523"/>
                <a:gd name="connsiteY881" fmla="*/ 178471 h 407344"/>
                <a:gd name="connsiteX882" fmla="*/ 203284 w 584523"/>
                <a:gd name="connsiteY882" fmla="*/ 178988 h 407344"/>
                <a:gd name="connsiteX883" fmla="*/ 204447 w 584523"/>
                <a:gd name="connsiteY883" fmla="*/ 178730 h 407344"/>
                <a:gd name="connsiteX884" fmla="*/ 205481 w 584523"/>
                <a:gd name="connsiteY884" fmla="*/ 177955 h 407344"/>
                <a:gd name="connsiteX885" fmla="*/ 206257 w 584523"/>
                <a:gd name="connsiteY885" fmla="*/ 177050 h 407344"/>
                <a:gd name="connsiteX886" fmla="*/ 207161 w 584523"/>
                <a:gd name="connsiteY886" fmla="*/ 178988 h 407344"/>
                <a:gd name="connsiteX887" fmla="*/ 207678 w 584523"/>
                <a:gd name="connsiteY887" fmla="*/ 182866 h 407344"/>
                <a:gd name="connsiteX888" fmla="*/ 208841 w 584523"/>
                <a:gd name="connsiteY888" fmla="*/ 184804 h 407344"/>
                <a:gd name="connsiteX889" fmla="*/ 210392 w 584523"/>
                <a:gd name="connsiteY889" fmla="*/ 185580 h 407344"/>
                <a:gd name="connsiteX890" fmla="*/ 211297 w 584523"/>
                <a:gd name="connsiteY890" fmla="*/ 184158 h 407344"/>
                <a:gd name="connsiteX891" fmla="*/ 212072 w 584523"/>
                <a:gd name="connsiteY891" fmla="*/ 180281 h 407344"/>
                <a:gd name="connsiteX892" fmla="*/ 212848 w 584523"/>
                <a:gd name="connsiteY892" fmla="*/ 180669 h 407344"/>
                <a:gd name="connsiteX893" fmla="*/ 213364 w 584523"/>
                <a:gd name="connsiteY893" fmla="*/ 181315 h 407344"/>
                <a:gd name="connsiteX894" fmla="*/ 213494 w 584523"/>
                <a:gd name="connsiteY894" fmla="*/ 182090 h 407344"/>
                <a:gd name="connsiteX895" fmla="*/ 212460 w 584523"/>
                <a:gd name="connsiteY895" fmla="*/ 184158 h 407344"/>
                <a:gd name="connsiteX896" fmla="*/ 212718 w 584523"/>
                <a:gd name="connsiteY896" fmla="*/ 184675 h 407344"/>
                <a:gd name="connsiteX897" fmla="*/ 215303 w 584523"/>
                <a:gd name="connsiteY897" fmla="*/ 185580 h 407344"/>
                <a:gd name="connsiteX898" fmla="*/ 217242 w 584523"/>
                <a:gd name="connsiteY898" fmla="*/ 185838 h 407344"/>
                <a:gd name="connsiteX899" fmla="*/ 220602 w 584523"/>
                <a:gd name="connsiteY899" fmla="*/ 185838 h 407344"/>
                <a:gd name="connsiteX900" fmla="*/ 219697 w 584523"/>
                <a:gd name="connsiteY900" fmla="*/ 182995 h 407344"/>
                <a:gd name="connsiteX901" fmla="*/ 220602 w 584523"/>
                <a:gd name="connsiteY901" fmla="*/ 181832 h 407344"/>
                <a:gd name="connsiteX902" fmla="*/ 222411 w 584523"/>
                <a:gd name="connsiteY902" fmla="*/ 181702 h 407344"/>
                <a:gd name="connsiteX903" fmla="*/ 224608 w 584523"/>
                <a:gd name="connsiteY903" fmla="*/ 181832 h 407344"/>
                <a:gd name="connsiteX904" fmla="*/ 225512 w 584523"/>
                <a:gd name="connsiteY904" fmla="*/ 182349 h 407344"/>
                <a:gd name="connsiteX905" fmla="*/ 226288 w 584523"/>
                <a:gd name="connsiteY905" fmla="*/ 183512 h 407344"/>
                <a:gd name="connsiteX906" fmla="*/ 227193 w 584523"/>
                <a:gd name="connsiteY906" fmla="*/ 184287 h 407344"/>
                <a:gd name="connsiteX907" fmla="*/ 228226 w 584523"/>
                <a:gd name="connsiteY907" fmla="*/ 183899 h 407344"/>
                <a:gd name="connsiteX908" fmla="*/ 229648 w 584523"/>
                <a:gd name="connsiteY908" fmla="*/ 181573 h 407344"/>
                <a:gd name="connsiteX909" fmla="*/ 230423 w 584523"/>
                <a:gd name="connsiteY909" fmla="*/ 180539 h 407344"/>
                <a:gd name="connsiteX910" fmla="*/ 231586 w 584523"/>
                <a:gd name="connsiteY910" fmla="*/ 180152 h 407344"/>
                <a:gd name="connsiteX911" fmla="*/ 232879 w 584523"/>
                <a:gd name="connsiteY911" fmla="*/ 180539 h 407344"/>
                <a:gd name="connsiteX912" fmla="*/ 233137 w 584523"/>
                <a:gd name="connsiteY912" fmla="*/ 181444 h 407344"/>
                <a:gd name="connsiteX913" fmla="*/ 233137 w 584523"/>
                <a:gd name="connsiteY913" fmla="*/ 182607 h 407344"/>
                <a:gd name="connsiteX914" fmla="*/ 233654 w 584523"/>
                <a:gd name="connsiteY914" fmla="*/ 183512 h 407344"/>
                <a:gd name="connsiteX915" fmla="*/ 235076 w 584523"/>
                <a:gd name="connsiteY915" fmla="*/ 184416 h 407344"/>
                <a:gd name="connsiteX916" fmla="*/ 235722 w 584523"/>
                <a:gd name="connsiteY916" fmla="*/ 184416 h 407344"/>
                <a:gd name="connsiteX917" fmla="*/ 236110 w 584523"/>
                <a:gd name="connsiteY917" fmla="*/ 183641 h 407344"/>
                <a:gd name="connsiteX918" fmla="*/ 237014 w 584523"/>
                <a:gd name="connsiteY918" fmla="*/ 182349 h 407344"/>
                <a:gd name="connsiteX919" fmla="*/ 238307 w 584523"/>
                <a:gd name="connsiteY919" fmla="*/ 181961 h 407344"/>
                <a:gd name="connsiteX920" fmla="*/ 239082 w 584523"/>
                <a:gd name="connsiteY920" fmla="*/ 183382 h 407344"/>
                <a:gd name="connsiteX921" fmla="*/ 239470 w 584523"/>
                <a:gd name="connsiteY921" fmla="*/ 185450 h 407344"/>
                <a:gd name="connsiteX922" fmla="*/ 239599 w 584523"/>
                <a:gd name="connsiteY922" fmla="*/ 187260 h 407344"/>
                <a:gd name="connsiteX923" fmla="*/ 240116 w 584523"/>
                <a:gd name="connsiteY923" fmla="*/ 187647 h 407344"/>
                <a:gd name="connsiteX924" fmla="*/ 243605 w 584523"/>
                <a:gd name="connsiteY924" fmla="*/ 185967 h 407344"/>
                <a:gd name="connsiteX925" fmla="*/ 243993 w 584523"/>
                <a:gd name="connsiteY925" fmla="*/ 186484 h 407344"/>
                <a:gd name="connsiteX926" fmla="*/ 243217 w 584523"/>
                <a:gd name="connsiteY926" fmla="*/ 189069 h 407344"/>
                <a:gd name="connsiteX927" fmla="*/ 243217 w 584523"/>
                <a:gd name="connsiteY927" fmla="*/ 190103 h 407344"/>
                <a:gd name="connsiteX928" fmla="*/ 244898 w 584523"/>
                <a:gd name="connsiteY928" fmla="*/ 191654 h 407344"/>
                <a:gd name="connsiteX929" fmla="*/ 246836 w 584523"/>
                <a:gd name="connsiteY929" fmla="*/ 191524 h 407344"/>
                <a:gd name="connsiteX930" fmla="*/ 248904 w 584523"/>
                <a:gd name="connsiteY930" fmla="*/ 190619 h 407344"/>
                <a:gd name="connsiteX931" fmla="*/ 250971 w 584523"/>
                <a:gd name="connsiteY931" fmla="*/ 190103 h 407344"/>
                <a:gd name="connsiteX932" fmla="*/ 254073 w 584523"/>
                <a:gd name="connsiteY932" fmla="*/ 190490 h 407344"/>
                <a:gd name="connsiteX933" fmla="*/ 255107 w 584523"/>
                <a:gd name="connsiteY933" fmla="*/ 191524 h 407344"/>
                <a:gd name="connsiteX934" fmla="*/ 255495 w 584523"/>
                <a:gd name="connsiteY934" fmla="*/ 193334 h 407344"/>
                <a:gd name="connsiteX935" fmla="*/ 256528 w 584523"/>
                <a:gd name="connsiteY935" fmla="*/ 195789 h 407344"/>
                <a:gd name="connsiteX936" fmla="*/ 257433 w 584523"/>
                <a:gd name="connsiteY936" fmla="*/ 196693 h 407344"/>
                <a:gd name="connsiteX937" fmla="*/ 258338 w 584523"/>
                <a:gd name="connsiteY937" fmla="*/ 196952 h 407344"/>
                <a:gd name="connsiteX938" fmla="*/ 259372 w 584523"/>
                <a:gd name="connsiteY938" fmla="*/ 197081 h 407344"/>
                <a:gd name="connsiteX939" fmla="*/ 260405 w 584523"/>
                <a:gd name="connsiteY939" fmla="*/ 197728 h 407344"/>
                <a:gd name="connsiteX940" fmla="*/ 260923 w 584523"/>
                <a:gd name="connsiteY940" fmla="*/ 198632 h 407344"/>
                <a:gd name="connsiteX941" fmla="*/ 261052 w 584523"/>
                <a:gd name="connsiteY941" fmla="*/ 199537 h 407344"/>
                <a:gd name="connsiteX942" fmla="*/ 261310 w 584523"/>
                <a:gd name="connsiteY942" fmla="*/ 200441 h 407344"/>
                <a:gd name="connsiteX943" fmla="*/ 262215 w 584523"/>
                <a:gd name="connsiteY943" fmla="*/ 201346 h 407344"/>
                <a:gd name="connsiteX944" fmla="*/ 265058 w 584523"/>
                <a:gd name="connsiteY944" fmla="*/ 198632 h 407344"/>
                <a:gd name="connsiteX945" fmla="*/ 266609 w 584523"/>
                <a:gd name="connsiteY945" fmla="*/ 198115 h 407344"/>
                <a:gd name="connsiteX946" fmla="*/ 267255 w 584523"/>
                <a:gd name="connsiteY946" fmla="*/ 200183 h 407344"/>
                <a:gd name="connsiteX947" fmla="*/ 267901 w 584523"/>
                <a:gd name="connsiteY947" fmla="*/ 203155 h 407344"/>
                <a:gd name="connsiteX948" fmla="*/ 269452 w 584523"/>
                <a:gd name="connsiteY948" fmla="*/ 203802 h 407344"/>
                <a:gd name="connsiteX949" fmla="*/ 271390 w 584523"/>
                <a:gd name="connsiteY949" fmla="*/ 203672 h 407344"/>
                <a:gd name="connsiteX950" fmla="*/ 273200 w 584523"/>
                <a:gd name="connsiteY950" fmla="*/ 204706 h 407344"/>
                <a:gd name="connsiteX951" fmla="*/ 273458 w 584523"/>
                <a:gd name="connsiteY951" fmla="*/ 205869 h 407344"/>
                <a:gd name="connsiteX952" fmla="*/ 273200 w 584523"/>
                <a:gd name="connsiteY952" fmla="*/ 207161 h 407344"/>
                <a:gd name="connsiteX953" fmla="*/ 272683 w 584523"/>
                <a:gd name="connsiteY953" fmla="*/ 208324 h 407344"/>
                <a:gd name="connsiteX954" fmla="*/ 272553 w 584523"/>
                <a:gd name="connsiteY954" fmla="*/ 208971 h 407344"/>
                <a:gd name="connsiteX955" fmla="*/ 273071 w 584523"/>
                <a:gd name="connsiteY955" fmla="*/ 209488 h 407344"/>
                <a:gd name="connsiteX956" fmla="*/ 274880 w 584523"/>
                <a:gd name="connsiteY956" fmla="*/ 210263 h 407344"/>
                <a:gd name="connsiteX957" fmla="*/ 275784 w 584523"/>
                <a:gd name="connsiteY957" fmla="*/ 210909 h 407344"/>
                <a:gd name="connsiteX958" fmla="*/ 279532 w 584523"/>
                <a:gd name="connsiteY958" fmla="*/ 215045 h 407344"/>
                <a:gd name="connsiteX959" fmla="*/ 280566 w 584523"/>
                <a:gd name="connsiteY959" fmla="*/ 215562 h 407344"/>
                <a:gd name="connsiteX960" fmla="*/ 281600 w 584523"/>
                <a:gd name="connsiteY960" fmla="*/ 215303 h 407344"/>
                <a:gd name="connsiteX961" fmla="*/ 282634 w 584523"/>
                <a:gd name="connsiteY961" fmla="*/ 214786 h 407344"/>
                <a:gd name="connsiteX962" fmla="*/ 283668 w 584523"/>
                <a:gd name="connsiteY962" fmla="*/ 214657 h 407344"/>
                <a:gd name="connsiteX963" fmla="*/ 285348 w 584523"/>
                <a:gd name="connsiteY963" fmla="*/ 215562 h 407344"/>
                <a:gd name="connsiteX964" fmla="*/ 287932 w 584523"/>
                <a:gd name="connsiteY964" fmla="*/ 218146 h 407344"/>
                <a:gd name="connsiteX965" fmla="*/ 290905 w 584523"/>
                <a:gd name="connsiteY965" fmla="*/ 219051 h 407344"/>
                <a:gd name="connsiteX966" fmla="*/ 292843 w 584523"/>
                <a:gd name="connsiteY966" fmla="*/ 220731 h 407344"/>
                <a:gd name="connsiteX967" fmla="*/ 295299 w 584523"/>
                <a:gd name="connsiteY967" fmla="*/ 221377 h 407344"/>
                <a:gd name="connsiteX968" fmla="*/ 295557 w 584523"/>
                <a:gd name="connsiteY968" fmla="*/ 221894 h 407344"/>
                <a:gd name="connsiteX969" fmla="*/ 295557 w 584523"/>
                <a:gd name="connsiteY969" fmla="*/ 222669 h 407344"/>
                <a:gd name="connsiteX970" fmla="*/ 295945 w 584523"/>
                <a:gd name="connsiteY970" fmla="*/ 223574 h 407344"/>
                <a:gd name="connsiteX971" fmla="*/ 298400 w 584523"/>
                <a:gd name="connsiteY971" fmla="*/ 227322 h 407344"/>
                <a:gd name="connsiteX972" fmla="*/ 302536 w 584523"/>
                <a:gd name="connsiteY972" fmla="*/ 235076 h 407344"/>
                <a:gd name="connsiteX973" fmla="*/ 305508 w 584523"/>
                <a:gd name="connsiteY973" fmla="*/ 237661 h 407344"/>
                <a:gd name="connsiteX974" fmla="*/ 307705 w 584523"/>
                <a:gd name="connsiteY974" fmla="*/ 237014 h 407344"/>
                <a:gd name="connsiteX975" fmla="*/ 309643 w 584523"/>
                <a:gd name="connsiteY975" fmla="*/ 238436 h 407344"/>
                <a:gd name="connsiteX976" fmla="*/ 312874 w 584523"/>
                <a:gd name="connsiteY976" fmla="*/ 242701 h 407344"/>
                <a:gd name="connsiteX977" fmla="*/ 315976 w 584523"/>
                <a:gd name="connsiteY977" fmla="*/ 246061 h 407344"/>
                <a:gd name="connsiteX978" fmla="*/ 316493 w 584523"/>
                <a:gd name="connsiteY978" fmla="*/ 247611 h 407344"/>
                <a:gd name="connsiteX979" fmla="*/ 316493 w 584523"/>
                <a:gd name="connsiteY979" fmla="*/ 250067 h 407344"/>
                <a:gd name="connsiteX980" fmla="*/ 315330 w 584523"/>
                <a:gd name="connsiteY980" fmla="*/ 252005 h 407344"/>
                <a:gd name="connsiteX981" fmla="*/ 315330 w 584523"/>
                <a:gd name="connsiteY981" fmla="*/ 253039 h 407344"/>
                <a:gd name="connsiteX982" fmla="*/ 316881 w 584523"/>
                <a:gd name="connsiteY982" fmla="*/ 253427 h 407344"/>
                <a:gd name="connsiteX983" fmla="*/ 317656 w 584523"/>
                <a:gd name="connsiteY983" fmla="*/ 254073 h 407344"/>
                <a:gd name="connsiteX984" fmla="*/ 317785 w 584523"/>
                <a:gd name="connsiteY984" fmla="*/ 255624 h 407344"/>
                <a:gd name="connsiteX985" fmla="*/ 317656 w 584523"/>
                <a:gd name="connsiteY985" fmla="*/ 257304 h 407344"/>
                <a:gd name="connsiteX986" fmla="*/ 317914 w 584523"/>
                <a:gd name="connsiteY986" fmla="*/ 258338 h 407344"/>
                <a:gd name="connsiteX987" fmla="*/ 319336 w 584523"/>
                <a:gd name="connsiteY987" fmla="*/ 259113 h 407344"/>
                <a:gd name="connsiteX988" fmla="*/ 320370 w 584523"/>
                <a:gd name="connsiteY988" fmla="*/ 258726 h 407344"/>
                <a:gd name="connsiteX989" fmla="*/ 321145 w 584523"/>
                <a:gd name="connsiteY989" fmla="*/ 257950 h 407344"/>
                <a:gd name="connsiteX990" fmla="*/ 321921 w 584523"/>
                <a:gd name="connsiteY990" fmla="*/ 257563 h 407344"/>
                <a:gd name="connsiteX991" fmla="*/ 323084 w 584523"/>
                <a:gd name="connsiteY991" fmla="*/ 258079 h 407344"/>
                <a:gd name="connsiteX992" fmla="*/ 323859 w 584523"/>
                <a:gd name="connsiteY992" fmla="*/ 259113 h 407344"/>
                <a:gd name="connsiteX993" fmla="*/ 324764 w 584523"/>
                <a:gd name="connsiteY993" fmla="*/ 259759 h 407344"/>
                <a:gd name="connsiteX994" fmla="*/ 326056 w 584523"/>
                <a:gd name="connsiteY994" fmla="*/ 259113 h 407344"/>
                <a:gd name="connsiteX995" fmla="*/ 327995 w 584523"/>
                <a:gd name="connsiteY995" fmla="*/ 261827 h 407344"/>
                <a:gd name="connsiteX996" fmla="*/ 330062 w 584523"/>
                <a:gd name="connsiteY996" fmla="*/ 269064 h 407344"/>
                <a:gd name="connsiteX997" fmla="*/ 331226 w 584523"/>
                <a:gd name="connsiteY997" fmla="*/ 271649 h 407344"/>
                <a:gd name="connsiteX998" fmla="*/ 332389 w 584523"/>
                <a:gd name="connsiteY998" fmla="*/ 272553 h 407344"/>
                <a:gd name="connsiteX999" fmla="*/ 335232 w 584523"/>
                <a:gd name="connsiteY999" fmla="*/ 273975 h 407344"/>
                <a:gd name="connsiteX1000" fmla="*/ 336266 w 584523"/>
                <a:gd name="connsiteY1000" fmla="*/ 274880 h 407344"/>
                <a:gd name="connsiteX1001" fmla="*/ 336912 w 584523"/>
                <a:gd name="connsiteY1001" fmla="*/ 275784 h 407344"/>
                <a:gd name="connsiteX1002" fmla="*/ 338463 w 584523"/>
                <a:gd name="connsiteY1002" fmla="*/ 279015 h 407344"/>
                <a:gd name="connsiteX1003" fmla="*/ 342081 w 584523"/>
                <a:gd name="connsiteY1003" fmla="*/ 284055 h 407344"/>
                <a:gd name="connsiteX1004" fmla="*/ 343761 w 584523"/>
                <a:gd name="connsiteY1004" fmla="*/ 287416 h 407344"/>
                <a:gd name="connsiteX1005" fmla="*/ 344278 w 584523"/>
                <a:gd name="connsiteY1005" fmla="*/ 288191 h 407344"/>
                <a:gd name="connsiteX1006" fmla="*/ 345183 w 584523"/>
                <a:gd name="connsiteY1006" fmla="*/ 288708 h 407344"/>
                <a:gd name="connsiteX1007" fmla="*/ 348672 w 584523"/>
                <a:gd name="connsiteY1007" fmla="*/ 289871 h 407344"/>
                <a:gd name="connsiteX1008" fmla="*/ 353066 w 584523"/>
                <a:gd name="connsiteY1008" fmla="*/ 293231 h 407344"/>
                <a:gd name="connsiteX1009" fmla="*/ 354358 w 584523"/>
                <a:gd name="connsiteY1009" fmla="*/ 292197 h 407344"/>
                <a:gd name="connsiteX1010" fmla="*/ 355780 w 584523"/>
                <a:gd name="connsiteY1010" fmla="*/ 291680 h 407344"/>
                <a:gd name="connsiteX1011" fmla="*/ 357331 w 584523"/>
                <a:gd name="connsiteY1011" fmla="*/ 291422 h 407344"/>
                <a:gd name="connsiteX1012" fmla="*/ 359011 w 584523"/>
                <a:gd name="connsiteY1012" fmla="*/ 291551 h 407344"/>
                <a:gd name="connsiteX1013" fmla="*/ 360303 w 584523"/>
                <a:gd name="connsiteY1013" fmla="*/ 292068 h 407344"/>
                <a:gd name="connsiteX1014" fmla="*/ 362371 w 584523"/>
                <a:gd name="connsiteY1014" fmla="*/ 293619 h 407344"/>
                <a:gd name="connsiteX1015" fmla="*/ 363017 w 584523"/>
                <a:gd name="connsiteY1015" fmla="*/ 294006 h 407344"/>
                <a:gd name="connsiteX1016" fmla="*/ 369349 w 584523"/>
                <a:gd name="connsiteY1016" fmla="*/ 294394 h 407344"/>
                <a:gd name="connsiteX1017" fmla="*/ 372322 w 584523"/>
                <a:gd name="connsiteY1017" fmla="*/ 295428 h 407344"/>
                <a:gd name="connsiteX1018" fmla="*/ 373614 w 584523"/>
                <a:gd name="connsiteY1018" fmla="*/ 297496 h 407344"/>
                <a:gd name="connsiteX1019" fmla="*/ 375294 w 584523"/>
                <a:gd name="connsiteY1019" fmla="*/ 296462 h 407344"/>
                <a:gd name="connsiteX1020" fmla="*/ 376716 w 584523"/>
                <a:gd name="connsiteY1020" fmla="*/ 296074 h 407344"/>
                <a:gd name="connsiteX1021" fmla="*/ 387571 w 584523"/>
                <a:gd name="connsiteY1021" fmla="*/ 297496 h 407344"/>
                <a:gd name="connsiteX1022" fmla="*/ 389510 w 584523"/>
                <a:gd name="connsiteY1022" fmla="*/ 298400 h 407344"/>
                <a:gd name="connsiteX1023" fmla="*/ 391965 w 584523"/>
                <a:gd name="connsiteY1023" fmla="*/ 300856 h 407344"/>
                <a:gd name="connsiteX1024" fmla="*/ 393387 w 584523"/>
                <a:gd name="connsiteY1024" fmla="*/ 301760 h 407344"/>
                <a:gd name="connsiteX1025" fmla="*/ 395196 w 584523"/>
                <a:gd name="connsiteY1025" fmla="*/ 301760 h 407344"/>
                <a:gd name="connsiteX1026" fmla="*/ 395454 w 584523"/>
                <a:gd name="connsiteY1026" fmla="*/ 300339 h 407344"/>
                <a:gd name="connsiteX1027" fmla="*/ 395454 w 584523"/>
                <a:gd name="connsiteY1027" fmla="*/ 298400 h 407344"/>
                <a:gd name="connsiteX1028" fmla="*/ 396488 w 584523"/>
                <a:gd name="connsiteY1028" fmla="*/ 296849 h 407344"/>
                <a:gd name="connsiteX1029" fmla="*/ 397781 w 584523"/>
                <a:gd name="connsiteY1029" fmla="*/ 296849 h 407344"/>
                <a:gd name="connsiteX1030" fmla="*/ 398298 w 584523"/>
                <a:gd name="connsiteY1030" fmla="*/ 298012 h 407344"/>
                <a:gd name="connsiteX1031" fmla="*/ 398556 w 584523"/>
                <a:gd name="connsiteY1031" fmla="*/ 299434 h 407344"/>
                <a:gd name="connsiteX1032" fmla="*/ 398944 w 584523"/>
                <a:gd name="connsiteY1032" fmla="*/ 300080 h 407344"/>
                <a:gd name="connsiteX1033" fmla="*/ 400107 w 584523"/>
                <a:gd name="connsiteY1033" fmla="*/ 300210 h 407344"/>
                <a:gd name="connsiteX1034" fmla="*/ 402304 w 584523"/>
                <a:gd name="connsiteY1034" fmla="*/ 300727 h 407344"/>
                <a:gd name="connsiteX1035" fmla="*/ 404759 w 584523"/>
                <a:gd name="connsiteY1035" fmla="*/ 300985 h 407344"/>
                <a:gd name="connsiteX1036" fmla="*/ 405793 w 584523"/>
                <a:gd name="connsiteY1036" fmla="*/ 301243 h 407344"/>
                <a:gd name="connsiteX1037" fmla="*/ 406827 w 584523"/>
                <a:gd name="connsiteY1037" fmla="*/ 301243 h 407344"/>
                <a:gd name="connsiteX1038" fmla="*/ 408249 w 584523"/>
                <a:gd name="connsiteY1038" fmla="*/ 300856 h 407344"/>
                <a:gd name="connsiteX1039" fmla="*/ 410704 w 584523"/>
                <a:gd name="connsiteY1039" fmla="*/ 298917 h 407344"/>
                <a:gd name="connsiteX1040" fmla="*/ 413676 w 584523"/>
                <a:gd name="connsiteY1040" fmla="*/ 297754 h 407344"/>
                <a:gd name="connsiteX1041" fmla="*/ 414710 w 584523"/>
                <a:gd name="connsiteY1041" fmla="*/ 297883 h 407344"/>
                <a:gd name="connsiteX1042" fmla="*/ 415873 w 584523"/>
                <a:gd name="connsiteY1042" fmla="*/ 298917 h 407344"/>
                <a:gd name="connsiteX1043" fmla="*/ 417166 w 584523"/>
                <a:gd name="connsiteY1043" fmla="*/ 300339 h 407344"/>
                <a:gd name="connsiteX1044" fmla="*/ 417683 w 584523"/>
                <a:gd name="connsiteY1044" fmla="*/ 300339 h 407344"/>
                <a:gd name="connsiteX1045" fmla="*/ 418200 w 584523"/>
                <a:gd name="connsiteY1045" fmla="*/ 299693 h 407344"/>
                <a:gd name="connsiteX1046" fmla="*/ 419621 w 584523"/>
                <a:gd name="connsiteY1046" fmla="*/ 299305 h 407344"/>
                <a:gd name="connsiteX1047" fmla="*/ 423369 w 584523"/>
                <a:gd name="connsiteY1047" fmla="*/ 297754 h 407344"/>
                <a:gd name="connsiteX1048" fmla="*/ 424403 w 584523"/>
                <a:gd name="connsiteY1048" fmla="*/ 297625 h 407344"/>
                <a:gd name="connsiteX1049" fmla="*/ 425308 w 584523"/>
                <a:gd name="connsiteY1049" fmla="*/ 298400 h 407344"/>
                <a:gd name="connsiteX1050" fmla="*/ 425824 w 584523"/>
                <a:gd name="connsiteY1050" fmla="*/ 299434 h 407344"/>
                <a:gd name="connsiteX1051" fmla="*/ 426342 w 584523"/>
                <a:gd name="connsiteY1051" fmla="*/ 300597 h 407344"/>
                <a:gd name="connsiteX1052" fmla="*/ 427117 w 584523"/>
                <a:gd name="connsiteY1052" fmla="*/ 301760 h 407344"/>
                <a:gd name="connsiteX1053" fmla="*/ 428409 w 584523"/>
                <a:gd name="connsiteY1053" fmla="*/ 302665 h 407344"/>
                <a:gd name="connsiteX1054" fmla="*/ 430218 w 584523"/>
                <a:gd name="connsiteY1054" fmla="*/ 303182 h 407344"/>
                <a:gd name="connsiteX1055" fmla="*/ 434095 w 584523"/>
                <a:gd name="connsiteY1055" fmla="*/ 303440 h 407344"/>
                <a:gd name="connsiteX1056" fmla="*/ 434742 w 584523"/>
                <a:gd name="connsiteY1056" fmla="*/ 302794 h 407344"/>
                <a:gd name="connsiteX1057" fmla="*/ 435129 w 584523"/>
                <a:gd name="connsiteY1057" fmla="*/ 301502 h 407344"/>
                <a:gd name="connsiteX1058" fmla="*/ 435646 w 584523"/>
                <a:gd name="connsiteY1058" fmla="*/ 300339 h 407344"/>
                <a:gd name="connsiteX1059" fmla="*/ 436680 w 584523"/>
                <a:gd name="connsiteY1059" fmla="*/ 300080 h 407344"/>
                <a:gd name="connsiteX1060" fmla="*/ 437197 w 584523"/>
                <a:gd name="connsiteY1060" fmla="*/ 300856 h 407344"/>
                <a:gd name="connsiteX1061" fmla="*/ 438360 w 584523"/>
                <a:gd name="connsiteY1061" fmla="*/ 303957 h 407344"/>
                <a:gd name="connsiteX1062" fmla="*/ 438877 w 584523"/>
                <a:gd name="connsiteY1062" fmla="*/ 305121 h 407344"/>
                <a:gd name="connsiteX1063" fmla="*/ 441849 w 584523"/>
                <a:gd name="connsiteY1063" fmla="*/ 307188 h 407344"/>
                <a:gd name="connsiteX1064" fmla="*/ 442108 w 584523"/>
                <a:gd name="connsiteY1064" fmla="*/ 307576 h 407344"/>
                <a:gd name="connsiteX1065" fmla="*/ 441720 w 584523"/>
                <a:gd name="connsiteY1065" fmla="*/ 308093 h 407344"/>
                <a:gd name="connsiteX1066" fmla="*/ 440816 w 584523"/>
                <a:gd name="connsiteY1066" fmla="*/ 308997 h 407344"/>
                <a:gd name="connsiteX1067" fmla="*/ 440557 w 584523"/>
                <a:gd name="connsiteY1067" fmla="*/ 309514 h 407344"/>
                <a:gd name="connsiteX1068" fmla="*/ 440557 w 584523"/>
                <a:gd name="connsiteY1068" fmla="*/ 310548 h 407344"/>
                <a:gd name="connsiteX1069" fmla="*/ 440686 w 584523"/>
                <a:gd name="connsiteY1069" fmla="*/ 311453 h 407344"/>
                <a:gd name="connsiteX1070" fmla="*/ 442754 w 584523"/>
                <a:gd name="connsiteY1070" fmla="*/ 315459 h 407344"/>
                <a:gd name="connsiteX1071" fmla="*/ 442237 w 584523"/>
                <a:gd name="connsiteY1071" fmla="*/ 317139 h 407344"/>
                <a:gd name="connsiteX1072" fmla="*/ 440945 w 584523"/>
                <a:gd name="connsiteY1072" fmla="*/ 318044 h 407344"/>
                <a:gd name="connsiteX1073" fmla="*/ 440169 w 584523"/>
                <a:gd name="connsiteY1073" fmla="*/ 318173 h 407344"/>
                <a:gd name="connsiteX1074" fmla="*/ 439394 w 584523"/>
                <a:gd name="connsiteY1074" fmla="*/ 318173 h 407344"/>
                <a:gd name="connsiteX1075" fmla="*/ 438748 w 584523"/>
                <a:gd name="connsiteY1075" fmla="*/ 318044 h 407344"/>
                <a:gd name="connsiteX1076" fmla="*/ 438102 w 584523"/>
                <a:gd name="connsiteY1076" fmla="*/ 317785 h 407344"/>
                <a:gd name="connsiteX1077" fmla="*/ 437068 w 584523"/>
                <a:gd name="connsiteY1077" fmla="*/ 317139 h 407344"/>
                <a:gd name="connsiteX1078" fmla="*/ 436422 w 584523"/>
                <a:gd name="connsiteY1078" fmla="*/ 316881 h 407344"/>
                <a:gd name="connsiteX1079" fmla="*/ 435775 w 584523"/>
                <a:gd name="connsiteY1079" fmla="*/ 316751 h 407344"/>
                <a:gd name="connsiteX1080" fmla="*/ 435129 w 584523"/>
                <a:gd name="connsiteY1080" fmla="*/ 316751 h 407344"/>
                <a:gd name="connsiteX1081" fmla="*/ 434483 w 584523"/>
                <a:gd name="connsiteY1081" fmla="*/ 316881 h 407344"/>
                <a:gd name="connsiteX1082" fmla="*/ 433966 w 584523"/>
                <a:gd name="connsiteY1082" fmla="*/ 317139 h 407344"/>
                <a:gd name="connsiteX1083" fmla="*/ 433449 w 584523"/>
                <a:gd name="connsiteY1083" fmla="*/ 317527 h 407344"/>
                <a:gd name="connsiteX1084" fmla="*/ 432674 w 584523"/>
                <a:gd name="connsiteY1084" fmla="*/ 318302 h 407344"/>
                <a:gd name="connsiteX1085" fmla="*/ 432286 w 584523"/>
                <a:gd name="connsiteY1085" fmla="*/ 318819 h 407344"/>
                <a:gd name="connsiteX1086" fmla="*/ 428926 w 584523"/>
                <a:gd name="connsiteY1086" fmla="*/ 325281 h 407344"/>
                <a:gd name="connsiteX1087" fmla="*/ 427892 w 584523"/>
                <a:gd name="connsiteY1087" fmla="*/ 326702 h 407344"/>
                <a:gd name="connsiteX1088" fmla="*/ 426988 w 584523"/>
                <a:gd name="connsiteY1088" fmla="*/ 327607 h 407344"/>
                <a:gd name="connsiteX1089" fmla="*/ 425695 w 584523"/>
                <a:gd name="connsiteY1089" fmla="*/ 327995 h 407344"/>
                <a:gd name="connsiteX1090" fmla="*/ 425049 w 584523"/>
                <a:gd name="connsiteY1090" fmla="*/ 328253 h 407344"/>
                <a:gd name="connsiteX1091" fmla="*/ 424015 w 584523"/>
                <a:gd name="connsiteY1091" fmla="*/ 328770 h 407344"/>
                <a:gd name="connsiteX1092" fmla="*/ 423498 w 584523"/>
                <a:gd name="connsiteY1092" fmla="*/ 329158 h 407344"/>
                <a:gd name="connsiteX1093" fmla="*/ 421818 w 584523"/>
                <a:gd name="connsiteY1093" fmla="*/ 331613 h 407344"/>
                <a:gd name="connsiteX1094" fmla="*/ 421172 w 584523"/>
                <a:gd name="connsiteY1094" fmla="*/ 332001 h 407344"/>
                <a:gd name="connsiteX1095" fmla="*/ 420655 w 584523"/>
                <a:gd name="connsiteY1095" fmla="*/ 331872 h 407344"/>
                <a:gd name="connsiteX1096" fmla="*/ 420397 w 584523"/>
                <a:gd name="connsiteY1096" fmla="*/ 331355 h 407344"/>
                <a:gd name="connsiteX1097" fmla="*/ 420397 w 584523"/>
                <a:gd name="connsiteY1097" fmla="*/ 330709 h 407344"/>
                <a:gd name="connsiteX1098" fmla="*/ 420397 w 584523"/>
                <a:gd name="connsiteY1098" fmla="*/ 330192 h 407344"/>
                <a:gd name="connsiteX1099" fmla="*/ 420268 w 584523"/>
                <a:gd name="connsiteY1099" fmla="*/ 329675 h 407344"/>
                <a:gd name="connsiteX1100" fmla="*/ 419880 w 584523"/>
                <a:gd name="connsiteY1100" fmla="*/ 329545 h 407344"/>
                <a:gd name="connsiteX1101" fmla="*/ 419363 w 584523"/>
                <a:gd name="connsiteY1101" fmla="*/ 329675 h 407344"/>
                <a:gd name="connsiteX1102" fmla="*/ 418975 w 584523"/>
                <a:gd name="connsiteY1102" fmla="*/ 330063 h 407344"/>
                <a:gd name="connsiteX1103" fmla="*/ 418587 w 584523"/>
                <a:gd name="connsiteY1103" fmla="*/ 330709 h 407344"/>
                <a:gd name="connsiteX1104" fmla="*/ 418458 w 584523"/>
                <a:gd name="connsiteY1104" fmla="*/ 331484 h 407344"/>
                <a:gd name="connsiteX1105" fmla="*/ 418587 w 584523"/>
                <a:gd name="connsiteY1105" fmla="*/ 332906 h 407344"/>
                <a:gd name="connsiteX1106" fmla="*/ 418846 w 584523"/>
                <a:gd name="connsiteY1106" fmla="*/ 333681 h 407344"/>
                <a:gd name="connsiteX1107" fmla="*/ 418975 w 584523"/>
                <a:gd name="connsiteY1107" fmla="*/ 334456 h 407344"/>
                <a:gd name="connsiteX1108" fmla="*/ 418846 w 584523"/>
                <a:gd name="connsiteY1108" fmla="*/ 335232 h 407344"/>
                <a:gd name="connsiteX1109" fmla="*/ 418200 w 584523"/>
                <a:gd name="connsiteY1109" fmla="*/ 336137 h 407344"/>
                <a:gd name="connsiteX1110" fmla="*/ 417554 w 584523"/>
                <a:gd name="connsiteY1110" fmla="*/ 336654 h 407344"/>
                <a:gd name="connsiteX1111" fmla="*/ 416520 w 584523"/>
                <a:gd name="connsiteY1111" fmla="*/ 337429 h 407344"/>
                <a:gd name="connsiteX1112" fmla="*/ 416132 w 584523"/>
                <a:gd name="connsiteY1112" fmla="*/ 337817 h 407344"/>
                <a:gd name="connsiteX1113" fmla="*/ 415873 w 584523"/>
                <a:gd name="connsiteY1113" fmla="*/ 338204 h 407344"/>
                <a:gd name="connsiteX1114" fmla="*/ 415744 w 584523"/>
                <a:gd name="connsiteY1114" fmla="*/ 338463 h 407344"/>
                <a:gd name="connsiteX1115" fmla="*/ 415486 w 584523"/>
                <a:gd name="connsiteY1115" fmla="*/ 339367 h 407344"/>
                <a:gd name="connsiteX1116" fmla="*/ 414710 w 584523"/>
                <a:gd name="connsiteY1116" fmla="*/ 344020 h 407344"/>
                <a:gd name="connsiteX1117" fmla="*/ 414581 w 584523"/>
                <a:gd name="connsiteY1117" fmla="*/ 346992 h 407344"/>
                <a:gd name="connsiteX1118" fmla="*/ 416261 w 584523"/>
                <a:gd name="connsiteY1118" fmla="*/ 358494 h 407344"/>
                <a:gd name="connsiteX1119" fmla="*/ 416003 w 584523"/>
                <a:gd name="connsiteY1119" fmla="*/ 359657 h 407344"/>
                <a:gd name="connsiteX1120" fmla="*/ 415615 w 584523"/>
                <a:gd name="connsiteY1120" fmla="*/ 361078 h 407344"/>
                <a:gd name="connsiteX1121" fmla="*/ 414064 w 584523"/>
                <a:gd name="connsiteY1121" fmla="*/ 365343 h 407344"/>
                <a:gd name="connsiteX1122" fmla="*/ 413418 w 584523"/>
                <a:gd name="connsiteY1122" fmla="*/ 368316 h 407344"/>
                <a:gd name="connsiteX1123" fmla="*/ 412772 w 584523"/>
                <a:gd name="connsiteY1123" fmla="*/ 369479 h 407344"/>
                <a:gd name="connsiteX1124" fmla="*/ 410575 w 584523"/>
                <a:gd name="connsiteY1124" fmla="*/ 371805 h 407344"/>
                <a:gd name="connsiteX1125" fmla="*/ 410446 w 584523"/>
                <a:gd name="connsiteY1125" fmla="*/ 372193 h 407344"/>
                <a:gd name="connsiteX1126" fmla="*/ 410316 w 584523"/>
                <a:gd name="connsiteY1126" fmla="*/ 372839 h 407344"/>
                <a:gd name="connsiteX1127" fmla="*/ 410316 w 584523"/>
                <a:gd name="connsiteY1127" fmla="*/ 374002 h 407344"/>
                <a:gd name="connsiteX1128" fmla="*/ 410575 w 584523"/>
                <a:gd name="connsiteY1128" fmla="*/ 375682 h 407344"/>
                <a:gd name="connsiteX1129" fmla="*/ 410446 w 584523"/>
                <a:gd name="connsiteY1129" fmla="*/ 376457 h 407344"/>
                <a:gd name="connsiteX1130" fmla="*/ 410058 w 584523"/>
                <a:gd name="connsiteY1130" fmla="*/ 376974 h 407344"/>
                <a:gd name="connsiteX1131" fmla="*/ 409283 w 584523"/>
                <a:gd name="connsiteY1131" fmla="*/ 377233 h 407344"/>
                <a:gd name="connsiteX1132" fmla="*/ 408636 w 584523"/>
                <a:gd name="connsiteY1132" fmla="*/ 377104 h 407344"/>
                <a:gd name="connsiteX1133" fmla="*/ 408120 w 584523"/>
                <a:gd name="connsiteY1133" fmla="*/ 376974 h 407344"/>
                <a:gd name="connsiteX1134" fmla="*/ 407602 w 584523"/>
                <a:gd name="connsiteY1134" fmla="*/ 376974 h 407344"/>
                <a:gd name="connsiteX1135" fmla="*/ 407215 w 584523"/>
                <a:gd name="connsiteY1135" fmla="*/ 377362 h 407344"/>
                <a:gd name="connsiteX1136" fmla="*/ 406698 w 584523"/>
                <a:gd name="connsiteY1136" fmla="*/ 378137 h 407344"/>
                <a:gd name="connsiteX1137" fmla="*/ 406181 w 584523"/>
                <a:gd name="connsiteY1137" fmla="*/ 378525 h 407344"/>
                <a:gd name="connsiteX1138" fmla="*/ 405664 w 584523"/>
                <a:gd name="connsiteY1138" fmla="*/ 378525 h 407344"/>
                <a:gd name="connsiteX1139" fmla="*/ 405276 w 584523"/>
                <a:gd name="connsiteY1139" fmla="*/ 378137 h 407344"/>
                <a:gd name="connsiteX1140" fmla="*/ 405018 w 584523"/>
                <a:gd name="connsiteY1140" fmla="*/ 377620 h 407344"/>
                <a:gd name="connsiteX1141" fmla="*/ 404501 w 584523"/>
                <a:gd name="connsiteY1141" fmla="*/ 376457 h 407344"/>
                <a:gd name="connsiteX1142" fmla="*/ 404113 w 584523"/>
                <a:gd name="connsiteY1142" fmla="*/ 375940 h 407344"/>
                <a:gd name="connsiteX1143" fmla="*/ 403596 w 584523"/>
                <a:gd name="connsiteY1143" fmla="*/ 375682 h 407344"/>
                <a:gd name="connsiteX1144" fmla="*/ 403079 w 584523"/>
                <a:gd name="connsiteY1144" fmla="*/ 375682 h 407344"/>
                <a:gd name="connsiteX1145" fmla="*/ 402562 w 584523"/>
                <a:gd name="connsiteY1145" fmla="*/ 376199 h 407344"/>
                <a:gd name="connsiteX1146" fmla="*/ 402046 w 584523"/>
                <a:gd name="connsiteY1146" fmla="*/ 377104 h 407344"/>
                <a:gd name="connsiteX1147" fmla="*/ 401399 w 584523"/>
                <a:gd name="connsiteY1147" fmla="*/ 378913 h 407344"/>
                <a:gd name="connsiteX1148" fmla="*/ 400495 w 584523"/>
                <a:gd name="connsiteY1148" fmla="*/ 380593 h 407344"/>
                <a:gd name="connsiteX1149" fmla="*/ 398944 w 584523"/>
                <a:gd name="connsiteY1149" fmla="*/ 382531 h 407344"/>
                <a:gd name="connsiteX1150" fmla="*/ 395454 w 584523"/>
                <a:gd name="connsiteY1150" fmla="*/ 385762 h 407344"/>
                <a:gd name="connsiteX1151" fmla="*/ 393516 w 584523"/>
                <a:gd name="connsiteY1151" fmla="*/ 387055 h 407344"/>
                <a:gd name="connsiteX1152" fmla="*/ 393128 w 584523"/>
                <a:gd name="connsiteY1152" fmla="*/ 387442 h 407344"/>
                <a:gd name="connsiteX1153" fmla="*/ 392482 w 584523"/>
                <a:gd name="connsiteY1153" fmla="*/ 387830 h 407344"/>
                <a:gd name="connsiteX1154" fmla="*/ 392353 w 584523"/>
                <a:gd name="connsiteY1154" fmla="*/ 388864 h 407344"/>
                <a:gd name="connsiteX1155" fmla="*/ 392741 w 584523"/>
                <a:gd name="connsiteY1155" fmla="*/ 391061 h 407344"/>
                <a:gd name="connsiteX1156" fmla="*/ 392870 w 584523"/>
                <a:gd name="connsiteY1156" fmla="*/ 393387 h 407344"/>
                <a:gd name="connsiteX1157" fmla="*/ 392224 w 584523"/>
                <a:gd name="connsiteY1157" fmla="*/ 397005 h 407344"/>
                <a:gd name="connsiteX1158" fmla="*/ 392094 w 584523"/>
                <a:gd name="connsiteY1158" fmla="*/ 397781 h 407344"/>
                <a:gd name="connsiteX1159" fmla="*/ 392094 w 584523"/>
                <a:gd name="connsiteY1159" fmla="*/ 398556 h 407344"/>
                <a:gd name="connsiteX1160" fmla="*/ 392224 w 584523"/>
                <a:gd name="connsiteY1160" fmla="*/ 399332 h 407344"/>
                <a:gd name="connsiteX1161" fmla="*/ 392612 w 584523"/>
                <a:gd name="connsiteY1161" fmla="*/ 400107 h 407344"/>
                <a:gd name="connsiteX1162" fmla="*/ 393904 w 584523"/>
                <a:gd name="connsiteY1162" fmla="*/ 401141 h 407344"/>
                <a:gd name="connsiteX1163" fmla="*/ 394808 w 584523"/>
                <a:gd name="connsiteY1163" fmla="*/ 401658 h 407344"/>
                <a:gd name="connsiteX1164" fmla="*/ 400365 w 584523"/>
                <a:gd name="connsiteY1164" fmla="*/ 403338 h 407344"/>
                <a:gd name="connsiteX1165" fmla="*/ 401141 w 584523"/>
                <a:gd name="connsiteY1165" fmla="*/ 403984 h 407344"/>
                <a:gd name="connsiteX1166" fmla="*/ 401916 w 584523"/>
                <a:gd name="connsiteY1166" fmla="*/ 404759 h 407344"/>
                <a:gd name="connsiteX1167" fmla="*/ 403338 w 584523"/>
                <a:gd name="connsiteY1167" fmla="*/ 406698 h 407344"/>
                <a:gd name="connsiteX1168" fmla="*/ 403726 w 584523"/>
                <a:gd name="connsiteY1168" fmla="*/ 407086 h 407344"/>
                <a:gd name="connsiteX1169" fmla="*/ 404242 w 584523"/>
                <a:gd name="connsiteY1169" fmla="*/ 407344 h 407344"/>
                <a:gd name="connsiteX1170" fmla="*/ 404889 w 584523"/>
                <a:gd name="connsiteY1170" fmla="*/ 407215 h 407344"/>
                <a:gd name="connsiteX1171" fmla="*/ 405535 w 584523"/>
                <a:gd name="connsiteY1171" fmla="*/ 406698 h 407344"/>
                <a:gd name="connsiteX1172" fmla="*/ 406181 w 584523"/>
                <a:gd name="connsiteY1172" fmla="*/ 405018 h 407344"/>
                <a:gd name="connsiteX1173" fmla="*/ 406310 w 584523"/>
                <a:gd name="connsiteY1173" fmla="*/ 403984 h 407344"/>
                <a:gd name="connsiteX1174" fmla="*/ 406310 w 584523"/>
                <a:gd name="connsiteY1174" fmla="*/ 403079 h 407344"/>
                <a:gd name="connsiteX1175" fmla="*/ 406181 w 584523"/>
                <a:gd name="connsiteY1175" fmla="*/ 402433 h 407344"/>
                <a:gd name="connsiteX1176" fmla="*/ 405664 w 584523"/>
                <a:gd name="connsiteY1176" fmla="*/ 401270 h 407344"/>
                <a:gd name="connsiteX1177" fmla="*/ 405406 w 584523"/>
                <a:gd name="connsiteY1177" fmla="*/ 400753 h 407344"/>
                <a:gd name="connsiteX1178" fmla="*/ 405018 w 584523"/>
                <a:gd name="connsiteY1178" fmla="*/ 400236 h 407344"/>
                <a:gd name="connsiteX1179" fmla="*/ 404242 w 584523"/>
                <a:gd name="connsiteY1179" fmla="*/ 399461 h 407344"/>
                <a:gd name="connsiteX1180" fmla="*/ 400365 w 584523"/>
                <a:gd name="connsiteY1180" fmla="*/ 396489 h 407344"/>
                <a:gd name="connsiteX1181" fmla="*/ 399978 w 584523"/>
                <a:gd name="connsiteY1181" fmla="*/ 395972 h 407344"/>
                <a:gd name="connsiteX1182" fmla="*/ 399719 w 584523"/>
                <a:gd name="connsiteY1182" fmla="*/ 395455 h 407344"/>
                <a:gd name="connsiteX1183" fmla="*/ 399719 w 584523"/>
                <a:gd name="connsiteY1183" fmla="*/ 394809 h 407344"/>
                <a:gd name="connsiteX1184" fmla="*/ 400236 w 584523"/>
                <a:gd name="connsiteY1184" fmla="*/ 394162 h 407344"/>
                <a:gd name="connsiteX1185" fmla="*/ 401270 w 584523"/>
                <a:gd name="connsiteY1185" fmla="*/ 393646 h 407344"/>
                <a:gd name="connsiteX1186" fmla="*/ 406181 w 584523"/>
                <a:gd name="connsiteY1186" fmla="*/ 392611 h 407344"/>
                <a:gd name="connsiteX1187" fmla="*/ 407215 w 584523"/>
                <a:gd name="connsiteY1187" fmla="*/ 392224 h 407344"/>
                <a:gd name="connsiteX1188" fmla="*/ 409541 w 584523"/>
                <a:gd name="connsiteY1188" fmla="*/ 390802 h 407344"/>
                <a:gd name="connsiteX1189" fmla="*/ 410058 w 584523"/>
                <a:gd name="connsiteY1189" fmla="*/ 390544 h 407344"/>
                <a:gd name="connsiteX1190" fmla="*/ 410704 w 584523"/>
                <a:gd name="connsiteY1190" fmla="*/ 390544 h 407344"/>
                <a:gd name="connsiteX1191" fmla="*/ 412513 w 584523"/>
                <a:gd name="connsiteY1191" fmla="*/ 390544 h 407344"/>
                <a:gd name="connsiteX1192" fmla="*/ 413160 w 584523"/>
                <a:gd name="connsiteY1192" fmla="*/ 390156 h 407344"/>
                <a:gd name="connsiteX1193" fmla="*/ 413676 w 584523"/>
                <a:gd name="connsiteY1193" fmla="*/ 388476 h 407344"/>
                <a:gd name="connsiteX1194" fmla="*/ 414194 w 584523"/>
                <a:gd name="connsiteY1194" fmla="*/ 387959 h 407344"/>
                <a:gd name="connsiteX1195" fmla="*/ 414710 w 584523"/>
                <a:gd name="connsiteY1195" fmla="*/ 387701 h 407344"/>
                <a:gd name="connsiteX1196" fmla="*/ 417424 w 584523"/>
                <a:gd name="connsiteY1196" fmla="*/ 387959 h 407344"/>
                <a:gd name="connsiteX1197" fmla="*/ 423628 w 584523"/>
                <a:gd name="connsiteY1197" fmla="*/ 390544 h 407344"/>
                <a:gd name="connsiteX1198" fmla="*/ 424403 w 584523"/>
                <a:gd name="connsiteY1198" fmla="*/ 391061 h 407344"/>
                <a:gd name="connsiteX1199" fmla="*/ 425308 w 584523"/>
                <a:gd name="connsiteY1199" fmla="*/ 391836 h 407344"/>
                <a:gd name="connsiteX1200" fmla="*/ 429702 w 584523"/>
                <a:gd name="connsiteY1200" fmla="*/ 397005 h 407344"/>
                <a:gd name="connsiteX1201" fmla="*/ 431511 w 584523"/>
                <a:gd name="connsiteY1201" fmla="*/ 398039 h 407344"/>
                <a:gd name="connsiteX1202" fmla="*/ 434871 w 584523"/>
                <a:gd name="connsiteY1202" fmla="*/ 399073 h 407344"/>
                <a:gd name="connsiteX1203" fmla="*/ 435905 w 584523"/>
                <a:gd name="connsiteY1203" fmla="*/ 399203 h 407344"/>
                <a:gd name="connsiteX1204" fmla="*/ 436680 w 584523"/>
                <a:gd name="connsiteY1204" fmla="*/ 399461 h 407344"/>
                <a:gd name="connsiteX1205" fmla="*/ 437326 w 584523"/>
                <a:gd name="connsiteY1205" fmla="*/ 399849 h 407344"/>
                <a:gd name="connsiteX1206" fmla="*/ 437843 w 584523"/>
                <a:gd name="connsiteY1206" fmla="*/ 400883 h 407344"/>
                <a:gd name="connsiteX1207" fmla="*/ 438102 w 584523"/>
                <a:gd name="connsiteY1207" fmla="*/ 402433 h 407344"/>
                <a:gd name="connsiteX1208" fmla="*/ 438489 w 584523"/>
                <a:gd name="connsiteY1208" fmla="*/ 402950 h 407344"/>
                <a:gd name="connsiteX1209" fmla="*/ 438877 w 584523"/>
                <a:gd name="connsiteY1209" fmla="*/ 403338 h 407344"/>
                <a:gd name="connsiteX1210" fmla="*/ 440428 w 584523"/>
                <a:gd name="connsiteY1210" fmla="*/ 403338 h 407344"/>
                <a:gd name="connsiteX1211" fmla="*/ 457745 w 584523"/>
                <a:gd name="connsiteY1211" fmla="*/ 379300 h 407344"/>
                <a:gd name="connsiteX1212" fmla="*/ 480232 w 584523"/>
                <a:gd name="connsiteY1212" fmla="*/ 354488 h 407344"/>
                <a:gd name="connsiteX1213" fmla="*/ 510860 w 584523"/>
                <a:gd name="connsiteY1213" fmla="*/ 329545 h 407344"/>
                <a:gd name="connsiteX1214" fmla="*/ 519519 w 584523"/>
                <a:gd name="connsiteY1214" fmla="*/ 324247 h 407344"/>
                <a:gd name="connsiteX1215" fmla="*/ 521716 w 584523"/>
                <a:gd name="connsiteY1215" fmla="*/ 321921 h 407344"/>
                <a:gd name="connsiteX1216" fmla="*/ 523267 w 584523"/>
                <a:gd name="connsiteY1216" fmla="*/ 320628 h 407344"/>
                <a:gd name="connsiteX1217" fmla="*/ 526239 w 584523"/>
                <a:gd name="connsiteY1217" fmla="*/ 319724 h 407344"/>
                <a:gd name="connsiteX1218" fmla="*/ 529211 w 584523"/>
                <a:gd name="connsiteY1218" fmla="*/ 317915 h 407344"/>
                <a:gd name="connsiteX1219" fmla="*/ 530633 w 584523"/>
                <a:gd name="connsiteY1219" fmla="*/ 317527 h 407344"/>
                <a:gd name="connsiteX1220" fmla="*/ 535414 w 584523"/>
                <a:gd name="connsiteY1220" fmla="*/ 316881 h 407344"/>
                <a:gd name="connsiteX1221" fmla="*/ 536578 w 584523"/>
                <a:gd name="connsiteY1221" fmla="*/ 316364 h 407344"/>
                <a:gd name="connsiteX1222" fmla="*/ 537482 w 584523"/>
                <a:gd name="connsiteY1222" fmla="*/ 315071 h 407344"/>
                <a:gd name="connsiteX1223" fmla="*/ 538645 w 584523"/>
                <a:gd name="connsiteY1223" fmla="*/ 312616 h 407344"/>
                <a:gd name="connsiteX1224" fmla="*/ 541876 w 584523"/>
                <a:gd name="connsiteY1224" fmla="*/ 308222 h 407344"/>
                <a:gd name="connsiteX1225" fmla="*/ 542910 w 584523"/>
                <a:gd name="connsiteY1225" fmla="*/ 306413 h 407344"/>
                <a:gd name="connsiteX1226" fmla="*/ 543556 w 584523"/>
                <a:gd name="connsiteY1226" fmla="*/ 304345 h 407344"/>
                <a:gd name="connsiteX1227" fmla="*/ 542393 w 584523"/>
                <a:gd name="connsiteY1227" fmla="*/ 304474 h 407344"/>
                <a:gd name="connsiteX1228" fmla="*/ 541488 w 584523"/>
                <a:gd name="connsiteY1228" fmla="*/ 305121 h 407344"/>
                <a:gd name="connsiteX1229" fmla="*/ 540584 w 584523"/>
                <a:gd name="connsiteY1229" fmla="*/ 306025 h 407344"/>
                <a:gd name="connsiteX1230" fmla="*/ 539421 w 584523"/>
                <a:gd name="connsiteY1230" fmla="*/ 305638 h 407344"/>
                <a:gd name="connsiteX1231" fmla="*/ 538387 w 584523"/>
                <a:gd name="connsiteY1231" fmla="*/ 304733 h 407344"/>
                <a:gd name="connsiteX1232" fmla="*/ 537353 w 584523"/>
                <a:gd name="connsiteY1232" fmla="*/ 303570 h 407344"/>
                <a:gd name="connsiteX1233" fmla="*/ 533605 w 584523"/>
                <a:gd name="connsiteY1233" fmla="*/ 301502 h 407344"/>
                <a:gd name="connsiteX1234" fmla="*/ 532701 w 584523"/>
                <a:gd name="connsiteY1234" fmla="*/ 300468 h 407344"/>
                <a:gd name="connsiteX1235" fmla="*/ 532313 w 584523"/>
                <a:gd name="connsiteY1235" fmla="*/ 299951 h 407344"/>
                <a:gd name="connsiteX1236" fmla="*/ 532313 w 584523"/>
                <a:gd name="connsiteY1236" fmla="*/ 299434 h 407344"/>
                <a:gd name="connsiteX1237" fmla="*/ 532442 w 584523"/>
                <a:gd name="connsiteY1237" fmla="*/ 298530 h 407344"/>
                <a:gd name="connsiteX1238" fmla="*/ 532830 w 584523"/>
                <a:gd name="connsiteY1238" fmla="*/ 297366 h 407344"/>
                <a:gd name="connsiteX1239" fmla="*/ 533476 w 584523"/>
                <a:gd name="connsiteY1239" fmla="*/ 296333 h 407344"/>
                <a:gd name="connsiteX1240" fmla="*/ 533993 w 584523"/>
                <a:gd name="connsiteY1240" fmla="*/ 295299 h 407344"/>
                <a:gd name="connsiteX1241" fmla="*/ 533864 w 584523"/>
                <a:gd name="connsiteY1241" fmla="*/ 294265 h 407344"/>
                <a:gd name="connsiteX1242" fmla="*/ 533088 w 584523"/>
                <a:gd name="connsiteY1242" fmla="*/ 293877 h 407344"/>
                <a:gd name="connsiteX1243" fmla="*/ 531796 w 584523"/>
                <a:gd name="connsiteY1243" fmla="*/ 294006 h 407344"/>
                <a:gd name="connsiteX1244" fmla="*/ 530633 w 584523"/>
                <a:gd name="connsiteY1244" fmla="*/ 293877 h 407344"/>
                <a:gd name="connsiteX1245" fmla="*/ 530116 w 584523"/>
                <a:gd name="connsiteY1245" fmla="*/ 292973 h 407344"/>
                <a:gd name="connsiteX1246" fmla="*/ 530374 w 584523"/>
                <a:gd name="connsiteY1246" fmla="*/ 291810 h 407344"/>
                <a:gd name="connsiteX1247" fmla="*/ 531408 w 584523"/>
                <a:gd name="connsiteY1247" fmla="*/ 290646 h 407344"/>
                <a:gd name="connsiteX1248" fmla="*/ 531667 w 584523"/>
                <a:gd name="connsiteY1248" fmla="*/ 289483 h 407344"/>
                <a:gd name="connsiteX1249" fmla="*/ 531408 w 584523"/>
                <a:gd name="connsiteY1249" fmla="*/ 288191 h 407344"/>
                <a:gd name="connsiteX1250" fmla="*/ 530245 w 584523"/>
                <a:gd name="connsiteY1250" fmla="*/ 285606 h 407344"/>
                <a:gd name="connsiteX1251" fmla="*/ 530116 w 584523"/>
                <a:gd name="connsiteY1251" fmla="*/ 284055 h 407344"/>
                <a:gd name="connsiteX1252" fmla="*/ 531150 w 584523"/>
                <a:gd name="connsiteY1252" fmla="*/ 280954 h 407344"/>
                <a:gd name="connsiteX1253" fmla="*/ 532701 w 584523"/>
                <a:gd name="connsiteY1253" fmla="*/ 281342 h 407344"/>
                <a:gd name="connsiteX1254" fmla="*/ 534381 w 584523"/>
                <a:gd name="connsiteY1254" fmla="*/ 283022 h 407344"/>
                <a:gd name="connsiteX1255" fmla="*/ 535802 w 584523"/>
                <a:gd name="connsiteY1255" fmla="*/ 284055 h 407344"/>
                <a:gd name="connsiteX1256" fmla="*/ 538775 w 584523"/>
                <a:gd name="connsiteY1256" fmla="*/ 287028 h 407344"/>
                <a:gd name="connsiteX1257" fmla="*/ 539162 w 584523"/>
                <a:gd name="connsiteY1257" fmla="*/ 288320 h 407344"/>
                <a:gd name="connsiteX1258" fmla="*/ 538775 w 584523"/>
                <a:gd name="connsiteY1258" fmla="*/ 289612 h 407344"/>
                <a:gd name="connsiteX1259" fmla="*/ 537611 w 584523"/>
                <a:gd name="connsiteY1259" fmla="*/ 291551 h 407344"/>
                <a:gd name="connsiteX1260" fmla="*/ 537353 w 584523"/>
                <a:gd name="connsiteY1260" fmla="*/ 294394 h 407344"/>
                <a:gd name="connsiteX1261" fmla="*/ 537741 w 584523"/>
                <a:gd name="connsiteY1261" fmla="*/ 296849 h 407344"/>
                <a:gd name="connsiteX1262" fmla="*/ 538775 w 584523"/>
                <a:gd name="connsiteY1262" fmla="*/ 299047 h 407344"/>
                <a:gd name="connsiteX1263" fmla="*/ 540196 w 584523"/>
                <a:gd name="connsiteY1263" fmla="*/ 301114 h 407344"/>
                <a:gd name="connsiteX1264" fmla="*/ 541230 w 584523"/>
                <a:gd name="connsiteY1264" fmla="*/ 301631 h 407344"/>
                <a:gd name="connsiteX1265" fmla="*/ 542264 w 584523"/>
                <a:gd name="connsiteY1265" fmla="*/ 301114 h 407344"/>
                <a:gd name="connsiteX1266" fmla="*/ 542781 w 584523"/>
                <a:gd name="connsiteY1266" fmla="*/ 299951 h 407344"/>
                <a:gd name="connsiteX1267" fmla="*/ 542393 w 584523"/>
                <a:gd name="connsiteY1267" fmla="*/ 298659 h 407344"/>
                <a:gd name="connsiteX1268" fmla="*/ 542135 w 584523"/>
                <a:gd name="connsiteY1268" fmla="*/ 297496 h 407344"/>
                <a:gd name="connsiteX1269" fmla="*/ 542781 w 584523"/>
                <a:gd name="connsiteY1269" fmla="*/ 295945 h 407344"/>
                <a:gd name="connsiteX1270" fmla="*/ 544332 w 584523"/>
                <a:gd name="connsiteY1270" fmla="*/ 293231 h 407344"/>
                <a:gd name="connsiteX1271" fmla="*/ 545624 w 584523"/>
                <a:gd name="connsiteY1271" fmla="*/ 288708 h 407344"/>
                <a:gd name="connsiteX1272" fmla="*/ 546270 w 584523"/>
                <a:gd name="connsiteY1272" fmla="*/ 287157 h 407344"/>
                <a:gd name="connsiteX1273" fmla="*/ 549243 w 584523"/>
                <a:gd name="connsiteY1273" fmla="*/ 283668 h 407344"/>
                <a:gd name="connsiteX1274" fmla="*/ 549372 w 584523"/>
                <a:gd name="connsiteY1274" fmla="*/ 282892 h 407344"/>
                <a:gd name="connsiteX1275" fmla="*/ 549372 w 584523"/>
                <a:gd name="connsiteY1275" fmla="*/ 280049 h 407344"/>
                <a:gd name="connsiteX1276" fmla="*/ 549759 w 584523"/>
                <a:gd name="connsiteY1276" fmla="*/ 277077 h 407344"/>
                <a:gd name="connsiteX1277" fmla="*/ 550147 w 584523"/>
                <a:gd name="connsiteY1277" fmla="*/ 275914 h 407344"/>
                <a:gd name="connsiteX1278" fmla="*/ 554024 w 584523"/>
                <a:gd name="connsiteY1278" fmla="*/ 272166 h 407344"/>
                <a:gd name="connsiteX1279" fmla="*/ 555704 w 584523"/>
                <a:gd name="connsiteY1279" fmla="*/ 270098 h 407344"/>
                <a:gd name="connsiteX1280" fmla="*/ 553636 w 584523"/>
                <a:gd name="connsiteY1280" fmla="*/ 268031 h 407344"/>
                <a:gd name="connsiteX1281" fmla="*/ 553766 w 584523"/>
                <a:gd name="connsiteY1281" fmla="*/ 265316 h 407344"/>
                <a:gd name="connsiteX1282" fmla="*/ 555187 w 584523"/>
                <a:gd name="connsiteY1282" fmla="*/ 260147 h 407344"/>
                <a:gd name="connsiteX1283" fmla="*/ 555963 w 584523"/>
                <a:gd name="connsiteY1283" fmla="*/ 255236 h 407344"/>
                <a:gd name="connsiteX1284" fmla="*/ 557255 w 584523"/>
                <a:gd name="connsiteY1284" fmla="*/ 251618 h 407344"/>
                <a:gd name="connsiteX1285" fmla="*/ 557384 w 584523"/>
                <a:gd name="connsiteY1285" fmla="*/ 250584 h 407344"/>
                <a:gd name="connsiteX1286" fmla="*/ 557772 w 584523"/>
                <a:gd name="connsiteY1286" fmla="*/ 249938 h 407344"/>
                <a:gd name="connsiteX1287" fmla="*/ 558547 w 584523"/>
                <a:gd name="connsiteY1287" fmla="*/ 249292 h 407344"/>
                <a:gd name="connsiteX1288" fmla="*/ 559323 w 584523"/>
                <a:gd name="connsiteY1288" fmla="*/ 248516 h 407344"/>
                <a:gd name="connsiteX1289" fmla="*/ 559710 w 584523"/>
                <a:gd name="connsiteY1289" fmla="*/ 247353 h 407344"/>
                <a:gd name="connsiteX1290" fmla="*/ 559581 w 584523"/>
                <a:gd name="connsiteY1290" fmla="*/ 245802 h 407344"/>
                <a:gd name="connsiteX1291" fmla="*/ 559194 w 584523"/>
                <a:gd name="connsiteY1291" fmla="*/ 245027 h 407344"/>
                <a:gd name="connsiteX1292" fmla="*/ 558677 w 584523"/>
                <a:gd name="connsiteY1292" fmla="*/ 244510 h 407344"/>
                <a:gd name="connsiteX1293" fmla="*/ 558289 w 584523"/>
                <a:gd name="connsiteY1293" fmla="*/ 243864 h 407344"/>
                <a:gd name="connsiteX1294" fmla="*/ 557901 w 584523"/>
                <a:gd name="connsiteY1294" fmla="*/ 241409 h 407344"/>
                <a:gd name="connsiteX1295" fmla="*/ 558935 w 584523"/>
                <a:gd name="connsiteY1295" fmla="*/ 234300 h 407344"/>
                <a:gd name="connsiteX1296" fmla="*/ 559710 w 584523"/>
                <a:gd name="connsiteY1296" fmla="*/ 232491 h 407344"/>
                <a:gd name="connsiteX1297" fmla="*/ 562941 w 584523"/>
                <a:gd name="connsiteY1297" fmla="*/ 227839 h 407344"/>
                <a:gd name="connsiteX1298" fmla="*/ 563329 w 584523"/>
                <a:gd name="connsiteY1298" fmla="*/ 225642 h 407344"/>
                <a:gd name="connsiteX1299" fmla="*/ 562812 w 584523"/>
                <a:gd name="connsiteY1299" fmla="*/ 225254 h 407344"/>
                <a:gd name="connsiteX1300" fmla="*/ 561778 w 584523"/>
                <a:gd name="connsiteY1300" fmla="*/ 225125 h 407344"/>
                <a:gd name="connsiteX1301" fmla="*/ 560873 w 584523"/>
                <a:gd name="connsiteY1301" fmla="*/ 224737 h 407344"/>
                <a:gd name="connsiteX1302" fmla="*/ 560486 w 584523"/>
                <a:gd name="connsiteY1302" fmla="*/ 223445 h 407344"/>
                <a:gd name="connsiteX1303" fmla="*/ 560873 w 584523"/>
                <a:gd name="connsiteY1303" fmla="*/ 222928 h 407344"/>
                <a:gd name="connsiteX1304" fmla="*/ 561649 w 584523"/>
                <a:gd name="connsiteY1304" fmla="*/ 222669 h 407344"/>
                <a:gd name="connsiteX1305" fmla="*/ 562424 w 584523"/>
                <a:gd name="connsiteY1305" fmla="*/ 222282 h 407344"/>
                <a:gd name="connsiteX1306" fmla="*/ 562554 w 584523"/>
                <a:gd name="connsiteY1306" fmla="*/ 221377 h 407344"/>
                <a:gd name="connsiteX1307" fmla="*/ 561520 w 584523"/>
                <a:gd name="connsiteY1307" fmla="*/ 219826 h 407344"/>
                <a:gd name="connsiteX1308" fmla="*/ 557643 w 584523"/>
                <a:gd name="connsiteY1308" fmla="*/ 215691 h 407344"/>
                <a:gd name="connsiteX1309" fmla="*/ 556996 w 584523"/>
                <a:gd name="connsiteY1309" fmla="*/ 214786 h 407344"/>
                <a:gd name="connsiteX1310" fmla="*/ 556350 w 584523"/>
                <a:gd name="connsiteY1310" fmla="*/ 214398 h 407344"/>
                <a:gd name="connsiteX1311" fmla="*/ 557126 w 584523"/>
                <a:gd name="connsiteY1311" fmla="*/ 213494 h 407344"/>
                <a:gd name="connsiteX1312" fmla="*/ 558289 w 584523"/>
                <a:gd name="connsiteY1312" fmla="*/ 212589 h 407344"/>
                <a:gd name="connsiteX1313" fmla="*/ 558935 w 584523"/>
                <a:gd name="connsiteY1313" fmla="*/ 212331 h 407344"/>
                <a:gd name="connsiteX1314" fmla="*/ 558547 w 584523"/>
                <a:gd name="connsiteY1314" fmla="*/ 211168 h 407344"/>
                <a:gd name="connsiteX1315" fmla="*/ 557126 w 584523"/>
                <a:gd name="connsiteY1315" fmla="*/ 209229 h 407344"/>
                <a:gd name="connsiteX1316" fmla="*/ 556738 w 584523"/>
                <a:gd name="connsiteY1316" fmla="*/ 208583 h 407344"/>
                <a:gd name="connsiteX1317" fmla="*/ 556609 w 584523"/>
                <a:gd name="connsiteY1317" fmla="*/ 206257 h 407344"/>
                <a:gd name="connsiteX1318" fmla="*/ 556221 w 584523"/>
                <a:gd name="connsiteY1318" fmla="*/ 203802 h 407344"/>
                <a:gd name="connsiteX1319" fmla="*/ 555575 w 584523"/>
                <a:gd name="connsiteY1319" fmla="*/ 201604 h 407344"/>
                <a:gd name="connsiteX1320" fmla="*/ 554541 w 584523"/>
                <a:gd name="connsiteY1320" fmla="*/ 199924 h 407344"/>
                <a:gd name="connsiteX1321" fmla="*/ 555833 w 584523"/>
                <a:gd name="connsiteY1321" fmla="*/ 198115 h 407344"/>
                <a:gd name="connsiteX1322" fmla="*/ 558030 w 584523"/>
                <a:gd name="connsiteY1322" fmla="*/ 195660 h 407344"/>
                <a:gd name="connsiteX1323" fmla="*/ 560098 w 584523"/>
                <a:gd name="connsiteY1323" fmla="*/ 194367 h 407344"/>
                <a:gd name="connsiteX1324" fmla="*/ 561003 w 584523"/>
                <a:gd name="connsiteY1324" fmla="*/ 195789 h 407344"/>
                <a:gd name="connsiteX1325" fmla="*/ 561907 w 584523"/>
                <a:gd name="connsiteY1325" fmla="*/ 193463 h 407344"/>
                <a:gd name="connsiteX1326" fmla="*/ 561778 w 584523"/>
                <a:gd name="connsiteY1326" fmla="*/ 191395 h 407344"/>
                <a:gd name="connsiteX1327" fmla="*/ 560615 w 584523"/>
                <a:gd name="connsiteY1327" fmla="*/ 189844 h 407344"/>
                <a:gd name="connsiteX1328" fmla="*/ 558547 w 584523"/>
                <a:gd name="connsiteY1328" fmla="*/ 189198 h 407344"/>
                <a:gd name="connsiteX1329" fmla="*/ 554541 w 584523"/>
                <a:gd name="connsiteY1329" fmla="*/ 179764 h 407344"/>
                <a:gd name="connsiteX1330" fmla="*/ 554799 w 584523"/>
                <a:gd name="connsiteY1330" fmla="*/ 177438 h 407344"/>
                <a:gd name="connsiteX1331" fmla="*/ 556092 w 584523"/>
                <a:gd name="connsiteY1331" fmla="*/ 176275 h 40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Lst>
              <a:rect l="l" t="t" r="r" b="b"/>
              <a:pathLst>
                <a:path w="584523" h="407344">
                  <a:moveTo>
                    <a:pt x="559194" y="30758"/>
                  </a:moveTo>
                  <a:lnTo>
                    <a:pt x="556738" y="32179"/>
                  </a:lnTo>
                  <a:lnTo>
                    <a:pt x="555963" y="33601"/>
                  </a:lnTo>
                  <a:lnTo>
                    <a:pt x="555575" y="34764"/>
                  </a:lnTo>
                  <a:lnTo>
                    <a:pt x="554799" y="35539"/>
                  </a:lnTo>
                  <a:lnTo>
                    <a:pt x="552861" y="35798"/>
                  </a:lnTo>
                  <a:lnTo>
                    <a:pt x="551698" y="36186"/>
                  </a:lnTo>
                  <a:lnTo>
                    <a:pt x="550793" y="37090"/>
                  </a:lnTo>
                  <a:lnTo>
                    <a:pt x="548984" y="40192"/>
                  </a:lnTo>
                  <a:lnTo>
                    <a:pt x="548725" y="40709"/>
                  </a:lnTo>
                  <a:lnTo>
                    <a:pt x="549113" y="41226"/>
                  </a:lnTo>
                  <a:lnTo>
                    <a:pt x="553636" y="44586"/>
                  </a:lnTo>
                  <a:lnTo>
                    <a:pt x="555187" y="46266"/>
                  </a:lnTo>
                  <a:lnTo>
                    <a:pt x="556867" y="49755"/>
                  </a:lnTo>
                  <a:lnTo>
                    <a:pt x="558677" y="52727"/>
                  </a:lnTo>
                  <a:lnTo>
                    <a:pt x="560744" y="52856"/>
                  </a:lnTo>
                  <a:lnTo>
                    <a:pt x="561391" y="53503"/>
                  </a:lnTo>
                  <a:lnTo>
                    <a:pt x="561778" y="53632"/>
                  </a:lnTo>
                  <a:lnTo>
                    <a:pt x="562295" y="53632"/>
                  </a:lnTo>
                  <a:lnTo>
                    <a:pt x="562166" y="50789"/>
                  </a:lnTo>
                  <a:lnTo>
                    <a:pt x="562295" y="49367"/>
                  </a:lnTo>
                  <a:lnTo>
                    <a:pt x="562683" y="48334"/>
                  </a:lnTo>
                  <a:lnTo>
                    <a:pt x="565655" y="45490"/>
                  </a:lnTo>
                  <a:lnTo>
                    <a:pt x="566043" y="44327"/>
                  </a:lnTo>
                  <a:lnTo>
                    <a:pt x="566560" y="41613"/>
                  </a:lnTo>
                  <a:lnTo>
                    <a:pt x="569015" y="37090"/>
                  </a:lnTo>
                  <a:lnTo>
                    <a:pt x="569920" y="34118"/>
                  </a:lnTo>
                  <a:lnTo>
                    <a:pt x="571471" y="32567"/>
                  </a:lnTo>
                  <a:lnTo>
                    <a:pt x="571858" y="31662"/>
                  </a:lnTo>
                  <a:lnTo>
                    <a:pt x="571729" y="30628"/>
                  </a:lnTo>
                  <a:lnTo>
                    <a:pt x="571341" y="29595"/>
                  </a:lnTo>
                  <a:lnTo>
                    <a:pt x="568886" y="25459"/>
                  </a:lnTo>
                  <a:lnTo>
                    <a:pt x="567335" y="23779"/>
                  </a:lnTo>
                  <a:lnTo>
                    <a:pt x="565526" y="23391"/>
                  </a:lnTo>
                  <a:lnTo>
                    <a:pt x="563587" y="25071"/>
                  </a:lnTo>
                  <a:lnTo>
                    <a:pt x="564363" y="27914"/>
                  </a:lnTo>
                  <a:lnTo>
                    <a:pt x="562295" y="29465"/>
                  </a:lnTo>
                  <a:lnTo>
                    <a:pt x="559194" y="30758"/>
                  </a:lnTo>
                  <a:close/>
                  <a:moveTo>
                    <a:pt x="583619" y="174982"/>
                  </a:moveTo>
                  <a:lnTo>
                    <a:pt x="582455" y="173173"/>
                  </a:lnTo>
                  <a:lnTo>
                    <a:pt x="580517" y="170718"/>
                  </a:lnTo>
                  <a:lnTo>
                    <a:pt x="578579" y="169425"/>
                  </a:lnTo>
                  <a:lnTo>
                    <a:pt x="577674" y="171364"/>
                  </a:lnTo>
                  <a:lnTo>
                    <a:pt x="576511" y="172268"/>
                  </a:lnTo>
                  <a:lnTo>
                    <a:pt x="570825" y="173949"/>
                  </a:lnTo>
                  <a:lnTo>
                    <a:pt x="568886" y="174207"/>
                  </a:lnTo>
                  <a:lnTo>
                    <a:pt x="569403" y="176145"/>
                  </a:lnTo>
                  <a:lnTo>
                    <a:pt x="568628" y="177308"/>
                  </a:lnTo>
                  <a:lnTo>
                    <a:pt x="567465" y="178342"/>
                  </a:lnTo>
                  <a:lnTo>
                    <a:pt x="566689" y="179893"/>
                  </a:lnTo>
                  <a:lnTo>
                    <a:pt x="566947" y="180798"/>
                  </a:lnTo>
                  <a:lnTo>
                    <a:pt x="568498" y="182219"/>
                  </a:lnTo>
                  <a:lnTo>
                    <a:pt x="568886" y="183641"/>
                  </a:lnTo>
                  <a:lnTo>
                    <a:pt x="568757" y="184287"/>
                  </a:lnTo>
                  <a:lnTo>
                    <a:pt x="568498" y="184933"/>
                  </a:lnTo>
                  <a:lnTo>
                    <a:pt x="568240" y="185580"/>
                  </a:lnTo>
                  <a:lnTo>
                    <a:pt x="568240" y="186484"/>
                  </a:lnTo>
                  <a:lnTo>
                    <a:pt x="569274" y="187001"/>
                  </a:lnTo>
                  <a:lnTo>
                    <a:pt x="570049" y="187518"/>
                  </a:lnTo>
                  <a:lnTo>
                    <a:pt x="570437" y="188164"/>
                  </a:lnTo>
                  <a:lnTo>
                    <a:pt x="570308" y="189586"/>
                  </a:lnTo>
                  <a:lnTo>
                    <a:pt x="569920" y="190619"/>
                  </a:lnTo>
                  <a:lnTo>
                    <a:pt x="569144" y="191266"/>
                  </a:lnTo>
                  <a:lnTo>
                    <a:pt x="567852" y="191524"/>
                  </a:lnTo>
                  <a:lnTo>
                    <a:pt x="565784" y="192170"/>
                  </a:lnTo>
                  <a:lnTo>
                    <a:pt x="566560" y="193850"/>
                  </a:lnTo>
                  <a:lnTo>
                    <a:pt x="568111" y="196306"/>
                  </a:lnTo>
                  <a:lnTo>
                    <a:pt x="568369" y="199020"/>
                  </a:lnTo>
                  <a:lnTo>
                    <a:pt x="565526" y="201992"/>
                  </a:lnTo>
                  <a:lnTo>
                    <a:pt x="564621" y="203930"/>
                  </a:lnTo>
                  <a:lnTo>
                    <a:pt x="566172" y="204835"/>
                  </a:lnTo>
                  <a:lnTo>
                    <a:pt x="564751" y="208066"/>
                  </a:lnTo>
                  <a:lnTo>
                    <a:pt x="564104" y="211943"/>
                  </a:lnTo>
                  <a:lnTo>
                    <a:pt x="563975" y="220860"/>
                  </a:lnTo>
                  <a:lnTo>
                    <a:pt x="564104" y="221248"/>
                  </a:lnTo>
                  <a:lnTo>
                    <a:pt x="564492" y="221377"/>
                  </a:lnTo>
                  <a:lnTo>
                    <a:pt x="565397" y="221506"/>
                  </a:lnTo>
                  <a:lnTo>
                    <a:pt x="566431" y="221119"/>
                  </a:lnTo>
                  <a:lnTo>
                    <a:pt x="567335" y="220085"/>
                  </a:lnTo>
                  <a:lnTo>
                    <a:pt x="568886" y="217759"/>
                  </a:lnTo>
                  <a:lnTo>
                    <a:pt x="569791" y="217242"/>
                  </a:lnTo>
                  <a:lnTo>
                    <a:pt x="571858" y="216595"/>
                  </a:lnTo>
                  <a:lnTo>
                    <a:pt x="572634" y="216078"/>
                  </a:lnTo>
                  <a:lnTo>
                    <a:pt x="573021" y="214269"/>
                  </a:lnTo>
                  <a:lnTo>
                    <a:pt x="571341" y="210004"/>
                  </a:lnTo>
                  <a:lnTo>
                    <a:pt x="571471" y="207420"/>
                  </a:lnTo>
                  <a:lnTo>
                    <a:pt x="576252" y="199149"/>
                  </a:lnTo>
                  <a:lnTo>
                    <a:pt x="577415" y="198374"/>
                  </a:lnTo>
                  <a:lnTo>
                    <a:pt x="578966" y="196564"/>
                  </a:lnTo>
                  <a:lnTo>
                    <a:pt x="580388" y="194367"/>
                  </a:lnTo>
                  <a:lnTo>
                    <a:pt x="581163" y="192429"/>
                  </a:lnTo>
                  <a:lnTo>
                    <a:pt x="581163" y="191136"/>
                  </a:lnTo>
                  <a:lnTo>
                    <a:pt x="580517" y="188423"/>
                  </a:lnTo>
                  <a:lnTo>
                    <a:pt x="580388" y="187001"/>
                  </a:lnTo>
                  <a:lnTo>
                    <a:pt x="580646" y="185708"/>
                  </a:lnTo>
                  <a:lnTo>
                    <a:pt x="581163" y="184933"/>
                  </a:lnTo>
                  <a:lnTo>
                    <a:pt x="581680" y="184287"/>
                  </a:lnTo>
                  <a:lnTo>
                    <a:pt x="582455" y="182090"/>
                  </a:lnTo>
                  <a:lnTo>
                    <a:pt x="583619" y="180152"/>
                  </a:lnTo>
                  <a:lnTo>
                    <a:pt x="584523" y="177825"/>
                  </a:lnTo>
                  <a:lnTo>
                    <a:pt x="583619" y="174982"/>
                  </a:lnTo>
                  <a:close/>
                  <a:moveTo>
                    <a:pt x="556092" y="176275"/>
                  </a:moveTo>
                  <a:lnTo>
                    <a:pt x="557255" y="175112"/>
                  </a:lnTo>
                  <a:lnTo>
                    <a:pt x="558677" y="174078"/>
                  </a:lnTo>
                  <a:lnTo>
                    <a:pt x="559969" y="173561"/>
                  </a:lnTo>
                  <a:lnTo>
                    <a:pt x="561132" y="173302"/>
                  </a:lnTo>
                  <a:lnTo>
                    <a:pt x="562037" y="172656"/>
                  </a:lnTo>
                  <a:lnTo>
                    <a:pt x="562424" y="171234"/>
                  </a:lnTo>
                  <a:lnTo>
                    <a:pt x="562554" y="169942"/>
                  </a:lnTo>
                  <a:lnTo>
                    <a:pt x="562812" y="168908"/>
                  </a:lnTo>
                  <a:lnTo>
                    <a:pt x="563200" y="167875"/>
                  </a:lnTo>
                  <a:lnTo>
                    <a:pt x="563846" y="166712"/>
                  </a:lnTo>
                  <a:lnTo>
                    <a:pt x="564104" y="167358"/>
                  </a:lnTo>
                  <a:lnTo>
                    <a:pt x="565268" y="169038"/>
                  </a:lnTo>
                  <a:lnTo>
                    <a:pt x="565009" y="163610"/>
                  </a:lnTo>
                  <a:lnTo>
                    <a:pt x="564363" y="161542"/>
                  </a:lnTo>
                  <a:lnTo>
                    <a:pt x="563200" y="159991"/>
                  </a:lnTo>
                  <a:lnTo>
                    <a:pt x="559581" y="159345"/>
                  </a:lnTo>
                  <a:lnTo>
                    <a:pt x="559194" y="159216"/>
                  </a:lnTo>
                  <a:lnTo>
                    <a:pt x="558806" y="158570"/>
                  </a:lnTo>
                  <a:lnTo>
                    <a:pt x="558030" y="153917"/>
                  </a:lnTo>
                  <a:lnTo>
                    <a:pt x="558030" y="152237"/>
                  </a:lnTo>
                  <a:lnTo>
                    <a:pt x="558160" y="151203"/>
                  </a:lnTo>
                  <a:lnTo>
                    <a:pt x="558547" y="150428"/>
                  </a:lnTo>
                  <a:lnTo>
                    <a:pt x="559452" y="149394"/>
                  </a:lnTo>
                  <a:lnTo>
                    <a:pt x="562941" y="146551"/>
                  </a:lnTo>
                  <a:lnTo>
                    <a:pt x="563458" y="146034"/>
                  </a:lnTo>
                  <a:lnTo>
                    <a:pt x="564363" y="145775"/>
                  </a:lnTo>
                  <a:lnTo>
                    <a:pt x="566301" y="144483"/>
                  </a:lnTo>
                  <a:lnTo>
                    <a:pt x="567465" y="144483"/>
                  </a:lnTo>
                  <a:lnTo>
                    <a:pt x="568886" y="145259"/>
                  </a:lnTo>
                  <a:lnTo>
                    <a:pt x="569532" y="146422"/>
                  </a:lnTo>
                  <a:lnTo>
                    <a:pt x="569144" y="147455"/>
                  </a:lnTo>
                  <a:lnTo>
                    <a:pt x="567465" y="147843"/>
                  </a:lnTo>
                  <a:lnTo>
                    <a:pt x="568240" y="149265"/>
                  </a:lnTo>
                  <a:lnTo>
                    <a:pt x="569144" y="149394"/>
                  </a:lnTo>
                  <a:lnTo>
                    <a:pt x="570308" y="149006"/>
                  </a:lnTo>
                  <a:lnTo>
                    <a:pt x="571600" y="148748"/>
                  </a:lnTo>
                  <a:lnTo>
                    <a:pt x="572375" y="148102"/>
                  </a:lnTo>
                  <a:lnTo>
                    <a:pt x="572246" y="146680"/>
                  </a:lnTo>
                  <a:lnTo>
                    <a:pt x="571212" y="143837"/>
                  </a:lnTo>
                  <a:lnTo>
                    <a:pt x="571988" y="143320"/>
                  </a:lnTo>
                  <a:lnTo>
                    <a:pt x="572505" y="142803"/>
                  </a:lnTo>
                  <a:lnTo>
                    <a:pt x="573280" y="141381"/>
                  </a:lnTo>
                  <a:lnTo>
                    <a:pt x="571083" y="140735"/>
                  </a:lnTo>
                  <a:lnTo>
                    <a:pt x="570049" y="138797"/>
                  </a:lnTo>
                  <a:lnTo>
                    <a:pt x="569015" y="137375"/>
                  </a:lnTo>
                  <a:lnTo>
                    <a:pt x="567077" y="138538"/>
                  </a:lnTo>
                  <a:lnTo>
                    <a:pt x="566431" y="139701"/>
                  </a:lnTo>
                  <a:lnTo>
                    <a:pt x="566043" y="140865"/>
                  </a:lnTo>
                  <a:lnTo>
                    <a:pt x="565397" y="141769"/>
                  </a:lnTo>
                  <a:lnTo>
                    <a:pt x="563975" y="142157"/>
                  </a:lnTo>
                  <a:lnTo>
                    <a:pt x="562424" y="141769"/>
                  </a:lnTo>
                  <a:lnTo>
                    <a:pt x="561520" y="140865"/>
                  </a:lnTo>
                  <a:lnTo>
                    <a:pt x="559452" y="135308"/>
                  </a:lnTo>
                  <a:lnTo>
                    <a:pt x="559840" y="134144"/>
                  </a:lnTo>
                  <a:lnTo>
                    <a:pt x="560615" y="133111"/>
                  </a:lnTo>
                  <a:lnTo>
                    <a:pt x="561649" y="128717"/>
                  </a:lnTo>
                  <a:lnTo>
                    <a:pt x="562683" y="126778"/>
                  </a:lnTo>
                  <a:lnTo>
                    <a:pt x="562941" y="124840"/>
                  </a:lnTo>
                  <a:lnTo>
                    <a:pt x="561132" y="122514"/>
                  </a:lnTo>
                  <a:lnTo>
                    <a:pt x="560873" y="122643"/>
                  </a:lnTo>
                  <a:lnTo>
                    <a:pt x="560098" y="122643"/>
                  </a:lnTo>
                  <a:lnTo>
                    <a:pt x="559064" y="122126"/>
                  </a:lnTo>
                  <a:lnTo>
                    <a:pt x="558160" y="120833"/>
                  </a:lnTo>
                  <a:lnTo>
                    <a:pt x="558030" y="119800"/>
                  </a:lnTo>
                  <a:lnTo>
                    <a:pt x="558160" y="115406"/>
                  </a:lnTo>
                  <a:lnTo>
                    <a:pt x="558289" y="114759"/>
                  </a:lnTo>
                  <a:lnTo>
                    <a:pt x="558806" y="113726"/>
                  </a:lnTo>
                  <a:lnTo>
                    <a:pt x="558935" y="112950"/>
                  </a:lnTo>
                  <a:lnTo>
                    <a:pt x="558677" y="112304"/>
                  </a:lnTo>
                  <a:lnTo>
                    <a:pt x="557643" y="111141"/>
                  </a:lnTo>
                  <a:lnTo>
                    <a:pt x="557384" y="110495"/>
                  </a:lnTo>
                  <a:lnTo>
                    <a:pt x="557126" y="106618"/>
                  </a:lnTo>
                  <a:lnTo>
                    <a:pt x="557384" y="105067"/>
                  </a:lnTo>
                  <a:lnTo>
                    <a:pt x="558030" y="103258"/>
                  </a:lnTo>
                  <a:lnTo>
                    <a:pt x="559194" y="101190"/>
                  </a:lnTo>
                  <a:lnTo>
                    <a:pt x="560486" y="99381"/>
                  </a:lnTo>
                  <a:lnTo>
                    <a:pt x="562037" y="98218"/>
                  </a:lnTo>
                  <a:lnTo>
                    <a:pt x="562554" y="97184"/>
                  </a:lnTo>
                  <a:lnTo>
                    <a:pt x="562683" y="96021"/>
                  </a:lnTo>
                  <a:lnTo>
                    <a:pt x="562166" y="94987"/>
                  </a:lnTo>
                  <a:lnTo>
                    <a:pt x="561132" y="94599"/>
                  </a:lnTo>
                  <a:lnTo>
                    <a:pt x="558677" y="95374"/>
                  </a:lnTo>
                  <a:lnTo>
                    <a:pt x="557384" y="95374"/>
                  </a:lnTo>
                  <a:lnTo>
                    <a:pt x="552603" y="91627"/>
                  </a:lnTo>
                  <a:lnTo>
                    <a:pt x="551827" y="90593"/>
                  </a:lnTo>
                  <a:lnTo>
                    <a:pt x="551439" y="89171"/>
                  </a:lnTo>
                  <a:lnTo>
                    <a:pt x="551310" y="82451"/>
                  </a:lnTo>
                  <a:lnTo>
                    <a:pt x="552215" y="74439"/>
                  </a:lnTo>
                  <a:lnTo>
                    <a:pt x="553378" y="69786"/>
                  </a:lnTo>
                  <a:lnTo>
                    <a:pt x="558806" y="58026"/>
                  </a:lnTo>
                  <a:lnTo>
                    <a:pt x="559452" y="55700"/>
                  </a:lnTo>
                  <a:lnTo>
                    <a:pt x="558547" y="54666"/>
                  </a:lnTo>
                  <a:lnTo>
                    <a:pt x="557255" y="54408"/>
                  </a:lnTo>
                  <a:lnTo>
                    <a:pt x="556480" y="53632"/>
                  </a:lnTo>
                  <a:lnTo>
                    <a:pt x="556092" y="52469"/>
                  </a:lnTo>
                  <a:lnTo>
                    <a:pt x="555963" y="51047"/>
                  </a:lnTo>
                  <a:lnTo>
                    <a:pt x="555704" y="49626"/>
                  </a:lnTo>
                  <a:lnTo>
                    <a:pt x="554929" y="48592"/>
                  </a:lnTo>
                  <a:lnTo>
                    <a:pt x="554024" y="47946"/>
                  </a:lnTo>
                  <a:lnTo>
                    <a:pt x="547433" y="44844"/>
                  </a:lnTo>
                  <a:lnTo>
                    <a:pt x="546658" y="43681"/>
                  </a:lnTo>
                  <a:lnTo>
                    <a:pt x="545753" y="41743"/>
                  </a:lnTo>
                  <a:lnTo>
                    <a:pt x="543685" y="40838"/>
                  </a:lnTo>
                  <a:lnTo>
                    <a:pt x="539291" y="40062"/>
                  </a:lnTo>
                  <a:lnTo>
                    <a:pt x="539938" y="38899"/>
                  </a:lnTo>
                  <a:lnTo>
                    <a:pt x="540972" y="38382"/>
                  </a:lnTo>
                  <a:lnTo>
                    <a:pt x="542264" y="38253"/>
                  </a:lnTo>
                  <a:lnTo>
                    <a:pt x="543685" y="38382"/>
                  </a:lnTo>
                  <a:lnTo>
                    <a:pt x="541488" y="35023"/>
                  </a:lnTo>
                  <a:lnTo>
                    <a:pt x="542522" y="34893"/>
                  </a:lnTo>
                  <a:lnTo>
                    <a:pt x="543427" y="34376"/>
                  </a:lnTo>
                  <a:lnTo>
                    <a:pt x="543815" y="33471"/>
                  </a:lnTo>
                  <a:lnTo>
                    <a:pt x="543298" y="32308"/>
                  </a:lnTo>
                  <a:lnTo>
                    <a:pt x="542910" y="30887"/>
                  </a:lnTo>
                  <a:lnTo>
                    <a:pt x="543815" y="27914"/>
                  </a:lnTo>
                  <a:lnTo>
                    <a:pt x="543298" y="26493"/>
                  </a:lnTo>
                  <a:lnTo>
                    <a:pt x="543039" y="25976"/>
                  </a:lnTo>
                  <a:lnTo>
                    <a:pt x="542910" y="25330"/>
                  </a:lnTo>
                  <a:lnTo>
                    <a:pt x="542910" y="24038"/>
                  </a:lnTo>
                  <a:lnTo>
                    <a:pt x="542652" y="23133"/>
                  </a:lnTo>
                  <a:lnTo>
                    <a:pt x="542005" y="22616"/>
                  </a:lnTo>
                  <a:lnTo>
                    <a:pt x="541230" y="22228"/>
                  </a:lnTo>
                  <a:lnTo>
                    <a:pt x="540842" y="21840"/>
                  </a:lnTo>
                  <a:lnTo>
                    <a:pt x="540455" y="20807"/>
                  </a:lnTo>
                  <a:lnTo>
                    <a:pt x="540196" y="19644"/>
                  </a:lnTo>
                  <a:lnTo>
                    <a:pt x="540325" y="18351"/>
                  </a:lnTo>
                  <a:lnTo>
                    <a:pt x="540972" y="16930"/>
                  </a:lnTo>
                  <a:lnTo>
                    <a:pt x="539421" y="13957"/>
                  </a:lnTo>
                  <a:lnTo>
                    <a:pt x="539550" y="11631"/>
                  </a:lnTo>
                  <a:lnTo>
                    <a:pt x="540325" y="10985"/>
                  </a:lnTo>
                  <a:lnTo>
                    <a:pt x="541101" y="14216"/>
                  </a:lnTo>
                  <a:lnTo>
                    <a:pt x="542135" y="15379"/>
                  </a:lnTo>
                  <a:lnTo>
                    <a:pt x="542393" y="16413"/>
                  </a:lnTo>
                  <a:lnTo>
                    <a:pt x="542522" y="18868"/>
                  </a:lnTo>
                  <a:lnTo>
                    <a:pt x="543039" y="20936"/>
                  </a:lnTo>
                  <a:lnTo>
                    <a:pt x="544461" y="24038"/>
                  </a:lnTo>
                  <a:lnTo>
                    <a:pt x="544978" y="25847"/>
                  </a:lnTo>
                  <a:lnTo>
                    <a:pt x="545236" y="28561"/>
                  </a:lnTo>
                  <a:lnTo>
                    <a:pt x="546270" y="30112"/>
                  </a:lnTo>
                  <a:lnTo>
                    <a:pt x="548596" y="31145"/>
                  </a:lnTo>
                  <a:lnTo>
                    <a:pt x="551310" y="31662"/>
                  </a:lnTo>
                  <a:lnTo>
                    <a:pt x="553378" y="31404"/>
                  </a:lnTo>
                  <a:lnTo>
                    <a:pt x="554670" y="30112"/>
                  </a:lnTo>
                  <a:lnTo>
                    <a:pt x="555704" y="28173"/>
                  </a:lnTo>
                  <a:lnTo>
                    <a:pt x="556867" y="26493"/>
                  </a:lnTo>
                  <a:lnTo>
                    <a:pt x="558806" y="25718"/>
                  </a:lnTo>
                  <a:lnTo>
                    <a:pt x="561391" y="25201"/>
                  </a:lnTo>
                  <a:lnTo>
                    <a:pt x="562424" y="23908"/>
                  </a:lnTo>
                  <a:lnTo>
                    <a:pt x="562424" y="22099"/>
                  </a:lnTo>
                  <a:lnTo>
                    <a:pt x="560615" y="11890"/>
                  </a:lnTo>
                  <a:lnTo>
                    <a:pt x="559581" y="9951"/>
                  </a:lnTo>
                  <a:lnTo>
                    <a:pt x="559323" y="8271"/>
                  </a:lnTo>
                  <a:lnTo>
                    <a:pt x="560227" y="6203"/>
                  </a:lnTo>
                  <a:lnTo>
                    <a:pt x="562166" y="2973"/>
                  </a:lnTo>
                  <a:lnTo>
                    <a:pt x="562554" y="1163"/>
                  </a:lnTo>
                  <a:lnTo>
                    <a:pt x="562424" y="1163"/>
                  </a:lnTo>
                  <a:lnTo>
                    <a:pt x="559581" y="1551"/>
                  </a:lnTo>
                  <a:lnTo>
                    <a:pt x="558030" y="1292"/>
                  </a:lnTo>
                  <a:lnTo>
                    <a:pt x="555187" y="0"/>
                  </a:lnTo>
                  <a:lnTo>
                    <a:pt x="526368" y="775"/>
                  </a:lnTo>
                  <a:lnTo>
                    <a:pt x="525851" y="1034"/>
                  </a:lnTo>
                  <a:lnTo>
                    <a:pt x="525464" y="1551"/>
                  </a:lnTo>
                  <a:lnTo>
                    <a:pt x="525334" y="2068"/>
                  </a:lnTo>
                  <a:lnTo>
                    <a:pt x="525076" y="3102"/>
                  </a:lnTo>
                  <a:lnTo>
                    <a:pt x="523525" y="4136"/>
                  </a:lnTo>
                  <a:lnTo>
                    <a:pt x="521457" y="4265"/>
                  </a:lnTo>
                  <a:lnTo>
                    <a:pt x="519906" y="4136"/>
                  </a:lnTo>
                  <a:lnTo>
                    <a:pt x="517322" y="4911"/>
                  </a:lnTo>
                  <a:lnTo>
                    <a:pt x="515125" y="3619"/>
                  </a:lnTo>
                  <a:lnTo>
                    <a:pt x="514220" y="3490"/>
                  </a:lnTo>
                  <a:lnTo>
                    <a:pt x="514091" y="3619"/>
                  </a:lnTo>
                  <a:lnTo>
                    <a:pt x="513832" y="4006"/>
                  </a:lnTo>
                  <a:lnTo>
                    <a:pt x="513574" y="4523"/>
                  </a:lnTo>
                  <a:lnTo>
                    <a:pt x="513186" y="5040"/>
                  </a:lnTo>
                  <a:lnTo>
                    <a:pt x="512669" y="5557"/>
                  </a:lnTo>
                  <a:lnTo>
                    <a:pt x="512023" y="5428"/>
                  </a:lnTo>
                  <a:lnTo>
                    <a:pt x="510343" y="4653"/>
                  </a:lnTo>
                  <a:lnTo>
                    <a:pt x="509568" y="4782"/>
                  </a:lnTo>
                  <a:lnTo>
                    <a:pt x="507758" y="5428"/>
                  </a:lnTo>
                  <a:lnTo>
                    <a:pt x="507112" y="5428"/>
                  </a:lnTo>
                  <a:lnTo>
                    <a:pt x="506595" y="5170"/>
                  </a:lnTo>
                  <a:lnTo>
                    <a:pt x="506466" y="4653"/>
                  </a:lnTo>
                  <a:lnTo>
                    <a:pt x="506466" y="4136"/>
                  </a:lnTo>
                  <a:lnTo>
                    <a:pt x="506466" y="3619"/>
                  </a:lnTo>
                  <a:lnTo>
                    <a:pt x="506466" y="3619"/>
                  </a:lnTo>
                  <a:lnTo>
                    <a:pt x="506466" y="3490"/>
                  </a:lnTo>
                  <a:lnTo>
                    <a:pt x="506337" y="3231"/>
                  </a:lnTo>
                  <a:lnTo>
                    <a:pt x="505820" y="2843"/>
                  </a:lnTo>
                  <a:lnTo>
                    <a:pt x="505303" y="2843"/>
                  </a:lnTo>
                  <a:lnTo>
                    <a:pt x="504786" y="2973"/>
                  </a:lnTo>
                  <a:lnTo>
                    <a:pt x="504269" y="3231"/>
                  </a:lnTo>
                  <a:lnTo>
                    <a:pt x="503752" y="3619"/>
                  </a:lnTo>
                  <a:lnTo>
                    <a:pt x="503752" y="3619"/>
                  </a:lnTo>
                  <a:lnTo>
                    <a:pt x="503623" y="3748"/>
                  </a:lnTo>
                  <a:lnTo>
                    <a:pt x="503106" y="4006"/>
                  </a:lnTo>
                  <a:lnTo>
                    <a:pt x="502331" y="4394"/>
                  </a:lnTo>
                  <a:lnTo>
                    <a:pt x="498712" y="5170"/>
                  </a:lnTo>
                  <a:lnTo>
                    <a:pt x="496386" y="6074"/>
                  </a:lnTo>
                  <a:lnTo>
                    <a:pt x="494577" y="6979"/>
                  </a:lnTo>
                  <a:lnTo>
                    <a:pt x="492121" y="8788"/>
                  </a:lnTo>
                  <a:lnTo>
                    <a:pt x="490570" y="10468"/>
                  </a:lnTo>
                  <a:lnTo>
                    <a:pt x="487469" y="14733"/>
                  </a:lnTo>
                  <a:lnTo>
                    <a:pt x="486694" y="15638"/>
                  </a:lnTo>
                  <a:lnTo>
                    <a:pt x="485789" y="16413"/>
                  </a:lnTo>
                  <a:lnTo>
                    <a:pt x="477259" y="21065"/>
                  </a:lnTo>
                  <a:lnTo>
                    <a:pt x="471961" y="22875"/>
                  </a:lnTo>
                  <a:lnTo>
                    <a:pt x="470281" y="23133"/>
                  </a:lnTo>
                  <a:lnTo>
                    <a:pt x="469247" y="23521"/>
                  </a:lnTo>
                  <a:lnTo>
                    <a:pt x="468601" y="23779"/>
                  </a:lnTo>
                  <a:lnTo>
                    <a:pt x="467696" y="24555"/>
                  </a:lnTo>
                  <a:lnTo>
                    <a:pt x="466921" y="25330"/>
                  </a:lnTo>
                  <a:lnTo>
                    <a:pt x="466404" y="26364"/>
                  </a:lnTo>
                  <a:lnTo>
                    <a:pt x="465628" y="28819"/>
                  </a:lnTo>
                  <a:lnTo>
                    <a:pt x="464982" y="29982"/>
                  </a:lnTo>
                  <a:lnTo>
                    <a:pt x="462398" y="30758"/>
                  </a:lnTo>
                  <a:lnTo>
                    <a:pt x="458262" y="30887"/>
                  </a:lnTo>
                  <a:lnTo>
                    <a:pt x="455290" y="30499"/>
                  </a:lnTo>
                  <a:lnTo>
                    <a:pt x="453739" y="30112"/>
                  </a:lnTo>
                  <a:lnTo>
                    <a:pt x="445985" y="26622"/>
                  </a:lnTo>
                  <a:lnTo>
                    <a:pt x="439911" y="22616"/>
                  </a:lnTo>
                  <a:lnTo>
                    <a:pt x="439265" y="21840"/>
                  </a:lnTo>
                  <a:lnTo>
                    <a:pt x="439135" y="20548"/>
                  </a:lnTo>
                  <a:lnTo>
                    <a:pt x="438360" y="19514"/>
                  </a:lnTo>
                  <a:lnTo>
                    <a:pt x="436939" y="18351"/>
                  </a:lnTo>
                  <a:lnTo>
                    <a:pt x="429960" y="14216"/>
                  </a:lnTo>
                  <a:lnTo>
                    <a:pt x="428151" y="12794"/>
                  </a:lnTo>
                  <a:lnTo>
                    <a:pt x="426600" y="11114"/>
                  </a:lnTo>
                  <a:lnTo>
                    <a:pt x="426212" y="10727"/>
                  </a:lnTo>
                  <a:lnTo>
                    <a:pt x="424661" y="9305"/>
                  </a:lnTo>
                  <a:lnTo>
                    <a:pt x="422852" y="8012"/>
                  </a:lnTo>
                  <a:lnTo>
                    <a:pt x="421818" y="7496"/>
                  </a:lnTo>
                  <a:lnTo>
                    <a:pt x="420784" y="7237"/>
                  </a:lnTo>
                  <a:lnTo>
                    <a:pt x="419104" y="7108"/>
                  </a:lnTo>
                  <a:lnTo>
                    <a:pt x="418070" y="6849"/>
                  </a:lnTo>
                  <a:lnTo>
                    <a:pt x="417424" y="6462"/>
                  </a:lnTo>
                  <a:lnTo>
                    <a:pt x="416907" y="5816"/>
                  </a:lnTo>
                  <a:lnTo>
                    <a:pt x="416390" y="5428"/>
                  </a:lnTo>
                  <a:lnTo>
                    <a:pt x="415744" y="5299"/>
                  </a:lnTo>
                  <a:lnTo>
                    <a:pt x="414194" y="5428"/>
                  </a:lnTo>
                  <a:lnTo>
                    <a:pt x="411221" y="5040"/>
                  </a:lnTo>
                  <a:lnTo>
                    <a:pt x="409670" y="5945"/>
                  </a:lnTo>
                  <a:lnTo>
                    <a:pt x="409153" y="6591"/>
                  </a:lnTo>
                  <a:lnTo>
                    <a:pt x="407732" y="7108"/>
                  </a:lnTo>
                  <a:lnTo>
                    <a:pt x="398168" y="9047"/>
                  </a:lnTo>
                  <a:lnTo>
                    <a:pt x="394550" y="8917"/>
                  </a:lnTo>
                  <a:lnTo>
                    <a:pt x="393387" y="9176"/>
                  </a:lnTo>
                  <a:lnTo>
                    <a:pt x="391836" y="9822"/>
                  </a:lnTo>
                  <a:lnTo>
                    <a:pt x="390931" y="10080"/>
                  </a:lnTo>
                  <a:lnTo>
                    <a:pt x="390156" y="10210"/>
                  </a:lnTo>
                  <a:lnTo>
                    <a:pt x="388347" y="9822"/>
                  </a:lnTo>
                  <a:lnTo>
                    <a:pt x="387701" y="9564"/>
                  </a:lnTo>
                  <a:lnTo>
                    <a:pt x="387184" y="9305"/>
                  </a:lnTo>
                  <a:lnTo>
                    <a:pt x="386667" y="8917"/>
                  </a:lnTo>
                  <a:lnTo>
                    <a:pt x="385762" y="8529"/>
                  </a:lnTo>
                  <a:lnTo>
                    <a:pt x="384470" y="8271"/>
                  </a:lnTo>
                  <a:lnTo>
                    <a:pt x="381627" y="8142"/>
                  </a:lnTo>
                  <a:lnTo>
                    <a:pt x="380205" y="8271"/>
                  </a:lnTo>
                  <a:lnTo>
                    <a:pt x="379171" y="8529"/>
                  </a:lnTo>
                  <a:lnTo>
                    <a:pt x="378654" y="8788"/>
                  </a:lnTo>
                  <a:lnTo>
                    <a:pt x="376716" y="10080"/>
                  </a:lnTo>
                  <a:lnTo>
                    <a:pt x="376328" y="10468"/>
                  </a:lnTo>
                  <a:lnTo>
                    <a:pt x="375682" y="11502"/>
                  </a:lnTo>
                  <a:lnTo>
                    <a:pt x="375553" y="12148"/>
                  </a:lnTo>
                  <a:lnTo>
                    <a:pt x="375423" y="12794"/>
                  </a:lnTo>
                  <a:lnTo>
                    <a:pt x="375423" y="13440"/>
                  </a:lnTo>
                  <a:lnTo>
                    <a:pt x="375553" y="14086"/>
                  </a:lnTo>
                  <a:lnTo>
                    <a:pt x="375811" y="14733"/>
                  </a:lnTo>
                  <a:lnTo>
                    <a:pt x="375940" y="15379"/>
                  </a:lnTo>
                  <a:lnTo>
                    <a:pt x="375811" y="16025"/>
                  </a:lnTo>
                  <a:lnTo>
                    <a:pt x="375294" y="16801"/>
                  </a:lnTo>
                  <a:lnTo>
                    <a:pt x="374648" y="16930"/>
                  </a:lnTo>
                  <a:lnTo>
                    <a:pt x="374002" y="16930"/>
                  </a:lnTo>
                  <a:lnTo>
                    <a:pt x="372839" y="16413"/>
                  </a:lnTo>
                  <a:lnTo>
                    <a:pt x="372322" y="16154"/>
                  </a:lnTo>
                  <a:lnTo>
                    <a:pt x="371934" y="15767"/>
                  </a:lnTo>
                  <a:lnTo>
                    <a:pt x="371676" y="15250"/>
                  </a:lnTo>
                  <a:lnTo>
                    <a:pt x="371029" y="12794"/>
                  </a:lnTo>
                  <a:lnTo>
                    <a:pt x="370771" y="12277"/>
                  </a:lnTo>
                  <a:lnTo>
                    <a:pt x="370513" y="11760"/>
                  </a:lnTo>
                  <a:lnTo>
                    <a:pt x="370125" y="11373"/>
                  </a:lnTo>
                  <a:lnTo>
                    <a:pt x="369608" y="10985"/>
                  </a:lnTo>
                  <a:lnTo>
                    <a:pt x="368962" y="10727"/>
                  </a:lnTo>
                  <a:lnTo>
                    <a:pt x="368057" y="10468"/>
                  </a:lnTo>
                  <a:lnTo>
                    <a:pt x="364568" y="10080"/>
                  </a:lnTo>
                  <a:lnTo>
                    <a:pt x="363792" y="9822"/>
                  </a:lnTo>
                  <a:lnTo>
                    <a:pt x="363275" y="9564"/>
                  </a:lnTo>
                  <a:lnTo>
                    <a:pt x="362888" y="9176"/>
                  </a:lnTo>
                  <a:lnTo>
                    <a:pt x="362629" y="8659"/>
                  </a:lnTo>
                  <a:lnTo>
                    <a:pt x="362500" y="8012"/>
                  </a:lnTo>
                  <a:lnTo>
                    <a:pt x="362112" y="7366"/>
                  </a:lnTo>
                  <a:lnTo>
                    <a:pt x="361466" y="6849"/>
                  </a:lnTo>
                  <a:lnTo>
                    <a:pt x="359528" y="6333"/>
                  </a:lnTo>
                  <a:lnTo>
                    <a:pt x="352549" y="6591"/>
                  </a:lnTo>
                  <a:lnTo>
                    <a:pt x="351515" y="6333"/>
                  </a:lnTo>
                  <a:lnTo>
                    <a:pt x="350481" y="5557"/>
                  </a:lnTo>
                  <a:lnTo>
                    <a:pt x="349706" y="5170"/>
                  </a:lnTo>
                  <a:lnTo>
                    <a:pt x="348414" y="4653"/>
                  </a:lnTo>
                  <a:lnTo>
                    <a:pt x="347638" y="4653"/>
                  </a:lnTo>
                  <a:lnTo>
                    <a:pt x="347121" y="4911"/>
                  </a:lnTo>
                  <a:lnTo>
                    <a:pt x="346992" y="5428"/>
                  </a:lnTo>
                  <a:lnTo>
                    <a:pt x="347121" y="5945"/>
                  </a:lnTo>
                  <a:lnTo>
                    <a:pt x="347509" y="6333"/>
                  </a:lnTo>
                  <a:lnTo>
                    <a:pt x="348026" y="6720"/>
                  </a:lnTo>
                  <a:lnTo>
                    <a:pt x="350223" y="7754"/>
                  </a:lnTo>
                  <a:lnTo>
                    <a:pt x="350740" y="8142"/>
                  </a:lnTo>
                  <a:lnTo>
                    <a:pt x="350998" y="8529"/>
                  </a:lnTo>
                  <a:lnTo>
                    <a:pt x="351127" y="9047"/>
                  </a:lnTo>
                  <a:lnTo>
                    <a:pt x="350352" y="9564"/>
                  </a:lnTo>
                  <a:lnTo>
                    <a:pt x="348931" y="9951"/>
                  </a:lnTo>
                  <a:lnTo>
                    <a:pt x="344020" y="10727"/>
                  </a:lnTo>
                  <a:lnTo>
                    <a:pt x="342857" y="11114"/>
                  </a:lnTo>
                  <a:lnTo>
                    <a:pt x="342469" y="11373"/>
                  </a:lnTo>
                  <a:lnTo>
                    <a:pt x="341693" y="12277"/>
                  </a:lnTo>
                  <a:lnTo>
                    <a:pt x="339884" y="18610"/>
                  </a:lnTo>
                  <a:lnTo>
                    <a:pt x="338721" y="21324"/>
                  </a:lnTo>
                  <a:lnTo>
                    <a:pt x="337946" y="22487"/>
                  </a:lnTo>
                  <a:lnTo>
                    <a:pt x="336136" y="24425"/>
                  </a:lnTo>
                  <a:lnTo>
                    <a:pt x="333810" y="27397"/>
                  </a:lnTo>
                  <a:lnTo>
                    <a:pt x="333164" y="28690"/>
                  </a:lnTo>
                  <a:lnTo>
                    <a:pt x="332776" y="29982"/>
                  </a:lnTo>
                  <a:lnTo>
                    <a:pt x="332389" y="31404"/>
                  </a:lnTo>
                  <a:lnTo>
                    <a:pt x="331872" y="31921"/>
                  </a:lnTo>
                  <a:lnTo>
                    <a:pt x="331484" y="31921"/>
                  </a:lnTo>
                  <a:lnTo>
                    <a:pt x="330709" y="31145"/>
                  </a:lnTo>
                  <a:lnTo>
                    <a:pt x="329675" y="30499"/>
                  </a:lnTo>
                  <a:lnTo>
                    <a:pt x="329028" y="30241"/>
                  </a:lnTo>
                  <a:lnTo>
                    <a:pt x="328382" y="30112"/>
                  </a:lnTo>
                  <a:lnTo>
                    <a:pt x="327736" y="30112"/>
                  </a:lnTo>
                  <a:lnTo>
                    <a:pt x="326444" y="30370"/>
                  </a:lnTo>
                  <a:lnTo>
                    <a:pt x="325410" y="31016"/>
                  </a:lnTo>
                  <a:lnTo>
                    <a:pt x="321791" y="33730"/>
                  </a:lnTo>
                  <a:lnTo>
                    <a:pt x="321275" y="33988"/>
                  </a:lnTo>
                  <a:lnTo>
                    <a:pt x="320628" y="34118"/>
                  </a:lnTo>
                  <a:lnTo>
                    <a:pt x="319982" y="34118"/>
                  </a:lnTo>
                  <a:lnTo>
                    <a:pt x="319336" y="33988"/>
                  </a:lnTo>
                  <a:lnTo>
                    <a:pt x="318690" y="33730"/>
                  </a:lnTo>
                  <a:lnTo>
                    <a:pt x="317139" y="33471"/>
                  </a:lnTo>
                  <a:lnTo>
                    <a:pt x="316105" y="33730"/>
                  </a:lnTo>
                  <a:lnTo>
                    <a:pt x="315588" y="34118"/>
                  </a:lnTo>
                  <a:lnTo>
                    <a:pt x="315330" y="34893"/>
                  </a:lnTo>
                  <a:lnTo>
                    <a:pt x="315071" y="35669"/>
                  </a:lnTo>
                  <a:lnTo>
                    <a:pt x="314554" y="36573"/>
                  </a:lnTo>
                  <a:lnTo>
                    <a:pt x="313908" y="36832"/>
                  </a:lnTo>
                  <a:lnTo>
                    <a:pt x="313391" y="36702"/>
                  </a:lnTo>
                  <a:lnTo>
                    <a:pt x="313133" y="36186"/>
                  </a:lnTo>
                  <a:lnTo>
                    <a:pt x="313004" y="34764"/>
                  </a:lnTo>
                  <a:lnTo>
                    <a:pt x="312874" y="34118"/>
                  </a:lnTo>
                  <a:lnTo>
                    <a:pt x="312616" y="33601"/>
                  </a:lnTo>
                  <a:lnTo>
                    <a:pt x="312228" y="33213"/>
                  </a:lnTo>
                  <a:lnTo>
                    <a:pt x="311711" y="32825"/>
                  </a:lnTo>
                  <a:lnTo>
                    <a:pt x="310936" y="32696"/>
                  </a:lnTo>
                  <a:lnTo>
                    <a:pt x="309902" y="32825"/>
                  </a:lnTo>
                  <a:lnTo>
                    <a:pt x="309256" y="33342"/>
                  </a:lnTo>
                  <a:lnTo>
                    <a:pt x="308739" y="33988"/>
                  </a:lnTo>
                  <a:lnTo>
                    <a:pt x="308222" y="35023"/>
                  </a:lnTo>
                  <a:lnTo>
                    <a:pt x="307705" y="35281"/>
                  </a:lnTo>
                  <a:lnTo>
                    <a:pt x="307188" y="35152"/>
                  </a:lnTo>
                  <a:lnTo>
                    <a:pt x="306800" y="34764"/>
                  </a:lnTo>
                  <a:lnTo>
                    <a:pt x="305767" y="33342"/>
                  </a:lnTo>
                  <a:lnTo>
                    <a:pt x="304991" y="32567"/>
                  </a:lnTo>
                  <a:lnTo>
                    <a:pt x="304474" y="32308"/>
                  </a:lnTo>
                  <a:lnTo>
                    <a:pt x="304086" y="32179"/>
                  </a:lnTo>
                  <a:lnTo>
                    <a:pt x="303828" y="32050"/>
                  </a:lnTo>
                  <a:lnTo>
                    <a:pt x="303699" y="32050"/>
                  </a:lnTo>
                  <a:lnTo>
                    <a:pt x="303570" y="32050"/>
                  </a:lnTo>
                  <a:lnTo>
                    <a:pt x="301890" y="32308"/>
                  </a:lnTo>
                  <a:lnTo>
                    <a:pt x="300209" y="32955"/>
                  </a:lnTo>
                  <a:lnTo>
                    <a:pt x="299176" y="33084"/>
                  </a:lnTo>
                  <a:lnTo>
                    <a:pt x="298271" y="33084"/>
                  </a:lnTo>
                  <a:lnTo>
                    <a:pt x="297754" y="32825"/>
                  </a:lnTo>
                  <a:lnTo>
                    <a:pt x="297108" y="32179"/>
                  </a:lnTo>
                  <a:lnTo>
                    <a:pt x="296720" y="31921"/>
                  </a:lnTo>
                  <a:lnTo>
                    <a:pt x="296074" y="31792"/>
                  </a:lnTo>
                  <a:lnTo>
                    <a:pt x="295557" y="31921"/>
                  </a:lnTo>
                  <a:lnTo>
                    <a:pt x="295040" y="32179"/>
                  </a:lnTo>
                  <a:lnTo>
                    <a:pt x="293877" y="33342"/>
                  </a:lnTo>
                  <a:lnTo>
                    <a:pt x="292714" y="35023"/>
                  </a:lnTo>
                  <a:lnTo>
                    <a:pt x="292068" y="35798"/>
                  </a:lnTo>
                  <a:lnTo>
                    <a:pt x="290775" y="36961"/>
                  </a:lnTo>
                  <a:lnTo>
                    <a:pt x="289871" y="37478"/>
                  </a:lnTo>
                  <a:lnTo>
                    <a:pt x="289095" y="37866"/>
                  </a:lnTo>
                  <a:lnTo>
                    <a:pt x="282763" y="39675"/>
                  </a:lnTo>
                  <a:lnTo>
                    <a:pt x="281600" y="40321"/>
                  </a:lnTo>
                  <a:lnTo>
                    <a:pt x="280824" y="40967"/>
                  </a:lnTo>
                  <a:lnTo>
                    <a:pt x="279532" y="42389"/>
                  </a:lnTo>
                  <a:lnTo>
                    <a:pt x="278111" y="43681"/>
                  </a:lnTo>
                  <a:lnTo>
                    <a:pt x="277335" y="44456"/>
                  </a:lnTo>
                  <a:lnTo>
                    <a:pt x="276818" y="45103"/>
                  </a:lnTo>
                  <a:lnTo>
                    <a:pt x="276560" y="45749"/>
                  </a:lnTo>
                  <a:lnTo>
                    <a:pt x="276431" y="46395"/>
                  </a:lnTo>
                  <a:lnTo>
                    <a:pt x="276043" y="49367"/>
                  </a:lnTo>
                  <a:lnTo>
                    <a:pt x="275655" y="50272"/>
                  </a:lnTo>
                  <a:lnTo>
                    <a:pt x="275138" y="51306"/>
                  </a:lnTo>
                  <a:lnTo>
                    <a:pt x="273200" y="53632"/>
                  </a:lnTo>
                  <a:lnTo>
                    <a:pt x="272683" y="54278"/>
                  </a:lnTo>
                  <a:lnTo>
                    <a:pt x="272424" y="54924"/>
                  </a:lnTo>
                  <a:lnTo>
                    <a:pt x="272295" y="55571"/>
                  </a:lnTo>
                  <a:lnTo>
                    <a:pt x="272295" y="56217"/>
                  </a:lnTo>
                  <a:lnTo>
                    <a:pt x="272424" y="56734"/>
                  </a:lnTo>
                  <a:lnTo>
                    <a:pt x="273071" y="57638"/>
                  </a:lnTo>
                  <a:lnTo>
                    <a:pt x="274363" y="58801"/>
                  </a:lnTo>
                  <a:lnTo>
                    <a:pt x="274750" y="59318"/>
                  </a:lnTo>
                  <a:lnTo>
                    <a:pt x="274880" y="59965"/>
                  </a:lnTo>
                  <a:lnTo>
                    <a:pt x="274750" y="60740"/>
                  </a:lnTo>
                  <a:lnTo>
                    <a:pt x="273846" y="62420"/>
                  </a:lnTo>
                  <a:lnTo>
                    <a:pt x="273587" y="62937"/>
                  </a:lnTo>
                  <a:lnTo>
                    <a:pt x="273587" y="63325"/>
                  </a:lnTo>
                  <a:lnTo>
                    <a:pt x="276947" y="69269"/>
                  </a:lnTo>
                  <a:lnTo>
                    <a:pt x="277723" y="71595"/>
                  </a:lnTo>
                  <a:lnTo>
                    <a:pt x="278111" y="72888"/>
                  </a:lnTo>
                  <a:lnTo>
                    <a:pt x="278240" y="74309"/>
                  </a:lnTo>
                  <a:lnTo>
                    <a:pt x="277981" y="75989"/>
                  </a:lnTo>
                  <a:lnTo>
                    <a:pt x="276431" y="78703"/>
                  </a:lnTo>
                  <a:lnTo>
                    <a:pt x="272941" y="81417"/>
                  </a:lnTo>
                  <a:lnTo>
                    <a:pt x="272166" y="81805"/>
                  </a:lnTo>
                  <a:lnTo>
                    <a:pt x="271132" y="82063"/>
                  </a:lnTo>
                  <a:lnTo>
                    <a:pt x="267772" y="82580"/>
                  </a:lnTo>
                  <a:lnTo>
                    <a:pt x="261827" y="84261"/>
                  </a:lnTo>
                  <a:lnTo>
                    <a:pt x="260664" y="84777"/>
                  </a:lnTo>
                  <a:lnTo>
                    <a:pt x="260276" y="85294"/>
                  </a:lnTo>
                  <a:lnTo>
                    <a:pt x="259889" y="86716"/>
                  </a:lnTo>
                  <a:lnTo>
                    <a:pt x="259372" y="87620"/>
                  </a:lnTo>
                  <a:lnTo>
                    <a:pt x="258855" y="87750"/>
                  </a:lnTo>
                  <a:lnTo>
                    <a:pt x="258338" y="87491"/>
                  </a:lnTo>
                  <a:lnTo>
                    <a:pt x="257950" y="87104"/>
                  </a:lnTo>
                  <a:lnTo>
                    <a:pt x="256787" y="85036"/>
                  </a:lnTo>
                  <a:lnTo>
                    <a:pt x="256141" y="83356"/>
                  </a:lnTo>
                  <a:lnTo>
                    <a:pt x="255495" y="82322"/>
                  </a:lnTo>
                  <a:lnTo>
                    <a:pt x="255107" y="81805"/>
                  </a:lnTo>
                  <a:lnTo>
                    <a:pt x="254331" y="81030"/>
                  </a:lnTo>
                  <a:lnTo>
                    <a:pt x="252781" y="80125"/>
                  </a:lnTo>
                  <a:lnTo>
                    <a:pt x="252264" y="79737"/>
                  </a:lnTo>
                  <a:lnTo>
                    <a:pt x="251876" y="79220"/>
                  </a:lnTo>
                  <a:lnTo>
                    <a:pt x="251618" y="78703"/>
                  </a:lnTo>
                  <a:lnTo>
                    <a:pt x="251488" y="78187"/>
                  </a:lnTo>
                  <a:lnTo>
                    <a:pt x="251488" y="77023"/>
                  </a:lnTo>
                  <a:lnTo>
                    <a:pt x="251359" y="76506"/>
                  </a:lnTo>
                  <a:lnTo>
                    <a:pt x="251101" y="75989"/>
                  </a:lnTo>
                  <a:lnTo>
                    <a:pt x="250584" y="75472"/>
                  </a:lnTo>
                  <a:lnTo>
                    <a:pt x="249808" y="75214"/>
                  </a:lnTo>
                  <a:lnTo>
                    <a:pt x="249679" y="75214"/>
                  </a:lnTo>
                  <a:lnTo>
                    <a:pt x="249550" y="75214"/>
                  </a:lnTo>
                  <a:lnTo>
                    <a:pt x="237790" y="75731"/>
                  </a:lnTo>
                  <a:lnTo>
                    <a:pt x="236627" y="75472"/>
                  </a:lnTo>
                  <a:lnTo>
                    <a:pt x="235980" y="75085"/>
                  </a:lnTo>
                  <a:lnTo>
                    <a:pt x="235593" y="74439"/>
                  </a:lnTo>
                  <a:lnTo>
                    <a:pt x="235076" y="73793"/>
                  </a:lnTo>
                  <a:lnTo>
                    <a:pt x="234042" y="73276"/>
                  </a:lnTo>
                  <a:lnTo>
                    <a:pt x="233267" y="73146"/>
                  </a:lnTo>
                  <a:lnTo>
                    <a:pt x="232620" y="73276"/>
                  </a:lnTo>
                  <a:lnTo>
                    <a:pt x="232103" y="73534"/>
                  </a:lnTo>
                  <a:lnTo>
                    <a:pt x="230165" y="74826"/>
                  </a:lnTo>
                  <a:lnTo>
                    <a:pt x="229002" y="75214"/>
                  </a:lnTo>
                  <a:lnTo>
                    <a:pt x="227580" y="75472"/>
                  </a:lnTo>
                  <a:lnTo>
                    <a:pt x="209617" y="75214"/>
                  </a:lnTo>
                  <a:lnTo>
                    <a:pt x="202509" y="73146"/>
                  </a:lnTo>
                  <a:lnTo>
                    <a:pt x="200312" y="72759"/>
                  </a:lnTo>
                  <a:lnTo>
                    <a:pt x="196564" y="73017"/>
                  </a:lnTo>
                  <a:lnTo>
                    <a:pt x="195530" y="73017"/>
                  </a:lnTo>
                  <a:lnTo>
                    <a:pt x="194755" y="72759"/>
                  </a:lnTo>
                  <a:lnTo>
                    <a:pt x="194238" y="72371"/>
                  </a:lnTo>
                  <a:lnTo>
                    <a:pt x="192300" y="70562"/>
                  </a:lnTo>
                  <a:lnTo>
                    <a:pt x="186096" y="66556"/>
                  </a:lnTo>
                  <a:lnTo>
                    <a:pt x="184287" y="65004"/>
                  </a:lnTo>
                  <a:lnTo>
                    <a:pt x="184029" y="64488"/>
                  </a:lnTo>
                  <a:lnTo>
                    <a:pt x="183382" y="63066"/>
                  </a:lnTo>
                  <a:lnTo>
                    <a:pt x="182865" y="62032"/>
                  </a:lnTo>
                  <a:lnTo>
                    <a:pt x="182349" y="61515"/>
                  </a:lnTo>
                  <a:lnTo>
                    <a:pt x="177179" y="58414"/>
                  </a:lnTo>
                  <a:lnTo>
                    <a:pt x="175887" y="57767"/>
                  </a:lnTo>
                  <a:lnTo>
                    <a:pt x="174853" y="57380"/>
                  </a:lnTo>
                  <a:lnTo>
                    <a:pt x="174207" y="57380"/>
                  </a:lnTo>
                  <a:lnTo>
                    <a:pt x="172010" y="57638"/>
                  </a:lnTo>
                  <a:lnTo>
                    <a:pt x="169425" y="57251"/>
                  </a:lnTo>
                  <a:lnTo>
                    <a:pt x="166582" y="56346"/>
                  </a:lnTo>
                  <a:lnTo>
                    <a:pt x="163868" y="55829"/>
                  </a:lnTo>
                  <a:lnTo>
                    <a:pt x="160508" y="56475"/>
                  </a:lnTo>
                  <a:lnTo>
                    <a:pt x="159474" y="56475"/>
                  </a:lnTo>
                  <a:lnTo>
                    <a:pt x="158182" y="56346"/>
                  </a:lnTo>
                  <a:lnTo>
                    <a:pt x="153012" y="55054"/>
                  </a:lnTo>
                  <a:lnTo>
                    <a:pt x="147326" y="55054"/>
                  </a:lnTo>
                  <a:lnTo>
                    <a:pt x="146551" y="54924"/>
                  </a:lnTo>
                  <a:lnTo>
                    <a:pt x="145905" y="54666"/>
                  </a:lnTo>
                  <a:lnTo>
                    <a:pt x="142157" y="52598"/>
                  </a:lnTo>
                  <a:lnTo>
                    <a:pt x="138021" y="51435"/>
                  </a:lnTo>
                  <a:lnTo>
                    <a:pt x="129880" y="51823"/>
                  </a:lnTo>
                  <a:lnTo>
                    <a:pt x="127424" y="51435"/>
                  </a:lnTo>
                  <a:lnTo>
                    <a:pt x="127037" y="51047"/>
                  </a:lnTo>
                  <a:lnTo>
                    <a:pt x="126649" y="50530"/>
                  </a:lnTo>
                  <a:lnTo>
                    <a:pt x="126132" y="49497"/>
                  </a:lnTo>
                  <a:lnTo>
                    <a:pt x="124452" y="48592"/>
                  </a:lnTo>
                  <a:lnTo>
                    <a:pt x="108944" y="43681"/>
                  </a:lnTo>
                  <a:lnTo>
                    <a:pt x="107522" y="43810"/>
                  </a:lnTo>
                  <a:lnTo>
                    <a:pt x="105455" y="44198"/>
                  </a:lnTo>
                  <a:lnTo>
                    <a:pt x="104421" y="44586"/>
                  </a:lnTo>
                  <a:lnTo>
                    <a:pt x="102224" y="45619"/>
                  </a:lnTo>
                  <a:lnTo>
                    <a:pt x="98476" y="46912"/>
                  </a:lnTo>
                  <a:lnTo>
                    <a:pt x="95633" y="47300"/>
                  </a:lnTo>
                  <a:lnTo>
                    <a:pt x="94599" y="47171"/>
                  </a:lnTo>
                  <a:lnTo>
                    <a:pt x="93823" y="46912"/>
                  </a:lnTo>
                  <a:lnTo>
                    <a:pt x="92660" y="46007"/>
                  </a:lnTo>
                  <a:lnTo>
                    <a:pt x="91627" y="45490"/>
                  </a:lnTo>
                  <a:lnTo>
                    <a:pt x="90851" y="45361"/>
                  </a:lnTo>
                  <a:lnTo>
                    <a:pt x="90205" y="45361"/>
                  </a:lnTo>
                  <a:lnTo>
                    <a:pt x="89430" y="45749"/>
                  </a:lnTo>
                  <a:lnTo>
                    <a:pt x="84777" y="47171"/>
                  </a:lnTo>
                  <a:lnTo>
                    <a:pt x="78962" y="47687"/>
                  </a:lnTo>
                  <a:lnTo>
                    <a:pt x="77411" y="47558"/>
                  </a:lnTo>
                  <a:lnTo>
                    <a:pt x="76377" y="47300"/>
                  </a:lnTo>
                  <a:lnTo>
                    <a:pt x="75860" y="46912"/>
                  </a:lnTo>
                  <a:lnTo>
                    <a:pt x="75085" y="46007"/>
                  </a:lnTo>
                  <a:lnTo>
                    <a:pt x="74826" y="45490"/>
                  </a:lnTo>
                  <a:lnTo>
                    <a:pt x="74309" y="44844"/>
                  </a:lnTo>
                  <a:lnTo>
                    <a:pt x="73534" y="44198"/>
                  </a:lnTo>
                  <a:lnTo>
                    <a:pt x="70045" y="42518"/>
                  </a:lnTo>
                  <a:lnTo>
                    <a:pt x="68235" y="41097"/>
                  </a:lnTo>
                  <a:lnTo>
                    <a:pt x="63195" y="37866"/>
                  </a:lnTo>
                  <a:lnTo>
                    <a:pt x="62808" y="37478"/>
                  </a:lnTo>
                  <a:lnTo>
                    <a:pt x="62420" y="36961"/>
                  </a:lnTo>
                  <a:lnTo>
                    <a:pt x="62161" y="36444"/>
                  </a:lnTo>
                  <a:lnTo>
                    <a:pt x="61127" y="35669"/>
                  </a:lnTo>
                  <a:lnTo>
                    <a:pt x="59447" y="34635"/>
                  </a:lnTo>
                  <a:lnTo>
                    <a:pt x="52986" y="32438"/>
                  </a:lnTo>
                  <a:lnTo>
                    <a:pt x="51435" y="32179"/>
                  </a:lnTo>
                  <a:lnTo>
                    <a:pt x="50013" y="32308"/>
                  </a:lnTo>
                  <a:lnTo>
                    <a:pt x="49367" y="32438"/>
                  </a:lnTo>
                  <a:lnTo>
                    <a:pt x="48850" y="32696"/>
                  </a:lnTo>
                  <a:lnTo>
                    <a:pt x="40321" y="37736"/>
                  </a:lnTo>
                  <a:lnTo>
                    <a:pt x="39545" y="37995"/>
                  </a:lnTo>
                  <a:lnTo>
                    <a:pt x="38512" y="38253"/>
                  </a:lnTo>
                  <a:lnTo>
                    <a:pt x="36444" y="38382"/>
                  </a:lnTo>
                  <a:lnTo>
                    <a:pt x="35281" y="38253"/>
                  </a:lnTo>
                  <a:lnTo>
                    <a:pt x="34376" y="38124"/>
                  </a:lnTo>
                  <a:lnTo>
                    <a:pt x="30628" y="36056"/>
                  </a:lnTo>
                  <a:lnTo>
                    <a:pt x="24037" y="34247"/>
                  </a:lnTo>
                  <a:lnTo>
                    <a:pt x="23133" y="34118"/>
                  </a:lnTo>
                  <a:lnTo>
                    <a:pt x="21840" y="34376"/>
                  </a:lnTo>
                  <a:lnTo>
                    <a:pt x="20160" y="34893"/>
                  </a:lnTo>
                  <a:lnTo>
                    <a:pt x="18739" y="34506"/>
                  </a:lnTo>
                  <a:lnTo>
                    <a:pt x="17446" y="38382"/>
                  </a:lnTo>
                  <a:lnTo>
                    <a:pt x="12923" y="44844"/>
                  </a:lnTo>
                  <a:lnTo>
                    <a:pt x="12019" y="48334"/>
                  </a:lnTo>
                  <a:lnTo>
                    <a:pt x="13311" y="59447"/>
                  </a:lnTo>
                  <a:lnTo>
                    <a:pt x="13311" y="63066"/>
                  </a:lnTo>
                  <a:lnTo>
                    <a:pt x="13311" y="63066"/>
                  </a:lnTo>
                  <a:lnTo>
                    <a:pt x="11760" y="64358"/>
                  </a:lnTo>
                  <a:lnTo>
                    <a:pt x="10985" y="65134"/>
                  </a:lnTo>
                  <a:lnTo>
                    <a:pt x="10726" y="65909"/>
                  </a:lnTo>
                  <a:lnTo>
                    <a:pt x="10985" y="67072"/>
                  </a:lnTo>
                  <a:lnTo>
                    <a:pt x="11373" y="68365"/>
                  </a:lnTo>
                  <a:lnTo>
                    <a:pt x="11760" y="69140"/>
                  </a:lnTo>
                  <a:lnTo>
                    <a:pt x="11889" y="68752"/>
                  </a:lnTo>
                  <a:lnTo>
                    <a:pt x="11631" y="70820"/>
                  </a:lnTo>
                  <a:lnTo>
                    <a:pt x="10209" y="74956"/>
                  </a:lnTo>
                  <a:lnTo>
                    <a:pt x="10209" y="77152"/>
                  </a:lnTo>
                  <a:lnTo>
                    <a:pt x="10726" y="81676"/>
                  </a:lnTo>
                  <a:lnTo>
                    <a:pt x="10597" y="83873"/>
                  </a:lnTo>
                  <a:lnTo>
                    <a:pt x="9951" y="86070"/>
                  </a:lnTo>
                  <a:lnTo>
                    <a:pt x="9175" y="86716"/>
                  </a:lnTo>
                  <a:lnTo>
                    <a:pt x="8142" y="86845"/>
                  </a:lnTo>
                  <a:lnTo>
                    <a:pt x="7237" y="87233"/>
                  </a:lnTo>
                  <a:lnTo>
                    <a:pt x="6979" y="88525"/>
                  </a:lnTo>
                  <a:lnTo>
                    <a:pt x="7496" y="89947"/>
                  </a:lnTo>
                  <a:lnTo>
                    <a:pt x="8400" y="90722"/>
                  </a:lnTo>
                  <a:lnTo>
                    <a:pt x="9305" y="91110"/>
                  </a:lnTo>
                  <a:lnTo>
                    <a:pt x="9822" y="91498"/>
                  </a:lnTo>
                  <a:lnTo>
                    <a:pt x="9822" y="92661"/>
                  </a:lnTo>
                  <a:lnTo>
                    <a:pt x="9175" y="94341"/>
                  </a:lnTo>
                  <a:lnTo>
                    <a:pt x="9305" y="95504"/>
                  </a:lnTo>
                  <a:lnTo>
                    <a:pt x="9693" y="95762"/>
                  </a:lnTo>
                  <a:lnTo>
                    <a:pt x="10985" y="95891"/>
                  </a:lnTo>
                  <a:lnTo>
                    <a:pt x="11373" y="96150"/>
                  </a:lnTo>
                  <a:lnTo>
                    <a:pt x="12665" y="100544"/>
                  </a:lnTo>
                  <a:lnTo>
                    <a:pt x="13957" y="107652"/>
                  </a:lnTo>
                  <a:lnTo>
                    <a:pt x="13828" y="111270"/>
                  </a:lnTo>
                  <a:lnTo>
                    <a:pt x="12536" y="115535"/>
                  </a:lnTo>
                  <a:lnTo>
                    <a:pt x="7883" y="125486"/>
                  </a:lnTo>
                  <a:lnTo>
                    <a:pt x="7366" y="126261"/>
                  </a:lnTo>
                  <a:lnTo>
                    <a:pt x="6591" y="126649"/>
                  </a:lnTo>
                  <a:lnTo>
                    <a:pt x="4911" y="126907"/>
                  </a:lnTo>
                  <a:lnTo>
                    <a:pt x="4394" y="127295"/>
                  </a:lnTo>
                  <a:lnTo>
                    <a:pt x="4006" y="128846"/>
                  </a:lnTo>
                  <a:lnTo>
                    <a:pt x="4135" y="132206"/>
                  </a:lnTo>
                  <a:lnTo>
                    <a:pt x="4006" y="133886"/>
                  </a:lnTo>
                  <a:lnTo>
                    <a:pt x="3489" y="134661"/>
                  </a:lnTo>
                  <a:lnTo>
                    <a:pt x="1938" y="135695"/>
                  </a:lnTo>
                  <a:lnTo>
                    <a:pt x="1422" y="136342"/>
                  </a:lnTo>
                  <a:lnTo>
                    <a:pt x="1422" y="137246"/>
                  </a:lnTo>
                  <a:lnTo>
                    <a:pt x="2455" y="138409"/>
                  </a:lnTo>
                  <a:lnTo>
                    <a:pt x="2455" y="139443"/>
                  </a:lnTo>
                  <a:lnTo>
                    <a:pt x="1292" y="141511"/>
                  </a:lnTo>
                  <a:lnTo>
                    <a:pt x="0" y="142286"/>
                  </a:lnTo>
                  <a:lnTo>
                    <a:pt x="129" y="142803"/>
                  </a:lnTo>
                  <a:lnTo>
                    <a:pt x="1163" y="142545"/>
                  </a:lnTo>
                  <a:lnTo>
                    <a:pt x="2068" y="142028"/>
                  </a:lnTo>
                  <a:lnTo>
                    <a:pt x="2843" y="141511"/>
                  </a:lnTo>
                  <a:lnTo>
                    <a:pt x="3748" y="141123"/>
                  </a:lnTo>
                  <a:lnTo>
                    <a:pt x="6074" y="140477"/>
                  </a:lnTo>
                  <a:lnTo>
                    <a:pt x="6849" y="140735"/>
                  </a:lnTo>
                  <a:lnTo>
                    <a:pt x="7754" y="141640"/>
                  </a:lnTo>
                  <a:lnTo>
                    <a:pt x="8271" y="142674"/>
                  </a:lnTo>
                  <a:lnTo>
                    <a:pt x="8529" y="143579"/>
                  </a:lnTo>
                  <a:lnTo>
                    <a:pt x="8917" y="144225"/>
                  </a:lnTo>
                  <a:lnTo>
                    <a:pt x="10080" y="144483"/>
                  </a:lnTo>
                  <a:lnTo>
                    <a:pt x="11502" y="144483"/>
                  </a:lnTo>
                  <a:lnTo>
                    <a:pt x="12536" y="144225"/>
                  </a:lnTo>
                  <a:lnTo>
                    <a:pt x="14991" y="142932"/>
                  </a:lnTo>
                  <a:lnTo>
                    <a:pt x="16154" y="141769"/>
                  </a:lnTo>
                  <a:lnTo>
                    <a:pt x="16930" y="141253"/>
                  </a:lnTo>
                  <a:lnTo>
                    <a:pt x="17963" y="141253"/>
                  </a:lnTo>
                  <a:lnTo>
                    <a:pt x="19644" y="142674"/>
                  </a:lnTo>
                  <a:lnTo>
                    <a:pt x="20290" y="145259"/>
                  </a:lnTo>
                  <a:lnTo>
                    <a:pt x="20548" y="148748"/>
                  </a:lnTo>
                  <a:lnTo>
                    <a:pt x="22874" y="148102"/>
                  </a:lnTo>
                  <a:lnTo>
                    <a:pt x="25588" y="145000"/>
                  </a:lnTo>
                  <a:lnTo>
                    <a:pt x="27527" y="143966"/>
                  </a:lnTo>
                  <a:lnTo>
                    <a:pt x="29982" y="144354"/>
                  </a:lnTo>
                  <a:lnTo>
                    <a:pt x="35022" y="146422"/>
                  </a:lnTo>
                  <a:lnTo>
                    <a:pt x="36702" y="146034"/>
                  </a:lnTo>
                  <a:lnTo>
                    <a:pt x="37219" y="143837"/>
                  </a:lnTo>
                  <a:lnTo>
                    <a:pt x="36961" y="140994"/>
                  </a:lnTo>
                  <a:lnTo>
                    <a:pt x="36961" y="138280"/>
                  </a:lnTo>
                  <a:lnTo>
                    <a:pt x="38512" y="136729"/>
                  </a:lnTo>
                  <a:lnTo>
                    <a:pt x="39675" y="136988"/>
                  </a:lnTo>
                  <a:lnTo>
                    <a:pt x="40579" y="138151"/>
                  </a:lnTo>
                  <a:lnTo>
                    <a:pt x="41226" y="139314"/>
                  </a:lnTo>
                  <a:lnTo>
                    <a:pt x="41872" y="139831"/>
                  </a:lnTo>
                  <a:lnTo>
                    <a:pt x="42776" y="139572"/>
                  </a:lnTo>
                  <a:lnTo>
                    <a:pt x="44456" y="138538"/>
                  </a:lnTo>
                  <a:lnTo>
                    <a:pt x="45490" y="138280"/>
                  </a:lnTo>
                  <a:lnTo>
                    <a:pt x="47429" y="137505"/>
                  </a:lnTo>
                  <a:lnTo>
                    <a:pt x="48979" y="135566"/>
                  </a:lnTo>
                  <a:lnTo>
                    <a:pt x="51047" y="131689"/>
                  </a:lnTo>
                  <a:lnTo>
                    <a:pt x="55183" y="134661"/>
                  </a:lnTo>
                  <a:lnTo>
                    <a:pt x="57380" y="135437"/>
                  </a:lnTo>
                  <a:lnTo>
                    <a:pt x="60223" y="135695"/>
                  </a:lnTo>
                  <a:lnTo>
                    <a:pt x="60869" y="137246"/>
                  </a:lnTo>
                  <a:lnTo>
                    <a:pt x="59706" y="140735"/>
                  </a:lnTo>
                  <a:lnTo>
                    <a:pt x="56992" y="146292"/>
                  </a:lnTo>
                  <a:lnTo>
                    <a:pt x="59577" y="146551"/>
                  </a:lnTo>
                  <a:lnTo>
                    <a:pt x="64617" y="143191"/>
                  </a:lnTo>
                  <a:lnTo>
                    <a:pt x="67331" y="142286"/>
                  </a:lnTo>
                  <a:lnTo>
                    <a:pt x="68752" y="142674"/>
                  </a:lnTo>
                  <a:lnTo>
                    <a:pt x="70820" y="144483"/>
                  </a:lnTo>
                  <a:lnTo>
                    <a:pt x="71725" y="144742"/>
                  </a:lnTo>
                  <a:lnTo>
                    <a:pt x="72888" y="143837"/>
                  </a:lnTo>
                  <a:lnTo>
                    <a:pt x="73663" y="142286"/>
                  </a:lnTo>
                  <a:lnTo>
                    <a:pt x="74568" y="138926"/>
                  </a:lnTo>
                  <a:lnTo>
                    <a:pt x="77152" y="141769"/>
                  </a:lnTo>
                  <a:lnTo>
                    <a:pt x="78832" y="142545"/>
                  </a:lnTo>
                  <a:lnTo>
                    <a:pt x="81029" y="142286"/>
                  </a:lnTo>
                  <a:lnTo>
                    <a:pt x="83097" y="140994"/>
                  </a:lnTo>
                  <a:lnTo>
                    <a:pt x="83873" y="139314"/>
                  </a:lnTo>
                  <a:lnTo>
                    <a:pt x="84131" y="137246"/>
                  </a:lnTo>
                  <a:lnTo>
                    <a:pt x="84906" y="134920"/>
                  </a:lnTo>
                  <a:lnTo>
                    <a:pt x="86586" y="133369"/>
                  </a:lnTo>
                  <a:lnTo>
                    <a:pt x="88783" y="132981"/>
                  </a:lnTo>
                  <a:lnTo>
                    <a:pt x="90334" y="133498"/>
                  </a:lnTo>
                  <a:lnTo>
                    <a:pt x="90334" y="134532"/>
                  </a:lnTo>
                  <a:lnTo>
                    <a:pt x="88654" y="136600"/>
                  </a:lnTo>
                  <a:lnTo>
                    <a:pt x="88008" y="137892"/>
                  </a:lnTo>
                  <a:lnTo>
                    <a:pt x="87749" y="139055"/>
                  </a:lnTo>
                  <a:lnTo>
                    <a:pt x="88396" y="140606"/>
                  </a:lnTo>
                  <a:lnTo>
                    <a:pt x="89300" y="140735"/>
                  </a:lnTo>
                  <a:lnTo>
                    <a:pt x="90205" y="140218"/>
                  </a:lnTo>
                  <a:lnTo>
                    <a:pt x="90593" y="139960"/>
                  </a:lnTo>
                  <a:lnTo>
                    <a:pt x="91885" y="141381"/>
                  </a:lnTo>
                  <a:lnTo>
                    <a:pt x="92144" y="143191"/>
                  </a:lnTo>
                  <a:lnTo>
                    <a:pt x="91497" y="145129"/>
                  </a:lnTo>
                  <a:lnTo>
                    <a:pt x="90205" y="146938"/>
                  </a:lnTo>
                  <a:lnTo>
                    <a:pt x="89946" y="147714"/>
                  </a:lnTo>
                  <a:lnTo>
                    <a:pt x="90205" y="148748"/>
                  </a:lnTo>
                  <a:lnTo>
                    <a:pt x="90980" y="149653"/>
                  </a:lnTo>
                  <a:lnTo>
                    <a:pt x="92014" y="149782"/>
                  </a:lnTo>
                  <a:lnTo>
                    <a:pt x="92919" y="149136"/>
                  </a:lnTo>
                  <a:lnTo>
                    <a:pt x="93436" y="148102"/>
                  </a:lnTo>
                  <a:lnTo>
                    <a:pt x="93694" y="146809"/>
                  </a:lnTo>
                  <a:lnTo>
                    <a:pt x="94211" y="145646"/>
                  </a:lnTo>
                  <a:lnTo>
                    <a:pt x="96279" y="142674"/>
                  </a:lnTo>
                  <a:lnTo>
                    <a:pt x="96667" y="143579"/>
                  </a:lnTo>
                  <a:lnTo>
                    <a:pt x="96796" y="145905"/>
                  </a:lnTo>
                  <a:lnTo>
                    <a:pt x="98217" y="147197"/>
                  </a:lnTo>
                  <a:lnTo>
                    <a:pt x="100285" y="146551"/>
                  </a:lnTo>
                  <a:lnTo>
                    <a:pt x="101836" y="145000"/>
                  </a:lnTo>
                  <a:lnTo>
                    <a:pt x="103128" y="143320"/>
                  </a:lnTo>
                  <a:lnTo>
                    <a:pt x="104550" y="142286"/>
                  </a:lnTo>
                  <a:lnTo>
                    <a:pt x="107135" y="142545"/>
                  </a:lnTo>
                  <a:lnTo>
                    <a:pt x="108168" y="144612"/>
                  </a:lnTo>
                  <a:lnTo>
                    <a:pt x="108944" y="146938"/>
                  </a:lnTo>
                  <a:lnTo>
                    <a:pt x="110753" y="148102"/>
                  </a:lnTo>
                  <a:lnTo>
                    <a:pt x="113338" y="148490"/>
                  </a:lnTo>
                  <a:lnTo>
                    <a:pt x="115018" y="149653"/>
                  </a:lnTo>
                  <a:lnTo>
                    <a:pt x="118378" y="153012"/>
                  </a:lnTo>
                  <a:lnTo>
                    <a:pt x="119412" y="151720"/>
                  </a:lnTo>
                  <a:lnTo>
                    <a:pt x="120575" y="151462"/>
                  </a:lnTo>
                  <a:lnTo>
                    <a:pt x="121609" y="152366"/>
                  </a:lnTo>
                  <a:lnTo>
                    <a:pt x="121996" y="154305"/>
                  </a:lnTo>
                  <a:lnTo>
                    <a:pt x="122513" y="155856"/>
                  </a:lnTo>
                  <a:lnTo>
                    <a:pt x="123676" y="155210"/>
                  </a:lnTo>
                  <a:lnTo>
                    <a:pt x="124840" y="153788"/>
                  </a:lnTo>
                  <a:lnTo>
                    <a:pt x="125356" y="153012"/>
                  </a:lnTo>
                  <a:lnTo>
                    <a:pt x="126649" y="153142"/>
                  </a:lnTo>
                  <a:lnTo>
                    <a:pt x="129104" y="153788"/>
                  </a:lnTo>
                  <a:lnTo>
                    <a:pt x="130784" y="153917"/>
                  </a:lnTo>
                  <a:lnTo>
                    <a:pt x="132077" y="153659"/>
                  </a:lnTo>
                  <a:lnTo>
                    <a:pt x="134920" y="152625"/>
                  </a:lnTo>
                  <a:lnTo>
                    <a:pt x="136471" y="152237"/>
                  </a:lnTo>
                  <a:lnTo>
                    <a:pt x="138151" y="151591"/>
                  </a:lnTo>
                  <a:lnTo>
                    <a:pt x="139055" y="151462"/>
                  </a:lnTo>
                  <a:lnTo>
                    <a:pt x="139443" y="151720"/>
                  </a:lnTo>
                  <a:lnTo>
                    <a:pt x="140089" y="152883"/>
                  </a:lnTo>
                  <a:lnTo>
                    <a:pt x="140477" y="153142"/>
                  </a:lnTo>
                  <a:lnTo>
                    <a:pt x="143449" y="154047"/>
                  </a:lnTo>
                  <a:lnTo>
                    <a:pt x="145259" y="154047"/>
                  </a:lnTo>
                  <a:lnTo>
                    <a:pt x="146034" y="152754"/>
                  </a:lnTo>
                  <a:lnTo>
                    <a:pt x="146292" y="151849"/>
                  </a:lnTo>
                  <a:lnTo>
                    <a:pt x="146809" y="150686"/>
                  </a:lnTo>
                  <a:lnTo>
                    <a:pt x="147585" y="149653"/>
                  </a:lnTo>
                  <a:lnTo>
                    <a:pt x="148360" y="149136"/>
                  </a:lnTo>
                  <a:lnTo>
                    <a:pt x="149394" y="149136"/>
                  </a:lnTo>
                  <a:lnTo>
                    <a:pt x="149523" y="149523"/>
                  </a:lnTo>
                  <a:lnTo>
                    <a:pt x="149523" y="150169"/>
                  </a:lnTo>
                  <a:lnTo>
                    <a:pt x="149782" y="150816"/>
                  </a:lnTo>
                  <a:lnTo>
                    <a:pt x="150557" y="152108"/>
                  </a:lnTo>
                  <a:lnTo>
                    <a:pt x="151591" y="154693"/>
                  </a:lnTo>
                  <a:lnTo>
                    <a:pt x="152754" y="155856"/>
                  </a:lnTo>
                  <a:lnTo>
                    <a:pt x="153142" y="154693"/>
                  </a:lnTo>
                  <a:lnTo>
                    <a:pt x="153142" y="154047"/>
                  </a:lnTo>
                  <a:lnTo>
                    <a:pt x="152883" y="153529"/>
                  </a:lnTo>
                  <a:lnTo>
                    <a:pt x="152754" y="152883"/>
                  </a:lnTo>
                  <a:lnTo>
                    <a:pt x="153142" y="151979"/>
                  </a:lnTo>
                  <a:lnTo>
                    <a:pt x="153917" y="151979"/>
                  </a:lnTo>
                  <a:lnTo>
                    <a:pt x="154693" y="152366"/>
                  </a:lnTo>
                  <a:lnTo>
                    <a:pt x="155080" y="152883"/>
                  </a:lnTo>
                  <a:lnTo>
                    <a:pt x="155339" y="154047"/>
                  </a:lnTo>
                  <a:lnTo>
                    <a:pt x="156243" y="156760"/>
                  </a:lnTo>
                  <a:lnTo>
                    <a:pt x="156502" y="157794"/>
                  </a:lnTo>
                  <a:lnTo>
                    <a:pt x="157148" y="157148"/>
                  </a:lnTo>
                  <a:lnTo>
                    <a:pt x="158699" y="156760"/>
                  </a:lnTo>
                  <a:lnTo>
                    <a:pt x="160379" y="156502"/>
                  </a:lnTo>
                  <a:lnTo>
                    <a:pt x="161542" y="156631"/>
                  </a:lnTo>
                  <a:lnTo>
                    <a:pt x="162317" y="157407"/>
                  </a:lnTo>
                  <a:lnTo>
                    <a:pt x="162834" y="158311"/>
                  </a:lnTo>
                  <a:lnTo>
                    <a:pt x="163610" y="158828"/>
                  </a:lnTo>
                  <a:lnTo>
                    <a:pt x="165160" y="158311"/>
                  </a:lnTo>
                  <a:lnTo>
                    <a:pt x="164256" y="155727"/>
                  </a:lnTo>
                  <a:lnTo>
                    <a:pt x="164256" y="153788"/>
                  </a:lnTo>
                  <a:lnTo>
                    <a:pt x="165419" y="152625"/>
                  </a:lnTo>
                  <a:lnTo>
                    <a:pt x="168133" y="152366"/>
                  </a:lnTo>
                  <a:lnTo>
                    <a:pt x="170459" y="153012"/>
                  </a:lnTo>
                  <a:lnTo>
                    <a:pt x="171493" y="154176"/>
                  </a:lnTo>
                  <a:lnTo>
                    <a:pt x="170976" y="155210"/>
                  </a:lnTo>
                  <a:lnTo>
                    <a:pt x="168520" y="155727"/>
                  </a:lnTo>
                  <a:lnTo>
                    <a:pt x="168650" y="156631"/>
                  </a:lnTo>
                  <a:lnTo>
                    <a:pt x="169554" y="158699"/>
                  </a:lnTo>
                  <a:lnTo>
                    <a:pt x="170976" y="160638"/>
                  </a:lnTo>
                  <a:lnTo>
                    <a:pt x="172656" y="161413"/>
                  </a:lnTo>
                  <a:lnTo>
                    <a:pt x="176016" y="157277"/>
                  </a:lnTo>
                  <a:lnTo>
                    <a:pt x="178342" y="155210"/>
                  </a:lnTo>
                  <a:lnTo>
                    <a:pt x="179376" y="155985"/>
                  </a:lnTo>
                  <a:lnTo>
                    <a:pt x="180410" y="158440"/>
                  </a:lnTo>
                  <a:lnTo>
                    <a:pt x="182736" y="158440"/>
                  </a:lnTo>
                  <a:lnTo>
                    <a:pt x="184933" y="158053"/>
                  </a:lnTo>
                  <a:lnTo>
                    <a:pt x="185967" y="159086"/>
                  </a:lnTo>
                  <a:lnTo>
                    <a:pt x="185321" y="161542"/>
                  </a:lnTo>
                  <a:lnTo>
                    <a:pt x="185579" y="162447"/>
                  </a:lnTo>
                  <a:lnTo>
                    <a:pt x="187001" y="162834"/>
                  </a:lnTo>
                  <a:lnTo>
                    <a:pt x="194884" y="162705"/>
                  </a:lnTo>
                  <a:lnTo>
                    <a:pt x="195272" y="162447"/>
                  </a:lnTo>
                  <a:lnTo>
                    <a:pt x="195401" y="162705"/>
                  </a:lnTo>
                  <a:lnTo>
                    <a:pt x="195401" y="164256"/>
                  </a:lnTo>
                  <a:lnTo>
                    <a:pt x="196435" y="166195"/>
                  </a:lnTo>
                  <a:lnTo>
                    <a:pt x="201087" y="167228"/>
                  </a:lnTo>
                  <a:lnTo>
                    <a:pt x="202638" y="169554"/>
                  </a:lnTo>
                  <a:lnTo>
                    <a:pt x="199149" y="169425"/>
                  </a:lnTo>
                  <a:lnTo>
                    <a:pt x="197469" y="169684"/>
                  </a:lnTo>
                  <a:lnTo>
                    <a:pt x="196047" y="170330"/>
                  </a:lnTo>
                  <a:lnTo>
                    <a:pt x="202380" y="173949"/>
                  </a:lnTo>
                  <a:lnTo>
                    <a:pt x="204706" y="176533"/>
                  </a:lnTo>
                  <a:lnTo>
                    <a:pt x="201992" y="178471"/>
                  </a:lnTo>
                  <a:lnTo>
                    <a:pt x="203284" y="178988"/>
                  </a:lnTo>
                  <a:lnTo>
                    <a:pt x="204447" y="178730"/>
                  </a:lnTo>
                  <a:lnTo>
                    <a:pt x="205481" y="177955"/>
                  </a:lnTo>
                  <a:lnTo>
                    <a:pt x="206257" y="177050"/>
                  </a:lnTo>
                  <a:lnTo>
                    <a:pt x="207161" y="178988"/>
                  </a:lnTo>
                  <a:lnTo>
                    <a:pt x="207678" y="182866"/>
                  </a:lnTo>
                  <a:lnTo>
                    <a:pt x="208841" y="184804"/>
                  </a:lnTo>
                  <a:lnTo>
                    <a:pt x="210392" y="185580"/>
                  </a:lnTo>
                  <a:lnTo>
                    <a:pt x="211297" y="184158"/>
                  </a:lnTo>
                  <a:lnTo>
                    <a:pt x="212072" y="180281"/>
                  </a:lnTo>
                  <a:lnTo>
                    <a:pt x="212848" y="180669"/>
                  </a:lnTo>
                  <a:lnTo>
                    <a:pt x="213364" y="181315"/>
                  </a:lnTo>
                  <a:lnTo>
                    <a:pt x="213494" y="182090"/>
                  </a:lnTo>
                  <a:lnTo>
                    <a:pt x="212460" y="184158"/>
                  </a:lnTo>
                  <a:lnTo>
                    <a:pt x="212718" y="184675"/>
                  </a:lnTo>
                  <a:lnTo>
                    <a:pt x="215303" y="185580"/>
                  </a:lnTo>
                  <a:lnTo>
                    <a:pt x="217242" y="185838"/>
                  </a:lnTo>
                  <a:lnTo>
                    <a:pt x="220602" y="185838"/>
                  </a:lnTo>
                  <a:lnTo>
                    <a:pt x="219697" y="182995"/>
                  </a:lnTo>
                  <a:lnTo>
                    <a:pt x="220602" y="181832"/>
                  </a:lnTo>
                  <a:lnTo>
                    <a:pt x="222411" y="181702"/>
                  </a:lnTo>
                  <a:lnTo>
                    <a:pt x="224608" y="181832"/>
                  </a:lnTo>
                  <a:lnTo>
                    <a:pt x="225512" y="182349"/>
                  </a:lnTo>
                  <a:lnTo>
                    <a:pt x="226288" y="183512"/>
                  </a:lnTo>
                  <a:lnTo>
                    <a:pt x="227193" y="184287"/>
                  </a:lnTo>
                  <a:lnTo>
                    <a:pt x="228226" y="183899"/>
                  </a:lnTo>
                  <a:lnTo>
                    <a:pt x="229648" y="181573"/>
                  </a:lnTo>
                  <a:lnTo>
                    <a:pt x="230423" y="180539"/>
                  </a:lnTo>
                  <a:lnTo>
                    <a:pt x="231586" y="180152"/>
                  </a:lnTo>
                  <a:lnTo>
                    <a:pt x="232879" y="180539"/>
                  </a:lnTo>
                  <a:lnTo>
                    <a:pt x="233137" y="181444"/>
                  </a:lnTo>
                  <a:lnTo>
                    <a:pt x="233137" y="182607"/>
                  </a:lnTo>
                  <a:lnTo>
                    <a:pt x="233654" y="183512"/>
                  </a:lnTo>
                  <a:lnTo>
                    <a:pt x="235076" y="184416"/>
                  </a:lnTo>
                  <a:lnTo>
                    <a:pt x="235722" y="184416"/>
                  </a:lnTo>
                  <a:lnTo>
                    <a:pt x="236110" y="183641"/>
                  </a:lnTo>
                  <a:lnTo>
                    <a:pt x="237014" y="182349"/>
                  </a:lnTo>
                  <a:lnTo>
                    <a:pt x="238307" y="181961"/>
                  </a:lnTo>
                  <a:lnTo>
                    <a:pt x="239082" y="183382"/>
                  </a:lnTo>
                  <a:lnTo>
                    <a:pt x="239470" y="185450"/>
                  </a:lnTo>
                  <a:lnTo>
                    <a:pt x="239599" y="187260"/>
                  </a:lnTo>
                  <a:lnTo>
                    <a:pt x="240116" y="187647"/>
                  </a:lnTo>
                  <a:lnTo>
                    <a:pt x="243605" y="185967"/>
                  </a:lnTo>
                  <a:lnTo>
                    <a:pt x="243993" y="186484"/>
                  </a:lnTo>
                  <a:lnTo>
                    <a:pt x="243217" y="189069"/>
                  </a:lnTo>
                  <a:lnTo>
                    <a:pt x="243217" y="190103"/>
                  </a:lnTo>
                  <a:lnTo>
                    <a:pt x="244898" y="191654"/>
                  </a:lnTo>
                  <a:lnTo>
                    <a:pt x="246836" y="191524"/>
                  </a:lnTo>
                  <a:lnTo>
                    <a:pt x="248904" y="190619"/>
                  </a:lnTo>
                  <a:lnTo>
                    <a:pt x="250971" y="190103"/>
                  </a:lnTo>
                  <a:lnTo>
                    <a:pt x="254073" y="190490"/>
                  </a:lnTo>
                  <a:lnTo>
                    <a:pt x="255107" y="191524"/>
                  </a:lnTo>
                  <a:lnTo>
                    <a:pt x="255495" y="193334"/>
                  </a:lnTo>
                  <a:lnTo>
                    <a:pt x="256528" y="195789"/>
                  </a:lnTo>
                  <a:lnTo>
                    <a:pt x="257433" y="196693"/>
                  </a:lnTo>
                  <a:lnTo>
                    <a:pt x="258338" y="196952"/>
                  </a:lnTo>
                  <a:lnTo>
                    <a:pt x="259372" y="197081"/>
                  </a:lnTo>
                  <a:lnTo>
                    <a:pt x="260405" y="197728"/>
                  </a:lnTo>
                  <a:lnTo>
                    <a:pt x="260923" y="198632"/>
                  </a:lnTo>
                  <a:lnTo>
                    <a:pt x="261052" y="199537"/>
                  </a:lnTo>
                  <a:lnTo>
                    <a:pt x="261310" y="200441"/>
                  </a:lnTo>
                  <a:lnTo>
                    <a:pt x="262215" y="201346"/>
                  </a:lnTo>
                  <a:lnTo>
                    <a:pt x="265058" y="198632"/>
                  </a:lnTo>
                  <a:lnTo>
                    <a:pt x="266609" y="198115"/>
                  </a:lnTo>
                  <a:lnTo>
                    <a:pt x="267255" y="200183"/>
                  </a:lnTo>
                  <a:lnTo>
                    <a:pt x="267901" y="203155"/>
                  </a:lnTo>
                  <a:lnTo>
                    <a:pt x="269452" y="203802"/>
                  </a:lnTo>
                  <a:lnTo>
                    <a:pt x="271390" y="203672"/>
                  </a:lnTo>
                  <a:lnTo>
                    <a:pt x="273200" y="204706"/>
                  </a:lnTo>
                  <a:lnTo>
                    <a:pt x="273458" y="205869"/>
                  </a:lnTo>
                  <a:lnTo>
                    <a:pt x="273200" y="207161"/>
                  </a:lnTo>
                  <a:lnTo>
                    <a:pt x="272683" y="208324"/>
                  </a:lnTo>
                  <a:lnTo>
                    <a:pt x="272553" y="208971"/>
                  </a:lnTo>
                  <a:lnTo>
                    <a:pt x="273071" y="209488"/>
                  </a:lnTo>
                  <a:lnTo>
                    <a:pt x="274880" y="210263"/>
                  </a:lnTo>
                  <a:lnTo>
                    <a:pt x="275784" y="210909"/>
                  </a:lnTo>
                  <a:lnTo>
                    <a:pt x="279532" y="215045"/>
                  </a:lnTo>
                  <a:lnTo>
                    <a:pt x="280566" y="215562"/>
                  </a:lnTo>
                  <a:lnTo>
                    <a:pt x="281600" y="215303"/>
                  </a:lnTo>
                  <a:lnTo>
                    <a:pt x="282634" y="214786"/>
                  </a:lnTo>
                  <a:lnTo>
                    <a:pt x="283668" y="214657"/>
                  </a:lnTo>
                  <a:lnTo>
                    <a:pt x="285348" y="215562"/>
                  </a:lnTo>
                  <a:lnTo>
                    <a:pt x="287932" y="218146"/>
                  </a:lnTo>
                  <a:lnTo>
                    <a:pt x="290905" y="219051"/>
                  </a:lnTo>
                  <a:lnTo>
                    <a:pt x="292843" y="220731"/>
                  </a:lnTo>
                  <a:lnTo>
                    <a:pt x="295299" y="221377"/>
                  </a:lnTo>
                  <a:lnTo>
                    <a:pt x="295557" y="221894"/>
                  </a:lnTo>
                  <a:lnTo>
                    <a:pt x="295557" y="222669"/>
                  </a:lnTo>
                  <a:lnTo>
                    <a:pt x="295945" y="223574"/>
                  </a:lnTo>
                  <a:lnTo>
                    <a:pt x="298400" y="227322"/>
                  </a:lnTo>
                  <a:lnTo>
                    <a:pt x="302536" y="235076"/>
                  </a:lnTo>
                  <a:lnTo>
                    <a:pt x="305508" y="237661"/>
                  </a:lnTo>
                  <a:lnTo>
                    <a:pt x="307705" y="237014"/>
                  </a:lnTo>
                  <a:lnTo>
                    <a:pt x="309643" y="238436"/>
                  </a:lnTo>
                  <a:lnTo>
                    <a:pt x="312874" y="242701"/>
                  </a:lnTo>
                  <a:lnTo>
                    <a:pt x="315976" y="246061"/>
                  </a:lnTo>
                  <a:lnTo>
                    <a:pt x="316493" y="247611"/>
                  </a:lnTo>
                  <a:lnTo>
                    <a:pt x="316493" y="250067"/>
                  </a:lnTo>
                  <a:lnTo>
                    <a:pt x="315330" y="252005"/>
                  </a:lnTo>
                  <a:lnTo>
                    <a:pt x="315330" y="253039"/>
                  </a:lnTo>
                  <a:lnTo>
                    <a:pt x="316881" y="253427"/>
                  </a:lnTo>
                  <a:lnTo>
                    <a:pt x="317656" y="254073"/>
                  </a:lnTo>
                  <a:lnTo>
                    <a:pt x="317785" y="255624"/>
                  </a:lnTo>
                  <a:lnTo>
                    <a:pt x="317656" y="257304"/>
                  </a:lnTo>
                  <a:lnTo>
                    <a:pt x="317914" y="258338"/>
                  </a:lnTo>
                  <a:lnTo>
                    <a:pt x="319336" y="259113"/>
                  </a:lnTo>
                  <a:lnTo>
                    <a:pt x="320370" y="258726"/>
                  </a:lnTo>
                  <a:lnTo>
                    <a:pt x="321145" y="257950"/>
                  </a:lnTo>
                  <a:lnTo>
                    <a:pt x="321921" y="257563"/>
                  </a:lnTo>
                  <a:lnTo>
                    <a:pt x="323084" y="258079"/>
                  </a:lnTo>
                  <a:lnTo>
                    <a:pt x="323859" y="259113"/>
                  </a:lnTo>
                  <a:lnTo>
                    <a:pt x="324764" y="259759"/>
                  </a:lnTo>
                  <a:lnTo>
                    <a:pt x="326056" y="259113"/>
                  </a:lnTo>
                  <a:lnTo>
                    <a:pt x="327995" y="261827"/>
                  </a:lnTo>
                  <a:lnTo>
                    <a:pt x="330062" y="269064"/>
                  </a:lnTo>
                  <a:lnTo>
                    <a:pt x="331226" y="271649"/>
                  </a:lnTo>
                  <a:lnTo>
                    <a:pt x="332389" y="272553"/>
                  </a:lnTo>
                  <a:lnTo>
                    <a:pt x="335232" y="273975"/>
                  </a:lnTo>
                  <a:lnTo>
                    <a:pt x="336266" y="274880"/>
                  </a:lnTo>
                  <a:lnTo>
                    <a:pt x="336912" y="275784"/>
                  </a:lnTo>
                  <a:lnTo>
                    <a:pt x="338463" y="279015"/>
                  </a:lnTo>
                  <a:lnTo>
                    <a:pt x="342081" y="284055"/>
                  </a:lnTo>
                  <a:lnTo>
                    <a:pt x="343761" y="287416"/>
                  </a:lnTo>
                  <a:lnTo>
                    <a:pt x="344278" y="288191"/>
                  </a:lnTo>
                  <a:lnTo>
                    <a:pt x="345183" y="288708"/>
                  </a:lnTo>
                  <a:lnTo>
                    <a:pt x="348672" y="289871"/>
                  </a:lnTo>
                  <a:lnTo>
                    <a:pt x="353066" y="293231"/>
                  </a:lnTo>
                  <a:lnTo>
                    <a:pt x="354358" y="292197"/>
                  </a:lnTo>
                  <a:lnTo>
                    <a:pt x="355780" y="291680"/>
                  </a:lnTo>
                  <a:lnTo>
                    <a:pt x="357331" y="291422"/>
                  </a:lnTo>
                  <a:lnTo>
                    <a:pt x="359011" y="291551"/>
                  </a:lnTo>
                  <a:lnTo>
                    <a:pt x="360303" y="292068"/>
                  </a:lnTo>
                  <a:lnTo>
                    <a:pt x="362371" y="293619"/>
                  </a:lnTo>
                  <a:lnTo>
                    <a:pt x="363017" y="294006"/>
                  </a:lnTo>
                  <a:lnTo>
                    <a:pt x="369349" y="294394"/>
                  </a:lnTo>
                  <a:lnTo>
                    <a:pt x="372322" y="295428"/>
                  </a:lnTo>
                  <a:lnTo>
                    <a:pt x="373614" y="297496"/>
                  </a:lnTo>
                  <a:lnTo>
                    <a:pt x="375294" y="296462"/>
                  </a:lnTo>
                  <a:lnTo>
                    <a:pt x="376716" y="296074"/>
                  </a:lnTo>
                  <a:lnTo>
                    <a:pt x="387571" y="297496"/>
                  </a:lnTo>
                  <a:lnTo>
                    <a:pt x="389510" y="298400"/>
                  </a:lnTo>
                  <a:lnTo>
                    <a:pt x="391965" y="300856"/>
                  </a:lnTo>
                  <a:lnTo>
                    <a:pt x="393387" y="301760"/>
                  </a:lnTo>
                  <a:lnTo>
                    <a:pt x="395196" y="301760"/>
                  </a:lnTo>
                  <a:lnTo>
                    <a:pt x="395454" y="300339"/>
                  </a:lnTo>
                  <a:lnTo>
                    <a:pt x="395454" y="298400"/>
                  </a:lnTo>
                  <a:lnTo>
                    <a:pt x="396488" y="296849"/>
                  </a:lnTo>
                  <a:lnTo>
                    <a:pt x="397781" y="296849"/>
                  </a:lnTo>
                  <a:lnTo>
                    <a:pt x="398298" y="298012"/>
                  </a:lnTo>
                  <a:lnTo>
                    <a:pt x="398556" y="299434"/>
                  </a:lnTo>
                  <a:lnTo>
                    <a:pt x="398944" y="300080"/>
                  </a:lnTo>
                  <a:lnTo>
                    <a:pt x="400107" y="300210"/>
                  </a:lnTo>
                  <a:lnTo>
                    <a:pt x="402304" y="300727"/>
                  </a:lnTo>
                  <a:lnTo>
                    <a:pt x="404759" y="300985"/>
                  </a:lnTo>
                  <a:lnTo>
                    <a:pt x="405793" y="301243"/>
                  </a:lnTo>
                  <a:lnTo>
                    <a:pt x="406827" y="301243"/>
                  </a:lnTo>
                  <a:lnTo>
                    <a:pt x="408249" y="300856"/>
                  </a:lnTo>
                  <a:lnTo>
                    <a:pt x="410704" y="298917"/>
                  </a:lnTo>
                  <a:lnTo>
                    <a:pt x="413676" y="297754"/>
                  </a:lnTo>
                  <a:lnTo>
                    <a:pt x="414710" y="297883"/>
                  </a:lnTo>
                  <a:lnTo>
                    <a:pt x="415873" y="298917"/>
                  </a:lnTo>
                  <a:lnTo>
                    <a:pt x="417166" y="300339"/>
                  </a:lnTo>
                  <a:lnTo>
                    <a:pt x="417683" y="300339"/>
                  </a:lnTo>
                  <a:lnTo>
                    <a:pt x="418200" y="299693"/>
                  </a:lnTo>
                  <a:lnTo>
                    <a:pt x="419621" y="299305"/>
                  </a:lnTo>
                  <a:lnTo>
                    <a:pt x="423369" y="297754"/>
                  </a:lnTo>
                  <a:lnTo>
                    <a:pt x="424403" y="297625"/>
                  </a:lnTo>
                  <a:lnTo>
                    <a:pt x="425308" y="298400"/>
                  </a:lnTo>
                  <a:lnTo>
                    <a:pt x="425824" y="299434"/>
                  </a:lnTo>
                  <a:lnTo>
                    <a:pt x="426342" y="300597"/>
                  </a:lnTo>
                  <a:lnTo>
                    <a:pt x="427117" y="301760"/>
                  </a:lnTo>
                  <a:lnTo>
                    <a:pt x="428409" y="302665"/>
                  </a:lnTo>
                  <a:lnTo>
                    <a:pt x="430218" y="303182"/>
                  </a:lnTo>
                  <a:lnTo>
                    <a:pt x="434095" y="303440"/>
                  </a:lnTo>
                  <a:lnTo>
                    <a:pt x="434742" y="302794"/>
                  </a:lnTo>
                  <a:lnTo>
                    <a:pt x="435129" y="301502"/>
                  </a:lnTo>
                  <a:lnTo>
                    <a:pt x="435646" y="300339"/>
                  </a:lnTo>
                  <a:lnTo>
                    <a:pt x="436680" y="300080"/>
                  </a:lnTo>
                  <a:lnTo>
                    <a:pt x="437197" y="300856"/>
                  </a:lnTo>
                  <a:lnTo>
                    <a:pt x="438360" y="303957"/>
                  </a:lnTo>
                  <a:lnTo>
                    <a:pt x="438877" y="305121"/>
                  </a:lnTo>
                  <a:lnTo>
                    <a:pt x="441849" y="307188"/>
                  </a:lnTo>
                  <a:lnTo>
                    <a:pt x="442108" y="307576"/>
                  </a:lnTo>
                  <a:lnTo>
                    <a:pt x="441720" y="308093"/>
                  </a:lnTo>
                  <a:lnTo>
                    <a:pt x="440816" y="308997"/>
                  </a:lnTo>
                  <a:lnTo>
                    <a:pt x="440557" y="309514"/>
                  </a:lnTo>
                  <a:lnTo>
                    <a:pt x="440557" y="310548"/>
                  </a:lnTo>
                  <a:lnTo>
                    <a:pt x="440686" y="311453"/>
                  </a:lnTo>
                  <a:lnTo>
                    <a:pt x="442754" y="315459"/>
                  </a:lnTo>
                  <a:lnTo>
                    <a:pt x="442237" y="317139"/>
                  </a:lnTo>
                  <a:lnTo>
                    <a:pt x="440945" y="318044"/>
                  </a:lnTo>
                  <a:lnTo>
                    <a:pt x="440169" y="318173"/>
                  </a:lnTo>
                  <a:lnTo>
                    <a:pt x="439394" y="318173"/>
                  </a:lnTo>
                  <a:lnTo>
                    <a:pt x="438748" y="318044"/>
                  </a:lnTo>
                  <a:lnTo>
                    <a:pt x="438102" y="317785"/>
                  </a:lnTo>
                  <a:lnTo>
                    <a:pt x="437068" y="317139"/>
                  </a:lnTo>
                  <a:lnTo>
                    <a:pt x="436422" y="316881"/>
                  </a:lnTo>
                  <a:lnTo>
                    <a:pt x="435775" y="316751"/>
                  </a:lnTo>
                  <a:lnTo>
                    <a:pt x="435129" y="316751"/>
                  </a:lnTo>
                  <a:lnTo>
                    <a:pt x="434483" y="316881"/>
                  </a:lnTo>
                  <a:lnTo>
                    <a:pt x="433966" y="317139"/>
                  </a:lnTo>
                  <a:lnTo>
                    <a:pt x="433449" y="317527"/>
                  </a:lnTo>
                  <a:lnTo>
                    <a:pt x="432674" y="318302"/>
                  </a:lnTo>
                  <a:lnTo>
                    <a:pt x="432286" y="318819"/>
                  </a:lnTo>
                  <a:lnTo>
                    <a:pt x="428926" y="325281"/>
                  </a:lnTo>
                  <a:lnTo>
                    <a:pt x="427892" y="326702"/>
                  </a:lnTo>
                  <a:lnTo>
                    <a:pt x="426988" y="327607"/>
                  </a:lnTo>
                  <a:lnTo>
                    <a:pt x="425695" y="327995"/>
                  </a:lnTo>
                  <a:lnTo>
                    <a:pt x="425049" y="328253"/>
                  </a:lnTo>
                  <a:lnTo>
                    <a:pt x="424015" y="328770"/>
                  </a:lnTo>
                  <a:lnTo>
                    <a:pt x="423498" y="329158"/>
                  </a:lnTo>
                  <a:lnTo>
                    <a:pt x="421818" y="331613"/>
                  </a:lnTo>
                  <a:lnTo>
                    <a:pt x="421172" y="332001"/>
                  </a:lnTo>
                  <a:lnTo>
                    <a:pt x="420655" y="331872"/>
                  </a:lnTo>
                  <a:lnTo>
                    <a:pt x="420397" y="331355"/>
                  </a:lnTo>
                  <a:lnTo>
                    <a:pt x="420397" y="330709"/>
                  </a:lnTo>
                  <a:lnTo>
                    <a:pt x="420397" y="330192"/>
                  </a:lnTo>
                  <a:lnTo>
                    <a:pt x="420268" y="329675"/>
                  </a:lnTo>
                  <a:lnTo>
                    <a:pt x="419880" y="329545"/>
                  </a:lnTo>
                  <a:lnTo>
                    <a:pt x="419363" y="329675"/>
                  </a:lnTo>
                  <a:lnTo>
                    <a:pt x="418975" y="330063"/>
                  </a:lnTo>
                  <a:lnTo>
                    <a:pt x="418587" y="330709"/>
                  </a:lnTo>
                  <a:lnTo>
                    <a:pt x="418458" y="331484"/>
                  </a:lnTo>
                  <a:lnTo>
                    <a:pt x="418587" y="332906"/>
                  </a:lnTo>
                  <a:lnTo>
                    <a:pt x="418846" y="333681"/>
                  </a:lnTo>
                  <a:lnTo>
                    <a:pt x="418975" y="334456"/>
                  </a:lnTo>
                  <a:lnTo>
                    <a:pt x="418846" y="335232"/>
                  </a:lnTo>
                  <a:lnTo>
                    <a:pt x="418200" y="336137"/>
                  </a:lnTo>
                  <a:lnTo>
                    <a:pt x="417554" y="336654"/>
                  </a:lnTo>
                  <a:lnTo>
                    <a:pt x="416520" y="337429"/>
                  </a:lnTo>
                  <a:lnTo>
                    <a:pt x="416132" y="337817"/>
                  </a:lnTo>
                  <a:lnTo>
                    <a:pt x="415873" y="338204"/>
                  </a:lnTo>
                  <a:lnTo>
                    <a:pt x="415744" y="338463"/>
                  </a:lnTo>
                  <a:lnTo>
                    <a:pt x="415486" y="339367"/>
                  </a:lnTo>
                  <a:lnTo>
                    <a:pt x="414710" y="344020"/>
                  </a:lnTo>
                  <a:lnTo>
                    <a:pt x="414581" y="346992"/>
                  </a:lnTo>
                  <a:lnTo>
                    <a:pt x="416261" y="358494"/>
                  </a:lnTo>
                  <a:lnTo>
                    <a:pt x="416003" y="359657"/>
                  </a:lnTo>
                  <a:lnTo>
                    <a:pt x="415615" y="361078"/>
                  </a:lnTo>
                  <a:lnTo>
                    <a:pt x="414064" y="365343"/>
                  </a:lnTo>
                  <a:lnTo>
                    <a:pt x="413418" y="368316"/>
                  </a:lnTo>
                  <a:lnTo>
                    <a:pt x="412772" y="369479"/>
                  </a:lnTo>
                  <a:lnTo>
                    <a:pt x="410575" y="371805"/>
                  </a:lnTo>
                  <a:lnTo>
                    <a:pt x="410446" y="372193"/>
                  </a:lnTo>
                  <a:lnTo>
                    <a:pt x="410316" y="372839"/>
                  </a:lnTo>
                  <a:lnTo>
                    <a:pt x="410316" y="374002"/>
                  </a:lnTo>
                  <a:lnTo>
                    <a:pt x="410575" y="375682"/>
                  </a:lnTo>
                  <a:lnTo>
                    <a:pt x="410446" y="376457"/>
                  </a:lnTo>
                  <a:lnTo>
                    <a:pt x="410058" y="376974"/>
                  </a:lnTo>
                  <a:lnTo>
                    <a:pt x="409283" y="377233"/>
                  </a:lnTo>
                  <a:lnTo>
                    <a:pt x="408636" y="377104"/>
                  </a:lnTo>
                  <a:lnTo>
                    <a:pt x="408120" y="376974"/>
                  </a:lnTo>
                  <a:lnTo>
                    <a:pt x="407602" y="376974"/>
                  </a:lnTo>
                  <a:lnTo>
                    <a:pt x="407215" y="377362"/>
                  </a:lnTo>
                  <a:lnTo>
                    <a:pt x="406698" y="378137"/>
                  </a:lnTo>
                  <a:lnTo>
                    <a:pt x="406181" y="378525"/>
                  </a:lnTo>
                  <a:lnTo>
                    <a:pt x="405664" y="378525"/>
                  </a:lnTo>
                  <a:lnTo>
                    <a:pt x="405276" y="378137"/>
                  </a:lnTo>
                  <a:lnTo>
                    <a:pt x="405018" y="377620"/>
                  </a:lnTo>
                  <a:lnTo>
                    <a:pt x="404501" y="376457"/>
                  </a:lnTo>
                  <a:lnTo>
                    <a:pt x="404113" y="375940"/>
                  </a:lnTo>
                  <a:lnTo>
                    <a:pt x="403596" y="375682"/>
                  </a:lnTo>
                  <a:lnTo>
                    <a:pt x="403079" y="375682"/>
                  </a:lnTo>
                  <a:lnTo>
                    <a:pt x="402562" y="376199"/>
                  </a:lnTo>
                  <a:lnTo>
                    <a:pt x="402046" y="377104"/>
                  </a:lnTo>
                  <a:lnTo>
                    <a:pt x="401399" y="378913"/>
                  </a:lnTo>
                  <a:lnTo>
                    <a:pt x="400495" y="380593"/>
                  </a:lnTo>
                  <a:lnTo>
                    <a:pt x="398944" y="382531"/>
                  </a:lnTo>
                  <a:lnTo>
                    <a:pt x="395454" y="385762"/>
                  </a:lnTo>
                  <a:lnTo>
                    <a:pt x="393516" y="387055"/>
                  </a:lnTo>
                  <a:lnTo>
                    <a:pt x="393128" y="387442"/>
                  </a:lnTo>
                  <a:lnTo>
                    <a:pt x="392482" y="387830"/>
                  </a:lnTo>
                  <a:lnTo>
                    <a:pt x="392353" y="388864"/>
                  </a:lnTo>
                  <a:lnTo>
                    <a:pt x="392741" y="391061"/>
                  </a:lnTo>
                  <a:lnTo>
                    <a:pt x="392870" y="393387"/>
                  </a:lnTo>
                  <a:lnTo>
                    <a:pt x="392224" y="397005"/>
                  </a:lnTo>
                  <a:lnTo>
                    <a:pt x="392094" y="397781"/>
                  </a:lnTo>
                  <a:lnTo>
                    <a:pt x="392094" y="398556"/>
                  </a:lnTo>
                  <a:lnTo>
                    <a:pt x="392224" y="399332"/>
                  </a:lnTo>
                  <a:lnTo>
                    <a:pt x="392612" y="400107"/>
                  </a:lnTo>
                  <a:lnTo>
                    <a:pt x="393904" y="401141"/>
                  </a:lnTo>
                  <a:lnTo>
                    <a:pt x="394808" y="401658"/>
                  </a:lnTo>
                  <a:lnTo>
                    <a:pt x="400365" y="403338"/>
                  </a:lnTo>
                  <a:lnTo>
                    <a:pt x="401141" y="403984"/>
                  </a:lnTo>
                  <a:lnTo>
                    <a:pt x="401916" y="404759"/>
                  </a:lnTo>
                  <a:lnTo>
                    <a:pt x="403338" y="406698"/>
                  </a:lnTo>
                  <a:lnTo>
                    <a:pt x="403726" y="407086"/>
                  </a:lnTo>
                  <a:lnTo>
                    <a:pt x="404242" y="407344"/>
                  </a:lnTo>
                  <a:lnTo>
                    <a:pt x="404889" y="407215"/>
                  </a:lnTo>
                  <a:lnTo>
                    <a:pt x="405535" y="406698"/>
                  </a:lnTo>
                  <a:lnTo>
                    <a:pt x="406181" y="405018"/>
                  </a:lnTo>
                  <a:lnTo>
                    <a:pt x="406310" y="403984"/>
                  </a:lnTo>
                  <a:lnTo>
                    <a:pt x="406310" y="403079"/>
                  </a:lnTo>
                  <a:lnTo>
                    <a:pt x="406181" y="402433"/>
                  </a:lnTo>
                  <a:lnTo>
                    <a:pt x="405664" y="401270"/>
                  </a:lnTo>
                  <a:lnTo>
                    <a:pt x="405406" y="400753"/>
                  </a:lnTo>
                  <a:lnTo>
                    <a:pt x="405018" y="400236"/>
                  </a:lnTo>
                  <a:lnTo>
                    <a:pt x="404242" y="399461"/>
                  </a:lnTo>
                  <a:lnTo>
                    <a:pt x="400365" y="396489"/>
                  </a:lnTo>
                  <a:lnTo>
                    <a:pt x="399978" y="395972"/>
                  </a:lnTo>
                  <a:lnTo>
                    <a:pt x="399719" y="395455"/>
                  </a:lnTo>
                  <a:lnTo>
                    <a:pt x="399719" y="394809"/>
                  </a:lnTo>
                  <a:lnTo>
                    <a:pt x="400236" y="394162"/>
                  </a:lnTo>
                  <a:lnTo>
                    <a:pt x="401270" y="393646"/>
                  </a:lnTo>
                  <a:lnTo>
                    <a:pt x="406181" y="392611"/>
                  </a:lnTo>
                  <a:lnTo>
                    <a:pt x="407215" y="392224"/>
                  </a:lnTo>
                  <a:lnTo>
                    <a:pt x="409541" y="390802"/>
                  </a:lnTo>
                  <a:lnTo>
                    <a:pt x="410058" y="390544"/>
                  </a:lnTo>
                  <a:lnTo>
                    <a:pt x="410704" y="390544"/>
                  </a:lnTo>
                  <a:lnTo>
                    <a:pt x="412513" y="390544"/>
                  </a:lnTo>
                  <a:lnTo>
                    <a:pt x="413160" y="390156"/>
                  </a:lnTo>
                  <a:lnTo>
                    <a:pt x="413676" y="388476"/>
                  </a:lnTo>
                  <a:lnTo>
                    <a:pt x="414194" y="387959"/>
                  </a:lnTo>
                  <a:lnTo>
                    <a:pt x="414710" y="387701"/>
                  </a:lnTo>
                  <a:lnTo>
                    <a:pt x="417424" y="387959"/>
                  </a:lnTo>
                  <a:lnTo>
                    <a:pt x="423628" y="390544"/>
                  </a:lnTo>
                  <a:lnTo>
                    <a:pt x="424403" y="391061"/>
                  </a:lnTo>
                  <a:lnTo>
                    <a:pt x="425308" y="391836"/>
                  </a:lnTo>
                  <a:lnTo>
                    <a:pt x="429702" y="397005"/>
                  </a:lnTo>
                  <a:lnTo>
                    <a:pt x="431511" y="398039"/>
                  </a:lnTo>
                  <a:lnTo>
                    <a:pt x="434871" y="399073"/>
                  </a:lnTo>
                  <a:lnTo>
                    <a:pt x="435905" y="399203"/>
                  </a:lnTo>
                  <a:lnTo>
                    <a:pt x="436680" y="399461"/>
                  </a:lnTo>
                  <a:lnTo>
                    <a:pt x="437326" y="399849"/>
                  </a:lnTo>
                  <a:lnTo>
                    <a:pt x="437843" y="400883"/>
                  </a:lnTo>
                  <a:lnTo>
                    <a:pt x="438102" y="402433"/>
                  </a:lnTo>
                  <a:lnTo>
                    <a:pt x="438489" y="402950"/>
                  </a:lnTo>
                  <a:lnTo>
                    <a:pt x="438877" y="403338"/>
                  </a:lnTo>
                  <a:lnTo>
                    <a:pt x="440428" y="403338"/>
                  </a:lnTo>
                  <a:lnTo>
                    <a:pt x="457745" y="379300"/>
                  </a:lnTo>
                  <a:lnTo>
                    <a:pt x="480232" y="354488"/>
                  </a:lnTo>
                  <a:lnTo>
                    <a:pt x="510860" y="329545"/>
                  </a:lnTo>
                  <a:lnTo>
                    <a:pt x="519519" y="324247"/>
                  </a:lnTo>
                  <a:lnTo>
                    <a:pt x="521716" y="321921"/>
                  </a:lnTo>
                  <a:lnTo>
                    <a:pt x="523267" y="320628"/>
                  </a:lnTo>
                  <a:lnTo>
                    <a:pt x="526239" y="319724"/>
                  </a:lnTo>
                  <a:lnTo>
                    <a:pt x="529211" y="317915"/>
                  </a:lnTo>
                  <a:lnTo>
                    <a:pt x="530633" y="317527"/>
                  </a:lnTo>
                  <a:lnTo>
                    <a:pt x="535414" y="316881"/>
                  </a:lnTo>
                  <a:lnTo>
                    <a:pt x="536578" y="316364"/>
                  </a:lnTo>
                  <a:lnTo>
                    <a:pt x="537482" y="315071"/>
                  </a:lnTo>
                  <a:lnTo>
                    <a:pt x="538645" y="312616"/>
                  </a:lnTo>
                  <a:lnTo>
                    <a:pt x="541876" y="308222"/>
                  </a:lnTo>
                  <a:lnTo>
                    <a:pt x="542910" y="306413"/>
                  </a:lnTo>
                  <a:lnTo>
                    <a:pt x="543556" y="304345"/>
                  </a:lnTo>
                  <a:lnTo>
                    <a:pt x="542393" y="304474"/>
                  </a:lnTo>
                  <a:lnTo>
                    <a:pt x="541488" y="305121"/>
                  </a:lnTo>
                  <a:lnTo>
                    <a:pt x="540584" y="306025"/>
                  </a:lnTo>
                  <a:lnTo>
                    <a:pt x="539421" y="305638"/>
                  </a:lnTo>
                  <a:lnTo>
                    <a:pt x="538387" y="304733"/>
                  </a:lnTo>
                  <a:lnTo>
                    <a:pt x="537353" y="303570"/>
                  </a:lnTo>
                  <a:lnTo>
                    <a:pt x="533605" y="301502"/>
                  </a:lnTo>
                  <a:lnTo>
                    <a:pt x="532701" y="300468"/>
                  </a:lnTo>
                  <a:lnTo>
                    <a:pt x="532313" y="299951"/>
                  </a:lnTo>
                  <a:lnTo>
                    <a:pt x="532313" y="299434"/>
                  </a:lnTo>
                  <a:lnTo>
                    <a:pt x="532442" y="298530"/>
                  </a:lnTo>
                  <a:lnTo>
                    <a:pt x="532830" y="297366"/>
                  </a:lnTo>
                  <a:lnTo>
                    <a:pt x="533476" y="296333"/>
                  </a:lnTo>
                  <a:lnTo>
                    <a:pt x="533993" y="295299"/>
                  </a:lnTo>
                  <a:lnTo>
                    <a:pt x="533864" y="294265"/>
                  </a:lnTo>
                  <a:lnTo>
                    <a:pt x="533088" y="293877"/>
                  </a:lnTo>
                  <a:lnTo>
                    <a:pt x="531796" y="294006"/>
                  </a:lnTo>
                  <a:lnTo>
                    <a:pt x="530633" y="293877"/>
                  </a:lnTo>
                  <a:lnTo>
                    <a:pt x="530116" y="292973"/>
                  </a:lnTo>
                  <a:lnTo>
                    <a:pt x="530374" y="291810"/>
                  </a:lnTo>
                  <a:lnTo>
                    <a:pt x="531408" y="290646"/>
                  </a:lnTo>
                  <a:lnTo>
                    <a:pt x="531667" y="289483"/>
                  </a:lnTo>
                  <a:lnTo>
                    <a:pt x="531408" y="288191"/>
                  </a:lnTo>
                  <a:lnTo>
                    <a:pt x="530245" y="285606"/>
                  </a:lnTo>
                  <a:lnTo>
                    <a:pt x="530116" y="284055"/>
                  </a:lnTo>
                  <a:lnTo>
                    <a:pt x="531150" y="280954"/>
                  </a:lnTo>
                  <a:lnTo>
                    <a:pt x="532701" y="281342"/>
                  </a:lnTo>
                  <a:lnTo>
                    <a:pt x="534381" y="283022"/>
                  </a:lnTo>
                  <a:lnTo>
                    <a:pt x="535802" y="284055"/>
                  </a:lnTo>
                  <a:lnTo>
                    <a:pt x="538775" y="287028"/>
                  </a:lnTo>
                  <a:lnTo>
                    <a:pt x="539162" y="288320"/>
                  </a:lnTo>
                  <a:lnTo>
                    <a:pt x="538775" y="289612"/>
                  </a:lnTo>
                  <a:lnTo>
                    <a:pt x="537611" y="291551"/>
                  </a:lnTo>
                  <a:lnTo>
                    <a:pt x="537353" y="294394"/>
                  </a:lnTo>
                  <a:lnTo>
                    <a:pt x="537741" y="296849"/>
                  </a:lnTo>
                  <a:lnTo>
                    <a:pt x="538775" y="299047"/>
                  </a:lnTo>
                  <a:lnTo>
                    <a:pt x="540196" y="301114"/>
                  </a:lnTo>
                  <a:lnTo>
                    <a:pt x="541230" y="301631"/>
                  </a:lnTo>
                  <a:lnTo>
                    <a:pt x="542264" y="301114"/>
                  </a:lnTo>
                  <a:lnTo>
                    <a:pt x="542781" y="299951"/>
                  </a:lnTo>
                  <a:lnTo>
                    <a:pt x="542393" y="298659"/>
                  </a:lnTo>
                  <a:lnTo>
                    <a:pt x="542135" y="297496"/>
                  </a:lnTo>
                  <a:lnTo>
                    <a:pt x="542781" y="295945"/>
                  </a:lnTo>
                  <a:lnTo>
                    <a:pt x="544332" y="293231"/>
                  </a:lnTo>
                  <a:lnTo>
                    <a:pt x="545624" y="288708"/>
                  </a:lnTo>
                  <a:lnTo>
                    <a:pt x="546270" y="287157"/>
                  </a:lnTo>
                  <a:lnTo>
                    <a:pt x="549243" y="283668"/>
                  </a:lnTo>
                  <a:lnTo>
                    <a:pt x="549372" y="282892"/>
                  </a:lnTo>
                  <a:lnTo>
                    <a:pt x="549372" y="280049"/>
                  </a:lnTo>
                  <a:lnTo>
                    <a:pt x="549759" y="277077"/>
                  </a:lnTo>
                  <a:lnTo>
                    <a:pt x="550147" y="275914"/>
                  </a:lnTo>
                  <a:lnTo>
                    <a:pt x="554024" y="272166"/>
                  </a:lnTo>
                  <a:lnTo>
                    <a:pt x="555704" y="270098"/>
                  </a:lnTo>
                  <a:lnTo>
                    <a:pt x="553636" y="268031"/>
                  </a:lnTo>
                  <a:lnTo>
                    <a:pt x="553766" y="265316"/>
                  </a:lnTo>
                  <a:lnTo>
                    <a:pt x="555187" y="260147"/>
                  </a:lnTo>
                  <a:lnTo>
                    <a:pt x="555963" y="255236"/>
                  </a:lnTo>
                  <a:lnTo>
                    <a:pt x="557255" y="251618"/>
                  </a:lnTo>
                  <a:lnTo>
                    <a:pt x="557384" y="250584"/>
                  </a:lnTo>
                  <a:lnTo>
                    <a:pt x="557772" y="249938"/>
                  </a:lnTo>
                  <a:lnTo>
                    <a:pt x="558547" y="249292"/>
                  </a:lnTo>
                  <a:lnTo>
                    <a:pt x="559323" y="248516"/>
                  </a:lnTo>
                  <a:lnTo>
                    <a:pt x="559710" y="247353"/>
                  </a:lnTo>
                  <a:lnTo>
                    <a:pt x="559581" y="245802"/>
                  </a:lnTo>
                  <a:lnTo>
                    <a:pt x="559194" y="245027"/>
                  </a:lnTo>
                  <a:lnTo>
                    <a:pt x="558677" y="244510"/>
                  </a:lnTo>
                  <a:lnTo>
                    <a:pt x="558289" y="243864"/>
                  </a:lnTo>
                  <a:lnTo>
                    <a:pt x="557901" y="241409"/>
                  </a:lnTo>
                  <a:lnTo>
                    <a:pt x="558935" y="234300"/>
                  </a:lnTo>
                  <a:lnTo>
                    <a:pt x="559710" y="232491"/>
                  </a:lnTo>
                  <a:lnTo>
                    <a:pt x="562941" y="227839"/>
                  </a:lnTo>
                  <a:lnTo>
                    <a:pt x="563329" y="225642"/>
                  </a:lnTo>
                  <a:lnTo>
                    <a:pt x="562812" y="225254"/>
                  </a:lnTo>
                  <a:lnTo>
                    <a:pt x="561778" y="225125"/>
                  </a:lnTo>
                  <a:lnTo>
                    <a:pt x="560873" y="224737"/>
                  </a:lnTo>
                  <a:lnTo>
                    <a:pt x="560486" y="223445"/>
                  </a:lnTo>
                  <a:lnTo>
                    <a:pt x="560873" y="222928"/>
                  </a:lnTo>
                  <a:lnTo>
                    <a:pt x="561649" y="222669"/>
                  </a:lnTo>
                  <a:lnTo>
                    <a:pt x="562424" y="222282"/>
                  </a:lnTo>
                  <a:lnTo>
                    <a:pt x="562554" y="221377"/>
                  </a:lnTo>
                  <a:lnTo>
                    <a:pt x="561520" y="219826"/>
                  </a:lnTo>
                  <a:lnTo>
                    <a:pt x="557643" y="215691"/>
                  </a:lnTo>
                  <a:lnTo>
                    <a:pt x="556996" y="214786"/>
                  </a:lnTo>
                  <a:lnTo>
                    <a:pt x="556350" y="214398"/>
                  </a:lnTo>
                  <a:lnTo>
                    <a:pt x="557126" y="213494"/>
                  </a:lnTo>
                  <a:lnTo>
                    <a:pt x="558289" y="212589"/>
                  </a:lnTo>
                  <a:lnTo>
                    <a:pt x="558935" y="212331"/>
                  </a:lnTo>
                  <a:lnTo>
                    <a:pt x="558547" y="211168"/>
                  </a:lnTo>
                  <a:lnTo>
                    <a:pt x="557126" y="209229"/>
                  </a:lnTo>
                  <a:lnTo>
                    <a:pt x="556738" y="208583"/>
                  </a:lnTo>
                  <a:lnTo>
                    <a:pt x="556609" y="206257"/>
                  </a:lnTo>
                  <a:lnTo>
                    <a:pt x="556221" y="203802"/>
                  </a:lnTo>
                  <a:lnTo>
                    <a:pt x="555575" y="201604"/>
                  </a:lnTo>
                  <a:lnTo>
                    <a:pt x="554541" y="199924"/>
                  </a:lnTo>
                  <a:lnTo>
                    <a:pt x="555833" y="198115"/>
                  </a:lnTo>
                  <a:lnTo>
                    <a:pt x="558030" y="195660"/>
                  </a:lnTo>
                  <a:lnTo>
                    <a:pt x="560098" y="194367"/>
                  </a:lnTo>
                  <a:lnTo>
                    <a:pt x="561003" y="195789"/>
                  </a:lnTo>
                  <a:lnTo>
                    <a:pt x="561907" y="193463"/>
                  </a:lnTo>
                  <a:lnTo>
                    <a:pt x="561778" y="191395"/>
                  </a:lnTo>
                  <a:lnTo>
                    <a:pt x="560615" y="189844"/>
                  </a:lnTo>
                  <a:lnTo>
                    <a:pt x="558547" y="189198"/>
                  </a:lnTo>
                  <a:lnTo>
                    <a:pt x="554541" y="179764"/>
                  </a:lnTo>
                  <a:lnTo>
                    <a:pt x="554799" y="177438"/>
                  </a:lnTo>
                  <a:lnTo>
                    <a:pt x="556092" y="176275"/>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7" name="Graphic 2">
              <a:extLst>
                <a:ext uri="{FF2B5EF4-FFF2-40B4-BE49-F238E27FC236}">
                  <a16:creationId xmlns:a16="http://schemas.microsoft.com/office/drawing/2014/main" id="{E5B0413B-013A-0FAF-738C-F3564C944858}"/>
                </a:ext>
              </a:extLst>
            </p:cNvPr>
            <p:cNvSpPr/>
            <p:nvPr/>
          </p:nvSpPr>
          <p:spPr>
            <a:xfrm>
              <a:off x="4666030" y="1240042"/>
              <a:ext cx="636345" cy="711688"/>
            </a:xfrm>
            <a:custGeom>
              <a:avLst/>
              <a:gdLst>
                <a:gd name="connsiteX0" fmla="*/ 625490 w 636345"/>
                <a:gd name="connsiteY0" fmla="*/ 421430 h 711688"/>
                <a:gd name="connsiteX1" fmla="*/ 621355 w 636345"/>
                <a:gd name="connsiteY1" fmla="*/ 419750 h 711688"/>
                <a:gd name="connsiteX2" fmla="*/ 603521 w 636345"/>
                <a:gd name="connsiteY2" fmla="*/ 416649 h 711688"/>
                <a:gd name="connsiteX3" fmla="*/ 596671 w 636345"/>
                <a:gd name="connsiteY3" fmla="*/ 414452 h 711688"/>
                <a:gd name="connsiteX4" fmla="*/ 594733 w 636345"/>
                <a:gd name="connsiteY4" fmla="*/ 413418 h 711688"/>
                <a:gd name="connsiteX5" fmla="*/ 593440 w 636345"/>
                <a:gd name="connsiteY5" fmla="*/ 411609 h 711688"/>
                <a:gd name="connsiteX6" fmla="*/ 591114 w 636345"/>
                <a:gd name="connsiteY6" fmla="*/ 406439 h 711688"/>
                <a:gd name="connsiteX7" fmla="*/ 590210 w 636345"/>
                <a:gd name="connsiteY7" fmla="*/ 405406 h 711688"/>
                <a:gd name="connsiteX8" fmla="*/ 588271 w 636345"/>
                <a:gd name="connsiteY8" fmla="*/ 404242 h 711688"/>
                <a:gd name="connsiteX9" fmla="*/ 587754 w 636345"/>
                <a:gd name="connsiteY9" fmla="*/ 402433 h 711688"/>
                <a:gd name="connsiteX10" fmla="*/ 587496 w 636345"/>
                <a:gd name="connsiteY10" fmla="*/ 400365 h 711688"/>
                <a:gd name="connsiteX11" fmla="*/ 586333 w 636345"/>
                <a:gd name="connsiteY11" fmla="*/ 398815 h 711688"/>
                <a:gd name="connsiteX12" fmla="*/ 585299 w 636345"/>
                <a:gd name="connsiteY12" fmla="*/ 398685 h 711688"/>
                <a:gd name="connsiteX13" fmla="*/ 583102 w 636345"/>
                <a:gd name="connsiteY13" fmla="*/ 399202 h 711688"/>
                <a:gd name="connsiteX14" fmla="*/ 581809 w 636345"/>
                <a:gd name="connsiteY14" fmla="*/ 398944 h 711688"/>
                <a:gd name="connsiteX15" fmla="*/ 581422 w 636345"/>
                <a:gd name="connsiteY15" fmla="*/ 398427 h 711688"/>
                <a:gd name="connsiteX16" fmla="*/ 580646 w 636345"/>
                <a:gd name="connsiteY16" fmla="*/ 396747 h 711688"/>
                <a:gd name="connsiteX17" fmla="*/ 580259 w 636345"/>
                <a:gd name="connsiteY17" fmla="*/ 396101 h 711688"/>
                <a:gd name="connsiteX18" fmla="*/ 579742 w 636345"/>
                <a:gd name="connsiteY18" fmla="*/ 395842 h 711688"/>
                <a:gd name="connsiteX19" fmla="*/ 578449 w 636345"/>
                <a:gd name="connsiteY19" fmla="*/ 395713 h 711688"/>
                <a:gd name="connsiteX20" fmla="*/ 577932 w 636345"/>
                <a:gd name="connsiteY20" fmla="*/ 395584 h 711688"/>
                <a:gd name="connsiteX21" fmla="*/ 576898 w 636345"/>
                <a:gd name="connsiteY21" fmla="*/ 394421 h 711688"/>
                <a:gd name="connsiteX22" fmla="*/ 574831 w 636345"/>
                <a:gd name="connsiteY22" fmla="*/ 390673 h 711688"/>
                <a:gd name="connsiteX23" fmla="*/ 573926 w 636345"/>
                <a:gd name="connsiteY23" fmla="*/ 389510 h 711688"/>
                <a:gd name="connsiteX24" fmla="*/ 570566 w 636345"/>
                <a:gd name="connsiteY24" fmla="*/ 386925 h 711688"/>
                <a:gd name="connsiteX25" fmla="*/ 568757 w 636345"/>
                <a:gd name="connsiteY25" fmla="*/ 384599 h 711688"/>
                <a:gd name="connsiteX26" fmla="*/ 565784 w 636345"/>
                <a:gd name="connsiteY26" fmla="*/ 379817 h 711688"/>
                <a:gd name="connsiteX27" fmla="*/ 563458 w 636345"/>
                <a:gd name="connsiteY27" fmla="*/ 378008 h 711688"/>
                <a:gd name="connsiteX28" fmla="*/ 561261 w 636345"/>
                <a:gd name="connsiteY28" fmla="*/ 377233 h 711688"/>
                <a:gd name="connsiteX29" fmla="*/ 559323 w 636345"/>
                <a:gd name="connsiteY29" fmla="*/ 377491 h 711688"/>
                <a:gd name="connsiteX30" fmla="*/ 557513 w 636345"/>
                <a:gd name="connsiteY30" fmla="*/ 378008 h 711688"/>
                <a:gd name="connsiteX31" fmla="*/ 555317 w 636345"/>
                <a:gd name="connsiteY31" fmla="*/ 378137 h 711688"/>
                <a:gd name="connsiteX32" fmla="*/ 554024 w 636345"/>
                <a:gd name="connsiteY32" fmla="*/ 377879 h 711688"/>
                <a:gd name="connsiteX33" fmla="*/ 552990 w 636345"/>
                <a:gd name="connsiteY33" fmla="*/ 377233 h 711688"/>
                <a:gd name="connsiteX34" fmla="*/ 551956 w 636345"/>
                <a:gd name="connsiteY34" fmla="*/ 376457 h 711688"/>
                <a:gd name="connsiteX35" fmla="*/ 549630 w 636345"/>
                <a:gd name="connsiteY35" fmla="*/ 374002 h 711688"/>
                <a:gd name="connsiteX36" fmla="*/ 549501 w 636345"/>
                <a:gd name="connsiteY36" fmla="*/ 373097 h 711688"/>
                <a:gd name="connsiteX37" fmla="*/ 551181 w 636345"/>
                <a:gd name="connsiteY37" fmla="*/ 370900 h 711688"/>
                <a:gd name="connsiteX38" fmla="*/ 553507 w 636345"/>
                <a:gd name="connsiteY38" fmla="*/ 366506 h 711688"/>
                <a:gd name="connsiteX39" fmla="*/ 553378 w 636345"/>
                <a:gd name="connsiteY39" fmla="*/ 365214 h 711688"/>
                <a:gd name="connsiteX40" fmla="*/ 553120 w 636345"/>
                <a:gd name="connsiteY40" fmla="*/ 365085 h 711688"/>
                <a:gd name="connsiteX41" fmla="*/ 552344 w 636345"/>
                <a:gd name="connsiteY41" fmla="*/ 365214 h 711688"/>
                <a:gd name="connsiteX42" fmla="*/ 551052 w 636345"/>
                <a:gd name="connsiteY42" fmla="*/ 364955 h 711688"/>
                <a:gd name="connsiteX43" fmla="*/ 547046 w 636345"/>
                <a:gd name="connsiteY43" fmla="*/ 363405 h 711688"/>
                <a:gd name="connsiteX44" fmla="*/ 545753 w 636345"/>
                <a:gd name="connsiteY44" fmla="*/ 363275 h 711688"/>
                <a:gd name="connsiteX45" fmla="*/ 543556 w 636345"/>
                <a:gd name="connsiteY45" fmla="*/ 364051 h 711688"/>
                <a:gd name="connsiteX46" fmla="*/ 542264 w 636345"/>
                <a:gd name="connsiteY46" fmla="*/ 364051 h 711688"/>
                <a:gd name="connsiteX47" fmla="*/ 541359 w 636345"/>
                <a:gd name="connsiteY47" fmla="*/ 362888 h 711688"/>
                <a:gd name="connsiteX48" fmla="*/ 540842 w 636345"/>
                <a:gd name="connsiteY48" fmla="*/ 360691 h 711688"/>
                <a:gd name="connsiteX49" fmla="*/ 540584 w 636345"/>
                <a:gd name="connsiteY49" fmla="*/ 358365 h 711688"/>
                <a:gd name="connsiteX50" fmla="*/ 540713 w 636345"/>
                <a:gd name="connsiteY50" fmla="*/ 356684 h 711688"/>
                <a:gd name="connsiteX51" fmla="*/ 541101 w 636345"/>
                <a:gd name="connsiteY51" fmla="*/ 355521 h 711688"/>
                <a:gd name="connsiteX52" fmla="*/ 542393 w 636345"/>
                <a:gd name="connsiteY52" fmla="*/ 353454 h 711688"/>
                <a:gd name="connsiteX53" fmla="*/ 542910 w 636345"/>
                <a:gd name="connsiteY53" fmla="*/ 352291 h 711688"/>
                <a:gd name="connsiteX54" fmla="*/ 543039 w 636345"/>
                <a:gd name="connsiteY54" fmla="*/ 351257 h 711688"/>
                <a:gd name="connsiteX55" fmla="*/ 542781 w 636345"/>
                <a:gd name="connsiteY55" fmla="*/ 348543 h 711688"/>
                <a:gd name="connsiteX56" fmla="*/ 542910 w 636345"/>
                <a:gd name="connsiteY56" fmla="*/ 347638 h 711688"/>
                <a:gd name="connsiteX57" fmla="*/ 543556 w 636345"/>
                <a:gd name="connsiteY57" fmla="*/ 345829 h 711688"/>
                <a:gd name="connsiteX58" fmla="*/ 543685 w 636345"/>
                <a:gd name="connsiteY58" fmla="*/ 344924 h 711688"/>
                <a:gd name="connsiteX59" fmla="*/ 543298 w 636345"/>
                <a:gd name="connsiteY59" fmla="*/ 343761 h 711688"/>
                <a:gd name="connsiteX60" fmla="*/ 542135 w 636345"/>
                <a:gd name="connsiteY60" fmla="*/ 341564 h 711688"/>
                <a:gd name="connsiteX61" fmla="*/ 542005 w 636345"/>
                <a:gd name="connsiteY61" fmla="*/ 340143 h 711688"/>
                <a:gd name="connsiteX62" fmla="*/ 542264 w 636345"/>
                <a:gd name="connsiteY62" fmla="*/ 339109 h 711688"/>
                <a:gd name="connsiteX63" fmla="*/ 543427 w 636345"/>
                <a:gd name="connsiteY63" fmla="*/ 337170 h 711688"/>
                <a:gd name="connsiteX64" fmla="*/ 543815 w 636345"/>
                <a:gd name="connsiteY64" fmla="*/ 336136 h 711688"/>
                <a:gd name="connsiteX65" fmla="*/ 543815 w 636345"/>
                <a:gd name="connsiteY65" fmla="*/ 335102 h 711688"/>
                <a:gd name="connsiteX66" fmla="*/ 542781 w 636345"/>
                <a:gd name="connsiteY66" fmla="*/ 331872 h 711688"/>
                <a:gd name="connsiteX67" fmla="*/ 542781 w 636345"/>
                <a:gd name="connsiteY67" fmla="*/ 327865 h 711688"/>
                <a:gd name="connsiteX68" fmla="*/ 543298 w 636345"/>
                <a:gd name="connsiteY68" fmla="*/ 323859 h 711688"/>
                <a:gd name="connsiteX69" fmla="*/ 543169 w 636345"/>
                <a:gd name="connsiteY69" fmla="*/ 320111 h 711688"/>
                <a:gd name="connsiteX70" fmla="*/ 540842 w 636345"/>
                <a:gd name="connsiteY70" fmla="*/ 317527 h 711688"/>
                <a:gd name="connsiteX71" fmla="*/ 539938 w 636345"/>
                <a:gd name="connsiteY71" fmla="*/ 317268 h 711688"/>
                <a:gd name="connsiteX72" fmla="*/ 537741 w 636345"/>
                <a:gd name="connsiteY72" fmla="*/ 317268 h 711688"/>
                <a:gd name="connsiteX73" fmla="*/ 536836 w 636345"/>
                <a:gd name="connsiteY73" fmla="*/ 317010 h 711688"/>
                <a:gd name="connsiteX74" fmla="*/ 535415 w 636345"/>
                <a:gd name="connsiteY74" fmla="*/ 316364 h 711688"/>
                <a:gd name="connsiteX75" fmla="*/ 532184 w 636345"/>
                <a:gd name="connsiteY75" fmla="*/ 313650 h 711688"/>
                <a:gd name="connsiteX76" fmla="*/ 527919 w 636345"/>
                <a:gd name="connsiteY76" fmla="*/ 311453 h 711688"/>
                <a:gd name="connsiteX77" fmla="*/ 525851 w 636345"/>
                <a:gd name="connsiteY77" fmla="*/ 309902 h 711688"/>
                <a:gd name="connsiteX78" fmla="*/ 524817 w 636345"/>
                <a:gd name="connsiteY78" fmla="*/ 307963 h 711688"/>
                <a:gd name="connsiteX79" fmla="*/ 524947 w 636345"/>
                <a:gd name="connsiteY79" fmla="*/ 306930 h 711688"/>
                <a:gd name="connsiteX80" fmla="*/ 526110 w 636345"/>
                <a:gd name="connsiteY80" fmla="*/ 305120 h 711688"/>
                <a:gd name="connsiteX81" fmla="*/ 525981 w 636345"/>
                <a:gd name="connsiteY81" fmla="*/ 303957 h 711688"/>
                <a:gd name="connsiteX82" fmla="*/ 525722 w 636345"/>
                <a:gd name="connsiteY82" fmla="*/ 302923 h 711688"/>
                <a:gd name="connsiteX83" fmla="*/ 525722 w 636345"/>
                <a:gd name="connsiteY83" fmla="*/ 300597 h 711688"/>
                <a:gd name="connsiteX84" fmla="*/ 525464 w 636345"/>
                <a:gd name="connsiteY84" fmla="*/ 299434 h 711688"/>
                <a:gd name="connsiteX85" fmla="*/ 522362 w 636345"/>
                <a:gd name="connsiteY85" fmla="*/ 292455 h 711688"/>
                <a:gd name="connsiteX86" fmla="*/ 521974 w 636345"/>
                <a:gd name="connsiteY86" fmla="*/ 290388 h 711688"/>
                <a:gd name="connsiteX87" fmla="*/ 521974 w 636345"/>
                <a:gd name="connsiteY87" fmla="*/ 289095 h 711688"/>
                <a:gd name="connsiteX88" fmla="*/ 521845 w 636345"/>
                <a:gd name="connsiteY88" fmla="*/ 288320 h 711688"/>
                <a:gd name="connsiteX89" fmla="*/ 520940 w 636345"/>
                <a:gd name="connsiteY89" fmla="*/ 286511 h 711688"/>
                <a:gd name="connsiteX90" fmla="*/ 520553 w 636345"/>
                <a:gd name="connsiteY90" fmla="*/ 286123 h 711688"/>
                <a:gd name="connsiteX91" fmla="*/ 519131 w 636345"/>
                <a:gd name="connsiteY91" fmla="*/ 285606 h 711688"/>
                <a:gd name="connsiteX92" fmla="*/ 518614 w 636345"/>
                <a:gd name="connsiteY92" fmla="*/ 285218 h 711688"/>
                <a:gd name="connsiteX93" fmla="*/ 518743 w 636345"/>
                <a:gd name="connsiteY93" fmla="*/ 284831 h 711688"/>
                <a:gd name="connsiteX94" fmla="*/ 519260 w 636345"/>
                <a:gd name="connsiteY94" fmla="*/ 283538 h 711688"/>
                <a:gd name="connsiteX95" fmla="*/ 519260 w 636345"/>
                <a:gd name="connsiteY95" fmla="*/ 282892 h 711688"/>
                <a:gd name="connsiteX96" fmla="*/ 515900 w 636345"/>
                <a:gd name="connsiteY96" fmla="*/ 276430 h 711688"/>
                <a:gd name="connsiteX97" fmla="*/ 515513 w 636345"/>
                <a:gd name="connsiteY97" fmla="*/ 274363 h 711688"/>
                <a:gd name="connsiteX98" fmla="*/ 516159 w 636345"/>
                <a:gd name="connsiteY98" fmla="*/ 256916 h 711688"/>
                <a:gd name="connsiteX99" fmla="*/ 518356 w 636345"/>
                <a:gd name="connsiteY99" fmla="*/ 248258 h 711688"/>
                <a:gd name="connsiteX100" fmla="*/ 518614 w 636345"/>
                <a:gd name="connsiteY100" fmla="*/ 246061 h 711688"/>
                <a:gd name="connsiteX101" fmla="*/ 518226 w 636345"/>
                <a:gd name="connsiteY101" fmla="*/ 239857 h 711688"/>
                <a:gd name="connsiteX102" fmla="*/ 518743 w 636345"/>
                <a:gd name="connsiteY102" fmla="*/ 237273 h 711688"/>
                <a:gd name="connsiteX103" fmla="*/ 519907 w 636345"/>
                <a:gd name="connsiteY103" fmla="*/ 234688 h 711688"/>
                <a:gd name="connsiteX104" fmla="*/ 522750 w 636345"/>
                <a:gd name="connsiteY104" fmla="*/ 230036 h 711688"/>
                <a:gd name="connsiteX105" fmla="*/ 523267 w 636345"/>
                <a:gd name="connsiteY105" fmla="*/ 229648 h 711688"/>
                <a:gd name="connsiteX106" fmla="*/ 524042 w 636345"/>
                <a:gd name="connsiteY106" fmla="*/ 229389 h 711688"/>
                <a:gd name="connsiteX107" fmla="*/ 524559 w 636345"/>
                <a:gd name="connsiteY107" fmla="*/ 229002 h 711688"/>
                <a:gd name="connsiteX108" fmla="*/ 524947 w 636345"/>
                <a:gd name="connsiteY108" fmla="*/ 228356 h 711688"/>
                <a:gd name="connsiteX109" fmla="*/ 524817 w 636345"/>
                <a:gd name="connsiteY109" fmla="*/ 227580 h 711688"/>
                <a:gd name="connsiteX110" fmla="*/ 524042 w 636345"/>
                <a:gd name="connsiteY110" fmla="*/ 226417 h 711688"/>
                <a:gd name="connsiteX111" fmla="*/ 523913 w 636345"/>
                <a:gd name="connsiteY111" fmla="*/ 225771 h 711688"/>
                <a:gd name="connsiteX112" fmla="*/ 524300 w 636345"/>
                <a:gd name="connsiteY112" fmla="*/ 225512 h 711688"/>
                <a:gd name="connsiteX113" fmla="*/ 525593 w 636345"/>
                <a:gd name="connsiteY113" fmla="*/ 225254 h 711688"/>
                <a:gd name="connsiteX114" fmla="*/ 525851 w 636345"/>
                <a:gd name="connsiteY114" fmla="*/ 224866 h 711688"/>
                <a:gd name="connsiteX115" fmla="*/ 525593 w 636345"/>
                <a:gd name="connsiteY115" fmla="*/ 224220 h 711688"/>
                <a:gd name="connsiteX116" fmla="*/ 524688 w 636345"/>
                <a:gd name="connsiteY116" fmla="*/ 223186 h 711688"/>
                <a:gd name="connsiteX117" fmla="*/ 524430 w 636345"/>
                <a:gd name="connsiteY117" fmla="*/ 222540 h 711688"/>
                <a:gd name="connsiteX118" fmla="*/ 524430 w 636345"/>
                <a:gd name="connsiteY118" fmla="*/ 221119 h 711688"/>
                <a:gd name="connsiteX119" fmla="*/ 524947 w 636345"/>
                <a:gd name="connsiteY119" fmla="*/ 220343 h 711688"/>
                <a:gd name="connsiteX120" fmla="*/ 525722 w 636345"/>
                <a:gd name="connsiteY120" fmla="*/ 219568 h 711688"/>
                <a:gd name="connsiteX121" fmla="*/ 526497 w 636345"/>
                <a:gd name="connsiteY121" fmla="*/ 218663 h 711688"/>
                <a:gd name="connsiteX122" fmla="*/ 527919 w 636345"/>
                <a:gd name="connsiteY122" fmla="*/ 213881 h 711688"/>
                <a:gd name="connsiteX123" fmla="*/ 528436 w 636345"/>
                <a:gd name="connsiteY123" fmla="*/ 212718 h 711688"/>
                <a:gd name="connsiteX124" fmla="*/ 531150 w 636345"/>
                <a:gd name="connsiteY124" fmla="*/ 208195 h 711688"/>
                <a:gd name="connsiteX125" fmla="*/ 532313 w 636345"/>
                <a:gd name="connsiteY125" fmla="*/ 204577 h 711688"/>
                <a:gd name="connsiteX126" fmla="*/ 532571 w 636345"/>
                <a:gd name="connsiteY126" fmla="*/ 204577 h 711688"/>
                <a:gd name="connsiteX127" fmla="*/ 533347 w 636345"/>
                <a:gd name="connsiteY127" fmla="*/ 204447 h 711688"/>
                <a:gd name="connsiteX128" fmla="*/ 533993 w 636345"/>
                <a:gd name="connsiteY128" fmla="*/ 204318 h 711688"/>
                <a:gd name="connsiteX129" fmla="*/ 534639 w 636345"/>
                <a:gd name="connsiteY129" fmla="*/ 203801 h 711688"/>
                <a:gd name="connsiteX130" fmla="*/ 534639 w 636345"/>
                <a:gd name="connsiteY130" fmla="*/ 203026 h 711688"/>
                <a:gd name="connsiteX131" fmla="*/ 533993 w 636345"/>
                <a:gd name="connsiteY131" fmla="*/ 201604 h 711688"/>
                <a:gd name="connsiteX132" fmla="*/ 533864 w 636345"/>
                <a:gd name="connsiteY132" fmla="*/ 200958 h 711688"/>
                <a:gd name="connsiteX133" fmla="*/ 534381 w 636345"/>
                <a:gd name="connsiteY133" fmla="*/ 195789 h 711688"/>
                <a:gd name="connsiteX134" fmla="*/ 532442 w 636345"/>
                <a:gd name="connsiteY134" fmla="*/ 196435 h 711688"/>
                <a:gd name="connsiteX135" fmla="*/ 532830 w 636345"/>
                <a:gd name="connsiteY135" fmla="*/ 194626 h 711688"/>
                <a:gd name="connsiteX136" fmla="*/ 534639 w 636345"/>
                <a:gd name="connsiteY136" fmla="*/ 190232 h 711688"/>
                <a:gd name="connsiteX137" fmla="*/ 533735 w 636345"/>
                <a:gd name="connsiteY137" fmla="*/ 187518 h 711688"/>
                <a:gd name="connsiteX138" fmla="*/ 531796 w 636345"/>
                <a:gd name="connsiteY138" fmla="*/ 185321 h 711688"/>
                <a:gd name="connsiteX139" fmla="*/ 530116 w 636345"/>
                <a:gd name="connsiteY139" fmla="*/ 182995 h 711688"/>
                <a:gd name="connsiteX140" fmla="*/ 530245 w 636345"/>
                <a:gd name="connsiteY140" fmla="*/ 179764 h 711688"/>
                <a:gd name="connsiteX141" fmla="*/ 532830 w 636345"/>
                <a:gd name="connsiteY141" fmla="*/ 176921 h 711688"/>
                <a:gd name="connsiteX142" fmla="*/ 541618 w 636345"/>
                <a:gd name="connsiteY142" fmla="*/ 173819 h 711688"/>
                <a:gd name="connsiteX143" fmla="*/ 545753 w 636345"/>
                <a:gd name="connsiteY143" fmla="*/ 170071 h 711688"/>
                <a:gd name="connsiteX144" fmla="*/ 548209 w 636345"/>
                <a:gd name="connsiteY144" fmla="*/ 169037 h 711688"/>
                <a:gd name="connsiteX145" fmla="*/ 549113 w 636345"/>
                <a:gd name="connsiteY145" fmla="*/ 168262 h 711688"/>
                <a:gd name="connsiteX146" fmla="*/ 549759 w 636345"/>
                <a:gd name="connsiteY146" fmla="*/ 167099 h 711688"/>
                <a:gd name="connsiteX147" fmla="*/ 549759 w 636345"/>
                <a:gd name="connsiteY147" fmla="*/ 166065 h 711688"/>
                <a:gd name="connsiteX148" fmla="*/ 549630 w 636345"/>
                <a:gd name="connsiteY148" fmla="*/ 165160 h 711688"/>
                <a:gd name="connsiteX149" fmla="*/ 549759 w 636345"/>
                <a:gd name="connsiteY149" fmla="*/ 163868 h 711688"/>
                <a:gd name="connsiteX150" fmla="*/ 550664 w 636345"/>
                <a:gd name="connsiteY150" fmla="*/ 161283 h 711688"/>
                <a:gd name="connsiteX151" fmla="*/ 551956 w 636345"/>
                <a:gd name="connsiteY151" fmla="*/ 159862 h 711688"/>
                <a:gd name="connsiteX152" fmla="*/ 556350 w 636345"/>
                <a:gd name="connsiteY152" fmla="*/ 157923 h 711688"/>
                <a:gd name="connsiteX153" fmla="*/ 558418 w 636345"/>
                <a:gd name="connsiteY153" fmla="*/ 156373 h 711688"/>
                <a:gd name="connsiteX154" fmla="*/ 558806 w 636345"/>
                <a:gd name="connsiteY154" fmla="*/ 154822 h 711688"/>
                <a:gd name="connsiteX155" fmla="*/ 558289 w 636345"/>
                <a:gd name="connsiteY155" fmla="*/ 153012 h 711688"/>
                <a:gd name="connsiteX156" fmla="*/ 558030 w 636345"/>
                <a:gd name="connsiteY156" fmla="*/ 150686 h 711688"/>
                <a:gd name="connsiteX157" fmla="*/ 558677 w 636345"/>
                <a:gd name="connsiteY157" fmla="*/ 148489 h 711688"/>
                <a:gd name="connsiteX158" fmla="*/ 560227 w 636345"/>
                <a:gd name="connsiteY158" fmla="*/ 146034 h 711688"/>
                <a:gd name="connsiteX159" fmla="*/ 562295 w 636345"/>
                <a:gd name="connsiteY159" fmla="*/ 143966 h 711688"/>
                <a:gd name="connsiteX160" fmla="*/ 564234 w 636345"/>
                <a:gd name="connsiteY160" fmla="*/ 143191 h 711688"/>
                <a:gd name="connsiteX161" fmla="*/ 565267 w 636345"/>
                <a:gd name="connsiteY161" fmla="*/ 143061 h 711688"/>
                <a:gd name="connsiteX162" fmla="*/ 565914 w 636345"/>
                <a:gd name="connsiteY162" fmla="*/ 142545 h 711688"/>
                <a:gd name="connsiteX163" fmla="*/ 566043 w 636345"/>
                <a:gd name="connsiteY163" fmla="*/ 141640 h 711688"/>
                <a:gd name="connsiteX164" fmla="*/ 565914 w 636345"/>
                <a:gd name="connsiteY164" fmla="*/ 140606 h 711688"/>
                <a:gd name="connsiteX165" fmla="*/ 565138 w 636345"/>
                <a:gd name="connsiteY165" fmla="*/ 139701 h 711688"/>
                <a:gd name="connsiteX166" fmla="*/ 563846 w 636345"/>
                <a:gd name="connsiteY166" fmla="*/ 139314 h 711688"/>
                <a:gd name="connsiteX167" fmla="*/ 560357 w 636345"/>
                <a:gd name="connsiteY167" fmla="*/ 138797 h 711688"/>
                <a:gd name="connsiteX168" fmla="*/ 559452 w 636345"/>
                <a:gd name="connsiteY168" fmla="*/ 138797 h 711688"/>
                <a:gd name="connsiteX169" fmla="*/ 558677 w 636345"/>
                <a:gd name="connsiteY169" fmla="*/ 138409 h 711688"/>
                <a:gd name="connsiteX170" fmla="*/ 558806 w 636345"/>
                <a:gd name="connsiteY170" fmla="*/ 135695 h 711688"/>
                <a:gd name="connsiteX171" fmla="*/ 558289 w 636345"/>
                <a:gd name="connsiteY171" fmla="*/ 135049 h 711688"/>
                <a:gd name="connsiteX172" fmla="*/ 557643 w 636345"/>
                <a:gd name="connsiteY172" fmla="*/ 134532 h 711688"/>
                <a:gd name="connsiteX173" fmla="*/ 556221 w 636345"/>
                <a:gd name="connsiteY173" fmla="*/ 131818 h 711688"/>
                <a:gd name="connsiteX174" fmla="*/ 552603 w 636345"/>
                <a:gd name="connsiteY174" fmla="*/ 128458 h 711688"/>
                <a:gd name="connsiteX175" fmla="*/ 551569 w 636345"/>
                <a:gd name="connsiteY175" fmla="*/ 126778 h 711688"/>
                <a:gd name="connsiteX176" fmla="*/ 551827 w 636345"/>
                <a:gd name="connsiteY176" fmla="*/ 124193 h 711688"/>
                <a:gd name="connsiteX177" fmla="*/ 553120 w 636345"/>
                <a:gd name="connsiteY177" fmla="*/ 122513 h 711688"/>
                <a:gd name="connsiteX178" fmla="*/ 553378 w 636345"/>
                <a:gd name="connsiteY178" fmla="*/ 120963 h 711688"/>
                <a:gd name="connsiteX179" fmla="*/ 551052 w 636345"/>
                <a:gd name="connsiteY179" fmla="*/ 119153 h 711688"/>
                <a:gd name="connsiteX180" fmla="*/ 546529 w 636345"/>
                <a:gd name="connsiteY180" fmla="*/ 117732 h 711688"/>
                <a:gd name="connsiteX181" fmla="*/ 544719 w 636345"/>
                <a:gd name="connsiteY181" fmla="*/ 116439 h 711688"/>
                <a:gd name="connsiteX182" fmla="*/ 543556 w 636345"/>
                <a:gd name="connsiteY182" fmla="*/ 113596 h 711688"/>
                <a:gd name="connsiteX183" fmla="*/ 543298 w 636345"/>
                <a:gd name="connsiteY183" fmla="*/ 112433 h 711688"/>
                <a:gd name="connsiteX184" fmla="*/ 543298 w 636345"/>
                <a:gd name="connsiteY184" fmla="*/ 111529 h 711688"/>
                <a:gd name="connsiteX185" fmla="*/ 543556 w 636345"/>
                <a:gd name="connsiteY185" fmla="*/ 109719 h 711688"/>
                <a:gd name="connsiteX186" fmla="*/ 543815 w 636345"/>
                <a:gd name="connsiteY186" fmla="*/ 109073 h 711688"/>
                <a:gd name="connsiteX187" fmla="*/ 544719 w 636345"/>
                <a:gd name="connsiteY187" fmla="*/ 107781 h 711688"/>
                <a:gd name="connsiteX188" fmla="*/ 544978 w 636345"/>
                <a:gd name="connsiteY188" fmla="*/ 107135 h 711688"/>
                <a:gd name="connsiteX189" fmla="*/ 544719 w 636345"/>
                <a:gd name="connsiteY189" fmla="*/ 106359 h 711688"/>
                <a:gd name="connsiteX190" fmla="*/ 543685 w 636345"/>
                <a:gd name="connsiteY190" fmla="*/ 105196 h 711688"/>
                <a:gd name="connsiteX191" fmla="*/ 543556 w 636345"/>
                <a:gd name="connsiteY191" fmla="*/ 104679 h 711688"/>
                <a:gd name="connsiteX192" fmla="*/ 544590 w 636345"/>
                <a:gd name="connsiteY192" fmla="*/ 102741 h 711688"/>
                <a:gd name="connsiteX193" fmla="*/ 548338 w 636345"/>
                <a:gd name="connsiteY193" fmla="*/ 98993 h 711688"/>
                <a:gd name="connsiteX194" fmla="*/ 548984 w 636345"/>
                <a:gd name="connsiteY194" fmla="*/ 96408 h 711688"/>
                <a:gd name="connsiteX195" fmla="*/ 548984 w 636345"/>
                <a:gd name="connsiteY195" fmla="*/ 95633 h 711688"/>
                <a:gd name="connsiteX196" fmla="*/ 548984 w 636345"/>
                <a:gd name="connsiteY196" fmla="*/ 94599 h 711688"/>
                <a:gd name="connsiteX197" fmla="*/ 548596 w 636345"/>
                <a:gd name="connsiteY197" fmla="*/ 94211 h 711688"/>
                <a:gd name="connsiteX198" fmla="*/ 547433 w 636345"/>
                <a:gd name="connsiteY198" fmla="*/ 94082 h 711688"/>
                <a:gd name="connsiteX199" fmla="*/ 546141 w 636345"/>
                <a:gd name="connsiteY199" fmla="*/ 93694 h 711688"/>
                <a:gd name="connsiteX200" fmla="*/ 545236 w 636345"/>
                <a:gd name="connsiteY200" fmla="*/ 92790 h 711688"/>
                <a:gd name="connsiteX201" fmla="*/ 544461 w 636345"/>
                <a:gd name="connsiteY201" fmla="*/ 91756 h 711688"/>
                <a:gd name="connsiteX202" fmla="*/ 543556 w 636345"/>
                <a:gd name="connsiteY202" fmla="*/ 90980 h 711688"/>
                <a:gd name="connsiteX203" fmla="*/ 537353 w 636345"/>
                <a:gd name="connsiteY203" fmla="*/ 87491 h 711688"/>
                <a:gd name="connsiteX204" fmla="*/ 535931 w 636345"/>
                <a:gd name="connsiteY204" fmla="*/ 85553 h 711688"/>
                <a:gd name="connsiteX205" fmla="*/ 535027 w 636345"/>
                <a:gd name="connsiteY205" fmla="*/ 86586 h 711688"/>
                <a:gd name="connsiteX206" fmla="*/ 534122 w 636345"/>
                <a:gd name="connsiteY206" fmla="*/ 86845 h 711688"/>
                <a:gd name="connsiteX207" fmla="*/ 531796 w 636345"/>
                <a:gd name="connsiteY207" fmla="*/ 86199 h 711688"/>
                <a:gd name="connsiteX208" fmla="*/ 531279 w 636345"/>
                <a:gd name="connsiteY208" fmla="*/ 86070 h 711688"/>
                <a:gd name="connsiteX209" fmla="*/ 530116 w 636345"/>
                <a:gd name="connsiteY209" fmla="*/ 86199 h 711688"/>
                <a:gd name="connsiteX210" fmla="*/ 529728 w 636345"/>
                <a:gd name="connsiteY210" fmla="*/ 85940 h 711688"/>
                <a:gd name="connsiteX211" fmla="*/ 529211 w 636345"/>
                <a:gd name="connsiteY211" fmla="*/ 85294 h 711688"/>
                <a:gd name="connsiteX212" fmla="*/ 529599 w 636345"/>
                <a:gd name="connsiteY212" fmla="*/ 84002 h 711688"/>
                <a:gd name="connsiteX213" fmla="*/ 529082 w 636345"/>
                <a:gd name="connsiteY213" fmla="*/ 83614 h 711688"/>
                <a:gd name="connsiteX214" fmla="*/ 527661 w 636345"/>
                <a:gd name="connsiteY214" fmla="*/ 83614 h 711688"/>
                <a:gd name="connsiteX215" fmla="*/ 525593 w 636345"/>
                <a:gd name="connsiteY215" fmla="*/ 84519 h 711688"/>
                <a:gd name="connsiteX216" fmla="*/ 524688 w 636345"/>
                <a:gd name="connsiteY216" fmla="*/ 84648 h 711688"/>
                <a:gd name="connsiteX217" fmla="*/ 524042 w 636345"/>
                <a:gd name="connsiteY217" fmla="*/ 84131 h 711688"/>
                <a:gd name="connsiteX218" fmla="*/ 522491 w 636345"/>
                <a:gd name="connsiteY218" fmla="*/ 82193 h 711688"/>
                <a:gd name="connsiteX219" fmla="*/ 521587 w 636345"/>
                <a:gd name="connsiteY219" fmla="*/ 81546 h 711688"/>
                <a:gd name="connsiteX220" fmla="*/ 520553 w 636345"/>
                <a:gd name="connsiteY220" fmla="*/ 81288 h 711688"/>
                <a:gd name="connsiteX221" fmla="*/ 519260 w 636345"/>
                <a:gd name="connsiteY221" fmla="*/ 81288 h 711688"/>
                <a:gd name="connsiteX222" fmla="*/ 518226 w 636345"/>
                <a:gd name="connsiteY222" fmla="*/ 81546 h 711688"/>
                <a:gd name="connsiteX223" fmla="*/ 517710 w 636345"/>
                <a:gd name="connsiteY223" fmla="*/ 82451 h 711688"/>
                <a:gd name="connsiteX224" fmla="*/ 517193 w 636345"/>
                <a:gd name="connsiteY224" fmla="*/ 83097 h 711688"/>
                <a:gd name="connsiteX225" fmla="*/ 515771 w 636345"/>
                <a:gd name="connsiteY225" fmla="*/ 82968 h 711688"/>
                <a:gd name="connsiteX226" fmla="*/ 513316 w 636345"/>
                <a:gd name="connsiteY226" fmla="*/ 82063 h 711688"/>
                <a:gd name="connsiteX227" fmla="*/ 511248 w 636345"/>
                <a:gd name="connsiteY227" fmla="*/ 82322 h 711688"/>
                <a:gd name="connsiteX228" fmla="*/ 509568 w 636345"/>
                <a:gd name="connsiteY228" fmla="*/ 82839 h 711688"/>
                <a:gd name="connsiteX229" fmla="*/ 508405 w 636345"/>
                <a:gd name="connsiteY229" fmla="*/ 82580 h 711688"/>
                <a:gd name="connsiteX230" fmla="*/ 507888 w 636345"/>
                <a:gd name="connsiteY230" fmla="*/ 80642 h 711688"/>
                <a:gd name="connsiteX231" fmla="*/ 507242 w 636345"/>
                <a:gd name="connsiteY231" fmla="*/ 79866 h 711688"/>
                <a:gd name="connsiteX232" fmla="*/ 506079 w 636345"/>
                <a:gd name="connsiteY232" fmla="*/ 79220 h 711688"/>
                <a:gd name="connsiteX233" fmla="*/ 504915 w 636345"/>
                <a:gd name="connsiteY233" fmla="*/ 79220 h 711688"/>
                <a:gd name="connsiteX234" fmla="*/ 504398 w 636345"/>
                <a:gd name="connsiteY234" fmla="*/ 79996 h 711688"/>
                <a:gd name="connsiteX235" fmla="*/ 504140 w 636345"/>
                <a:gd name="connsiteY235" fmla="*/ 81288 h 711688"/>
                <a:gd name="connsiteX236" fmla="*/ 503494 w 636345"/>
                <a:gd name="connsiteY236" fmla="*/ 81676 h 711688"/>
                <a:gd name="connsiteX237" fmla="*/ 502589 w 636345"/>
                <a:gd name="connsiteY237" fmla="*/ 81676 h 711688"/>
                <a:gd name="connsiteX238" fmla="*/ 501297 w 636345"/>
                <a:gd name="connsiteY238" fmla="*/ 81417 h 711688"/>
                <a:gd name="connsiteX239" fmla="*/ 499617 w 636345"/>
                <a:gd name="connsiteY239" fmla="*/ 80512 h 711688"/>
                <a:gd name="connsiteX240" fmla="*/ 498325 w 636345"/>
                <a:gd name="connsiteY240" fmla="*/ 78962 h 711688"/>
                <a:gd name="connsiteX241" fmla="*/ 497808 w 636345"/>
                <a:gd name="connsiteY241" fmla="*/ 77023 h 711688"/>
                <a:gd name="connsiteX242" fmla="*/ 498195 w 636345"/>
                <a:gd name="connsiteY242" fmla="*/ 74955 h 711688"/>
                <a:gd name="connsiteX243" fmla="*/ 501038 w 636345"/>
                <a:gd name="connsiteY243" fmla="*/ 71983 h 711688"/>
                <a:gd name="connsiteX244" fmla="*/ 501943 w 636345"/>
                <a:gd name="connsiteY244" fmla="*/ 71854 h 711688"/>
                <a:gd name="connsiteX245" fmla="*/ 504140 w 636345"/>
                <a:gd name="connsiteY245" fmla="*/ 71725 h 711688"/>
                <a:gd name="connsiteX246" fmla="*/ 505174 w 636345"/>
                <a:gd name="connsiteY246" fmla="*/ 71466 h 711688"/>
                <a:gd name="connsiteX247" fmla="*/ 506079 w 636345"/>
                <a:gd name="connsiteY247" fmla="*/ 70432 h 711688"/>
                <a:gd name="connsiteX248" fmla="*/ 506466 w 636345"/>
                <a:gd name="connsiteY248" fmla="*/ 69528 h 711688"/>
                <a:gd name="connsiteX249" fmla="*/ 506596 w 636345"/>
                <a:gd name="connsiteY249" fmla="*/ 68365 h 711688"/>
                <a:gd name="connsiteX250" fmla="*/ 506854 w 636345"/>
                <a:gd name="connsiteY250" fmla="*/ 67201 h 711688"/>
                <a:gd name="connsiteX251" fmla="*/ 507371 w 636345"/>
                <a:gd name="connsiteY251" fmla="*/ 65909 h 711688"/>
                <a:gd name="connsiteX252" fmla="*/ 510472 w 636345"/>
                <a:gd name="connsiteY252" fmla="*/ 61515 h 711688"/>
                <a:gd name="connsiteX253" fmla="*/ 511377 w 636345"/>
                <a:gd name="connsiteY253" fmla="*/ 59706 h 711688"/>
                <a:gd name="connsiteX254" fmla="*/ 512023 w 636345"/>
                <a:gd name="connsiteY254" fmla="*/ 57897 h 711688"/>
                <a:gd name="connsiteX255" fmla="*/ 512282 w 636345"/>
                <a:gd name="connsiteY255" fmla="*/ 55829 h 711688"/>
                <a:gd name="connsiteX256" fmla="*/ 511765 w 636345"/>
                <a:gd name="connsiteY256" fmla="*/ 51176 h 711688"/>
                <a:gd name="connsiteX257" fmla="*/ 513316 w 636345"/>
                <a:gd name="connsiteY257" fmla="*/ 46524 h 711688"/>
                <a:gd name="connsiteX258" fmla="*/ 513574 w 636345"/>
                <a:gd name="connsiteY258" fmla="*/ 40062 h 711688"/>
                <a:gd name="connsiteX259" fmla="*/ 514350 w 636345"/>
                <a:gd name="connsiteY259" fmla="*/ 36961 h 711688"/>
                <a:gd name="connsiteX260" fmla="*/ 515125 w 636345"/>
                <a:gd name="connsiteY260" fmla="*/ 35022 h 711688"/>
                <a:gd name="connsiteX261" fmla="*/ 515513 w 636345"/>
                <a:gd name="connsiteY261" fmla="*/ 33084 h 711688"/>
                <a:gd name="connsiteX262" fmla="*/ 515642 w 636345"/>
                <a:gd name="connsiteY262" fmla="*/ 28948 h 711688"/>
                <a:gd name="connsiteX263" fmla="*/ 517451 w 636345"/>
                <a:gd name="connsiteY263" fmla="*/ 22487 h 711688"/>
                <a:gd name="connsiteX264" fmla="*/ 517322 w 636345"/>
                <a:gd name="connsiteY264" fmla="*/ 19385 h 711688"/>
                <a:gd name="connsiteX265" fmla="*/ 514350 w 636345"/>
                <a:gd name="connsiteY265" fmla="*/ 17963 h 711688"/>
                <a:gd name="connsiteX266" fmla="*/ 509568 w 636345"/>
                <a:gd name="connsiteY266" fmla="*/ 15250 h 711688"/>
                <a:gd name="connsiteX267" fmla="*/ 507371 w 636345"/>
                <a:gd name="connsiteY267" fmla="*/ 13570 h 711688"/>
                <a:gd name="connsiteX268" fmla="*/ 505949 w 636345"/>
                <a:gd name="connsiteY268" fmla="*/ 12019 h 711688"/>
                <a:gd name="connsiteX269" fmla="*/ 505691 w 636345"/>
                <a:gd name="connsiteY269" fmla="*/ 11760 h 711688"/>
                <a:gd name="connsiteX270" fmla="*/ 502331 w 636345"/>
                <a:gd name="connsiteY270" fmla="*/ 3877 h 711688"/>
                <a:gd name="connsiteX271" fmla="*/ 501426 w 636345"/>
                <a:gd name="connsiteY271" fmla="*/ 2585 h 711688"/>
                <a:gd name="connsiteX272" fmla="*/ 496644 w 636345"/>
                <a:gd name="connsiteY272" fmla="*/ 4394 h 711688"/>
                <a:gd name="connsiteX273" fmla="*/ 495094 w 636345"/>
                <a:gd name="connsiteY273" fmla="*/ 2972 h 711688"/>
                <a:gd name="connsiteX274" fmla="*/ 494060 w 636345"/>
                <a:gd name="connsiteY274" fmla="*/ 517 h 711688"/>
                <a:gd name="connsiteX275" fmla="*/ 492638 w 636345"/>
                <a:gd name="connsiteY275" fmla="*/ 0 h 711688"/>
                <a:gd name="connsiteX276" fmla="*/ 488244 w 636345"/>
                <a:gd name="connsiteY276" fmla="*/ 1163 h 711688"/>
                <a:gd name="connsiteX277" fmla="*/ 486177 w 636345"/>
                <a:gd name="connsiteY277" fmla="*/ 2197 h 711688"/>
                <a:gd name="connsiteX278" fmla="*/ 481912 w 636345"/>
                <a:gd name="connsiteY278" fmla="*/ 6462 h 711688"/>
                <a:gd name="connsiteX279" fmla="*/ 479844 w 636345"/>
                <a:gd name="connsiteY279" fmla="*/ 7883 h 711688"/>
                <a:gd name="connsiteX280" fmla="*/ 477518 w 636345"/>
                <a:gd name="connsiteY280" fmla="*/ 8012 h 711688"/>
                <a:gd name="connsiteX281" fmla="*/ 472736 w 636345"/>
                <a:gd name="connsiteY281" fmla="*/ 6332 h 711688"/>
                <a:gd name="connsiteX282" fmla="*/ 470539 w 636345"/>
                <a:gd name="connsiteY282" fmla="*/ 6462 h 711688"/>
                <a:gd name="connsiteX283" fmla="*/ 469764 w 636345"/>
                <a:gd name="connsiteY283" fmla="*/ 7108 h 711688"/>
                <a:gd name="connsiteX284" fmla="*/ 468472 w 636345"/>
                <a:gd name="connsiteY284" fmla="*/ 9176 h 711688"/>
                <a:gd name="connsiteX285" fmla="*/ 467438 w 636345"/>
                <a:gd name="connsiteY285" fmla="*/ 9951 h 711688"/>
                <a:gd name="connsiteX286" fmla="*/ 466662 w 636345"/>
                <a:gd name="connsiteY286" fmla="*/ 9951 h 711688"/>
                <a:gd name="connsiteX287" fmla="*/ 465887 w 636345"/>
                <a:gd name="connsiteY287" fmla="*/ 9434 h 711688"/>
                <a:gd name="connsiteX288" fmla="*/ 465241 w 636345"/>
                <a:gd name="connsiteY288" fmla="*/ 8659 h 711688"/>
                <a:gd name="connsiteX289" fmla="*/ 464336 w 636345"/>
                <a:gd name="connsiteY289" fmla="*/ 8142 h 711688"/>
                <a:gd name="connsiteX290" fmla="*/ 462268 w 636345"/>
                <a:gd name="connsiteY290" fmla="*/ 7625 h 711688"/>
                <a:gd name="connsiteX291" fmla="*/ 456194 w 636345"/>
                <a:gd name="connsiteY291" fmla="*/ 8529 h 711688"/>
                <a:gd name="connsiteX292" fmla="*/ 454644 w 636345"/>
                <a:gd name="connsiteY292" fmla="*/ 8400 h 711688"/>
                <a:gd name="connsiteX293" fmla="*/ 453481 w 636345"/>
                <a:gd name="connsiteY293" fmla="*/ 7754 h 711688"/>
                <a:gd name="connsiteX294" fmla="*/ 452317 w 636345"/>
                <a:gd name="connsiteY294" fmla="*/ 7108 h 711688"/>
                <a:gd name="connsiteX295" fmla="*/ 451025 w 636345"/>
                <a:gd name="connsiteY295" fmla="*/ 6591 h 711688"/>
                <a:gd name="connsiteX296" fmla="*/ 449862 w 636345"/>
                <a:gd name="connsiteY296" fmla="*/ 6332 h 711688"/>
                <a:gd name="connsiteX297" fmla="*/ 443529 w 636345"/>
                <a:gd name="connsiteY297" fmla="*/ 5816 h 711688"/>
                <a:gd name="connsiteX298" fmla="*/ 441074 w 636345"/>
                <a:gd name="connsiteY298" fmla="*/ 5945 h 711688"/>
                <a:gd name="connsiteX299" fmla="*/ 436292 w 636345"/>
                <a:gd name="connsiteY299" fmla="*/ 6979 h 711688"/>
                <a:gd name="connsiteX300" fmla="*/ 439394 w 636345"/>
                <a:gd name="connsiteY300" fmla="*/ 7496 h 711688"/>
                <a:gd name="connsiteX301" fmla="*/ 442237 w 636345"/>
                <a:gd name="connsiteY301" fmla="*/ 8529 h 711688"/>
                <a:gd name="connsiteX302" fmla="*/ 444434 w 636345"/>
                <a:gd name="connsiteY302" fmla="*/ 10468 h 711688"/>
                <a:gd name="connsiteX303" fmla="*/ 451413 w 636345"/>
                <a:gd name="connsiteY303" fmla="*/ 28948 h 711688"/>
                <a:gd name="connsiteX304" fmla="*/ 452188 w 636345"/>
                <a:gd name="connsiteY304" fmla="*/ 33988 h 711688"/>
                <a:gd name="connsiteX305" fmla="*/ 449991 w 636345"/>
                <a:gd name="connsiteY305" fmla="*/ 39158 h 711688"/>
                <a:gd name="connsiteX306" fmla="*/ 442754 w 636345"/>
                <a:gd name="connsiteY306" fmla="*/ 48075 h 711688"/>
                <a:gd name="connsiteX307" fmla="*/ 438619 w 636345"/>
                <a:gd name="connsiteY307" fmla="*/ 51564 h 711688"/>
                <a:gd name="connsiteX308" fmla="*/ 433708 w 636345"/>
                <a:gd name="connsiteY308" fmla="*/ 54795 h 711688"/>
                <a:gd name="connsiteX309" fmla="*/ 423498 w 636345"/>
                <a:gd name="connsiteY309" fmla="*/ 59318 h 711688"/>
                <a:gd name="connsiteX310" fmla="*/ 422464 w 636345"/>
                <a:gd name="connsiteY310" fmla="*/ 59447 h 711688"/>
                <a:gd name="connsiteX311" fmla="*/ 420397 w 636345"/>
                <a:gd name="connsiteY311" fmla="*/ 59447 h 711688"/>
                <a:gd name="connsiteX312" fmla="*/ 419621 w 636345"/>
                <a:gd name="connsiteY312" fmla="*/ 59706 h 711688"/>
                <a:gd name="connsiteX313" fmla="*/ 418846 w 636345"/>
                <a:gd name="connsiteY313" fmla="*/ 60611 h 711688"/>
                <a:gd name="connsiteX314" fmla="*/ 415874 w 636345"/>
                <a:gd name="connsiteY314" fmla="*/ 67331 h 711688"/>
                <a:gd name="connsiteX315" fmla="*/ 414840 w 636345"/>
                <a:gd name="connsiteY315" fmla="*/ 71854 h 711688"/>
                <a:gd name="connsiteX316" fmla="*/ 414064 w 636345"/>
                <a:gd name="connsiteY316" fmla="*/ 74051 h 711688"/>
                <a:gd name="connsiteX317" fmla="*/ 410833 w 636345"/>
                <a:gd name="connsiteY317" fmla="*/ 78186 h 711688"/>
                <a:gd name="connsiteX318" fmla="*/ 407215 w 636345"/>
                <a:gd name="connsiteY318" fmla="*/ 79996 h 711688"/>
                <a:gd name="connsiteX319" fmla="*/ 398298 w 636345"/>
                <a:gd name="connsiteY319" fmla="*/ 81159 h 711688"/>
                <a:gd name="connsiteX320" fmla="*/ 392224 w 636345"/>
                <a:gd name="connsiteY320" fmla="*/ 82839 h 711688"/>
                <a:gd name="connsiteX321" fmla="*/ 390414 w 636345"/>
                <a:gd name="connsiteY321" fmla="*/ 82968 h 711688"/>
                <a:gd name="connsiteX322" fmla="*/ 388605 w 636345"/>
                <a:gd name="connsiteY322" fmla="*/ 82580 h 711688"/>
                <a:gd name="connsiteX323" fmla="*/ 384857 w 636345"/>
                <a:gd name="connsiteY323" fmla="*/ 80771 h 711688"/>
                <a:gd name="connsiteX324" fmla="*/ 382919 w 636345"/>
                <a:gd name="connsiteY324" fmla="*/ 80254 h 711688"/>
                <a:gd name="connsiteX325" fmla="*/ 376587 w 636345"/>
                <a:gd name="connsiteY325" fmla="*/ 79349 h 711688"/>
                <a:gd name="connsiteX326" fmla="*/ 374648 w 636345"/>
                <a:gd name="connsiteY326" fmla="*/ 79737 h 711688"/>
                <a:gd name="connsiteX327" fmla="*/ 373873 w 636345"/>
                <a:gd name="connsiteY327" fmla="*/ 81029 h 711688"/>
                <a:gd name="connsiteX328" fmla="*/ 376845 w 636345"/>
                <a:gd name="connsiteY328" fmla="*/ 85294 h 711688"/>
                <a:gd name="connsiteX329" fmla="*/ 377103 w 636345"/>
                <a:gd name="connsiteY329" fmla="*/ 87491 h 711688"/>
                <a:gd name="connsiteX330" fmla="*/ 375423 w 636345"/>
                <a:gd name="connsiteY330" fmla="*/ 89042 h 711688"/>
                <a:gd name="connsiteX331" fmla="*/ 372839 w 636345"/>
                <a:gd name="connsiteY331" fmla="*/ 90076 h 711688"/>
                <a:gd name="connsiteX332" fmla="*/ 369866 w 636345"/>
                <a:gd name="connsiteY332" fmla="*/ 90593 h 711688"/>
                <a:gd name="connsiteX333" fmla="*/ 367669 w 636345"/>
                <a:gd name="connsiteY333" fmla="*/ 90722 h 711688"/>
                <a:gd name="connsiteX334" fmla="*/ 361466 w 636345"/>
                <a:gd name="connsiteY334" fmla="*/ 90334 h 711688"/>
                <a:gd name="connsiteX335" fmla="*/ 359399 w 636345"/>
                <a:gd name="connsiteY335" fmla="*/ 90593 h 711688"/>
                <a:gd name="connsiteX336" fmla="*/ 354746 w 636345"/>
                <a:gd name="connsiteY336" fmla="*/ 92402 h 711688"/>
                <a:gd name="connsiteX337" fmla="*/ 353195 w 636345"/>
                <a:gd name="connsiteY337" fmla="*/ 95245 h 711688"/>
                <a:gd name="connsiteX338" fmla="*/ 352549 w 636345"/>
                <a:gd name="connsiteY338" fmla="*/ 103516 h 711688"/>
                <a:gd name="connsiteX339" fmla="*/ 352032 w 636345"/>
                <a:gd name="connsiteY339" fmla="*/ 104808 h 711688"/>
                <a:gd name="connsiteX340" fmla="*/ 351386 w 636345"/>
                <a:gd name="connsiteY340" fmla="*/ 106101 h 711688"/>
                <a:gd name="connsiteX341" fmla="*/ 350481 w 636345"/>
                <a:gd name="connsiteY341" fmla="*/ 107264 h 711688"/>
                <a:gd name="connsiteX342" fmla="*/ 349318 w 636345"/>
                <a:gd name="connsiteY342" fmla="*/ 108039 h 711688"/>
                <a:gd name="connsiteX343" fmla="*/ 347767 w 636345"/>
                <a:gd name="connsiteY343" fmla="*/ 108815 h 711688"/>
                <a:gd name="connsiteX344" fmla="*/ 346734 w 636345"/>
                <a:gd name="connsiteY344" fmla="*/ 108685 h 711688"/>
                <a:gd name="connsiteX345" fmla="*/ 345829 w 636345"/>
                <a:gd name="connsiteY345" fmla="*/ 108298 h 711688"/>
                <a:gd name="connsiteX346" fmla="*/ 344278 w 636345"/>
                <a:gd name="connsiteY346" fmla="*/ 108168 h 711688"/>
                <a:gd name="connsiteX347" fmla="*/ 343115 w 636345"/>
                <a:gd name="connsiteY347" fmla="*/ 108427 h 711688"/>
                <a:gd name="connsiteX348" fmla="*/ 341177 w 636345"/>
                <a:gd name="connsiteY348" fmla="*/ 109332 h 711688"/>
                <a:gd name="connsiteX349" fmla="*/ 339884 w 636345"/>
                <a:gd name="connsiteY349" fmla="*/ 109461 h 711688"/>
                <a:gd name="connsiteX350" fmla="*/ 338980 w 636345"/>
                <a:gd name="connsiteY350" fmla="*/ 109332 h 711688"/>
                <a:gd name="connsiteX351" fmla="*/ 335620 w 636345"/>
                <a:gd name="connsiteY351" fmla="*/ 108298 h 711688"/>
                <a:gd name="connsiteX352" fmla="*/ 331484 w 636345"/>
                <a:gd name="connsiteY352" fmla="*/ 108168 h 711688"/>
                <a:gd name="connsiteX353" fmla="*/ 329546 w 636345"/>
                <a:gd name="connsiteY353" fmla="*/ 108427 h 711688"/>
                <a:gd name="connsiteX354" fmla="*/ 327478 w 636345"/>
                <a:gd name="connsiteY354" fmla="*/ 108944 h 711688"/>
                <a:gd name="connsiteX355" fmla="*/ 325022 w 636345"/>
                <a:gd name="connsiteY355" fmla="*/ 110495 h 711688"/>
                <a:gd name="connsiteX356" fmla="*/ 319465 w 636345"/>
                <a:gd name="connsiteY356" fmla="*/ 116439 h 711688"/>
                <a:gd name="connsiteX357" fmla="*/ 317785 w 636345"/>
                <a:gd name="connsiteY357" fmla="*/ 117603 h 711688"/>
                <a:gd name="connsiteX358" fmla="*/ 315718 w 636345"/>
                <a:gd name="connsiteY358" fmla="*/ 118507 h 711688"/>
                <a:gd name="connsiteX359" fmla="*/ 313391 w 636345"/>
                <a:gd name="connsiteY359" fmla="*/ 119283 h 711688"/>
                <a:gd name="connsiteX360" fmla="*/ 311194 w 636345"/>
                <a:gd name="connsiteY360" fmla="*/ 119670 h 711688"/>
                <a:gd name="connsiteX361" fmla="*/ 308739 w 636345"/>
                <a:gd name="connsiteY361" fmla="*/ 119670 h 711688"/>
                <a:gd name="connsiteX362" fmla="*/ 306671 w 636345"/>
                <a:gd name="connsiteY362" fmla="*/ 119024 h 711688"/>
                <a:gd name="connsiteX363" fmla="*/ 304733 w 636345"/>
                <a:gd name="connsiteY363" fmla="*/ 118249 h 711688"/>
                <a:gd name="connsiteX364" fmla="*/ 302406 w 636345"/>
                <a:gd name="connsiteY364" fmla="*/ 117473 h 711688"/>
                <a:gd name="connsiteX365" fmla="*/ 297625 w 636345"/>
                <a:gd name="connsiteY365" fmla="*/ 118249 h 711688"/>
                <a:gd name="connsiteX366" fmla="*/ 289483 w 636345"/>
                <a:gd name="connsiteY366" fmla="*/ 124064 h 711688"/>
                <a:gd name="connsiteX367" fmla="*/ 284960 w 636345"/>
                <a:gd name="connsiteY367" fmla="*/ 125615 h 711688"/>
                <a:gd name="connsiteX368" fmla="*/ 280825 w 636345"/>
                <a:gd name="connsiteY368" fmla="*/ 125098 h 711688"/>
                <a:gd name="connsiteX369" fmla="*/ 260276 w 636345"/>
                <a:gd name="connsiteY369" fmla="*/ 116827 h 711688"/>
                <a:gd name="connsiteX370" fmla="*/ 255624 w 636345"/>
                <a:gd name="connsiteY370" fmla="*/ 115664 h 711688"/>
                <a:gd name="connsiteX371" fmla="*/ 251876 w 636345"/>
                <a:gd name="connsiteY371" fmla="*/ 116569 h 711688"/>
                <a:gd name="connsiteX372" fmla="*/ 251488 w 636345"/>
                <a:gd name="connsiteY372" fmla="*/ 117215 h 711688"/>
                <a:gd name="connsiteX373" fmla="*/ 251101 w 636345"/>
                <a:gd name="connsiteY373" fmla="*/ 119153 h 711688"/>
                <a:gd name="connsiteX374" fmla="*/ 250584 w 636345"/>
                <a:gd name="connsiteY374" fmla="*/ 119929 h 711688"/>
                <a:gd name="connsiteX375" fmla="*/ 249679 w 636345"/>
                <a:gd name="connsiteY375" fmla="*/ 120446 h 711688"/>
                <a:gd name="connsiteX376" fmla="*/ 246319 w 636345"/>
                <a:gd name="connsiteY376" fmla="*/ 121092 h 711688"/>
                <a:gd name="connsiteX377" fmla="*/ 243993 w 636345"/>
                <a:gd name="connsiteY377" fmla="*/ 121867 h 711688"/>
                <a:gd name="connsiteX378" fmla="*/ 242959 w 636345"/>
                <a:gd name="connsiteY378" fmla="*/ 123160 h 711688"/>
                <a:gd name="connsiteX379" fmla="*/ 242701 w 636345"/>
                <a:gd name="connsiteY379" fmla="*/ 124840 h 711688"/>
                <a:gd name="connsiteX380" fmla="*/ 242701 w 636345"/>
                <a:gd name="connsiteY380" fmla="*/ 127037 h 711688"/>
                <a:gd name="connsiteX381" fmla="*/ 241408 w 636345"/>
                <a:gd name="connsiteY381" fmla="*/ 131172 h 711688"/>
                <a:gd name="connsiteX382" fmla="*/ 238436 w 636345"/>
                <a:gd name="connsiteY382" fmla="*/ 131947 h 711688"/>
                <a:gd name="connsiteX383" fmla="*/ 229648 w 636345"/>
                <a:gd name="connsiteY383" fmla="*/ 130655 h 711688"/>
                <a:gd name="connsiteX384" fmla="*/ 223574 w 636345"/>
                <a:gd name="connsiteY384" fmla="*/ 131172 h 711688"/>
                <a:gd name="connsiteX385" fmla="*/ 221765 w 636345"/>
                <a:gd name="connsiteY385" fmla="*/ 131689 h 711688"/>
                <a:gd name="connsiteX386" fmla="*/ 219439 w 636345"/>
                <a:gd name="connsiteY386" fmla="*/ 133111 h 711688"/>
                <a:gd name="connsiteX387" fmla="*/ 218922 w 636345"/>
                <a:gd name="connsiteY387" fmla="*/ 134661 h 711688"/>
                <a:gd name="connsiteX388" fmla="*/ 219309 w 636345"/>
                <a:gd name="connsiteY388" fmla="*/ 136600 h 711688"/>
                <a:gd name="connsiteX389" fmla="*/ 219439 w 636345"/>
                <a:gd name="connsiteY389" fmla="*/ 139055 h 711688"/>
                <a:gd name="connsiteX390" fmla="*/ 218663 w 636345"/>
                <a:gd name="connsiteY390" fmla="*/ 141640 h 711688"/>
                <a:gd name="connsiteX391" fmla="*/ 217629 w 636345"/>
                <a:gd name="connsiteY391" fmla="*/ 143837 h 711688"/>
                <a:gd name="connsiteX392" fmla="*/ 216983 w 636345"/>
                <a:gd name="connsiteY392" fmla="*/ 146034 h 711688"/>
                <a:gd name="connsiteX393" fmla="*/ 217371 w 636345"/>
                <a:gd name="connsiteY393" fmla="*/ 148877 h 711688"/>
                <a:gd name="connsiteX394" fmla="*/ 217888 w 636345"/>
                <a:gd name="connsiteY394" fmla="*/ 150040 h 711688"/>
                <a:gd name="connsiteX395" fmla="*/ 218534 w 636345"/>
                <a:gd name="connsiteY395" fmla="*/ 150686 h 711688"/>
                <a:gd name="connsiteX396" fmla="*/ 218922 w 636345"/>
                <a:gd name="connsiteY396" fmla="*/ 151462 h 711688"/>
                <a:gd name="connsiteX397" fmla="*/ 219309 w 636345"/>
                <a:gd name="connsiteY397" fmla="*/ 154176 h 711688"/>
                <a:gd name="connsiteX398" fmla="*/ 221119 w 636345"/>
                <a:gd name="connsiteY398" fmla="*/ 158311 h 711688"/>
                <a:gd name="connsiteX399" fmla="*/ 222152 w 636345"/>
                <a:gd name="connsiteY399" fmla="*/ 162705 h 711688"/>
                <a:gd name="connsiteX400" fmla="*/ 222152 w 636345"/>
                <a:gd name="connsiteY400" fmla="*/ 167228 h 711688"/>
                <a:gd name="connsiteX401" fmla="*/ 221119 w 636345"/>
                <a:gd name="connsiteY401" fmla="*/ 171493 h 711688"/>
                <a:gd name="connsiteX402" fmla="*/ 218922 w 636345"/>
                <a:gd name="connsiteY402" fmla="*/ 175370 h 711688"/>
                <a:gd name="connsiteX403" fmla="*/ 217242 w 636345"/>
                <a:gd name="connsiteY403" fmla="*/ 177438 h 711688"/>
                <a:gd name="connsiteX404" fmla="*/ 216208 w 636345"/>
                <a:gd name="connsiteY404" fmla="*/ 178213 h 711688"/>
                <a:gd name="connsiteX405" fmla="*/ 214915 w 636345"/>
                <a:gd name="connsiteY405" fmla="*/ 178213 h 711688"/>
                <a:gd name="connsiteX406" fmla="*/ 213365 w 636345"/>
                <a:gd name="connsiteY406" fmla="*/ 177955 h 711688"/>
                <a:gd name="connsiteX407" fmla="*/ 212460 w 636345"/>
                <a:gd name="connsiteY407" fmla="*/ 178471 h 711688"/>
                <a:gd name="connsiteX408" fmla="*/ 210263 w 636345"/>
                <a:gd name="connsiteY408" fmla="*/ 180281 h 711688"/>
                <a:gd name="connsiteX409" fmla="*/ 208066 w 636345"/>
                <a:gd name="connsiteY409" fmla="*/ 181573 h 711688"/>
                <a:gd name="connsiteX410" fmla="*/ 206257 w 636345"/>
                <a:gd name="connsiteY410" fmla="*/ 182090 h 711688"/>
                <a:gd name="connsiteX411" fmla="*/ 204189 w 636345"/>
                <a:gd name="connsiteY411" fmla="*/ 182090 h 711688"/>
                <a:gd name="connsiteX412" fmla="*/ 201734 w 636345"/>
                <a:gd name="connsiteY412" fmla="*/ 181702 h 711688"/>
                <a:gd name="connsiteX413" fmla="*/ 199666 w 636345"/>
                <a:gd name="connsiteY413" fmla="*/ 181056 h 711688"/>
                <a:gd name="connsiteX414" fmla="*/ 197081 w 636345"/>
                <a:gd name="connsiteY414" fmla="*/ 179635 h 711688"/>
                <a:gd name="connsiteX415" fmla="*/ 194626 w 636345"/>
                <a:gd name="connsiteY415" fmla="*/ 177955 h 711688"/>
                <a:gd name="connsiteX416" fmla="*/ 193204 w 636345"/>
                <a:gd name="connsiteY416" fmla="*/ 176275 h 711688"/>
                <a:gd name="connsiteX417" fmla="*/ 191653 w 636345"/>
                <a:gd name="connsiteY417" fmla="*/ 173819 h 711688"/>
                <a:gd name="connsiteX418" fmla="*/ 180410 w 636345"/>
                <a:gd name="connsiteY418" fmla="*/ 160637 h 711688"/>
                <a:gd name="connsiteX419" fmla="*/ 173690 w 636345"/>
                <a:gd name="connsiteY419" fmla="*/ 155856 h 711688"/>
                <a:gd name="connsiteX420" fmla="*/ 167487 w 636345"/>
                <a:gd name="connsiteY420" fmla="*/ 147326 h 711688"/>
                <a:gd name="connsiteX421" fmla="*/ 163739 w 636345"/>
                <a:gd name="connsiteY421" fmla="*/ 143708 h 711688"/>
                <a:gd name="connsiteX422" fmla="*/ 156760 w 636345"/>
                <a:gd name="connsiteY422" fmla="*/ 139701 h 711688"/>
                <a:gd name="connsiteX423" fmla="*/ 152496 w 636345"/>
                <a:gd name="connsiteY423" fmla="*/ 138280 h 711688"/>
                <a:gd name="connsiteX424" fmla="*/ 148877 w 636345"/>
                <a:gd name="connsiteY424" fmla="*/ 138668 h 711688"/>
                <a:gd name="connsiteX425" fmla="*/ 146422 w 636345"/>
                <a:gd name="connsiteY425" fmla="*/ 141769 h 711688"/>
                <a:gd name="connsiteX426" fmla="*/ 145646 w 636345"/>
                <a:gd name="connsiteY426" fmla="*/ 145905 h 711688"/>
                <a:gd name="connsiteX427" fmla="*/ 144225 w 636345"/>
                <a:gd name="connsiteY427" fmla="*/ 149394 h 711688"/>
                <a:gd name="connsiteX428" fmla="*/ 139702 w 636345"/>
                <a:gd name="connsiteY428" fmla="*/ 150816 h 711688"/>
                <a:gd name="connsiteX429" fmla="*/ 135049 w 636345"/>
                <a:gd name="connsiteY429" fmla="*/ 148489 h 711688"/>
                <a:gd name="connsiteX430" fmla="*/ 127683 w 636345"/>
                <a:gd name="connsiteY430" fmla="*/ 142157 h 711688"/>
                <a:gd name="connsiteX431" fmla="*/ 122513 w 636345"/>
                <a:gd name="connsiteY431" fmla="*/ 140994 h 711688"/>
                <a:gd name="connsiteX432" fmla="*/ 120446 w 636345"/>
                <a:gd name="connsiteY432" fmla="*/ 141252 h 711688"/>
                <a:gd name="connsiteX433" fmla="*/ 114501 w 636345"/>
                <a:gd name="connsiteY433" fmla="*/ 142674 h 711688"/>
                <a:gd name="connsiteX434" fmla="*/ 111787 w 636345"/>
                <a:gd name="connsiteY434" fmla="*/ 142803 h 711688"/>
                <a:gd name="connsiteX435" fmla="*/ 109719 w 636345"/>
                <a:gd name="connsiteY435" fmla="*/ 142415 h 711688"/>
                <a:gd name="connsiteX436" fmla="*/ 105455 w 636345"/>
                <a:gd name="connsiteY436" fmla="*/ 140606 h 711688"/>
                <a:gd name="connsiteX437" fmla="*/ 100673 w 636345"/>
                <a:gd name="connsiteY437" fmla="*/ 140606 h 711688"/>
                <a:gd name="connsiteX438" fmla="*/ 96279 w 636345"/>
                <a:gd name="connsiteY438" fmla="*/ 142803 h 711688"/>
                <a:gd name="connsiteX439" fmla="*/ 91885 w 636345"/>
                <a:gd name="connsiteY439" fmla="*/ 145775 h 711688"/>
                <a:gd name="connsiteX440" fmla="*/ 87750 w 636345"/>
                <a:gd name="connsiteY440" fmla="*/ 147972 h 711688"/>
                <a:gd name="connsiteX441" fmla="*/ 83356 w 636345"/>
                <a:gd name="connsiteY441" fmla="*/ 147714 h 711688"/>
                <a:gd name="connsiteX442" fmla="*/ 80513 w 636345"/>
                <a:gd name="connsiteY442" fmla="*/ 144612 h 711688"/>
                <a:gd name="connsiteX443" fmla="*/ 78832 w 636345"/>
                <a:gd name="connsiteY443" fmla="*/ 140218 h 711688"/>
                <a:gd name="connsiteX444" fmla="*/ 77023 w 636345"/>
                <a:gd name="connsiteY444" fmla="*/ 132594 h 711688"/>
                <a:gd name="connsiteX445" fmla="*/ 75731 w 636345"/>
                <a:gd name="connsiteY445" fmla="*/ 129104 h 711688"/>
                <a:gd name="connsiteX446" fmla="*/ 73922 w 636345"/>
                <a:gd name="connsiteY446" fmla="*/ 125873 h 711688"/>
                <a:gd name="connsiteX447" fmla="*/ 71595 w 636345"/>
                <a:gd name="connsiteY447" fmla="*/ 123418 h 711688"/>
                <a:gd name="connsiteX448" fmla="*/ 68881 w 636345"/>
                <a:gd name="connsiteY448" fmla="*/ 122126 h 711688"/>
                <a:gd name="connsiteX449" fmla="*/ 61515 w 636345"/>
                <a:gd name="connsiteY449" fmla="*/ 120058 h 711688"/>
                <a:gd name="connsiteX450" fmla="*/ 48204 w 636345"/>
                <a:gd name="connsiteY450" fmla="*/ 119024 h 711688"/>
                <a:gd name="connsiteX451" fmla="*/ 24167 w 636345"/>
                <a:gd name="connsiteY451" fmla="*/ 122643 h 711688"/>
                <a:gd name="connsiteX452" fmla="*/ 22228 w 636345"/>
                <a:gd name="connsiteY452" fmla="*/ 121738 h 711688"/>
                <a:gd name="connsiteX453" fmla="*/ 20807 w 636345"/>
                <a:gd name="connsiteY453" fmla="*/ 119541 h 711688"/>
                <a:gd name="connsiteX454" fmla="*/ 19127 w 636345"/>
                <a:gd name="connsiteY454" fmla="*/ 114889 h 711688"/>
                <a:gd name="connsiteX455" fmla="*/ 17963 w 636345"/>
                <a:gd name="connsiteY455" fmla="*/ 113079 h 711688"/>
                <a:gd name="connsiteX456" fmla="*/ 16542 w 636345"/>
                <a:gd name="connsiteY456" fmla="*/ 111012 h 711688"/>
                <a:gd name="connsiteX457" fmla="*/ 12406 w 636345"/>
                <a:gd name="connsiteY457" fmla="*/ 107135 h 711688"/>
                <a:gd name="connsiteX458" fmla="*/ 7496 w 636345"/>
                <a:gd name="connsiteY458" fmla="*/ 104550 h 711688"/>
                <a:gd name="connsiteX459" fmla="*/ 2585 w 636345"/>
                <a:gd name="connsiteY459" fmla="*/ 104938 h 711688"/>
                <a:gd name="connsiteX460" fmla="*/ 1163 w 636345"/>
                <a:gd name="connsiteY460" fmla="*/ 106230 h 711688"/>
                <a:gd name="connsiteX461" fmla="*/ 259 w 636345"/>
                <a:gd name="connsiteY461" fmla="*/ 108298 h 711688"/>
                <a:gd name="connsiteX462" fmla="*/ 0 w 636345"/>
                <a:gd name="connsiteY462" fmla="*/ 110624 h 711688"/>
                <a:gd name="connsiteX463" fmla="*/ 259 w 636345"/>
                <a:gd name="connsiteY463" fmla="*/ 112821 h 711688"/>
                <a:gd name="connsiteX464" fmla="*/ 1551 w 636345"/>
                <a:gd name="connsiteY464" fmla="*/ 115147 h 711688"/>
                <a:gd name="connsiteX465" fmla="*/ 3489 w 636345"/>
                <a:gd name="connsiteY465" fmla="*/ 116439 h 711688"/>
                <a:gd name="connsiteX466" fmla="*/ 5686 w 636345"/>
                <a:gd name="connsiteY466" fmla="*/ 117215 h 711688"/>
                <a:gd name="connsiteX467" fmla="*/ 7883 w 636345"/>
                <a:gd name="connsiteY467" fmla="*/ 118507 h 711688"/>
                <a:gd name="connsiteX468" fmla="*/ 9434 w 636345"/>
                <a:gd name="connsiteY468" fmla="*/ 120187 h 711688"/>
                <a:gd name="connsiteX469" fmla="*/ 10339 w 636345"/>
                <a:gd name="connsiteY469" fmla="*/ 122126 h 711688"/>
                <a:gd name="connsiteX470" fmla="*/ 11631 w 636345"/>
                <a:gd name="connsiteY470" fmla="*/ 126390 h 711688"/>
                <a:gd name="connsiteX471" fmla="*/ 16413 w 636345"/>
                <a:gd name="connsiteY471" fmla="*/ 135566 h 711688"/>
                <a:gd name="connsiteX472" fmla="*/ 16413 w 636345"/>
                <a:gd name="connsiteY472" fmla="*/ 135566 h 711688"/>
                <a:gd name="connsiteX473" fmla="*/ 16413 w 636345"/>
                <a:gd name="connsiteY473" fmla="*/ 135566 h 711688"/>
                <a:gd name="connsiteX474" fmla="*/ 16413 w 636345"/>
                <a:gd name="connsiteY474" fmla="*/ 135566 h 711688"/>
                <a:gd name="connsiteX475" fmla="*/ 18480 w 636345"/>
                <a:gd name="connsiteY475" fmla="*/ 138151 h 711688"/>
                <a:gd name="connsiteX476" fmla="*/ 23520 w 636345"/>
                <a:gd name="connsiteY476" fmla="*/ 142028 h 711688"/>
                <a:gd name="connsiteX477" fmla="*/ 25847 w 636345"/>
                <a:gd name="connsiteY477" fmla="*/ 144354 h 711688"/>
                <a:gd name="connsiteX478" fmla="*/ 30499 w 636345"/>
                <a:gd name="connsiteY478" fmla="*/ 150816 h 711688"/>
                <a:gd name="connsiteX479" fmla="*/ 40838 w 636345"/>
                <a:gd name="connsiteY479" fmla="*/ 158828 h 711688"/>
                <a:gd name="connsiteX480" fmla="*/ 45102 w 636345"/>
                <a:gd name="connsiteY480" fmla="*/ 161283 h 711688"/>
                <a:gd name="connsiteX481" fmla="*/ 50143 w 636345"/>
                <a:gd name="connsiteY481" fmla="*/ 163093 h 711688"/>
                <a:gd name="connsiteX482" fmla="*/ 52598 w 636345"/>
                <a:gd name="connsiteY482" fmla="*/ 164643 h 711688"/>
                <a:gd name="connsiteX483" fmla="*/ 58931 w 636345"/>
                <a:gd name="connsiteY483" fmla="*/ 172268 h 711688"/>
                <a:gd name="connsiteX484" fmla="*/ 63583 w 636345"/>
                <a:gd name="connsiteY484" fmla="*/ 176145 h 711688"/>
                <a:gd name="connsiteX485" fmla="*/ 65651 w 636345"/>
                <a:gd name="connsiteY485" fmla="*/ 178471 h 711688"/>
                <a:gd name="connsiteX486" fmla="*/ 66426 w 636345"/>
                <a:gd name="connsiteY486" fmla="*/ 181056 h 711688"/>
                <a:gd name="connsiteX487" fmla="*/ 66426 w 636345"/>
                <a:gd name="connsiteY487" fmla="*/ 185062 h 711688"/>
                <a:gd name="connsiteX488" fmla="*/ 66168 w 636345"/>
                <a:gd name="connsiteY488" fmla="*/ 186872 h 711688"/>
                <a:gd name="connsiteX489" fmla="*/ 65392 w 636345"/>
                <a:gd name="connsiteY489" fmla="*/ 188810 h 711688"/>
                <a:gd name="connsiteX490" fmla="*/ 62420 w 636345"/>
                <a:gd name="connsiteY490" fmla="*/ 192687 h 711688"/>
                <a:gd name="connsiteX491" fmla="*/ 61386 w 636345"/>
                <a:gd name="connsiteY491" fmla="*/ 194626 h 711688"/>
                <a:gd name="connsiteX492" fmla="*/ 60998 w 636345"/>
                <a:gd name="connsiteY492" fmla="*/ 197210 h 711688"/>
                <a:gd name="connsiteX493" fmla="*/ 63841 w 636345"/>
                <a:gd name="connsiteY493" fmla="*/ 210651 h 711688"/>
                <a:gd name="connsiteX494" fmla="*/ 64229 w 636345"/>
                <a:gd name="connsiteY494" fmla="*/ 215045 h 711688"/>
                <a:gd name="connsiteX495" fmla="*/ 63195 w 636345"/>
                <a:gd name="connsiteY495" fmla="*/ 224091 h 711688"/>
                <a:gd name="connsiteX496" fmla="*/ 63454 w 636345"/>
                <a:gd name="connsiteY496" fmla="*/ 228614 h 711688"/>
                <a:gd name="connsiteX497" fmla="*/ 65392 w 636345"/>
                <a:gd name="connsiteY497" fmla="*/ 232233 h 711688"/>
                <a:gd name="connsiteX498" fmla="*/ 68752 w 636345"/>
                <a:gd name="connsiteY498" fmla="*/ 236239 h 711688"/>
                <a:gd name="connsiteX499" fmla="*/ 72629 w 636345"/>
                <a:gd name="connsiteY499" fmla="*/ 243088 h 711688"/>
                <a:gd name="connsiteX500" fmla="*/ 75989 w 636345"/>
                <a:gd name="connsiteY500" fmla="*/ 247353 h 711688"/>
                <a:gd name="connsiteX501" fmla="*/ 84260 w 636345"/>
                <a:gd name="connsiteY501" fmla="*/ 263249 h 711688"/>
                <a:gd name="connsiteX502" fmla="*/ 86070 w 636345"/>
                <a:gd name="connsiteY502" fmla="*/ 269064 h 711688"/>
                <a:gd name="connsiteX503" fmla="*/ 87233 w 636345"/>
                <a:gd name="connsiteY503" fmla="*/ 271003 h 711688"/>
                <a:gd name="connsiteX504" fmla="*/ 87620 w 636345"/>
                <a:gd name="connsiteY504" fmla="*/ 272166 h 711688"/>
                <a:gd name="connsiteX505" fmla="*/ 87620 w 636345"/>
                <a:gd name="connsiteY505" fmla="*/ 273070 h 711688"/>
                <a:gd name="connsiteX506" fmla="*/ 86845 w 636345"/>
                <a:gd name="connsiteY506" fmla="*/ 275914 h 711688"/>
                <a:gd name="connsiteX507" fmla="*/ 86457 w 636345"/>
                <a:gd name="connsiteY507" fmla="*/ 281988 h 711688"/>
                <a:gd name="connsiteX508" fmla="*/ 86070 w 636345"/>
                <a:gd name="connsiteY508" fmla="*/ 283926 h 711688"/>
                <a:gd name="connsiteX509" fmla="*/ 81934 w 636345"/>
                <a:gd name="connsiteY509" fmla="*/ 291292 h 711688"/>
                <a:gd name="connsiteX510" fmla="*/ 81159 w 636345"/>
                <a:gd name="connsiteY510" fmla="*/ 293877 h 711688"/>
                <a:gd name="connsiteX511" fmla="*/ 81288 w 636345"/>
                <a:gd name="connsiteY511" fmla="*/ 296203 h 711688"/>
                <a:gd name="connsiteX512" fmla="*/ 82193 w 636345"/>
                <a:gd name="connsiteY512" fmla="*/ 298012 h 711688"/>
                <a:gd name="connsiteX513" fmla="*/ 83873 w 636345"/>
                <a:gd name="connsiteY513" fmla="*/ 298917 h 711688"/>
                <a:gd name="connsiteX514" fmla="*/ 86199 w 636345"/>
                <a:gd name="connsiteY514" fmla="*/ 298400 h 711688"/>
                <a:gd name="connsiteX515" fmla="*/ 92531 w 636345"/>
                <a:gd name="connsiteY515" fmla="*/ 299046 h 711688"/>
                <a:gd name="connsiteX516" fmla="*/ 105325 w 636345"/>
                <a:gd name="connsiteY516" fmla="*/ 302665 h 711688"/>
                <a:gd name="connsiteX517" fmla="*/ 112304 w 636345"/>
                <a:gd name="connsiteY517" fmla="*/ 302536 h 711688"/>
                <a:gd name="connsiteX518" fmla="*/ 119024 w 636345"/>
                <a:gd name="connsiteY518" fmla="*/ 301631 h 711688"/>
                <a:gd name="connsiteX519" fmla="*/ 132981 w 636345"/>
                <a:gd name="connsiteY519" fmla="*/ 302019 h 711688"/>
                <a:gd name="connsiteX520" fmla="*/ 139702 w 636345"/>
                <a:gd name="connsiteY520" fmla="*/ 303053 h 711688"/>
                <a:gd name="connsiteX521" fmla="*/ 153142 w 636345"/>
                <a:gd name="connsiteY521" fmla="*/ 303440 h 711688"/>
                <a:gd name="connsiteX522" fmla="*/ 155339 w 636345"/>
                <a:gd name="connsiteY522" fmla="*/ 304216 h 711688"/>
                <a:gd name="connsiteX523" fmla="*/ 155726 w 636345"/>
                <a:gd name="connsiteY523" fmla="*/ 305637 h 711688"/>
                <a:gd name="connsiteX524" fmla="*/ 154693 w 636345"/>
                <a:gd name="connsiteY524" fmla="*/ 309385 h 711688"/>
                <a:gd name="connsiteX525" fmla="*/ 154434 w 636345"/>
                <a:gd name="connsiteY525" fmla="*/ 311065 h 711688"/>
                <a:gd name="connsiteX526" fmla="*/ 154693 w 636345"/>
                <a:gd name="connsiteY526" fmla="*/ 318302 h 711688"/>
                <a:gd name="connsiteX527" fmla="*/ 154434 w 636345"/>
                <a:gd name="connsiteY527" fmla="*/ 319853 h 711688"/>
                <a:gd name="connsiteX528" fmla="*/ 153013 w 636345"/>
                <a:gd name="connsiteY528" fmla="*/ 323084 h 711688"/>
                <a:gd name="connsiteX529" fmla="*/ 153788 w 636345"/>
                <a:gd name="connsiteY529" fmla="*/ 323859 h 711688"/>
                <a:gd name="connsiteX530" fmla="*/ 158699 w 636345"/>
                <a:gd name="connsiteY530" fmla="*/ 328899 h 711688"/>
                <a:gd name="connsiteX531" fmla="*/ 161800 w 636345"/>
                <a:gd name="connsiteY531" fmla="*/ 330709 h 711688"/>
                <a:gd name="connsiteX532" fmla="*/ 163480 w 636345"/>
                <a:gd name="connsiteY532" fmla="*/ 331226 h 711688"/>
                <a:gd name="connsiteX533" fmla="*/ 166065 w 636345"/>
                <a:gd name="connsiteY533" fmla="*/ 331613 h 711688"/>
                <a:gd name="connsiteX534" fmla="*/ 167357 w 636345"/>
                <a:gd name="connsiteY534" fmla="*/ 331484 h 711688"/>
                <a:gd name="connsiteX535" fmla="*/ 168521 w 636345"/>
                <a:gd name="connsiteY535" fmla="*/ 331355 h 711688"/>
                <a:gd name="connsiteX536" fmla="*/ 169684 w 636345"/>
                <a:gd name="connsiteY536" fmla="*/ 330967 h 711688"/>
                <a:gd name="connsiteX537" fmla="*/ 173044 w 636345"/>
                <a:gd name="connsiteY537" fmla="*/ 329675 h 711688"/>
                <a:gd name="connsiteX538" fmla="*/ 174336 w 636345"/>
                <a:gd name="connsiteY538" fmla="*/ 329287 h 711688"/>
                <a:gd name="connsiteX539" fmla="*/ 176016 w 636345"/>
                <a:gd name="connsiteY539" fmla="*/ 329158 h 711688"/>
                <a:gd name="connsiteX540" fmla="*/ 178472 w 636345"/>
                <a:gd name="connsiteY540" fmla="*/ 329287 h 711688"/>
                <a:gd name="connsiteX541" fmla="*/ 179764 w 636345"/>
                <a:gd name="connsiteY541" fmla="*/ 330062 h 711688"/>
                <a:gd name="connsiteX542" fmla="*/ 180410 w 636345"/>
                <a:gd name="connsiteY542" fmla="*/ 331096 h 711688"/>
                <a:gd name="connsiteX543" fmla="*/ 180410 w 636345"/>
                <a:gd name="connsiteY543" fmla="*/ 333293 h 711688"/>
                <a:gd name="connsiteX544" fmla="*/ 180539 w 636345"/>
                <a:gd name="connsiteY544" fmla="*/ 334586 h 711688"/>
                <a:gd name="connsiteX545" fmla="*/ 181315 w 636345"/>
                <a:gd name="connsiteY545" fmla="*/ 336007 h 711688"/>
                <a:gd name="connsiteX546" fmla="*/ 183124 w 636345"/>
                <a:gd name="connsiteY546" fmla="*/ 337816 h 711688"/>
                <a:gd name="connsiteX547" fmla="*/ 186743 w 636345"/>
                <a:gd name="connsiteY547" fmla="*/ 341952 h 711688"/>
                <a:gd name="connsiteX548" fmla="*/ 189069 w 636345"/>
                <a:gd name="connsiteY548" fmla="*/ 343761 h 711688"/>
                <a:gd name="connsiteX549" fmla="*/ 191136 w 636345"/>
                <a:gd name="connsiteY549" fmla="*/ 344795 h 711688"/>
                <a:gd name="connsiteX550" fmla="*/ 193980 w 636345"/>
                <a:gd name="connsiteY550" fmla="*/ 345958 h 711688"/>
                <a:gd name="connsiteX551" fmla="*/ 195660 w 636345"/>
                <a:gd name="connsiteY551" fmla="*/ 346217 h 711688"/>
                <a:gd name="connsiteX552" fmla="*/ 197081 w 636345"/>
                <a:gd name="connsiteY552" fmla="*/ 346087 h 711688"/>
                <a:gd name="connsiteX553" fmla="*/ 199278 w 636345"/>
                <a:gd name="connsiteY553" fmla="*/ 345570 h 711688"/>
                <a:gd name="connsiteX554" fmla="*/ 200571 w 636345"/>
                <a:gd name="connsiteY554" fmla="*/ 345441 h 711688"/>
                <a:gd name="connsiteX555" fmla="*/ 201992 w 636345"/>
                <a:gd name="connsiteY555" fmla="*/ 345570 h 711688"/>
                <a:gd name="connsiteX556" fmla="*/ 204060 w 636345"/>
                <a:gd name="connsiteY556" fmla="*/ 346087 h 711688"/>
                <a:gd name="connsiteX557" fmla="*/ 205481 w 636345"/>
                <a:gd name="connsiteY557" fmla="*/ 346217 h 711688"/>
                <a:gd name="connsiteX558" fmla="*/ 209229 w 636345"/>
                <a:gd name="connsiteY558" fmla="*/ 346087 h 711688"/>
                <a:gd name="connsiteX559" fmla="*/ 210651 w 636345"/>
                <a:gd name="connsiteY559" fmla="*/ 346217 h 711688"/>
                <a:gd name="connsiteX560" fmla="*/ 213494 w 636345"/>
                <a:gd name="connsiteY560" fmla="*/ 347380 h 711688"/>
                <a:gd name="connsiteX561" fmla="*/ 219826 w 636345"/>
                <a:gd name="connsiteY561" fmla="*/ 351127 h 711688"/>
                <a:gd name="connsiteX562" fmla="*/ 223316 w 636345"/>
                <a:gd name="connsiteY562" fmla="*/ 352291 h 711688"/>
                <a:gd name="connsiteX563" fmla="*/ 224608 w 636345"/>
                <a:gd name="connsiteY563" fmla="*/ 352937 h 711688"/>
                <a:gd name="connsiteX564" fmla="*/ 225771 w 636345"/>
                <a:gd name="connsiteY564" fmla="*/ 353841 h 711688"/>
                <a:gd name="connsiteX565" fmla="*/ 226676 w 636345"/>
                <a:gd name="connsiteY565" fmla="*/ 355004 h 711688"/>
                <a:gd name="connsiteX566" fmla="*/ 227193 w 636345"/>
                <a:gd name="connsiteY566" fmla="*/ 356297 h 711688"/>
                <a:gd name="connsiteX567" fmla="*/ 227451 w 636345"/>
                <a:gd name="connsiteY567" fmla="*/ 357589 h 711688"/>
                <a:gd name="connsiteX568" fmla="*/ 227322 w 636345"/>
                <a:gd name="connsiteY568" fmla="*/ 358752 h 711688"/>
                <a:gd name="connsiteX569" fmla="*/ 226805 w 636345"/>
                <a:gd name="connsiteY569" fmla="*/ 359915 h 711688"/>
                <a:gd name="connsiteX570" fmla="*/ 224220 w 636345"/>
                <a:gd name="connsiteY570" fmla="*/ 363534 h 711688"/>
                <a:gd name="connsiteX571" fmla="*/ 223445 w 636345"/>
                <a:gd name="connsiteY571" fmla="*/ 364697 h 711688"/>
                <a:gd name="connsiteX572" fmla="*/ 223057 w 636345"/>
                <a:gd name="connsiteY572" fmla="*/ 365989 h 711688"/>
                <a:gd name="connsiteX573" fmla="*/ 222928 w 636345"/>
                <a:gd name="connsiteY573" fmla="*/ 367152 h 711688"/>
                <a:gd name="connsiteX574" fmla="*/ 223057 w 636345"/>
                <a:gd name="connsiteY574" fmla="*/ 368186 h 711688"/>
                <a:gd name="connsiteX575" fmla="*/ 224349 w 636345"/>
                <a:gd name="connsiteY575" fmla="*/ 372709 h 711688"/>
                <a:gd name="connsiteX576" fmla="*/ 225125 w 636345"/>
                <a:gd name="connsiteY576" fmla="*/ 376199 h 711688"/>
                <a:gd name="connsiteX577" fmla="*/ 224996 w 636345"/>
                <a:gd name="connsiteY577" fmla="*/ 377233 h 711688"/>
                <a:gd name="connsiteX578" fmla="*/ 224349 w 636345"/>
                <a:gd name="connsiteY578" fmla="*/ 378137 h 711688"/>
                <a:gd name="connsiteX579" fmla="*/ 221506 w 636345"/>
                <a:gd name="connsiteY579" fmla="*/ 379947 h 711688"/>
                <a:gd name="connsiteX580" fmla="*/ 220860 w 636345"/>
                <a:gd name="connsiteY580" fmla="*/ 380851 h 711688"/>
                <a:gd name="connsiteX581" fmla="*/ 219826 w 636345"/>
                <a:gd name="connsiteY581" fmla="*/ 384599 h 711688"/>
                <a:gd name="connsiteX582" fmla="*/ 219309 w 636345"/>
                <a:gd name="connsiteY582" fmla="*/ 385762 h 711688"/>
                <a:gd name="connsiteX583" fmla="*/ 217500 w 636345"/>
                <a:gd name="connsiteY583" fmla="*/ 387571 h 711688"/>
                <a:gd name="connsiteX584" fmla="*/ 216983 w 636345"/>
                <a:gd name="connsiteY584" fmla="*/ 388864 h 711688"/>
                <a:gd name="connsiteX585" fmla="*/ 217242 w 636345"/>
                <a:gd name="connsiteY585" fmla="*/ 390414 h 711688"/>
                <a:gd name="connsiteX586" fmla="*/ 220731 w 636345"/>
                <a:gd name="connsiteY586" fmla="*/ 395713 h 711688"/>
                <a:gd name="connsiteX587" fmla="*/ 222669 w 636345"/>
                <a:gd name="connsiteY587" fmla="*/ 399461 h 711688"/>
                <a:gd name="connsiteX588" fmla="*/ 224349 w 636345"/>
                <a:gd name="connsiteY588" fmla="*/ 401787 h 711688"/>
                <a:gd name="connsiteX589" fmla="*/ 225642 w 636345"/>
                <a:gd name="connsiteY589" fmla="*/ 403209 h 711688"/>
                <a:gd name="connsiteX590" fmla="*/ 226934 w 636345"/>
                <a:gd name="connsiteY590" fmla="*/ 404372 h 711688"/>
                <a:gd name="connsiteX591" fmla="*/ 227968 w 636345"/>
                <a:gd name="connsiteY591" fmla="*/ 405018 h 711688"/>
                <a:gd name="connsiteX592" fmla="*/ 229002 w 636345"/>
                <a:gd name="connsiteY592" fmla="*/ 405535 h 711688"/>
                <a:gd name="connsiteX593" fmla="*/ 230553 w 636345"/>
                <a:gd name="connsiteY593" fmla="*/ 406569 h 711688"/>
                <a:gd name="connsiteX594" fmla="*/ 232103 w 636345"/>
                <a:gd name="connsiteY594" fmla="*/ 407732 h 711688"/>
                <a:gd name="connsiteX595" fmla="*/ 234688 w 636345"/>
                <a:gd name="connsiteY595" fmla="*/ 410316 h 711688"/>
                <a:gd name="connsiteX596" fmla="*/ 235593 w 636345"/>
                <a:gd name="connsiteY596" fmla="*/ 411996 h 711688"/>
                <a:gd name="connsiteX597" fmla="*/ 235722 w 636345"/>
                <a:gd name="connsiteY597" fmla="*/ 413418 h 711688"/>
                <a:gd name="connsiteX598" fmla="*/ 235464 w 636345"/>
                <a:gd name="connsiteY598" fmla="*/ 414710 h 711688"/>
                <a:gd name="connsiteX599" fmla="*/ 235593 w 636345"/>
                <a:gd name="connsiteY599" fmla="*/ 416132 h 711688"/>
                <a:gd name="connsiteX600" fmla="*/ 241796 w 636345"/>
                <a:gd name="connsiteY600" fmla="*/ 434742 h 711688"/>
                <a:gd name="connsiteX601" fmla="*/ 241925 w 636345"/>
                <a:gd name="connsiteY601" fmla="*/ 438231 h 711688"/>
                <a:gd name="connsiteX602" fmla="*/ 242184 w 636345"/>
                <a:gd name="connsiteY602" fmla="*/ 439265 h 711688"/>
                <a:gd name="connsiteX603" fmla="*/ 242701 w 636345"/>
                <a:gd name="connsiteY603" fmla="*/ 440428 h 711688"/>
                <a:gd name="connsiteX604" fmla="*/ 245673 w 636345"/>
                <a:gd name="connsiteY604" fmla="*/ 445985 h 711688"/>
                <a:gd name="connsiteX605" fmla="*/ 246319 w 636345"/>
                <a:gd name="connsiteY605" fmla="*/ 448311 h 711688"/>
                <a:gd name="connsiteX606" fmla="*/ 246836 w 636345"/>
                <a:gd name="connsiteY606" fmla="*/ 458650 h 711688"/>
                <a:gd name="connsiteX607" fmla="*/ 247611 w 636345"/>
                <a:gd name="connsiteY607" fmla="*/ 460976 h 711688"/>
                <a:gd name="connsiteX608" fmla="*/ 252393 w 636345"/>
                <a:gd name="connsiteY608" fmla="*/ 470281 h 711688"/>
                <a:gd name="connsiteX609" fmla="*/ 253427 w 636345"/>
                <a:gd name="connsiteY609" fmla="*/ 473253 h 711688"/>
                <a:gd name="connsiteX610" fmla="*/ 253685 w 636345"/>
                <a:gd name="connsiteY610" fmla="*/ 475321 h 711688"/>
                <a:gd name="connsiteX611" fmla="*/ 251876 w 636345"/>
                <a:gd name="connsiteY611" fmla="*/ 477518 h 711688"/>
                <a:gd name="connsiteX612" fmla="*/ 249550 w 636345"/>
                <a:gd name="connsiteY612" fmla="*/ 479456 h 711688"/>
                <a:gd name="connsiteX613" fmla="*/ 247870 w 636345"/>
                <a:gd name="connsiteY613" fmla="*/ 480619 h 711688"/>
                <a:gd name="connsiteX614" fmla="*/ 246061 w 636345"/>
                <a:gd name="connsiteY614" fmla="*/ 481524 h 711688"/>
                <a:gd name="connsiteX615" fmla="*/ 245027 w 636345"/>
                <a:gd name="connsiteY615" fmla="*/ 482170 h 711688"/>
                <a:gd name="connsiteX616" fmla="*/ 243993 w 636345"/>
                <a:gd name="connsiteY616" fmla="*/ 483075 h 711688"/>
                <a:gd name="connsiteX617" fmla="*/ 243347 w 636345"/>
                <a:gd name="connsiteY617" fmla="*/ 484109 h 711688"/>
                <a:gd name="connsiteX618" fmla="*/ 243088 w 636345"/>
                <a:gd name="connsiteY618" fmla="*/ 485272 h 711688"/>
                <a:gd name="connsiteX619" fmla="*/ 243218 w 636345"/>
                <a:gd name="connsiteY619" fmla="*/ 486435 h 711688"/>
                <a:gd name="connsiteX620" fmla="*/ 243734 w 636345"/>
                <a:gd name="connsiteY620" fmla="*/ 488890 h 711688"/>
                <a:gd name="connsiteX621" fmla="*/ 249421 w 636345"/>
                <a:gd name="connsiteY621" fmla="*/ 503494 h 711688"/>
                <a:gd name="connsiteX622" fmla="*/ 249938 w 636345"/>
                <a:gd name="connsiteY622" fmla="*/ 505691 h 711688"/>
                <a:gd name="connsiteX623" fmla="*/ 249808 w 636345"/>
                <a:gd name="connsiteY623" fmla="*/ 506595 h 711688"/>
                <a:gd name="connsiteX624" fmla="*/ 249291 w 636345"/>
                <a:gd name="connsiteY624" fmla="*/ 509051 h 711688"/>
                <a:gd name="connsiteX625" fmla="*/ 248516 w 636345"/>
                <a:gd name="connsiteY625" fmla="*/ 511248 h 711688"/>
                <a:gd name="connsiteX626" fmla="*/ 247999 w 636345"/>
                <a:gd name="connsiteY626" fmla="*/ 512152 h 711688"/>
                <a:gd name="connsiteX627" fmla="*/ 247482 w 636345"/>
                <a:gd name="connsiteY627" fmla="*/ 512799 h 711688"/>
                <a:gd name="connsiteX628" fmla="*/ 245544 w 636345"/>
                <a:gd name="connsiteY628" fmla="*/ 514349 h 711688"/>
                <a:gd name="connsiteX629" fmla="*/ 244639 w 636345"/>
                <a:gd name="connsiteY629" fmla="*/ 515383 h 711688"/>
                <a:gd name="connsiteX630" fmla="*/ 244122 w 636345"/>
                <a:gd name="connsiteY630" fmla="*/ 516417 h 711688"/>
                <a:gd name="connsiteX631" fmla="*/ 243864 w 636345"/>
                <a:gd name="connsiteY631" fmla="*/ 517451 h 711688"/>
                <a:gd name="connsiteX632" fmla="*/ 243734 w 636345"/>
                <a:gd name="connsiteY632" fmla="*/ 518614 h 711688"/>
                <a:gd name="connsiteX633" fmla="*/ 244898 w 636345"/>
                <a:gd name="connsiteY633" fmla="*/ 524171 h 711688"/>
                <a:gd name="connsiteX634" fmla="*/ 244898 w 636345"/>
                <a:gd name="connsiteY634" fmla="*/ 525463 h 711688"/>
                <a:gd name="connsiteX635" fmla="*/ 244768 w 636345"/>
                <a:gd name="connsiteY635" fmla="*/ 526627 h 711688"/>
                <a:gd name="connsiteX636" fmla="*/ 244251 w 636345"/>
                <a:gd name="connsiteY636" fmla="*/ 527660 h 711688"/>
                <a:gd name="connsiteX637" fmla="*/ 241538 w 636345"/>
                <a:gd name="connsiteY637" fmla="*/ 532313 h 711688"/>
                <a:gd name="connsiteX638" fmla="*/ 240891 w 636345"/>
                <a:gd name="connsiteY638" fmla="*/ 533476 h 711688"/>
                <a:gd name="connsiteX639" fmla="*/ 240633 w 636345"/>
                <a:gd name="connsiteY639" fmla="*/ 534639 h 711688"/>
                <a:gd name="connsiteX640" fmla="*/ 240762 w 636345"/>
                <a:gd name="connsiteY640" fmla="*/ 542264 h 711688"/>
                <a:gd name="connsiteX641" fmla="*/ 241150 w 636345"/>
                <a:gd name="connsiteY641" fmla="*/ 543556 h 711688"/>
                <a:gd name="connsiteX642" fmla="*/ 242054 w 636345"/>
                <a:gd name="connsiteY642" fmla="*/ 544848 h 711688"/>
                <a:gd name="connsiteX643" fmla="*/ 244510 w 636345"/>
                <a:gd name="connsiteY643" fmla="*/ 548079 h 711688"/>
                <a:gd name="connsiteX644" fmla="*/ 245027 w 636345"/>
                <a:gd name="connsiteY644" fmla="*/ 549501 h 711688"/>
                <a:gd name="connsiteX645" fmla="*/ 245156 w 636345"/>
                <a:gd name="connsiteY645" fmla="*/ 550793 h 711688"/>
                <a:gd name="connsiteX646" fmla="*/ 243088 w 636345"/>
                <a:gd name="connsiteY646" fmla="*/ 556350 h 711688"/>
                <a:gd name="connsiteX647" fmla="*/ 242442 w 636345"/>
                <a:gd name="connsiteY647" fmla="*/ 557384 h 711688"/>
                <a:gd name="connsiteX648" fmla="*/ 241538 w 636345"/>
                <a:gd name="connsiteY648" fmla="*/ 558160 h 711688"/>
                <a:gd name="connsiteX649" fmla="*/ 240504 w 636345"/>
                <a:gd name="connsiteY649" fmla="*/ 558547 h 711688"/>
                <a:gd name="connsiteX650" fmla="*/ 239470 w 636345"/>
                <a:gd name="connsiteY650" fmla="*/ 559064 h 711688"/>
                <a:gd name="connsiteX651" fmla="*/ 238824 w 636345"/>
                <a:gd name="connsiteY651" fmla="*/ 560227 h 711688"/>
                <a:gd name="connsiteX652" fmla="*/ 238694 w 636345"/>
                <a:gd name="connsiteY652" fmla="*/ 562037 h 711688"/>
                <a:gd name="connsiteX653" fmla="*/ 239470 w 636345"/>
                <a:gd name="connsiteY653" fmla="*/ 564492 h 711688"/>
                <a:gd name="connsiteX654" fmla="*/ 240504 w 636345"/>
                <a:gd name="connsiteY654" fmla="*/ 566043 h 711688"/>
                <a:gd name="connsiteX655" fmla="*/ 242959 w 636345"/>
                <a:gd name="connsiteY655" fmla="*/ 568369 h 711688"/>
                <a:gd name="connsiteX656" fmla="*/ 244251 w 636345"/>
                <a:gd name="connsiteY656" fmla="*/ 570049 h 711688"/>
                <a:gd name="connsiteX657" fmla="*/ 245931 w 636345"/>
                <a:gd name="connsiteY657" fmla="*/ 572375 h 711688"/>
                <a:gd name="connsiteX658" fmla="*/ 246707 w 636345"/>
                <a:gd name="connsiteY658" fmla="*/ 574055 h 711688"/>
                <a:gd name="connsiteX659" fmla="*/ 248387 w 636345"/>
                <a:gd name="connsiteY659" fmla="*/ 581034 h 711688"/>
                <a:gd name="connsiteX660" fmla="*/ 249291 w 636345"/>
                <a:gd name="connsiteY660" fmla="*/ 583102 h 711688"/>
                <a:gd name="connsiteX661" fmla="*/ 250325 w 636345"/>
                <a:gd name="connsiteY661" fmla="*/ 584652 h 711688"/>
                <a:gd name="connsiteX662" fmla="*/ 251359 w 636345"/>
                <a:gd name="connsiteY662" fmla="*/ 585557 h 711688"/>
                <a:gd name="connsiteX663" fmla="*/ 252522 w 636345"/>
                <a:gd name="connsiteY663" fmla="*/ 586332 h 711688"/>
                <a:gd name="connsiteX664" fmla="*/ 255882 w 636345"/>
                <a:gd name="connsiteY664" fmla="*/ 587625 h 711688"/>
                <a:gd name="connsiteX665" fmla="*/ 256916 w 636345"/>
                <a:gd name="connsiteY665" fmla="*/ 588271 h 711688"/>
                <a:gd name="connsiteX666" fmla="*/ 257950 w 636345"/>
                <a:gd name="connsiteY666" fmla="*/ 589563 h 711688"/>
                <a:gd name="connsiteX667" fmla="*/ 260535 w 636345"/>
                <a:gd name="connsiteY667" fmla="*/ 593828 h 711688"/>
                <a:gd name="connsiteX668" fmla="*/ 261181 w 636345"/>
                <a:gd name="connsiteY668" fmla="*/ 595637 h 711688"/>
                <a:gd name="connsiteX669" fmla="*/ 261569 w 636345"/>
                <a:gd name="connsiteY669" fmla="*/ 597188 h 711688"/>
                <a:gd name="connsiteX670" fmla="*/ 261827 w 636345"/>
                <a:gd name="connsiteY670" fmla="*/ 599902 h 711688"/>
                <a:gd name="connsiteX671" fmla="*/ 261956 w 636345"/>
                <a:gd name="connsiteY671" fmla="*/ 602616 h 711688"/>
                <a:gd name="connsiteX672" fmla="*/ 261181 w 636345"/>
                <a:gd name="connsiteY672" fmla="*/ 607785 h 711688"/>
                <a:gd name="connsiteX673" fmla="*/ 261310 w 636345"/>
                <a:gd name="connsiteY673" fmla="*/ 609465 h 711688"/>
                <a:gd name="connsiteX674" fmla="*/ 261698 w 636345"/>
                <a:gd name="connsiteY674" fmla="*/ 610628 h 711688"/>
                <a:gd name="connsiteX675" fmla="*/ 262344 w 636345"/>
                <a:gd name="connsiteY675" fmla="*/ 611533 h 711688"/>
                <a:gd name="connsiteX676" fmla="*/ 263249 w 636345"/>
                <a:gd name="connsiteY676" fmla="*/ 612179 h 711688"/>
                <a:gd name="connsiteX677" fmla="*/ 265575 w 636345"/>
                <a:gd name="connsiteY677" fmla="*/ 613730 h 711688"/>
                <a:gd name="connsiteX678" fmla="*/ 266092 w 636345"/>
                <a:gd name="connsiteY678" fmla="*/ 614247 h 711688"/>
                <a:gd name="connsiteX679" fmla="*/ 266480 w 636345"/>
                <a:gd name="connsiteY679" fmla="*/ 614764 h 711688"/>
                <a:gd name="connsiteX680" fmla="*/ 267255 w 636345"/>
                <a:gd name="connsiteY680" fmla="*/ 616185 h 711688"/>
                <a:gd name="connsiteX681" fmla="*/ 268935 w 636345"/>
                <a:gd name="connsiteY681" fmla="*/ 625749 h 711688"/>
                <a:gd name="connsiteX682" fmla="*/ 268806 w 636345"/>
                <a:gd name="connsiteY682" fmla="*/ 626912 h 711688"/>
                <a:gd name="connsiteX683" fmla="*/ 268547 w 636345"/>
                <a:gd name="connsiteY683" fmla="*/ 628075 h 711688"/>
                <a:gd name="connsiteX684" fmla="*/ 268030 w 636345"/>
                <a:gd name="connsiteY684" fmla="*/ 629109 h 711688"/>
                <a:gd name="connsiteX685" fmla="*/ 265963 w 636345"/>
                <a:gd name="connsiteY685" fmla="*/ 631693 h 711688"/>
                <a:gd name="connsiteX686" fmla="*/ 265187 w 636345"/>
                <a:gd name="connsiteY686" fmla="*/ 632469 h 711688"/>
                <a:gd name="connsiteX687" fmla="*/ 263249 w 636345"/>
                <a:gd name="connsiteY687" fmla="*/ 633632 h 711688"/>
                <a:gd name="connsiteX688" fmla="*/ 262603 w 636345"/>
                <a:gd name="connsiteY688" fmla="*/ 634278 h 711688"/>
                <a:gd name="connsiteX689" fmla="*/ 261569 w 636345"/>
                <a:gd name="connsiteY689" fmla="*/ 636217 h 711688"/>
                <a:gd name="connsiteX690" fmla="*/ 260923 w 636345"/>
                <a:gd name="connsiteY690" fmla="*/ 636992 h 711688"/>
                <a:gd name="connsiteX691" fmla="*/ 260018 w 636345"/>
                <a:gd name="connsiteY691" fmla="*/ 637509 h 711688"/>
                <a:gd name="connsiteX692" fmla="*/ 258855 w 636345"/>
                <a:gd name="connsiteY692" fmla="*/ 637509 h 711688"/>
                <a:gd name="connsiteX693" fmla="*/ 257692 w 636345"/>
                <a:gd name="connsiteY693" fmla="*/ 637380 h 711688"/>
                <a:gd name="connsiteX694" fmla="*/ 255882 w 636345"/>
                <a:gd name="connsiteY694" fmla="*/ 636217 h 711688"/>
                <a:gd name="connsiteX695" fmla="*/ 254849 w 636345"/>
                <a:gd name="connsiteY695" fmla="*/ 635829 h 711688"/>
                <a:gd name="connsiteX696" fmla="*/ 250325 w 636345"/>
                <a:gd name="connsiteY696" fmla="*/ 634666 h 711688"/>
                <a:gd name="connsiteX697" fmla="*/ 249162 w 636345"/>
                <a:gd name="connsiteY697" fmla="*/ 634537 h 711688"/>
                <a:gd name="connsiteX698" fmla="*/ 248387 w 636345"/>
                <a:gd name="connsiteY698" fmla="*/ 634795 h 711688"/>
                <a:gd name="connsiteX699" fmla="*/ 247999 w 636345"/>
                <a:gd name="connsiteY699" fmla="*/ 635183 h 711688"/>
                <a:gd name="connsiteX700" fmla="*/ 247611 w 636345"/>
                <a:gd name="connsiteY700" fmla="*/ 635958 h 711688"/>
                <a:gd name="connsiteX701" fmla="*/ 247224 w 636345"/>
                <a:gd name="connsiteY701" fmla="*/ 639706 h 711688"/>
                <a:gd name="connsiteX702" fmla="*/ 247095 w 636345"/>
                <a:gd name="connsiteY702" fmla="*/ 641257 h 711688"/>
                <a:gd name="connsiteX703" fmla="*/ 247224 w 636345"/>
                <a:gd name="connsiteY703" fmla="*/ 643066 h 711688"/>
                <a:gd name="connsiteX704" fmla="*/ 247611 w 636345"/>
                <a:gd name="connsiteY704" fmla="*/ 644229 h 711688"/>
                <a:gd name="connsiteX705" fmla="*/ 247999 w 636345"/>
                <a:gd name="connsiteY705" fmla="*/ 645004 h 711688"/>
                <a:gd name="connsiteX706" fmla="*/ 248516 w 636345"/>
                <a:gd name="connsiteY706" fmla="*/ 645392 h 711688"/>
                <a:gd name="connsiteX707" fmla="*/ 249421 w 636345"/>
                <a:gd name="connsiteY707" fmla="*/ 645909 h 711688"/>
                <a:gd name="connsiteX708" fmla="*/ 254719 w 636345"/>
                <a:gd name="connsiteY708" fmla="*/ 647718 h 711688"/>
                <a:gd name="connsiteX709" fmla="*/ 255624 w 636345"/>
                <a:gd name="connsiteY709" fmla="*/ 648235 h 711688"/>
                <a:gd name="connsiteX710" fmla="*/ 256529 w 636345"/>
                <a:gd name="connsiteY710" fmla="*/ 648882 h 711688"/>
                <a:gd name="connsiteX711" fmla="*/ 257821 w 636345"/>
                <a:gd name="connsiteY711" fmla="*/ 650432 h 711688"/>
                <a:gd name="connsiteX712" fmla="*/ 260276 w 636345"/>
                <a:gd name="connsiteY712" fmla="*/ 653922 h 711688"/>
                <a:gd name="connsiteX713" fmla="*/ 267513 w 636345"/>
                <a:gd name="connsiteY713" fmla="*/ 661159 h 711688"/>
                <a:gd name="connsiteX714" fmla="*/ 269323 w 636345"/>
                <a:gd name="connsiteY714" fmla="*/ 662322 h 711688"/>
                <a:gd name="connsiteX715" fmla="*/ 271261 w 636345"/>
                <a:gd name="connsiteY715" fmla="*/ 663226 h 711688"/>
                <a:gd name="connsiteX716" fmla="*/ 272424 w 636345"/>
                <a:gd name="connsiteY716" fmla="*/ 663485 h 711688"/>
                <a:gd name="connsiteX717" fmla="*/ 273846 w 636345"/>
                <a:gd name="connsiteY717" fmla="*/ 664260 h 711688"/>
                <a:gd name="connsiteX718" fmla="*/ 275397 w 636345"/>
                <a:gd name="connsiteY718" fmla="*/ 665294 h 711688"/>
                <a:gd name="connsiteX719" fmla="*/ 279532 w 636345"/>
                <a:gd name="connsiteY719" fmla="*/ 672014 h 711688"/>
                <a:gd name="connsiteX720" fmla="*/ 280178 w 636345"/>
                <a:gd name="connsiteY720" fmla="*/ 672660 h 711688"/>
                <a:gd name="connsiteX721" fmla="*/ 281083 w 636345"/>
                <a:gd name="connsiteY721" fmla="*/ 673177 h 711688"/>
                <a:gd name="connsiteX722" fmla="*/ 282246 w 636345"/>
                <a:gd name="connsiteY722" fmla="*/ 673436 h 711688"/>
                <a:gd name="connsiteX723" fmla="*/ 284314 w 636345"/>
                <a:gd name="connsiteY723" fmla="*/ 673565 h 711688"/>
                <a:gd name="connsiteX724" fmla="*/ 285348 w 636345"/>
                <a:gd name="connsiteY724" fmla="*/ 673953 h 711688"/>
                <a:gd name="connsiteX725" fmla="*/ 286382 w 636345"/>
                <a:gd name="connsiteY725" fmla="*/ 674340 h 711688"/>
                <a:gd name="connsiteX726" fmla="*/ 292843 w 636345"/>
                <a:gd name="connsiteY726" fmla="*/ 679381 h 711688"/>
                <a:gd name="connsiteX727" fmla="*/ 297625 w 636345"/>
                <a:gd name="connsiteY727" fmla="*/ 681965 h 711688"/>
                <a:gd name="connsiteX728" fmla="*/ 298400 w 636345"/>
                <a:gd name="connsiteY728" fmla="*/ 682611 h 711688"/>
                <a:gd name="connsiteX729" fmla="*/ 299434 w 636345"/>
                <a:gd name="connsiteY729" fmla="*/ 683775 h 711688"/>
                <a:gd name="connsiteX730" fmla="*/ 300597 w 636345"/>
                <a:gd name="connsiteY730" fmla="*/ 685455 h 711688"/>
                <a:gd name="connsiteX731" fmla="*/ 302277 w 636345"/>
                <a:gd name="connsiteY731" fmla="*/ 688944 h 711688"/>
                <a:gd name="connsiteX732" fmla="*/ 303182 w 636345"/>
                <a:gd name="connsiteY732" fmla="*/ 690236 h 711688"/>
                <a:gd name="connsiteX733" fmla="*/ 304086 w 636345"/>
                <a:gd name="connsiteY733" fmla="*/ 690882 h 711688"/>
                <a:gd name="connsiteX734" fmla="*/ 304991 w 636345"/>
                <a:gd name="connsiteY734" fmla="*/ 691141 h 711688"/>
                <a:gd name="connsiteX735" fmla="*/ 305637 w 636345"/>
                <a:gd name="connsiteY735" fmla="*/ 691399 h 711688"/>
                <a:gd name="connsiteX736" fmla="*/ 306154 w 636345"/>
                <a:gd name="connsiteY736" fmla="*/ 691658 h 711688"/>
                <a:gd name="connsiteX737" fmla="*/ 306930 w 636345"/>
                <a:gd name="connsiteY737" fmla="*/ 692175 h 711688"/>
                <a:gd name="connsiteX738" fmla="*/ 307705 w 636345"/>
                <a:gd name="connsiteY738" fmla="*/ 692950 h 711688"/>
                <a:gd name="connsiteX739" fmla="*/ 308093 w 636345"/>
                <a:gd name="connsiteY739" fmla="*/ 693338 h 711688"/>
                <a:gd name="connsiteX740" fmla="*/ 314296 w 636345"/>
                <a:gd name="connsiteY740" fmla="*/ 706520 h 711688"/>
                <a:gd name="connsiteX741" fmla="*/ 314813 w 636345"/>
                <a:gd name="connsiteY741" fmla="*/ 707166 h 711688"/>
                <a:gd name="connsiteX742" fmla="*/ 315201 w 636345"/>
                <a:gd name="connsiteY742" fmla="*/ 707553 h 711688"/>
                <a:gd name="connsiteX743" fmla="*/ 315847 w 636345"/>
                <a:gd name="connsiteY743" fmla="*/ 708070 h 711688"/>
                <a:gd name="connsiteX744" fmla="*/ 316493 w 636345"/>
                <a:gd name="connsiteY744" fmla="*/ 708329 h 711688"/>
                <a:gd name="connsiteX745" fmla="*/ 317139 w 636345"/>
                <a:gd name="connsiteY745" fmla="*/ 708458 h 711688"/>
                <a:gd name="connsiteX746" fmla="*/ 317785 w 636345"/>
                <a:gd name="connsiteY746" fmla="*/ 708458 h 711688"/>
                <a:gd name="connsiteX747" fmla="*/ 318431 w 636345"/>
                <a:gd name="connsiteY747" fmla="*/ 708458 h 711688"/>
                <a:gd name="connsiteX748" fmla="*/ 319595 w 636345"/>
                <a:gd name="connsiteY748" fmla="*/ 708329 h 711688"/>
                <a:gd name="connsiteX749" fmla="*/ 320241 w 636345"/>
                <a:gd name="connsiteY749" fmla="*/ 708200 h 711688"/>
                <a:gd name="connsiteX750" fmla="*/ 324764 w 636345"/>
                <a:gd name="connsiteY750" fmla="*/ 706003 h 711688"/>
                <a:gd name="connsiteX751" fmla="*/ 326961 w 636345"/>
                <a:gd name="connsiteY751" fmla="*/ 705486 h 711688"/>
                <a:gd name="connsiteX752" fmla="*/ 327866 w 636345"/>
                <a:gd name="connsiteY752" fmla="*/ 705744 h 711688"/>
                <a:gd name="connsiteX753" fmla="*/ 328770 w 636345"/>
                <a:gd name="connsiteY753" fmla="*/ 706390 h 711688"/>
                <a:gd name="connsiteX754" fmla="*/ 330450 w 636345"/>
                <a:gd name="connsiteY754" fmla="*/ 708200 h 711688"/>
                <a:gd name="connsiteX755" fmla="*/ 331355 w 636345"/>
                <a:gd name="connsiteY755" fmla="*/ 708975 h 711688"/>
                <a:gd name="connsiteX756" fmla="*/ 332130 w 636345"/>
                <a:gd name="connsiteY756" fmla="*/ 709492 h 711688"/>
                <a:gd name="connsiteX757" fmla="*/ 332776 w 636345"/>
                <a:gd name="connsiteY757" fmla="*/ 709492 h 711688"/>
                <a:gd name="connsiteX758" fmla="*/ 335490 w 636345"/>
                <a:gd name="connsiteY758" fmla="*/ 709621 h 711688"/>
                <a:gd name="connsiteX759" fmla="*/ 339884 w 636345"/>
                <a:gd name="connsiteY759" fmla="*/ 710267 h 711688"/>
                <a:gd name="connsiteX760" fmla="*/ 342081 w 636345"/>
                <a:gd name="connsiteY760" fmla="*/ 711043 h 711688"/>
                <a:gd name="connsiteX761" fmla="*/ 342598 w 636345"/>
                <a:gd name="connsiteY761" fmla="*/ 711301 h 711688"/>
                <a:gd name="connsiteX762" fmla="*/ 344020 w 636345"/>
                <a:gd name="connsiteY762" fmla="*/ 711689 h 711688"/>
                <a:gd name="connsiteX763" fmla="*/ 344020 w 636345"/>
                <a:gd name="connsiteY763" fmla="*/ 709750 h 711688"/>
                <a:gd name="connsiteX764" fmla="*/ 341952 w 636345"/>
                <a:gd name="connsiteY764" fmla="*/ 698766 h 711688"/>
                <a:gd name="connsiteX765" fmla="*/ 341823 w 636345"/>
                <a:gd name="connsiteY765" fmla="*/ 697603 h 711688"/>
                <a:gd name="connsiteX766" fmla="*/ 342081 w 636345"/>
                <a:gd name="connsiteY766" fmla="*/ 696439 h 711688"/>
                <a:gd name="connsiteX767" fmla="*/ 344924 w 636345"/>
                <a:gd name="connsiteY767" fmla="*/ 689202 h 711688"/>
                <a:gd name="connsiteX768" fmla="*/ 346734 w 636345"/>
                <a:gd name="connsiteY768" fmla="*/ 682353 h 711688"/>
                <a:gd name="connsiteX769" fmla="*/ 346863 w 636345"/>
                <a:gd name="connsiteY769" fmla="*/ 681190 h 711688"/>
                <a:gd name="connsiteX770" fmla="*/ 346604 w 636345"/>
                <a:gd name="connsiteY770" fmla="*/ 677313 h 711688"/>
                <a:gd name="connsiteX771" fmla="*/ 346604 w 636345"/>
                <a:gd name="connsiteY771" fmla="*/ 676021 h 711688"/>
                <a:gd name="connsiteX772" fmla="*/ 346863 w 636345"/>
                <a:gd name="connsiteY772" fmla="*/ 674857 h 711688"/>
                <a:gd name="connsiteX773" fmla="*/ 347380 w 636345"/>
                <a:gd name="connsiteY773" fmla="*/ 673953 h 711688"/>
                <a:gd name="connsiteX774" fmla="*/ 347897 w 636345"/>
                <a:gd name="connsiteY774" fmla="*/ 673048 h 711688"/>
                <a:gd name="connsiteX775" fmla="*/ 348414 w 636345"/>
                <a:gd name="connsiteY775" fmla="*/ 672014 h 711688"/>
                <a:gd name="connsiteX776" fmla="*/ 348543 w 636345"/>
                <a:gd name="connsiteY776" fmla="*/ 670851 h 711688"/>
                <a:gd name="connsiteX777" fmla="*/ 348414 w 636345"/>
                <a:gd name="connsiteY777" fmla="*/ 669559 h 711688"/>
                <a:gd name="connsiteX778" fmla="*/ 346346 w 636345"/>
                <a:gd name="connsiteY778" fmla="*/ 661417 h 711688"/>
                <a:gd name="connsiteX779" fmla="*/ 346087 w 636345"/>
                <a:gd name="connsiteY779" fmla="*/ 658832 h 711688"/>
                <a:gd name="connsiteX780" fmla="*/ 346217 w 636345"/>
                <a:gd name="connsiteY780" fmla="*/ 657540 h 711688"/>
                <a:gd name="connsiteX781" fmla="*/ 346734 w 636345"/>
                <a:gd name="connsiteY781" fmla="*/ 655343 h 711688"/>
                <a:gd name="connsiteX782" fmla="*/ 349060 w 636345"/>
                <a:gd name="connsiteY782" fmla="*/ 650174 h 711688"/>
                <a:gd name="connsiteX783" fmla="*/ 349447 w 636345"/>
                <a:gd name="connsiteY783" fmla="*/ 649269 h 711688"/>
                <a:gd name="connsiteX784" fmla="*/ 350094 w 636345"/>
                <a:gd name="connsiteY784" fmla="*/ 642808 h 711688"/>
                <a:gd name="connsiteX785" fmla="*/ 350998 w 636345"/>
                <a:gd name="connsiteY785" fmla="*/ 639447 h 711688"/>
                <a:gd name="connsiteX786" fmla="*/ 351515 w 636345"/>
                <a:gd name="connsiteY786" fmla="*/ 638414 h 711688"/>
                <a:gd name="connsiteX787" fmla="*/ 352032 w 636345"/>
                <a:gd name="connsiteY787" fmla="*/ 637509 h 711688"/>
                <a:gd name="connsiteX788" fmla="*/ 352808 w 636345"/>
                <a:gd name="connsiteY788" fmla="*/ 636734 h 711688"/>
                <a:gd name="connsiteX789" fmla="*/ 355392 w 636345"/>
                <a:gd name="connsiteY789" fmla="*/ 634666 h 711688"/>
                <a:gd name="connsiteX790" fmla="*/ 355909 w 636345"/>
                <a:gd name="connsiteY790" fmla="*/ 633890 h 711688"/>
                <a:gd name="connsiteX791" fmla="*/ 356426 w 636345"/>
                <a:gd name="connsiteY791" fmla="*/ 633115 h 711688"/>
                <a:gd name="connsiteX792" fmla="*/ 357201 w 636345"/>
                <a:gd name="connsiteY792" fmla="*/ 631047 h 711688"/>
                <a:gd name="connsiteX793" fmla="*/ 357848 w 636345"/>
                <a:gd name="connsiteY793" fmla="*/ 630143 h 711688"/>
                <a:gd name="connsiteX794" fmla="*/ 358494 w 636345"/>
                <a:gd name="connsiteY794" fmla="*/ 629367 h 711688"/>
                <a:gd name="connsiteX795" fmla="*/ 359399 w 636345"/>
                <a:gd name="connsiteY795" fmla="*/ 628850 h 711688"/>
                <a:gd name="connsiteX796" fmla="*/ 367023 w 636345"/>
                <a:gd name="connsiteY796" fmla="*/ 624715 h 711688"/>
                <a:gd name="connsiteX797" fmla="*/ 368057 w 636345"/>
                <a:gd name="connsiteY797" fmla="*/ 624327 h 711688"/>
                <a:gd name="connsiteX798" fmla="*/ 371934 w 636345"/>
                <a:gd name="connsiteY798" fmla="*/ 623552 h 711688"/>
                <a:gd name="connsiteX799" fmla="*/ 380464 w 636345"/>
                <a:gd name="connsiteY799" fmla="*/ 620450 h 711688"/>
                <a:gd name="connsiteX800" fmla="*/ 381368 w 636345"/>
                <a:gd name="connsiteY800" fmla="*/ 619933 h 711688"/>
                <a:gd name="connsiteX801" fmla="*/ 382144 w 636345"/>
                <a:gd name="connsiteY801" fmla="*/ 619287 h 711688"/>
                <a:gd name="connsiteX802" fmla="*/ 382790 w 636345"/>
                <a:gd name="connsiteY802" fmla="*/ 618512 h 711688"/>
                <a:gd name="connsiteX803" fmla="*/ 383436 w 636345"/>
                <a:gd name="connsiteY803" fmla="*/ 617607 h 711688"/>
                <a:gd name="connsiteX804" fmla="*/ 383824 w 636345"/>
                <a:gd name="connsiteY804" fmla="*/ 616444 h 711688"/>
                <a:gd name="connsiteX805" fmla="*/ 384341 w 636345"/>
                <a:gd name="connsiteY805" fmla="*/ 614635 h 711688"/>
                <a:gd name="connsiteX806" fmla="*/ 384470 w 636345"/>
                <a:gd name="connsiteY806" fmla="*/ 614118 h 711688"/>
                <a:gd name="connsiteX807" fmla="*/ 384857 w 636345"/>
                <a:gd name="connsiteY807" fmla="*/ 613859 h 711688"/>
                <a:gd name="connsiteX808" fmla="*/ 385245 w 636345"/>
                <a:gd name="connsiteY808" fmla="*/ 613472 h 711688"/>
                <a:gd name="connsiteX809" fmla="*/ 386150 w 636345"/>
                <a:gd name="connsiteY809" fmla="*/ 613342 h 711688"/>
                <a:gd name="connsiteX810" fmla="*/ 386667 w 636345"/>
                <a:gd name="connsiteY810" fmla="*/ 613342 h 711688"/>
                <a:gd name="connsiteX811" fmla="*/ 388734 w 636345"/>
                <a:gd name="connsiteY811" fmla="*/ 613601 h 711688"/>
                <a:gd name="connsiteX812" fmla="*/ 389898 w 636345"/>
                <a:gd name="connsiteY812" fmla="*/ 613601 h 711688"/>
                <a:gd name="connsiteX813" fmla="*/ 393387 w 636345"/>
                <a:gd name="connsiteY813" fmla="*/ 612825 h 711688"/>
                <a:gd name="connsiteX814" fmla="*/ 394679 w 636345"/>
                <a:gd name="connsiteY814" fmla="*/ 612825 h 711688"/>
                <a:gd name="connsiteX815" fmla="*/ 395972 w 636345"/>
                <a:gd name="connsiteY815" fmla="*/ 612955 h 711688"/>
                <a:gd name="connsiteX816" fmla="*/ 397005 w 636345"/>
                <a:gd name="connsiteY816" fmla="*/ 613342 h 711688"/>
                <a:gd name="connsiteX817" fmla="*/ 397781 w 636345"/>
                <a:gd name="connsiteY817" fmla="*/ 613730 h 711688"/>
                <a:gd name="connsiteX818" fmla="*/ 398298 w 636345"/>
                <a:gd name="connsiteY818" fmla="*/ 613988 h 711688"/>
                <a:gd name="connsiteX819" fmla="*/ 400236 w 636345"/>
                <a:gd name="connsiteY819" fmla="*/ 615927 h 711688"/>
                <a:gd name="connsiteX820" fmla="*/ 401012 w 636345"/>
                <a:gd name="connsiteY820" fmla="*/ 616573 h 711688"/>
                <a:gd name="connsiteX821" fmla="*/ 402046 w 636345"/>
                <a:gd name="connsiteY821" fmla="*/ 617090 h 711688"/>
                <a:gd name="connsiteX822" fmla="*/ 407473 w 636345"/>
                <a:gd name="connsiteY822" fmla="*/ 618641 h 711688"/>
                <a:gd name="connsiteX823" fmla="*/ 408895 w 636345"/>
                <a:gd name="connsiteY823" fmla="*/ 618770 h 711688"/>
                <a:gd name="connsiteX824" fmla="*/ 413160 w 636345"/>
                <a:gd name="connsiteY824" fmla="*/ 618899 h 711688"/>
                <a:gd name="connsiteX825" fmla="*/ 414452 w 636345"/>
                <a:gd name="connsiteY825" fmla="*/ 619158 h 711688"/>
                <a:gd name="connsiteX826" fmla="*/ 415874 w 636345"/>
                <a:gd name="connsiteY826" fmla="*/ 619933 h 711688"/>
                <a:gd name="connsiteX827" fmla="*/ 416520 w 636345"/>
                <a:gd name="connsiteY827" fmla="*/ 620967 h 711688"/>
                <a:gd name="connsiteX828" fmla="*/ 417295 w 636345"/>
                <a:gd name="connsiteY828" fmla="*/ 623552 h 711688"/>
                <a:gd name="connsiteX829" fmla="*/ 418070 w 636345"/>
                <a:gd name="connsiteY829" fmla="*/ 624973 h 711688"/>
                <a:gd name="connsiteX830" fmla="*/ 418846 w 636345"/>
                <a:gd name="connsiteY830" fmla="*/ 625878 h 711688"/>
                <a:gd name="connsiteX831" fmla="*/ 419880 w 636345"/>
                <a:gd name="connsiteY831" fmla="*/ 626653 h 711688"/>
                <a:gd name="connsiteX832" fmla="*/ 421172 w 636345"/>
                <a:gd name="connsiteY832" fmla="*/ 627429 h 711688"/>
                <a:gd name="connsiteX833" fmla="*/ 422852 w 636345"/>
                <a:gd name="connsiteY833" fmla="*/ 628721 h 711688"/>
                <a:gd name="connsiteX834" fmla="*/ 425308 w 636345"/>
                <a:gd name="connsiteY834" fmla="*/ 631564 h 711688"/>
                <a:gd name="connsiteX835" fmla="*/ 428280 w 636345"/>
                <a:gd name="connsiteY835" fmla="*/ 633890 h 711688"/>
                <a:gd name="connsiteX836" fmla="*/ 429314 w 636345"/>
                <a:gd name="connsiteY836" fmla="*/ 635312 h 711688"/>
                <a:gd name="connsiteX837" fmla="*/ 432028 w 636345"/>
                <a:gd name="connsiteY837" fmla="*/ 640481 h 711688"/>
                <a:gd name="connsiteX838" fmla="*/ 432545 w 636345"/>
                <a:gd name="connsiteY838" fmla="*/ 642808 h 711688"/>
                <a:gd name="connsiteX839" fmla="*/ 433062 w 636345"/>
                <a:gd name="connsiteY839" fmla="*/ 643583 h 711688"/>
                <a:gd name="connsiteX840" fmla="*/ 433708 w 636345"/>
                <a:gd name="connsiteY840" fmla="*/ 644358 h 711688"/>
                <a:gd name="connsiteX841" fmla="*/ 434095 w 636345"/>
                <a:gd name="connsiteY841" fmla="*/ 645134 h 711688"/>
                <a:gd name="connsiteX842" fmla="*/ 433837 w 636345"/>
                <a:gd name="connsiteY842" fmla="*/ 647331 h 711688"/>
                <a:gd name="connsiteX843" fmla="*/ 433966 w 636345"/>
                <a:gd name="connsiteY843" fmla="*/ 648623 h 711688"/>
                <a:gd name="connsiteX844" fmla="*/ 434612 w 636345"/>
                <a:gd name="connsiteY844" fmla="*/ 650045 h 711688"/>
                <a:gd name="connsiteX845" fmla="*/ 435517 w 636345"/>
                <a:gd name="connsiteY845" fmla="*/ 650820 h 711688"/>
                <a:gd name="connsiteX846" fmla="*/ 436680 w 636345"/>
                <a:gd name="connsiteY846" fmla="*/ 651208 h 711688"/>
                <a:gd name="connsiteX847" fmla="*/ 443271 w 636345"/>
                <a:gd name="connsiteY847" fmla="*/ 651725 h 711688"/>
                <a:gd name="connsiteX848" fmla="*/ 445985 w 636345"/>
                <a:gd name="connsiteY848" fmla="*/ 652242 h 711688"/>
                <a:gd name="connsiteX849" fmla="*/ 447019 w 636345"/>
                <a:gd name="connsiteY849" fmla="*/ 652242 h 711688"/>
                <a:gd name="connsiteX850" fmla="*/ 447923 w 636345"/>
                <a:gd name="connsiteY850" fmla="*/ 651983 h 711688"/>
                <a:gd name="connsiteX851" fmla="*/ 448828 w 636345"/>
                <a:gd name="connsiteY851" fmla="*/ 651466 h 711688"/>
                <a:gd name="connsiteX852" fmla="*/ 449603 w 636345"/>
                <a:gd name="connsiteY852" fmla="*/ 650820 h 711688"/>
                <a:gd name="connsiteX853" fmla="*/ 450120 w 636345"/>
                <a:gd name="connsiteY853" fmla="*/ 650303 h 711688"/>
                <a:gd name="connsiteX854" fmla="*/ 450508 w 636345"/>
                <a:gd name="connsiteY854" fmla="*/ 649915 h 711688"/>
                <a:gd name="connsiteX855" fmla="*/ 451283 w 636345"/>
                <a:gd name="connsiteY855" fmla="*/ 649528 h 711688"/>
                <a:gd name="connsiteX856" fmla="*/ 453093 w 636345"/>
                <a:gd name="connsiteY856" fmla="*/ 649657 h 711688"/>
                <a:gd name="connsiteX857" fmla="*/ 455290 w 636345"/>
                <a:gd name="connsiteY857" fmla="*/ 649269 h 711688"/>
                <a:gd name="connsiteX858" fmla="*/ 458133 w 636345"/>
                <a:gd name="connsiteY858" fmla="*/ 649657 h 711688"/>
                <a:gd name="connsiteX859" fmla="*/ 459425 w 636345"/>
                <a:gd name="connsiteY859" fmla="*/ 649528 h 711688"/>
                <a:gd name="connsiteX860" fmla="*/ 460330 w 636345"/>
                <a:gd name="connsiteY860" fmla="*/ 649011 h 711688"/>
                <a:gd name="connsiteX861" fmla="*/ 461105 w 636345"/>
                <a:gd name="connsiteY861" fmla="*/ 648235 h 711688"/>
                <a:gd name="connsiteX862" fmla="*/ 461493 w 636345"/>
                <a:gd name="connsiteY862" fmla="*/ 647201 h 711688"/>
                <a:gd name="connsiteX863" fmla="*/ 461751 w 636345"/>
                <a:gd name="connsiteY863" fmla="*/ 644875 h 711688"/>
                <a:gd name="connsiteX864" fmla="*/ 462139 w 636345"/>
                <a:gd name="connsiteY864" fmla="*/ 644229 h 711688"/>
                <a:gd name="connsiteX865" fmla="*/ 462527 w 636345"/>
                <a:gd name="connsiteY865" fmla="*/ 643712 h 711688"/>
                <a:gd name="connsiteX866" fmla="*/ 463173 w 636345"/>
                <a:gd name="connsiteY866" fmla="*/ 643066 h 711688"/>
                <a:gd name="connsiteX867" fmla="*/ 463561 w 636345"/>
                <a:gd name="connsiteY867" fmla="*/ 642161 h 711688"/>
                <a:gd name="connsiteX868" fmla="*/ 463819 w 636345"/>
                <a:gd name="connsiteY868" fmla="*/ 641127 h 711688"/>
                <a:gd name="connsiteX869" fmla="*/ 464465 w 636345"/>
                <a:gd name="connsiteY869" fmla="*/ 640223 h 711688"/>
                <a:gd name="connsiteX870" fmla="*/ 465370 w 636345"/>
                <a:gd name="connsiteY870" fmla="*/ 639706 h 711688"/>
                <a:gd name="connsiteX871" fmla="*/ 472349 w 636345"/>
                <a:gd name="connsiteY871" fmla="*/ 637897 h 711688"/>
                <a:gd name="connsiteX872" fmla="*/ 475321 w 636345"/>
                <a:gd name="connsiteY872" fmla="*/ 636475 h 711688"/>
                <a:gd name="connsiteX873" fmla="*/ 479069 w 636345"/>
                <a:gd name="connsiteY873" fmla="*/ 635829 h 711688"/>
                <a:gd name="connsiteX874" fmla="*/ 480232 w 636345"/>
                <a:gd name="connsiteY874" fmla="*/ 635312 h 711688"/>
                <a:gd name="connsiteX875" fmla="*/ 481136 w 636345"/>
                <a:gd name="connsiteY875" fmla="*/ 634795 h 711688"/>
                <a:gd name="connsiteX876" fmla="*/ 481912 w 636345"/>
                <a:gd name="connsiteY876" fmla="*/ 634149 h 711688"/>
                <a:gd name="connsiteX877" fmla="*/ 482429 w 636345"/>
                <a:gd name="connsiteY877" fmla="*/ 633244 h 711688"/>
                <a:gd name="connsiteX878" fmla="*/ 482816 w 636345"/>
                <a:gd name="connsiteY878" fmla="*/ 632210 h 711688"/>
                <a:gd name="connsiteX879" fmla="*/ 482816 w 636345"/>
                <a:gd name="connsiteY879" fmla="*/ 631306 h 711688"/>
                <a:gd name="connsiteX880" fmla="*/ 482816 w 636345"/>
                <a:gd name="connsiteY880" fmla="*/ 630013 h 711688"/>
                <a:gd name="connsiteX881" fmla="*/ 482558 w 636345"/>
                <a:gd name="connsiteY881" fmla="*/ 628850 h 711688"/>
                <a:gd name="connsiteX882" fmla="*/ 482041 w 636345"/>
                <a:gd name="connsiteY882" fmla="*/ 627816 h 711688"/>
                <a:gd name="connsiteX883" fmla="*/ 481524 w 636345"/>
                <a:gd name="connsiteY883" fmla="*/ 626912 h 711688"/>
                <a:gd name="connsiteX884" fmla="*/ 475321 w 636345"/>
                <a:gd name="connsiteY884" fmla="*/ 620062 h 711688"/>
                <a:gd name="connsiteX885" fmla="*/ 474675 w 636345"/>
                <a:gd name="connsiteY885" fmla="*/ 619158 h 711688"/>
                <a:gd name="connsiteX886" fmla="*/ 474158 w 636345"/>
                <a:gd name="connsiteY886" fmla="*/ 618124 h 711688"/>
                <a:gd name="connsiteX887" fmla="*/ 473512 w 636345"/>
                <a:gd name="connsiteY887" fmla="*/ 616056 h 711688"/>
                <a:gd name="connsiteX888" fmla="*/ 473382 w 636345"/>
                <a:gd name="connsiteY888" fmla="*/ 615152 h 711688"/>
                <a:gd name="connsiteX889" fmla="*/ 473382 w 636345"/>
                <a:gd name="connsiteY889" fmla="*/ 614376 h 711688"/>
                <a:gd name="connsiteX890" fmla="*/ 474158 w 636345"/>
                <a:gd name="connsiteY890" fmla="*/ 610241 h 711688"/>
                <a:gd name="connsiteX891" fmla="*/ 474546 w 636345"/>
                <a:gd name="connsiteY891" fmla="*/ 609078 h 711688"/>
                <a:gd name="connsiteX892" fmla="*/ 474933 w 636345"/>
                <a:gd name="connsiteY892" fmla="*/ 608044 h 711688"/>
                <a:gd name="connsiteX893" fmla="*/ 476096 w 636345"/>
                <a:gd name="connsiteY893" fmla="*/ 606234 h 711688"/>
                <a:gd name="connsiteX894" fmla="*/ 476484 w 636345"/>
                <a:gd name="connsiteY894" fmla="*/ 605071 h 711688"/>
                <a:gd name="connsiteX895" fmla="*/ 477130 w 636345"/>
                <a:gd name="connsiteY895" fmla="*/ 602874 h 711688"/>
                <a:gd name="connsiteX896" fmla="*/ 477518 w 636345"/>
                <a:gd name="connsiteY896" fmla="*/ 601840 h 711688"/>
                <a:gd name="connsiteX897" fmla="*/ 479198 w 636345"/>
                <a:gd name="connsiteY897" fmla="*/ 598610 h 711688"/>
                <a:gd name="connsiteX898" fmla="*/ 479844 w 636345"/>
                <a:gd name="connsiteY898" fmla="*/ 596671 h 711688"/>
                <a:gd name="connsiteX899" fmla="*/ 481524 w 636345"/>
                <a:gd name="connsiteY899" fmla="*/ 593440 h 711688"/>
                <a:gd name="connsiteX900" fmla="*/ 481912 w 636345"/>
                <a:gd name="connsiteY900" fmla="*/ 592277 h 711688"/>
                <a:gd name="connsiteX901" fmla="*/ 482041 w 636345"/>
                <a:gd name="connsiteY901" fmla="*/ 591243 h 711688"/>
                <a:gd name="connsiteX902" fmla="*/ 482300 w 636345"/>
                <a:gd name="connsiteY902" fmla="*/ 585945 h 711688"/>
                <a:gd name="connsiteX903" fmla="*/ 482429 w 636345"/>
                <a:gd name="connsiteY903" fmla="*/ 584911 h 711688"/>
                <a:gd name="connsiteX904" fmla="*/ 482946 w 636345"/>
                <a:gd name="connsiteY904" fmla="*/ 583877 h 711688"/>
                <a:gd name="connsiteX905" fmla="*/ 484755 w 636345"/>
                <a:gd name="connsiteY905" fmla="*/ 581939 h 711688"/>
                <a:gd name="connsiteX906" fmla="*/ 488374 w 636345"/>
                <a:gd name="connsiteY906" fmla="*/ 576769 h 711688"/>
                <a:gd name="connsiteX907" fmla="*/ 488890 w 636345"/>
                <a:gd name="connsiteY907" fmla="*/ 575606 h 711688"/>
                <a:gd name="connsiteX908" fmla="*/ 489149 w 636345"/>
                <a:gd name="connsiteY908" fmla="*/ 574572 h 711688"/>
                <a:gd name="connsiteX909" fmla="*/ 489666 w 636345"/>
                <a:gd name="connsiteY909" fmla="*/ 571212 h 711688"/>
                <a:gd name="connsiteX910" fmla="*/ 490054 w 636345"/>
                <a:gd name="connsiteY910" fmla="*/ 570049 h 711688"/>
                <a:gd name="connsiteX911" fmla="*/ 491217 w 636345"/>
                <a:gd name="connsiteY911" fmla="*/ 567723 h 711688"/>
                <a:gd name="connsiteX912" fmla="*/ 491604 w 636345"/>
                <a:gd name="connsiteY912" fmla="*/ 566689 h 711688"/>
                <a:gd name="connsiteX913" fmla="*/ 492121 w 636345"/>
                <a:gd name="connsiteY913" fmla="*/ 565655 h 711688"/>
                <a:gd name="connsiteX914" fmla="*/ 492897 w 636345"/>
                <a:gd name="connsiteY914" fmla="*/ 564621 h 711688"/>
                <a:gd name="connsiteX915" fmla="*/ 497291 w 636345"/>
                <a:gd name="connsiteY915" fmla="*/ 560227 h 711688"/>
                <a:gd name="connsiteX916" fmla="*/ 500651 w 636345"/>
                <a:gd name="connsiteY916" fmla="*/ 553766 h 711688"/>
                <a:gd name="connsiteX917" fmla="*/ 501038 w 636345"/>
                <a:gd name="connsiteY917" fmla="*/ 552603 h 711688"/>
                <a:gd name="connsiteX918" fmla="*/ 501168 w 636345"/>
                <a:gd name="connsiteY918" fmla="*/ 551439 h 711688"/>
                <a:gd name="connsiteX919" fmla="*/ 500909 w 636345"/>
                <a:gd name="connsiteY919" fmla="*/ 550276 h 711688"/>
                <a:gd name="connsiteX920" fmla="*/ 500909 w 636345"/>
                <a:gd name="connsiteY920" fmla="*/ 549242 h 711688"/>
                <a:gd name="connsiteX921" fmla="*/ 501168 w 636345"/>
                <a:gd name="connsiteY921" fmla="*/ 548079 h 711688"/>
                <a:gd name="connsiteX922" fmla="*/ 501943 w 636345"/>
                <a:gd name="connsiteY922" fmla="*/ 547045 h 711688"/>
                <a:gd name="connsiteX923" fmla="*/ 502848 w 636345"/>
                <a:gd name="connsiteY923" fmla="*/ 546399 h 711688"/>
                <a:gd name="connsiteX924" fmla="*/ 504011 w 636345"/>
                <a:gd name="connsiteY924" fmla="*/ 545753 h 711688"/>
                <a:gd name="connsiteX925" fmla="*/ 505045 w 636345"/>
                <a:gd name="connsiteY925" fmla="*/ 545365 h 711688"/>
                <a:gd name="connsiteX926" fmla="*/ 507242 w 636345"/>
                <a:gd name="connsiteY926" fmla="*/ 544073 h 711688"/>
                <a:gd name="connsiteX927" fmla="*/ 508276 w 636345"/>
                <a:gd name="connsiteY927" fmla="*/ 543298 h 711688"/>
                <a:gd name="connsiteX928" fmla="*/ 508922 w 636345"/>
                <a:gd name="connsiteY928" fmla="*/ 542264 h 711688"/>
                <a:gd name="connsiteX929" fmla="*/ 509568 w 636345"/>
                <a:gd name="connsiteY929" fmla="*/ 541230 h 711688"/>
                <a:gd name="connsiteX930" fmla="*/ 509697 w 636345"/>
                <a:gd name="connsiteY930" fmla="*/ 540196 h 711688"/>
                <a:gd name="connsiteX931" fmla="*/ 509826 w 636345"/>
                <a:gd name="connsiteY931" fmla="*/ 539162 h 711688"/>
                <a:gd name="connsiteX932" fmla="*/ 510343 w 636345"/>
                <a:gd name="connsiteY932" fmla="*/ 538387 h 711688"/>
                <a:gd name="connsiteX933" fmla="*/ 512928 w 636345"/>
                <a:gd name="connsiteY933" fmla="*/ 537095 h 711688"/>
                <a:gd name="connsiteX934" fmla="*/ 540196 w 636345"/>
                <a:gd name="connsiteY934" fmla="*/ 536448 h 711688"/>
                <a:gd name="connsiteX935" fmla="*/ 636346 w 636345"/>
                <a:gd name="connsiteY935" fmla="*/ 536965 h 71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Lst>
              <a:rect l="l" t="t" r="r" b="b"/>
              <a:pathLst>
                <a:path w="636345" h="711688">
                  <a:moveTo>
                    <a:pt x="625490" y="421430"/>
                  </a:moveTo>
                  <a:lnTo>
                    <a:pt x="621355" y="419750"/>
                  </a:lnTo>
                  <a:lnTo>
                    <a:pt x="603521" y="416649"/>
                  </a:lnTo>
                  <a:lnTo>
                    <a:pt x="596671" y="414452"/>
                  </a:lnTo>
                  <a:lnTo>
                    <a:pt x="594733" y="413418"/>
                  </a:lnTo>
                  <a:lnTo>
                    <a:pt x="593440" y="411609"/>
                  </a:lnTo>
                  <a:lnTo>
                    <a:pt x="591114" y="406439"/>
                  </a:lnTo>
                  <a:lnTo>
                    <a:pt x="590210" y="405406"/>
                  </a:lnTo>
                  <a:lnTo>
                    <a:pt x="588271" y="404242"/>
                  </a:lnTo>
                  <a:lnTo>
                    <a:pt x="587754" y="402433"/>
                  </a:lnTo>
                  <a:lnTo>
                    <a:pt x="587496" y="400365"/>
                  </a:lnTo>
                  <a:lnTo>
                    <a:pt x="586333" y="398815"/>
                  </a:lnTo>
                  <a:lnTo>
                    <a:pt x="585299" y="398685"/>
                  </a:lnTo>
                  <a:lnTo>
                    <a:pt x="583102" y="399202"/>
                  </a:lnTo>
                  <a:lnTo>
                    <a:pt x="581809" y="398944"/>
                  </a:lnTo>
                  <a:lnTo>
                    <a:pt x="581422" y="398427"/>
                  </a:lnTo>
                  <a:lnTo>
                    <a:pt x="580646" y="396747"/>
                  </a:lnTo>
                  <a:lnTo>
                    <a:pt x="580259" y="396101"/>
                  </a:lnTo>
                  <a:lnTo>
                    <a:pt x="579742" y="395842"/>
                  </a:lnTo>
                  <a:lnTo>
                    <a:pt x="578449" y="395713"/>
                  </a:lnTo>
                  <a:lnTo>
                    <a:pt x="577932" y="395584"/>
                  </a:lnTo>
                  <a:lnTo>
                    <a:pt x="576898" y="394421"/>
                  </a:lnTo>
                  <a:lnTo>
                    <a:pt x="574831" y="390673"/>
                  </a:lnTo>
                  <a:lnTo>
                    <a:pt x="573926" y="389510"/>
                  </a:lnTo>
                  <a:lnTo>
                    <a:pt x="570566" y="386925"/>
                  </a:lnTo>
                  <a:lnTo>
                    <a:pt x="568757" y="384599"/>
                  </a:lnTo>
                  <a:lnTo>
                    <a:pt x="565784" y="379817"/>
                  </a:lnTo>
                  <a:lnTo>
                    <a:pt x="563458" y="378008"/>
                  </a:lnTo>
                  <a:lnTo>
                    <a:pt x="561261" y="377233"/>
                  </a:lnTo>
                  <a:lnTo>
                    <a:pt x="559323" y="377491"/>
                  </a:lnTo>
                  <a:lnTo>
                    <a:pt x="557513" y="378008"/>
                  </a:lnTo>
                  <a:lnTo>
                    <a:pt x="555317" y="378137"/>
                  </a:lnTo>
                  <a:lnTo>
                    <a:pt x="554024" y="377879"/>
                  </a:lnTo>
                  <a:lnTo>
                    <a:pt x="552990" y="377233"/>
                  </a:lnTo>
                  <a:lnTo>
                    <a:pt x="551956" y="376457"/>
                  </a:lnTo>
                  <a:lnTo>
                    <a:pt x="549630" y="374002"/>
                  </a:lnTo>
                  <a:lnTo>
                    <a:pt x="549501" y="373097"/>
                  </a:lnTo>
                  <a:lnTo>
                    <a:pt x="551181" y="370900"/>
                  </a:lnTo>
                  <a:lnTo>
                    <a:pt x="553507" y="366506"/>
                  </a:lnTo>
                  <a:lnTo>
                    <a:pt x="553378" y="365214"/>
                  </a:lnTo>
                  <a:lnTo>
                    <a:pt x="553120" y="365085"/>
                  </a:lnTo>
                  <a:lnTo>
                    <a:pt x="552344" y="365214"/>
                  </a:lnTo>
                  <a:lnTo>
                    <a:pt x="551052" y="364955"/>
                  </a:lnTo>
                  <a:lnTo>
                    <a:pt x="547046" y="363405"/>
                  </a:lnTo>
                  <a:lnTo>
                    <a:pt x="545753" y="363275"/>
                  </a:lnTo>
                  <a:lnTo>
                    <a:pt x="543556" y="364051"/>
                  </a:lnTo>
                  <a:lnTo>
                    <a:pt x="542264" y="364051"/>
                  </a:lnTo>
                  <a:lnTo>
                    <a:pt x="541359" y="362888"/>
                  </a:lnTo>
                  <a:lnTo>
                    <a:pt x="540842" y="360691"/>
                  </a:lnTo>
                  <a:lnTo>
                    <a:pt x="540584" y="358365"/>
                  </a:lnTo>
                  <a:lnTo>
                    <a:pt x="540713" y="356684"/>
                  </a:lnTo>
                  <a:lnTo>
                    <a:pt x="541101" y="355521"/>
                  </a:lnTo>
                  <a:lnTo>
                    <a:pt x="542393" y="353454"/>
                  </a:lnTo>
                  <a:lnTo>
                    <a:pt x="542910" y="352291"/>
                  </a:lnTo>
                  <a:lnTo>
                    <a:pt x="543039" y="351257"/>
                  </a:lnTo>
                  <a:lnTo>
                    <a:pt x="542781" y="348543"/>
                  </a:lnTo>
                  <a:lnTo>
                    <a:pt x="542910" y="347638"/>
                  </a:lnTo>
                  <a:lnTo>
                    <a:pt x="543556" y="345829"/>
                  </a:lnTo>
                  <a:lnTo>
                    <a:pt x="543685" y="344924"/>
                  </a:lnTo>
                  <a:lnTo>
                    <a:pt x="543298" y="343761"/>
                  </a:lnTo>
                  <a:lnTo>
                    <a:pt x="542135" y="341564"/>
                  </a:lnTo>
                  <a:lnTo>
                    <a:pt x="542005" y="340143"/>
                  </a:lnTo>
                  <a:lnTo>
                    <a:pt x="542264" y="339109"/>
                  </a:lnTo>
                  <a:lnTo>
                    <a:pt x="543427" y="337170"/>
                  </a:lnTo>
                  <a:lnTo>
                    <a:pt x="543815" y="336136"/>
                  </a:lnTo>
                  <a:lnTo>
                    <a:pt x="543815" y="335102"/>
                  </a:lnTo>
                  <a:lnTo>
                    <a:pt x="542781" y="331872"/>
                  </a:lnTo>
                  <a:lnTo>
                    <a:pt x="542781" y="327865"/>
                  </a:lnTo>
                  <a:lnTo>
                    <a:pt x="543298" y="323859"/>
                  </a:lnTo>
                  <a:lnTo>
                    <a:pt x="543169" y="320111"/>
                  </a:lnTo>
                  <a:lnTo>
                    <a:pt x="540842" y="317527"/>
                  </a:lnTo>
                  <a:lnTo>
                    <a:pt x="539938" y="317268"/>
                  </a:lnTo>
                  <a:lnTo>
                    <a:pt x="537741" y="317268"/>
                  </a:lnTo>
                  <a:lnTo>
                    <a:pt x="536836" y="317010"/>
                  </a:lnTo>
                  <a:lnTo>
                    <a:pt x="535415" y="316364"/>
                  </a:lnTo>
                  <a:lnTo>
                    <a:pt x="532184" y="313650"/>
                  </a:lnTo>
                  <a:lnTo>
                    <a:pt x="527919" y="311453"/>
                  </a:lnTo>
                  <a:lnTo>
                    <a:pt x="525851" y="309902"/>
                  </a:lnTo>
                  <a:lnTo>
                    <a:pt x="524817" y="307963"/>
                  </a:lnTo>
                  <a:lnTo>
                    <a:pt x="524947" y="306930"/>
                  </a:lnTo>
                  <a:lnTo>
                    <a:pt x="526110" y="305120"/>
                  </a:lnTo>
                  <a:lnTo>
                    <a:pt x="525981" y="303957"/>
                  </a:lnTo>
                  <a:lnTo>
                    <a:pt x="525722" y="302923"/>
                  </a:lnTo>
                  <a:lnTo>
                    <a:pt x="525722" y="300597"/>
                  </a:lnTo>
                  <a:lnTo>
                    <a:pt x="525464" y="299434"/>
                  </a:lnTo>
                  <a:lnTo>
                    <a:pt x="522362" y="292455"/>
                  </a:lnTo>
                  <a:lnTo>
                    <a:pt x="521974" y="290388"/>
                  </a:lnTo>
                  <a:lnTo>
                    <a:pt x="521974" y="289095"/>
                  </a:lnTo>
                  <a:lnTo>
                    <a:pt x="521845" y="288320"/>
                  </a:lnTo>
                  <a:lnTo>
                    <a:pt x="520940" y="286511"/>
                  </a:lnTo>
                  <a:lnTo>
                    <a:pt x="520553" y="286123"/>
                  </a:lnTo>
                  <a:lnTo>
                    <a:pt x="519131" y="285606"/>
                  </a:lnTo>
                  <a:lnTo>
                    <a:pt x="518614" y="285218"/>
                  </a:lnTo>
                  <a:lnTo>
                    <a:pt x="518743" y="284831"/>
                  </a:lnTo>
                  <a:lnTo>
                    <a:pt x="519260" y="283538"/>
                  </a:lnTo>
                  <a:lnTo>
                    <a:pt x="519260" y="282892"/>
                  </a:lnTo>
                  <a:lnTo>
                    <a:pt x="515900" y="276430"/>
                  </a:lnTo>
                  <a:lnTo>
                    <a:pt x="515513" y="274363"/>
                  </a:lnTo>
                  <a:lnTo>
                    <a:pt x="516159" y="256916"/>
                  </a:lnTo>
                  <a:lnTo>
                    <a:pt x="518356" y="248258"/>
                  </a:lnTo>
                  <a:lnTo>
                    <a:pt x="518614" y="246061"/>
                  </a:lnTo>
                  <a:lnTo>
                    <a:pt x="518226" y="239857"/>
                  </a:lnTo>
                  <a:lnTo>
                    <a:pt x="518743" y="237273"/>
                  </a:lnTo>
                  <a:lnTo>
                    <a:pt x="519907" y="234688"/>
                  </a:lnTo>
                  <a:lnTo>
                    <a:pt x="522750" y="230036"/>
                  </a:lnTo>
                  <a:lnTo>
                    <a:pt x="523267" y="229648"/>
                  </a:lnTo>
                  <a:lnTo>
                    <a:pt x="524042" y="229389"/>
                  </a:lnTo>
                  <a:lnTo>
                    <a:pt x="524559" y="229002"/>
                  </a:lnTo>
                  <a:lnTo>
                    <a:pt x="524947" y="228356"/>
                  </a:lnTo>
                  <a:lnTo>
                    <a:pt x="524817" y="227580"/>
                  </a:lnTo>
                  <a:lnTo>
                    <a:pt x="524042" y="226417"/>
                  </a:lnTo>
                  <a:lnTo>
                    <a:pt x="523913" y="225771"/>
                  </a:lnTo>
                  <a:lnTo>
                    <a:pt x="524300" y="225512"/>
                  </a:lnTo>
                  <a:lnTo>
                    <a:pt x="525593" y="225254"/>
                  </a:lnTo>
                  <a:lnTo>
                    <a:pt x="525851" y="224866"/>
                  </a:lnTo>
                  <a:lnTo>
                    <a:pt x="525593" y="224220"/>
                  </a:lnTo>
                  <a:lnTo>
                    <a:pt x="524688" y="223186"/>
                  </a:lnTo>
                  <a:lnTo>
                    <a:pt x="524430" y="222540"/>
                  </a:lnTo>
                  <a:lnTo>
                    <a:pt x="524430" y="221119"/>
                  </a:lnTo>
                  <a:lnTo>
                    <a:pt x="524947" y="220343"/>
                  </a:lnTo>
                  <a:lnTo>
                    <a:pt x="525722" y="219568"/>
                  </a:lnTo>
                  <a:lnTo>
                    <a:pt x="526497" y="218663"/>
                  </a:lnTo>
                  <a:lnTo>
                    <a:pt x="527919" y="213881"/>
                  </a:lnTo>
                  <a:lnTo>
                    <a:pt x="528436" y="212718"/>
                  </a:lnTo>
                  <a:lnTo>
                    <a:pt x="531150" y="208195"/>
                  </a:lnTo>
                  <a:lnTo>
                    <a:pt x="532313" y="204577"/>
                  </a:lnTo>
                  <a:lnTo>
                    <a:pt x="532571" y="204577"/>
                  </a:lnTo>
                  <a:lnTo>
                    <a:pt x="533347" y="204447"/>
                  </a:lnTo>
                  <a:lnTo>
                    <a:pt x="533993" y="204318"/>
                  </a:lnTo>
                  <a:lnTo>
                    <a:pt x="534639" y="203801"/>
                  </a:lnTo>
                  <a:lnTo>
                    <a:pt x="534639" y="203026"/>
                  </a:lnTo>
                  <a:lnTo>
                    <a:pt x="533993" y="201604"/>
                  </a:lnTo>
                  <a:lnTo>
                    <a:pt x="533864" y="200958"/>
                  </a:lnTo>
                  <a:lnTo>
                    <a:pt x="534381" y="195789"/>
                  </a:lnTo>
                  <a:lnTo>
                    <a:pt x="532442" y="196435"/>
                  </a:lnTo>
                  <a:lnTo>
                    <a:pt x="532830" y="194626"/>
                  </a:lnTo>
                  <a:lnTo>
                    <a:pt x="534639" y="190232"/>
                  </a:lnTo>
                  <a:lnTo>
                    <a:pt x="533735" y="187518"/>
                  </a:lnTo>
                  <a:lnTo>
                    <a:pt x="531796" y="185321"/>
                  </a:lnTo>
                  <a:lnTo>
                    <a:pt x="530116" y="182995"/>
                  </a:lnTo>
                  <a:lnTo>
                    <a:pt x="530245" y="179764"/>
                  </a:lnTo>
                  <a:lnTo>
                    <a:pt x="532830" y="176921"/>
                  </a:lnTo>
                  <a:lnTo>
                    <a:pt x="541618" y="173819"/>
                  </a:lnTo>
                  <a:lnTo>
                    <a:pt x="545753" y="170071"/>
                  </a:lnTo>
                  <a:lnTo>
                    <a:pt x="548209" y="169037"/>
                  </a:lnTo>
                  <a:lnTo>
                    <a:pt x="549113" y="168262"/>
                  </a:lnTo>
                  <a:lnTo>
                    <a:pt x="549759" y="167099"/>
                  </a:lnTo>
                  <a:lnTo>
                    <a:pt x="549759" y="166065"/>
                  </a:lnTo>
                  <a:lnTo>
                    <a:pt x="549630" y="165160"/>
                  </a:lnTo>
                  <a:lnTo>
                    <a:pt x="549759" y="163868"/>
                  </a:lnTo>
                  <a:lnTo>
                    <a:pt x="550664" y="161283"/>
                  </a:lnTo>
                  <a:lnTo>
                    <a:pt x="551956" y="159862"/>
                  </a:lnTo>
                  <a:lnTo>
                    <a:pt x="556350" y="157923"/>
                  </a:lnTo>
                  <a:lnTo>
                    <a:pt x="558418" y="156373"/>
                  </a:lnTo>
                  <a:lnTo>
                    <a:pt x="558806" y="154822"/>
                  </a:lnTo>
                  <a:lnTo>
                    <a:pt x="558289" y="153012"/>
                  </a:lnTo>
                  <a:lnTo>
                    <a:pt x="558030" y="150686"/>
                  </a:lnTo>
                  <a:lnTo>
                    <a:pt x="558677" y="148489"/>
                  </a:lnTo>
                  <a:lnTo>
                    <a:pt x="560227" y="146034"/>
                  </a:lnTo>
                  <a:lnTo>
                    <a:pt x="562295" y="143966"/>
                  </a:lnTo>
                  <a:lnTo>
                    <a:pt x="564234" y="143191"/>
                  </a:lnTo>
                  <a:lnTo>
                    <a:pt x="565267" y="143061"/>
                  </a:lnTo>
                  <a:lnTo>
                    <a:pt x="565914" y="142545"/>
                  </a:lnTo>
                  <a:lnTo>
                    <a:pt x="566043" y="141640"/>
                  </a:lnTo>
                  <a:lnTo>
                    <a:pt x="565914" y="140606"/>
                  </a:lnTo>
                  <a:lnTo>
                    <a:pt x="565138" y="139701"/>
                  </a:lnTo>
                  <a:lnTo>
                    <a:pt x="563846" y="139314"/>
                  </a:lnTo>
                  <a:lnTo>
                    <a:pt x="560357" y="138797"/>
                  </a:lnTo>
                  <a:lnTo>
                    <a:pt x="559452" y="138797"/>
                  </a:lnTo>
                  <a:lnTo>
                    <a:pt x="558677" y="138409"/>
                  </a:lnTo>
                  <a:lnTo>
                    <a:pt x="558806" y="135695"/>
                  </a:lnTo>
                  <a:lnTo>
                    <a:pt x="558289" y="135049"/>
                  </a:lnTo>
                  <a:lnTo>
                    <a:pt x="557643" y="134532"/>
                  </a:lnTo>
                  <a:lnTo>
                    <a:pt x="556221" y="131818"/>
                  </a:lnTo>
                  <a:lnTo>
                    <a:pt x="552603" y="128458"/>
                  </a:lnTo>
                  <a:lnTo>
                    <a:pt x="551569" y="126778"/>
                  </a:lnTo>
                  <a:lnTo>
                    <a:pt x="551827" y="124193"/>
                  </a:lnTo>
                  <a:lnTo>
                    <a:pt x="553120" y="122513"/>
                  </a:lnTo>
                  <a:lnTo>
                    <a:pt x="553378" y="120963"/>
                  </a:lnTo>
                  <a:lnTo>
                    <a:pt x="551052" y="119153"/>
                  </a:lnTo>
                  <a:lnTo>
                    <a:pt x="546529" y="117732"/>
                  </a:lnTo>
                  <a:lnTo>
                    <a:pt x="544719" y="116439"/>
                  </a:lnTo>
                  <a:lnTo>
                    <a:pt x="543556" y="113596"/>
                  </a:lnTo>
                  <a:lnTo>
                    <a:pt x="543298" y="112433"/>
                  </a:lnTo>
                  <a:lnTo>
                    <a:pt x="543298" y="111529"/>
                  </a:lnTo>
                  <a:lnTo>
                    <a:pt x="543556" y="109719"/>
                  </a:lnTo>
                  <a:lnTo>
                    <a:pt x="543815" y="109073"/>
                  </a:lnTo>
                  <a:lnTo>
                    <a:pt x="544719" y="107781"/>
                  </a:lnTo>
                  <a:lnTo>
                    <a:pt x="544978" y="107135"/>
                  </a:lnTo>
                  <a:lnTo>
                    <a:pt x="544719" y="106359"/>
                  </a:lnTo>
                  <a:lnTo>
                    <a:pt x="543685" y="105196"/>
                  </a:lnTo>
                  <a:lnTo>
                    <a:pt x="543556" y="104679"/>
                  </a:lnTo>
                  <a:lnTo>
                    <a:pt x="544590" y="102741"/>
                  </a:lnTo>
                  <a:lnTo>
                    <a:pt x="548338" y="98993"/>
                  </a:lnTo>
                  <a:lnTo>
                    <a:pt x="548984" y="96408"/>
                  </a:lnTo>
                  <a:lnTo>
                    <a:pt x="548984" y="95633"/>
                  </a:lnTo>
                  <a:lnTo>
                    <a:pt x="548984" y="94599"/>
                  </a:lnTo>
                  <a:lnTo>
                    <a:pt x="548596" y="94211"/>
                  </a:lnTo>
                  <a:lnTo>
                    <a:pt x="547433" y="94082"/>
                  </a:lnTo>
                  <a:lnTo>
                    <a:pt x="546141" y="93694"/>
                  </a:lnTo>
                  <a:lnTo>
                    <a:pt x="545236" y="92790"/>
                  </a:lnTo>
                  <a:lnTo>
                    <a:pt x="544461" y="91756"/>
                  </a:lnTo>
                  <a:lnTo>
                    <a:pt x="543556" y="90980"/>
                  </a:lnTo>
                  <a:lnTo>
                    <a:pt x="537353" y="87491"/>
                  </a:lnTo>
                  <a:lnTo>
                    <a:pt x="535931" y="85553"/>
                  </a:lnTo>
                  <a:lnTo>
                    <a:pt x="535027" y="86586"/>
                  </a:lnTo>
                  <a:lnTo>
                    <a:pt x="534122" y="86845"/>
                  </a:lnTo>
                  <a:lnTo>
                    <a:pt x="531796" y="86199"/>
                  </a:lnTo>
                  <a:lnTo>
                    <a:pt x="531279" y="86070"/>
                  </a:lnTo>
                  <a:lnTo>
                    <a:pt x="530116" y="86199"/>
                  </a:lnTo>
                  <a:lnTo>
                    <a:pt x="529728" y="85940"/>
                  </a:lnTo>
                  <a:lnTo>
                    <a:pt x="529211" y="85294"/>
                  </a:lnTo>
                  <a:lnTo>
                    <a:pt x="529599" y="84002"/>
                  </a:lnTo>
                  <a:lnTo>
                    <a:pt x="529082" y="83614"/>
                  </a:lnTo>
                  <a:lnTo>
                    <a:pt x="527661" y="83614"/>
                  </a:lnTo>
                  <a:lnTo>
                    <a:pt x="525593" y="84519"/>
                  </a:lnTo>
                  <a:lnTo>
                    <a:pt x="524688" y="84648"/>
                  </a:lnTo>
                  <a:lnTo>
                    <a:pt x="524042" y="84131"/>
                  </a:lnTo>
                  <a:lnTo>
                    <a:pt x="522491" y="82193"/>
                  </a:lnTo>
                  <a:lnTo>
                    <a:pt x="521587" y="81546"/>
                  </a:lnTo>
                  <a:lnTo>
                    <a:pt x="520553" y="81288"/>
                  </a:lnTo>
                  <a:lnTo>
                    <a:pt x="519260" y="81288"/>
                  </a:lnTo>
                  <a:lnTo>
                    <a:pt x="518226" y="81546"/>
                  </a:lnTo>
                  <a:lnTo>
                    <a:pt x="517710" y="82451"/>
                  </a:lnTo>
                  <a:lnTo>
                    <a:pt x="517193" y="83097"/>
                  </a:lnTo>
                  <a:lnTo>
                    <a:pt x="515771" y="82968"/>
                  </a:lnTo>
                  <a:lnTo>
                    <a:pt x="513316" y="82063"/>
                  </a:lnTo>
                  <a:lnTo>
                    <a:pt x="511248" y="82322"/>
                  </a:lnTo>
                  <a:lnTo>
                    <a:pt x="509568" y="82839"/>
                  </a:lnTo>
                  <a:lnTo>
                    <a:pt x="508405" y="82580"/>
                  </a:lnTo>
                  <a:lnTo>
                    <a:pt x="507888" y="80642"/>
                  </a:lnTo>
                  <a:lnTo>
                    <a:pt x="507242" y="79866"/>
                  </a:lnTo>
                  <a:lnTo>
                    <a:pt x="506079" y="79220"/>
                  </a:lnTo>
                  <a:lnTo>
                    <a:pt x="504915" y="79220"/>
                  </a:lnTo>
                  <a:lnTo>
                    <a:pt x="504398" y="79996"/>
                  </a:lnTo>
                  <a:lnTo>
                    <a:pt x="504140" y="81288"/>
                  </a:lnTo>
                  <a:lnTo>
                    <a:pt x="503494" y="81676"/>
                  </a:lnTo>
                  <a:lnTo>
                    <a:pt x="502589" y="81676"/>
                  </a:lnTo>
                  <a:lnTo>
                    <a:pt x="501297" y="81417"/>
                  </a:lnTo>
                  <a:lnTo>
                    <a:pt x="499617" y="80512"/>
                  </a:lnTo>
                  <a:lnTo>
                    <a:pt x="498325" y="78962"/>
                  </a:lnTo>
                  <a:lnTo>
                    <a:pt x="497808" y="77023"/>
                  </a:lnTo>
                  <a:lnTo>
                    <a:pt x="498195" y="74955"/>
                  </a:lnTo>
                  <a:lnTo>
                    <a:pt x="501038" y="71983"/>
                  </a:lnTo>
                  <a:lnTo>
                    <a:pt x="501943" y="71854"/>
                  </a:lnTo>
                  <a:lnTo>
                    <a:pt x="504140" y="71725"/>
                  </a:lnTo>
                  <a:lnTo>
                    <a:pt x="505174" y="71466"/>
                  </a:lnTo>
                  <a:lnTo>
                    <a:pt x="506079" y="70432"/>
                  </a:lnTo>
                  <a:lnTo>
                    <a:pt x="506466" y="69528"/>
                  </a:lnTo>
                  <a:lnTo>
                    <a:pt x="506596" y="68365"/>
                  </a:lnTo>
                  <a:lnTo>
                    <a:pt x="506854" y="67201"/>
                  </a:lnTo>
                  <a:lnTo>
                    <a:pt x="507371" y="65909"/>
                  </a:lnTo>
                  <a:lnTo>
                    <a:pt x="510472" y="61515"/>
                  </a:lnTo>
                  <a:lnTo>
                    <a:pt x="511377" y="59706"/>
                  </a:lnTo>
                  <a:lnTo>
                    <a:pt x="512023" y="57897"/>
                  </a:lnTo>
                  <a:lnTo>
                    <a:pt x="512282" y="55829"/>
                  </a:lnTo>
                  <a:lnTo>
                    <a:pt x="511765" y="51176"/>
                  </a:lnTo>
                  <a:lnTo>
                    <a:pt x="513316" y="46524"/>
                  </a:lnTo>
                  <a:lnTo>
                    <a:pt x="513574" y="40062"/>
                  </a:lnTo>
                  <a:lnTo>
                    <a:pt x="514350" y="36961"/>
                  </a:lnTo>
                  <a:lnTo>
                    <a:pt x="515125" y="35022"/>
                  </a:lnTo>
                  <a:lnTo>
                    <a:pt x="515513" y="33084"/>
                  </a:lnTo>
                  <a:lnTo>
                    <a:pt x="515642" y="28948"/>
                  </a:lnTo>
                  <a:lnTo>
                    <a:pt x="517451" y="22487"/>
                  </a:lnTo>
                  <a:lnTo>
                    <a:pt x="517322" y="19385"/>
                  </a:lnTo>
                  <a:lnTo>
                    <a:pt x="514350" y="17963"/>
                  </a:lnTo>
                  <a:lnTo>
                    <a:pt x="509568" y="15250"/>
                  </a:lnTo>
                  <a:lnTo>
                    <a:pt x="507371" y="13570"/>
                  </a:lnTo>
                  <a:lnTo>
                    <a:pt x="505949" y="12019"/>
                  </a:lnTo>
                  <a:lnTo>
                    <a:pt x="505691" y="11760"/>
                  </a:lnTo>
                  <a:lnTo>
                    <a:pt x="502331" y="3877"/>
                  </a:lnTo>
                  <a:lnTo>
                    <a:pt x="501426" y="2585"/>
                  </a:lnTo>
                  <a:lnTo>
                    <a:pt x="496644" y="4394"/>
                  </a:lnTo>
                  <a:lnTo>
                    <a:pt x="495094" y="2972"/>
                  </a:lnTo>
                  <a:lnTo>
                    <a:pt x="494060" y="517"/>
                  </a:lnTo>
                  <a:lnTo>
                    <a:pt x="492638" y="0"/>
                  </a:lnTo>
                  <a:lnTo>
                    <a:pt x="488244" y="1163"/>
                  </a:lnTo>
                  <a:lnTo>
                    <a:pt x="486177" y="2197"/>
                  </a:lnTo>
                  <a:lnTo>
                    <a:pt x="481912" y="6462"/>
                  </a:lnTo>
                  <a:lnTo>
                    <a:pt x="479844" y="7883"/>
                  </a:lnTo>
                  <a:lnTo>
                    <a:pt x="477518" y="8012"/>
                  </a:lnTo>
                  <a:lnTo>
                    <a:pt x="472736" y="6332"/>
                  </a:lnTo>
                  <a:lnTo>
                    <a:pt x="470539" y="6462"/>
                  </a:lnTo>
                  <a:lnTo>
                    <a:pt x="469764" y="7108"/>
                  </a:lnTo>
                  <a:lnTo>
                    <a:pt x="468472" y="9176"/>
                  </a:lnTo>
                  <a:lnTo>
                    <a:pt x="467438" y="9951"/>
                  </a:lnTo>
                  <a:lnTo>
                    <a:pt x="466662" y="9951"/>
                  </a:lnTo>
                  <a:lnTo>
                    <a:pt x="465887" y="9434"/>
                  </a:lnTo>
                  <a:lnTo>
                    <a:pt x="465241" y="8659"/>
                  </a:lnTo>
                  <a:lnTo>
                    <a:pt x="464336" y="8142"/>
                  </a:lnTo>
                  <a:lnTo>
                    <a:pt x="462268" y="7625"/>
                  </a:lnTo>
                  <a:lnTo>
                    <a:pt x="456194" y="8529"/>
                  </a:lnTo>
                  <a:lnTo>
                    <a:pt x="454644" y="8400"/>
                  </a:lnTo>
                  <a:lnTo>
                    <a:pt x="453481" y="7754"/>
                  </a:lnTo>
                  <a:lnTo>
                    <a:pt x="452317" y="7108"/>
                  </a:lnTo>
                  <a:lnTo>
                    <a:pt x="451025" y="6591"/>
                  </a:lnTo>
                  <a:lnTo>
                    <a:pt x="449862" y="6332"/>
                  </a:lnTo>
                  <a:lnTo>
                    <a:pt x="443529" y="5816"/>
                  </a:lnTo>
                  <a:lnTo>
                    <a:pt x="441074" y="5945"/>
                  </a:lnTo>
                  <a:lnTo>
                    <a:pt x="436292" y="6979"/>
                  </a:lnTo>
                  <a:lnTo>
                    <a:pt x="439394" y="7496"/>
                  </a:lnTo>
                  <a:lnTo>
                    <a:pt x="442237" y="8529"/>
                  </a:lnTo>
                  <a:lnTo>
                    <a:pt x="444434" y="10468"/>
                  </a:lnTo>
                  <a:lnTo>
                    <a:pt x="451413" y="28948"/>
                  </a:lnTo>
                  <a:lnTo>
                    <a:pt x="452188" y="33988"/>
                  </a:lnTo>
                  <a:lnTo>
                    <a:pt x="449991" y="39158"/>
                  </a:lnTo>
                  <a:lnTo>
                    <a:pt x="442754" y="48075"/>
                  </a:lnTo>
                  <a:lnTo>
                    <a:pt x="438619" y="51564"/>
                  </a:lnTo>
                  <a:lnTo>
                    <a:pt x="433708" y="54795"/>
                  </a:lnTo>
                  <a:lnTo>
                    <a:pt x="423498" y="59318"/>
                  </a:lnTo>
                  <a:lnTo>
                    <a:pt x="422464" y="59447"/>
                  </a:lnTo>
                  <a:lnTo>
                    <a:pt x="420397" y="59447"/>
                  </a:lnTo>
                  <a:lnTo>
                    <a:pt x="419621" y="59706"/>
                  </a:lnTo>
                  <a:lnTo>
                    <a:pt x="418846" y="60611"/>
                  </a:lnTo>
                  <a:lnTo>
                    <a:pt x="415874" y="67331"/>
                  </a:lnTo>
                  <a:lnTo>
                    <a:pt x="414840" y="71854"/>
                  </a:lnTo>
                  <a:lnTo>
                    <a:pt x="414064" y="74051"/>
                  </a:lnTo>
                  <a:lnTo>
                    <a:pt x="410833" y="78186"/>
                  </a:lnTo>
                  <a:lnTo>
                    <a:pt x="407215" y="79996"/>
                  </a:lnTo>
                  <a:lnTo>
                    <a:pt x="398298" y="81159"/>
                  </a:lnTo>
                  <a:lnTo>
                    <a:pt x="392224" y="82839"/>
                  </a:lnTo>
                  <a:lnTo>
                    <a:pt x="390414" y="82968"/>
                  </a:lnTo>
                  <a:lnTo>
                    <a:pt x="388605" y="82580"/>
                  </a:lnTo>
                  <a:lnTo>
                    <a:pt x="384857" y="80771"/>
                  </a:lnTo>
                  <a:lnTo>
                    <a:pt x="382919" y="80254"/>
                  </a:lnTo>
                  <a:lnTo>
                    <a:pt x="376587" y="79349"/>
                  </a:lnTo>
                  <a:lnTo>
                    <a:pt x="374648" y="79737"/>
                  </a:lnTo>
                  <a:lnTo>
                    <a:pt x="373873" y="81029"/>
                  </a:lnTo>
                  <a:lnTo>
                    <a:pt x="376845" y="85294"/>
                  </a:lnTo>
                  <a:lnTo>
                    <a:pt x="377103" y="87491"/>
                  </a:lnTo>
                  <a:lnTo>
                    <a:pt x="375423" y="89042"/>
                  </a:lnTo>
                  <a:lnTo>
                    <a:pt x="372839" y="90076"/>
                  </a:lnTo>
                  <a:lnTo>
                    <a:pt x="369866" y="90593"/>
                  </a:lnTo>
                  <a:lnTo>
                    <a:pt x="367669" y="90722"/>
                  </a:lnTo>
                  <a:lnTo>
                    <a:pt x="361466" y="90334"/>
                  </a:lnTo>
                  <a:lnTo>
                    <a:pt x="359399" y="90593"/>
                  </a:lnTo>
                  <a:lnTo>
                    <a:pt x="354746" y="92402"/>
                  </a:lnTo>
                  <a:lnTo>
                    <a:pt x="353195" y="95245"/>
                  </a:lnTo>
                  <a:lnTo>
                    <a:pt x="352549" y="103516"/>
                  </a:lnTo>
                  <a:lnTo>
                    <a:pt x="352032" y="104808"/>
                  </a:lnTo>
                  <a:lnTo>
                    <a:pt x="351386" y="106101"/>
                  </a:lnTo>
                  <a:lnTo>
                    <a:pt x="350481" y="107264"/>
                  </a:lnTo>
                  <a:lnTo>
                    <a:pt x="349318" y="108039"/>
                  </a:lnTo>
                  <a:lnTo>
                    <a:pt x="347767" y="108815"/>
                  </a:lnTo>
                  <a:lnTo>
                    <a:pt x="346734" y="108685"/>
                  </a:lnTo>
                  <a:lnTo>
                    <a:pt x="345829" y="108298"/>
                  </a:lnTo>
                  <a:lnTo>
                    <a:pt x="344278" y="108168"/>
                  </a:lnTo>
                  <a:lnTo>
                    <a:pt x="343115" y="108427"/>
                  </a:lnTo>
                  <a:lnTo>
                    <a:pt x="341177" y="109332"/>
                  </a:lnTo>
                  <a:lnTo>
                    <a:pt x="339884" y="109461"/>
                  </a:lnTo>
                  <a:lnTo>
                    <a:pt x="338980" y="109332"/>
                  </a:lnTo>
                  <a:lnTo>
                    <a:pt x="335620" y="108298"/>
                  </a:lnTo>
                  <a:lnTo>
                    <a:pt x="331484" y="108168"/>
                  </a:lnTo>
                  <a:lnTo>
                    <a:pt x="329546" y="108427"/>
                  </a:lnTo>
                  <a:lnTo>
                    <a:pt x="327478" y="108944"/>
                  </a:lnTo>
                  <a:lnTo>
                    <a:pt x="325022" y="110495"/>
                  </a:lnTo>
                  <a:lnTo>
                    <a:pt x="319465" y="116439"/>
                  </a:lnTo>
                  <a:lnTo>
                    <a:pt x="317785" y="117603"/>
                  </a:lnTo>
                  <a:lnTo>
                    <a:pt x="315718" y="118507"/>
                  </a:lnTo>
                  <a:lnTo>
                    <a:pt x="313391" y="119283"/>
                  </a:lnTo>
                  <a:lnTo>
                    <a:pt x="311194" y="119670"/>
                  </a:lnTo>
                  <a:lnTo>
                    <a:pt x="308739" y="119670"/>
                  </a:lnTo>
                  <a:lnTo>
                    <a:pt x="306671" y="119024"/>
                  </a:lnTo>
                  <a:lnTo>
                    <a:pt x="304733" y="118249"/>
                  </a:lnTo>
                  <a:lnTo>
                    <a:pt x="302406" y="117473"/>
                  </a:lnTo>
                  <a:lnTo>
                    <a:pt x="297625" y="118249"/>
                  </a:lnTo>
                  <a:lnTo>
                    <a:pt x="289483" y="124064"/>
                  </a:lnTo>
                  <a:lnTo>
                    <a:pt x="284960" y="125615"/>
                  </a:lnTo>
                  <a:lnTo>
                    <a:pt x="280825" y="125098"/>
                  </a:lnTo>
                  <a:lnTo>
                    <a:pt x="260276" y="116827"/>
                  </a:lnTo>
                  <a:lnTo>
                    <a:pt x="255624" y="115664"/>
                  </a:lnTo>
                  <a:lnTo>
                    <a:pt x="251876" y="116569"/>
                  </a:lnTo>
                  <a:lnTo>
                    <a:pt x="251488" y="117215"/>
                  </a:lnTo>
                  <a:lnTo>
                    <a:pt x="251101" y="119153"/>
                  </a:lnTo>
                  <a:lnTo>
                    <a:pt x="250584" y="119929"/>
                  </a:lnTo>
                  <a:lnTo>
                    <a:pt x="249679" y="120446"/>
                  </a:lnTo>
                  <a:lnTo>
                    <a:pt x="246319" y="121092"/>
                  </a:lnTo>
                  <a:lnTo>
                    <a:pt x="243993" y="121867"/>
                  </a:lnTo>
                  <a:lnTo>
                    <a:pt x="242959" y="123160"/>
                  </a:lnTo>
                  <a:lnTo>
                    <a:pt x="242701" y="124840"/>
                  </a:lnTo>
                  <a:lnTo>
                    <a:pt x="242701" y="127037"/>
                  </a:lnTo>
                  <a:lnTo>
                    <a:pt x="241408" y="131172"/>
                  </a:lnTo>
                  <a:lnTo>
                    <a:pt x="238436" y="131947"/>
                  </a:lnTo>
                  <a:lnTo>
                    <a:pt x="229648" y="130655"/>
                  </a:lnTo>
                  <a:lnTo>
                    <a:pt x="223574" y="131172"/>
                  </a:lnTo>
                  <a:lnTo>
                    <a:pt x="221765" y="131689"/>
                  </a:lnTo>
                  <a:lnTo>
                    <a:pt x="219439" y="133111"/>
                  </a:lnTo>
                  <a:lnTo>
                    <a:pt x="218922" y="134661"/>
                  </a:lnTo>
                  <a:lnTo>
                    <a:pt x="219309" y="136600"/>
                  </a:lnTo>
                  <a:lnTo>
                    <a:pt x="219439" y="139055"/>
                  </a:lnTo>
                  <a:lnTo>
                    <a:pt x="218663" y="141640"/>
                  </a:lnTo>
                  <a:lnTo>
                    <a:pt x="217629" y="143837"/>
                  </a:lnTo>
                  <a:lnTo>
                    <a:pt x="216983" y="146034"/>
                  </a:lnTo>
                  <a:lnTo>
                    <a:pt x="217371" y="148877"/>
                  </a:lnTo>
                  <a:lnTo>
                    <a:pt x="217888" y="150040"/>
                  </a:lnTo>
                  <a:lnTo>
                    <a:pt x="218534" y="150686"/>
                  </a:lnTo>
                  <a:lnTo>
                    <a:pt x="218922" y="151462"/>
                  </a:lnTo>
                  <a:lnTo>
                    <a:pt x="219309" y="154176"/>
                  </a:lnTo>
                  <a:lnTo>
                    <a:pt x="221119" y="158311"/>
                  </a:lnTo>
                  <a:lnTo>
                    <a:pt x="222152" y="162705"/>
                  </a:lnTo>
                  <a:lnTo>
                    <a:pt x="222152" y="167228"/>
                  </a:lnTo>
                  <a:lnTo>
                    <a:pt x="221119" y="171493"/>
                  </a:lnTo>
                  <a:lnTo>
                    <a:pt x="218922" y="175370"/>
                  </a:lnTo>
                  <a:lnTo>
                    <a:pt x="217242" y="177438"/>
                  </a:lnTo>
                  <a:lnTo>
                    <a:pt x="216208" y="178213"/>
                  </a:lnTo>
                  <a:lnTo>
                    <a:pt x="214915" y="178213"/>
                  </a:lnTo>
                  <a:lnTo>
                    <a:pt x="213365" y="177955"/>
                  </a:lnTo>
                  <a:lnTo>
                    <a:pt x="212460" y="178471"/>
                  </a:lnTo>
                  <a:lnTo>
                    <a:pt x="210263" y="180281"/>
                  </a:lnTo>
                  <a:lnTo>
                    <a:pt x="208066" y="181573"/>
                  </a:lnTo>
                  <a:lnTo>
                    <a:pt x="206257" y="182090"/>
                  </a:lnTo>
                  <a:lnTo>
                    <a:pt x="204189" y="182090"/>
                  </a:lnTo>
                  <a:lnTo>
                    <a:pt x="201734" y="181702"/>
                  </a:lnTo>
                  <a:lnTo>
                    <a:pt x="199666" y="181056"/>
                  </a:lnTo>
                  <a:lnTo>
                    <a:pt x="197081" y="179635"/>
                  </a:lnTo>
                  <a:lnTo>
                    <a:pt x="194626" y="177955"/>
                  </a:lnTo>
                  <a:lnTo>
                    <a:pt x="193204" y="176275"/>
                  </a:lnTo>
                  <a:lnTo>
                    <a:pt x="191653" y="173819"/>
                  </a:lnTo>
                  <a:lnTo>
                    <a:pt x="180410" y="160637"/>
                  </a:lnTo>
                  <a:lnTo>
                    <a:pt x="173690" y="155856"/>
                  </a:lnTo>
                  <a:lnTo>
                    <a:pt x="167487" y="147326"/>
                  </a:lnTo>
                  <a:lnTo>
                    <a:pt x="163739" y="143708"/>
                  </a:lnTo>
                  <a:lnTo>
                    <a:pt x="156760" y="139701"/>
                  </a:lnTo>
                  <a:lnTo>
                    <a:pt x="152496" y="138280"/>
                  </a:lnTo>
                  <a:lnTo>
                    <a:pt x="148877" y="138668"/>
                  </a:lnTo>
                  <a:lnTo>
                    <a:pt x="146422" y="141769"/>
                  </a:lnTo>
                  <a:lnTo>
                    <a:pt x="145646" y="145905"/>
                  </a:lnTo>
                  <a:lnTo>
                    <a:pt x="144225" y="149394"/>
                  </a:lnTo>
                  <a:lnTo>
                    <a:pt x="139702" y="150816"/>
                  </a:lnTo>
                  <a:lnTo>
                    <a:pt x="135049" y="148489"/>
                  </a:lnTo>
                  <a:lnTo>
                    <a:pt x="127683" y="142157"/>
                  </a:lnTo>
                  <a:lnTo>
                    <a:pt x="122513" y="140994"/>
                  </a:lnTo>
                  <a:lnTo>
                    <a:pt x="120446" y="141252"/>
                  </a:lnTo>
                  <a:lnTo>
                    <a:pt x="114501" y="142674"/>
                  </a:lnTo>
                  <a:lnTo>
                    <a:pt x="111787" y="142803"/>
                  </a:lnTo>
                  <a:lnTo>
                    <a:pt x="109719" y="142415"/>
                  </a:lnTo>
                  <a:lnTo>
                    <a:pt x="105455" y="140606"/>
                  </a:lnTo>
                  <a:lnTo>
                    <a:pt x="100673" y="140606"/>
                  </a:lnTo>
                  <a:lnTo>
                    <a:pt x="96279" y="142803"/>
                  </a:lnTo>
                  <a:lnTo>
                    <a:pt x="91885" y="145775"/>
                  </a:lnTo>
                  <a:lnTo>
                    <a:pt x="87750" y="147972"/>
                  </a:lnTo>
                  <a:lnTo>
                    <a:pt x="83356" y="147714"/>
                  </a:lnTo>
                  <a:lnTo>
                    <a:pt x="80513" y="144612"/>
                  </a:lnTo>
                  <a:lnTo>
                    <a:pt x="78832" y="140218"/>
                  </a:lnTo>
                  <a:lnTo>
                    <a:pt x="77023" y="132594"/>
                  </a:lnTo>
                  <a:lnTo>
                    <a:pt x="75731" y="129104"/>
                  </a:lnTo>
                  <a:lnTo>
                    <a:pt x="73922" y="125873"/>
                  </a:lnTo>
                  <a:lnTo>
                    <a:pt x="71595" y="123418"/>
                  </a:lnTo>
                  <a:lnTo>
                    <a:pt x="68881" y="122126"/>
                  </a:lnTo>
                  <a:lnTo>
                    <a:pt x="61515" y="120058"/>
                  </a:lnTo>
                  <a:lnTo>
                    <a:pt x="48204" y="119024"/>
                  </a:lnTo>
                  <a:lnTo>
                    <a:pt x="24167" y="122643"/>
                  </a:lnTo>
                  <a:lnTo>
                    <a:pt x="22228" y="121738"/>
                  </a:lnTo>
                  <a:lnTo>
                    <a:pt x="20807" y="119541"/>
                  </a:lnTo>
                  <a:lnTo>
                    <a:pt x="19127" y="114889"/>
                  </a:lnTo>
                  <a:lnTo>
                    <a:pt x="17963" y="113079"/>
                  </a:lnTo>
                  <a:lnTo>
                    <a:pt x="16542" y="111012"/>
                  </a:lnTo>
                  <a:lnTo>
                    <a:pt x="12406" y="107135"/>
                  </a:lnTo>
                  <a:lnTo>
                    <a:pt x="7496" y="104550"/>
                  </a:lnTo>
                  <a:lnTo>
                    <a:pt x="2585" y="104938"/>
                  </a:lnTo>
                  <a:lnTo>
                    <a:pt x="1163" y="106230"/>
                  </a:lnTo>
                  <a:lnTo>
                    <a:pt x="259" y="108298"/>
                  </a:lnTo>
                  <a:lnTo>
                    <a:pt x="0" y="110624"/>
                  </a:lnTo>
                  <a:lnTo>
                    <a:pt x="259" y="112821"/>
                  </a:lnTo>
                  <a:lnTo>
                    <a:pt x="1551" y="115147"/>
                  </a:lnTo>
                  <a:lnTo>
                    <a:pt x="3489" y="116439"/>
                  </a:lnTo>
                  <a:lnTo>
                    <a:pt x="5686" y="117215"/>
                  </a:lnTo>
                  <a:lnTo>
                    <a:pt x="7883" y="118507"/>
                  </a:lnTo>
                  <a:lnTo>
                    <a:pt x="9434" y="120187"/>
                  </a:lnTo>
                  <a:lnTo>
                    <a:pt x="10339" y="122126"/>
                  </a:lnTo>
                  <a:lnTo>
                    <a:pt x="11631" y="126390"/>
                  </a:lnTo>
                  <a:lnTo>
                    <a:pt x="16413" y="135566"/>
                  </a:lnTo>
                  <a:lnTo>
                    <a:pt x="16413" y="135566"/>
                  </a:lnTo>
                  <a:lnTo>
                    <a:pt x="16413" y="135566"/>
                  </a:lnTo>
                  <a:lnTo>
                    <a:pt x="16413" y="135566"/>
                  </a:lnTo>
                  <a:lnTo>
                    <a:pt x="18480" y="138151"/>
                  </a:lnTo>
                  <a:lnTo>
                    <a:pt x="23520" y="142028"/>
                  </a:lnTo>
                  <a:lnTo>
                    <a:pt x="25847" y="144354"/>
                  </a:lnTo>
                  <a:lnTo>
                    <a:pt x="30499" y="150816"/>
                  </a:lnTo>
                  <a:lnTo>
                    <a:pt x="40838" y="158828"/>
                  </a:lnTo>
                  <a:lnTo>
                    <a:pt x="45102" y="161283"/>
                  </a:lnTo>
                  <a:lnTo>
                    <a:pt x="50143" y="163093"/>
                  </a:lnTo>
                  <a:lnTo>
                    <a:pt x="52598" y="164643"/>
                  </a:lnTo>
                  <a:lnTo>
                    <a:pt x="58931" y="172268"/>
                  </a:lnTo>
                  <a:lnTo>
                    <a:pt x="63583" y="176145"/>
                  </a:lnTo>
                  <a:lnTo>
                    <a:pt x="65651" y="178471"/>
                  </a:lnTo>
                  <a:lnTo>
                    <a:pt x="66426" y="181056"/>
                  </a:lnTo>
                  <a:lnTo>
                    <a:pt x="66426" y="185062"/>
                  </a:lnTo>
                  <a:lnTo>
                    <a:pt x="66168" y="186872"/>
                  </a:lnTo>
                  <a:lnTo>
                    <a:pt x="65392" y="188810"/>
                  </a:lnTo>
                  <a:lnTo>
                    <a:pt x="62420" y="192687"/>
                  </a:lnTo>
                  <a:lnTo>
                    <a:pt x="61386" y="194626"/>
                  </a:lnTo>
                  <a:lnTo>
                    <a:pt x="60998" y="197210"/>
                  </a:lnTo>
                  <a:lnTo>
                    <a:pt x="63841" y="210651"/>
                  </a:lnTo>
                  <a:lnTo>
                    <a:pt x="64229" y="215045"/>
                  </a:lnTo>
                  <a:lnTo>
                    <a:pt x="63195" y="224091"/>
                  </a:lnTo>
                  <a:lnTo>
                    <a:pt x="63454" y="228614"/>
                  </a:lnTo>
                  <a:lnTo>
                    <a:pt x="65392" y="232233"/>
                  </a:lnTo>
                  <a:lnTo>
                    <a:pt x="68752" y="236239"/>
                  </a:lnTo>
                  <a:lnTo>
                    <a:pt x="72629" y="243088"/>
                  </a:lnTo>
                  <a:lnTo>
                    <a:pt x="75989" y="247353"/>
                  </a:lnTo>
                  <a:lnTo>
                    <a:pt x="84260" y="263249"/>
                  </a:lnTo>
                  <a:lnTo>
                    <a:pt x="86070" y="269064"/>
                  </a:lnTo>
                  <a:lnTo>
                    <a:pt x="87233" y="271003"/>
                  </a:lnTo>
                  <a:lnTo>
                    <a:pt x="87620" y="272166"/>
                  </a:lnTo>
                  <a:lnTo>
                    <a:pt x="87620" y="273070"/>
                  </a:lnTo>
                  <a:lnTo>
                    <a:pt x="86845" y="275914"/>
                  </a:lnTo>
                  <a:lnTo>
                    <a:pt x="86457" y="281988"/>
                  </a:lnTo>
                  <a:lnTo>
                    <a:pt x="86070" y="283926"/>
                  </a:lnTo>
                  <a:lnTo>
                    <a:pt x="81934" y="291292"/>
                  </a:lnTo>
                  <a:lnTo>
                    <a:pt x="81159" y="293877"/>
                  </a:lnTo>
                  <a:lnTo>
                    <a:pt x="81288" y="296203"/>
                  </a:lnTo>
                  <a:lnTo>
                    <a:pt x="82193" y="298012"/>
                  </a:lnTo>
                  <a:lnTo>
                    <a:pt x="83873" y="298917"/>
                  </a:lnTo>
                  <a:lnTo>
                    <a:pt x="86199" y="298400"/>
                  </a:lnTo>
                  <a:lnTo>
                    <a:pt x="92531" y="299046"/>
                  </a:lnTo>
                  <a:lnTo>
                    <a:pt x="105325" y="302665"/>
                  </a:lnTo>
                  <a:lnTo>
                    <a:pt x="112304" y="302536"/>
                  </a:lnTo>
                  <a:lnTo>
                    <a:pt x="119024" y="301631"/>
                  </a:lnTo>
                  <a:lnTo>
                    <a:pt x="132981" y="302019"/>
                  </a:lnTo>
                  <a:lnTo>
                    <a:pt x="139702" y="303053"/>
                  </a:lnTo>
                  <a:lnTo>
                    <a:pt x="153142" y="303440"/>
                  </a:lnTo>
                  <a:lnTo>
                    <a:pt x="155339" y="304216"/>
                  </a:lnTo>
                  <a:lnTo>
                    <a:pt x="155726" y="305637"/>
                  </a:lnTo>
                  <a:lnTo>
                    <a:pt x="154693" y="309385"/>
                  </a:lnTo>
                  <a:lnTo>
                    <a:pt x="154434" y="311065"/>
                  </a:lnTo>
                  <a:lnTo>
                    <a:pt x="154693" y="318302"/>
                  </a:lnTo>
                  <a:lnTo>
                    <a:pt x="154434" y="319853"/>
                  </a:lnTo>
                  <a:lnTo>
                    <a:pt x="153013" y="323084"/>
                  </a:lnTo>
                  <a:lnTo>
                    <a:pt x="153788" y="323859"/>
                  </a:lnTo>
                  <a:lnTo>
                    <a:pt x="158699" y="328899"/>
                  </a:lnTo>
                  <a:lnTo>
                    <a:pt x="161800" y="330709"/>
                  </a:lnTo>
                  <a:lnTo>
                    <a:pt x="163480" y="331226"/>
                  </a:lnTo>
                  <a:lnTo>
                    <a:pt x="166065" y="331613"/>
                  </a:lnTo>
                  <a:lnTo>
                    <a:pt x="167357" y="331484"/>
                  </a:lnTo>
                  <a:lnTo>
                    <a:pt x="168521" y="331355"/>
                  </a:lnTo>
                  <a:lnTo>
                    <a:pt x="169684" y="330967"/>
                  </a:lnTo>
                  <a:lnTo>
                    <a:pt x="173044" y="329675"/>
                  </a:lnTo>
                  <a:lnTo>
                    <a:pt x="174336" y="329287"/>
                  </a:lnTo>
                  <a:lnTo>
                    <a:pt x="176016" y="329158"/>
                  </a:lnTo>
                  <a:lnTo>
                    <a:pt x="178472" y="329287"/>
                  </a:lnTo>
                  <a:lnTo>
                    <a:pt x="179764" y="330062"/>
                  </a:lnTo>
                  <a:lnTo>
                    <a:pt x="180410" y="331096"/>
                  </a:lnTo>
                  <a:lnTo>
                    <a:pt x="180410" y="333293"/>
                  </a:lnTo>
                  <a:lnTo>
                    <a:pt x="180539" y="334586"/>
                  </a:lnTo>
                  <a:lnTo>
                    <a:pt x="181315" y="336007"/>
                  </a:lnTo>
                  <a:lnTo>
                    <a:pt x="183124" y="337816"/>
                  </a:lnTo>
                  <a:lnTo>
                    <a:pt x="186743" y="341952"/>
                  </a:lnTo>
                  <a:lnTo>
                    <a:pt x="189069" y="343761"/>
                  </a:lnTo>
                  <a:lnTo>
                    <a:pt x="191136" y="344795"/>
                  </a:lnTo>
                  <a:lnTo>
                    <a:pt x="193980" y="345958"/>
                  </a:lnTo>
                  <a:lnTo>
                    <a:pt x="195660" y="346217"/>
                  </a:lnTo>
                  <a:lnTo>
                    <a:pt x="197081" y="346087"/>
                  </a:lnTo>
                  <a:lnTo>
                    <a:pt x="199278" y="345570"/>
                  </a:lnTo>
                  <a:lnTo>
                    <a:pt x="200571" y="345441"/>
                  </a:lnTo>
                  <a:lnTo>
                    <a:pt x="201992" y="345570"/>
                  </a:lnTo>
                  <a:lnTo>
                    <a:pt x="204060" y="346087"/>
                  </a:lnTo>
                  <a:lnTo>
                    <a:pt x="205481" y="346217"/>
                  </a:lnTo>
                  <a:lnTo>
                    <a:pt x="209229" y="346087"/>
                  </a:lnTo>
                  <a:lnTo>
                    <a:pt x="210651" y="346217"/>
                  </a:lnTo>
                  <a:lnTo>
                    <a:pt x="213494" y="347380"/>
                  </a:lnTo>
                  <a:lnTo>
                    <a:pt x="219826" y="351127"/>
                  </a:lnTo>
                  <a:lnTo>
                    <a:pt x="223316" y="352291"/>
                  </a:lnTo>
                  <a:lnTo>
                    <a:pt x="224608" y="352937"/>
                  </a:lnTo>
                  <a:lnTo>
                    <a:pt x="225771" y="353841"/>
                  </a:lnTo>
                  <a:lnTo>
                    <a:pt x="226676" y="355004"/>
                  </a:lnTo>
                  <a:lnTo>
                    <a:pt x="227193" y="356297"/>
                  </a:lnTo>
                  <a:lnTo>
                    <a:pt x="227451" y="357589"/>
                  </a:lnTo>
                  <a:lnTo>
                    <a:pt x="227322" y="358752"/>
                  </a:lnTo>
                  <a:lnTo>
                    <a:pt x="226805" y="359915"/>
                  </a:lnTo>
                  <a:lnTo>
                    <a:pt x="224220" y="363534"/>
                  </a:lnTo>
                  <a:lnTo>
                    <a:pt x="223445" y="364697"/>
                  </a:lnTo>
                  <a:lnTo>
                    <a:pt x="223057" y="365989"/>
                  </a:lnTo>
                  <a:lnTo>
                    <a:pt x="222928" y="367152"/>
                  </a:lnTo>
                  <a:lnTo>
                    <a:pt x="223057" y="368186"/>
                  </a:lnTo>
                  <a:lnTo>
                    <a:pt x="224349" y="372709"/>
                  </a:lnTo>
                  <a:lnTo>
                    <a:pt x="225125" y="376199"/>
                  </a:lnTo>
                  <a:lnTo>
                    <a:pt x="224996" y="377233"/>
                  </a:lnTo>
                  <a:lnTo>
                    <a:pt x="224349" y="378137"/>
                  </a:lnTo>
                  <a:lnTo>
                    <a:pt x="221506" y="379947"/>
                  </a:lnTo>
                  <a:lnTo>
                    <a:pt x="220860" y="380851"/>
                  </a:lnTo>
                  <a:lnTo>
                    <a:pt x="219826" y="384599"/>
                  </a:lnTo>
                  <a:lnTo>
                    <a:pt x="219309" y="385762"/>
                  </a:lnTo>
                  <a:lnTo>
                    <a:pt x="217500" y="387571"/>
                  </a:lnTo>
                  <a:lnTo>
                    <a:pt x="216983" y="388864"/>
                  </a:lnTo>
                  <a:lnTo>
                    <a:pt x="217242" y="390414"/>
                  </a:lnTo>
                  <a:lnTo>
                    <a:pt x="220731" y="395713"/>
                  </a:lnTo>
                  <a:lnTo>
                    <a:pt x="222669" y="399461"/>
                  </a:lnTo>
                  <a:lnTo>
                    <a:pt x="224349" y="401787"/>
                  </a:lnTo>
                  <a:lnTo>
                    <a:pt x="225642" y="403209"/>
                  </a:lnTo>
                  <a:lnTo>
                    <a:pt x="226934" y="404372"/>
                  </a:lnTo>
                  <a:lnTo>
                    <a:pt x="227968" y="405018"/>
                  </a:lnTo>
                  <a:lnTo>
                    <a:pt x="229002" y="405535"/>
                  </a:lnTo>
                  <a:lnTo>
                    <a:pt x="230553" y="406569"/>
                  </a:lnTo>
                  <a:lnTo>
                    <a:pt x="232103" y="407732"/>
                  </a:lnTo>
                  <a:lnTo>
                    <a:pt x="234688" y="410316"/>
                  </a:lnTo>
                  <a:lnTo>
                    <a:pt x="235593" y="411996"/>
                  </a:lnTo>
                  <a:lnTo>
                    <a:pt x="235722" y="413418"/>
                  </a:lnTo>
                  <a:lnTo>
                    <a:pt x="235464" y="414710"/>
                  </a:lnTo>
                  <a:lnTo>
                    <a:pt x="235593" y="416132"/>
                  </a:lnTo>
                  <a:lnTo>
                    <a:pt x="241796" y="434742"/>
                  </a:lnTo>
                  <a:lnTo>
                    <a:pt x="241925" y="438231"/>
                  </a:lnTo>
                  <a:lnTo>
                    <a:pt x="242184" y="439265"/>
                  </a:lnTo>
                  <a:lnTo>
                    <a:pt x="242701" y="440428"/>
                  </a:lnTo>
                  <a:lnTo>
                    <a:pt x="245673" y="445985"/>
                  </a:lnTo>
                  <a:lnTo>
                    <a:pt x="246319" y="448311"/>
                  </a:lnTo>
                  <a:lnTo>
                    <a:pt x="246836" y="458650"/>
                  </a:lnTo>
                  <a:lnTo>
                    <a:pt x="247611" y="460976"/>
                  </a:lnTo>
                  <a:lnTo>
                    <a:pt x="252393" y="470281"/>
                  </a:lnTo>
                  <a:lnTo>
                    <a:pt x="253427" y="473253"/>
                  </a:lnTo>
                  <a:lnTo>
                    <a:pt x="253685" y="475321"/>
                  </a:lnTo>
                  <a:lnTo>
                    <a:pt x="251876" y="477518"/>
                  </a:lnTo>
                  <a:lnTo>
                    <a:pt x="249550" y="479456"/>
                  </a:lnTo>
                  <a:lnTo>
                    <a:pt x="247870" y="480619"/>
                  </a:lnTo>
                  <a:lnTo>
                    <a:pt x="246061" y="481524"/>
                  </a:lnTo>
                  <a:lnTo>
                    <a:pt x="245027" y="482170"/>
                  </a:lnTo>
                  <a:lnTo>
                    <a:pt x="243993" y="483075"/>
                  </a:lnTo>
                  <a:lnTo>
                    <a:pt x="243347" y="484109"/>
                  </a:lnTo>
                  <a:lnTo>
                    <a:pt x="243088" y="485272"/>
                  </a:lnTo>
                  <a:lnTo>
                    <a:pt x="243218" y="486435"/>
                  </a:lnTo>
                  <a:lnTo>
                    <a:pt x="243734" y="488890"/>
                  </a:lnTo>
                  <a:lnTo>
                    <a:pt x="249421" y="503494"/>
                  </a:lnTo>
                  <a:lnTo>
                    <a:pt x="249938" y="505691"/>
                  </a:lnTo>
                  <a:lnTo>
                    <a:pt x="249808" y="506595"/>
                  </a:lnTo>
                  <a:lnTo>
                    <a:pt x="249291" y="509051"/>
                  </a:lnTo>
                  <a:lnTo>
                    <a:pt x="248516" y="511248"/>
                  </a:lnTo>
                  <a:lnTo>
                    <a:pt x="247999" y="512152"/>
                  </a:lnTo>
                  <a:lnTo>
                    <a:pt x="247482" y="512799"/>
                  </a:lnTo>
                  <a:lnTo>
                    <a:pt x="245544" y="514349"/>
                  </a:lnTo>
                  <a:lnTo>
                    <a:pt x="244639" y="515383"/>
                  </a:lnTo>
                  <a:lnTo>
                    <a:pt x="244122" y="516417"/>
                  </a:lnTo>
                  <a:lnTo>
                    <a:pt x="243864" y="517451"/>
                  </a:lnTo>
                  <a:lnTo>
                    <a:pt x="243734" y="518614"/>
                  </a:lnTo>
                  <a:lnTo>
                    <a:pt x="244898" y="524171"/>
                  </a:lnTo>
                  <a:lnTo>
                    <a:pt x="244898" y="525463"/>
                  </a:lnTo>
                  <a:lnTo>
                    <a:pt x="244768" y="526627"/>
                  </a:lnTo>
                  <a:lnTo>
                    <a:pt x="244251" y="527660"/>
                  </a:lnTo>
                  <a:lnTo>
                    <a:pt x="241538" y="532313"/>
                  </a:lnTo>
                  <a:lnTo>
                    <a:pt x="240891" y="533476"/>
                  </a:lnTo>
                  <a:lnTo>
                    <a:pt x="240633" y="534639"/>
                  </a:lnTo>
                  <a:lnTo>
                    <a:pt x="240762" y="542264"/>
                  </a:lnTo>
                  <a:lnTo>
                    <a:pt x="241150" y="543556"/>
                  </a:lnTo>
                  <a:lnTo>
                    <a:pt x="242054" y="544848"/>
                  </a:lnTo>
                  <a:lnTo>
                    <a:pt x="244510" y="548079"/>
                  </a:lnTo>
                  <a:lnTo>
                    <a:pt x="245027" y="549501"/>
                  </a:lnTo>
                  <a:lnTo>
                    <a:pt x="245156" y="550793"/>
                  </a:lnTo>
                  <a:lnTo>
                    <a:pt x="243088" y="556350"/>
                  </a:lnTo>
                  <a:lnTo>
                    <a:pt x="242442" y="557384"/>
                  </a:lnTo>
                  <a:lnTo>
                    <a:pt x="241538" y="558160"/>
                  </a:lnTo>
                  <a:lnTo>
                    <a:pt x="240504" y="558547"/>
                  </a:lnTo>
                  <a:lnTo>
                    <a:pt x="239470" y="559064"/>
                  </a:lnTo>
                  <a:lnTo>
                    <a:pt x="238824" y="560227"/>
                  </a:lnTo>
                  <a:lnTo>
                    <a:pt x="238694" y="562037"/>
                  </a:lnTo>
                  <a:lnTo>
                    <a:pt x="239470" y="564492"/>
                  </a:lnTo>
                  <a:lnTo>
                    <a:pt x="240504" y="566043"/>
                  </a:lnTo>
                  <a:lnTo>
                    <a:pt x="242959" y="568369"/>
                  </a:lnTo>
                  <a:lnTo>
                    <a:pt x="244251" y="570049"/>
                  </a:lnTo>
                  <a:lnTo>
                    <a:pt x="245931" y="572375"/>
                  </a:lnTo>
                  <a:lnTo>
                    <a:pt x="246707" y="574055"/>
                  </a:lnTo>
                  <a:lnTo>
                    <a:pt x="248387" y="581034"/>
                  </a:lnTo>
                  <a:lnTo>
                    <a:pt x="249291" y="583102"/>
                  </a:lnTo>
                  <a:lnTo>
                    <a:pt x="250325" y="584652"/>
                  </a:lnTo>
                  <a:lnTo>
                    <a:pt x="251359" y="585557"/>
                  </a:lnTo>
                  <a:lnTo>
                    <a:pt x="252522" y="586332"/>
                  </a:lnTo>
                  <a:lnTo>
                    <a:pt x="255882" y="587625"/>
                  </a:lnTo>
                  <a:lnTo>
                    <a:pt x="256916" y="588271"/>
                  </a:lnTo>
                  <a:lnTo>
                    <a:pt x="257950" y="589563"/>
                  </a:lnTo>
                  <a:lnTo>
                    <a:pt x="260535" y="593828"/>
                  </a:lnTo>
                  <a:lnTo>
                    <a:pt x="261181" y="595637"/>
                  </a:lnTo>
                  <a:lnTo>
                    <a:pt x="261569" y="597188"/>
                  </a:lnTo>
                  <a:lnTo>
                    <a:pt x="261827" y="599902"/>
                  </a:lnTo>
                  <a:lnTo>
                    <a:pt x="261956" y="602616"/>
                  </a:lnTo>
                  <a:lnTo>
                    <a:pt x="261181" y="607785"/>
                  </a:lnTo>
                  <a:lnTo>
                    <a:pt x="261310" y="609465"/>
                  </a:lnTo>
                  <a:lnTo>
                    <a:pt x="261698" y="610628"/>
                  </a:lnTo>
                  <a:lnTo>
                    <a:pt x="262344" y="611533"/>
                  </a:lnTo>
                  <a:lnTo>
                    <a:pt x="263249" y="612179"/>
                  </a:lnTo>
                  <a:lnTo>
                    <a:pt x="265575" y="613730"/>
                  </a:lnTo>
                  <a:lnTo>
                    <a:pt x="266092" y="614247"/>
                  </a:lnTo>
                  <a:lnTo>
                    <a:pt x="266480" y="614764"/>
                  </a:lnTo>
                  <a:lnTo>
                    <a:pt x="267255" y="616185"/>
                  </a:lnTo>
                  <a:lnTo>
                    <a:pt x="268935" y="625749"/>
                  </a:lnTo>
                  <a:lnTo>
                    <a:pt x="268806" y="626912"/>
                  </a:lnTo>
                  <a:lnTo>
                    <a:pt x="268547" y="628075"/>
                  </a:lnTo>
                  <a:lnTo>
                    <a:pt x="268030" y="629109"/>
                  </a:lnTo>
                  <a:lnTo>
                    <a:pt x="265963" y="631693"/>
                  </a:lnTo>
                  <a:lnTo>
                    <a:pt x="265187" y="632469"/>
                  </a:lnTo>
                  <a:lnTo>
                    <a:pt x="263249" y="633632"/>
                  </a:lnTo>
                  <a:lnTo>
                    <a:pt x="262603" y="634278"/>
                  </a:lnTo>
                  <a:lnTo>
                    <a:pt x="261569" y="636217"/>
                  </a:lnTo>
                  <a:lnTo>
                    <a:pt x="260923" y="636992"/>
                  </a:lnTo>
                  <a:lnTo>
                    <a:pt x="260018" y="637509"/>
                  </a:lnTo>
                  <a:lnTo>
                    <a:pt x="258855" y="637509"/>
                  </a:lnTo>
                  <a:lnTo>
                    <a:pt x="257692" y="637380"/>
                  </a:lnTo>
                  <a:lnTo>
                    <a:pt x="255882" y="636217"/>
                  </a:lnTo>
                  <a:lnTo>
                    <a:pt x="254849" y="635829"/>
                  </a:lnTo>
                  <a:lnTo>
                    <a:pt x="250325" y="634666"/>
                  </a:lnTo>
                  <a:lnTo>
                    <a:pt x="249162" y="634537"/>
                  </a:lnTo>
                  <a:lnTo>
                    <a:pt x="248387" y="634795"/>
                  </a:lnTo>
                  <a:lnTo>
                    <a:pt x="247999" y="635183"/>
                  </a:lnTo>
                  <a:lnTo>
                    <a:pt x="247611" y="635958"/>
                  </a:lnTo>
                  <a:lnTo>
                    <a:pt x="247224" y="639706"/>
                  </a:lnTo>
                  <a:lnTo>
                    <a:pt x="247095" y="641257"/>
                  </a:lnTo>
                  <a:lnTo>
                    <a:pt x="247224" y="643066"/>
                  </a:lnTo>
                  <a:lnTo>
                    <a:pt x="247611" y="644229"/>
                  </a:lnTo>
                  <a:lnTo>
                    <a:pt x="247999" y="645004"/>
                  </a:lnTo>
                  <a:lnTo>
                    <a:pt x="248516" y="645392"/>
                  </a:lnTo>
                  <a:lnTo>
                    <a:pt x="249421" y="645909"/>
                  </a:lnTo>
                  <a:lnTo>
                    <a:pt x="254719" y="647718"/>
                  </a:lnTo>
                  <a:lnTo>
                    <a:pt x="255624" y="648235"/>
                  </a:lnTo>
                  <a:lnTo>
                    <a:pt x="256529" y="648882"/>
                  </a:lnTo>
                  <a:lnTo>
                    <a:pt x="257821" y="650432"/>
                  </a:lnTo>
                  <a:lnTo>
                    <a:pt x="260276" y="653922"/>
                  </a:lnTo>
                  <a:lnTo>
                    <a:pt x="267513" y="661159"/>
                  </a:lnTo>
                  <a:lnTo>
                    <a:pt x="269323" y="662322"/>
                  </a:lnTo>
                  <a:lnTo>
                    <a:pt x="271261" y="663226"/>
                  </a:lnTo>
                  <a:lnTo>
                    <a:pt x="272424" y="663485"/>
                  </a:lnTo>
                  <a:lnTo>
                    <a:pt x="273846" y="664260"/>
                  </a:lnTo>
                  <a:lnTo>
                    <a:pt x="275397" y="665294"/>
                  </a:lnTo>
                  <a:lnTo>
                    <a:pt x="279532" y="672014"/>
                  </a:lnTo>
                  <a:lnTo>
                    <a:pt x="280178" y="672660"/>
                  </a:lnTo>
                  <a:lnTo>
                    <a:pt x="281083" y="673177"/>
                  </a:lnTo>
                  <a:lnTo>
                    <a:pt x="282246" y="673436"/>
                  </a:lnTo>
                  <a:lnTo>
                    <a:pt x="284314" y="673565"/>
                  </a:lnTo>
                  <a:lnTo>
                    <a:pt x="285348" y="673953"/>
                  </a:lnTo>
                  <a:lnTo>
                    <a:pt x="286382" y="674340"/>
                  </a:lnTo>
                  <a:lnTo>
                    <a:pt x="292843" y="679381"/>
                  </a:lnTo>
                  <a:lnTo>
                    <a:pt x="297625" y="681965"/>
                  </a:lnTo>
                  <a:lnTo>
                    <a:pt x="298400" y="682611"/>
                  </a:lnTo>
                  <a:lnTo>
                    <a:pt x="299434" y="683775"/>
                  </a:lnTo>
                  <a:lnTo>
                    <a:pt x="300597" y="685455"/>
                  </a:lnTo>
                  <a:lnTo>
                    <a:pt x="302277" y="688944"/>
                  </a:lnTo>
                  <a:lnTo>
                    <a:pt x="303182" y="690236"/>
                  </a:lnTo>
                  <a:lnTo>
                    <a:pt x="304086" y="690882"/>
                  </a:lnTo>
                  <a:lnTo>
                    <a:pt x="304991" y="691141"/>
                  </a:lnTo>
                  <a:lnTo>
                    <a:pt x="305637" y="691399"/>
                  </a:lnTo>
                  <a:lnTo>
                    <a:pt x="306154" y="691658"/>
                  </a:lnTo>
                  <a:lnTo>
                    <a:pt x="306930" y="692175"/>
                  </a:lnTo>
                  <a:lnTo>
                    <a:pt x="307705" y="692950"/>
                  </a:lnTo>
                  <a:lnTo>
                    <a:pt x="308093" y="693338"/>
                  </a:lnTo>
                  <a:lnTo>
                    <a:pt x="314296" y="706520"/>
                  </a:lnTo>
                  <a:lnTo>
                    <a:pt x="314813" y="707166"/>
                  </a:lnTo>
                  <a:lnTo>
                    <a:pt x="315201" y="707553"/>
                  </a:lnTo>
                  <a:lnTo>
                    <a:pt x="315847" y="708070"/>
                  </a:lnTo>
                  <a:lnTo>
                    <a:pt x="316493" y="708329"/>
                  </a:lnTo>
                  <a:lnTo>
                    <a:pt x="317139" y="708458"/>
                  </a:lnTo>
                  <a:lnTo>
                    <a:pt x="317785" y="708458"/>
                  </a:lnTo>
                  <a:lnTo>
                    <a:pt x="318431" y="708458"/>
                  </a:lnTo>
                  <a:lnTo>
                    <a:pt x="319595" y="708329"/>
                  </a:lnTo>
                  <a:lnTo>
                    <a:pt x="320241" y="708200"/>
                  </a:lnTo>
                  <a:lnTo>
                    <a:pt x="324764" y="706003"/>
                  </a:lnTo>
                  <a:lnTo>
                    <a:pt x="326961" y="705486"/>
                  </a:lnTo>
                  <a:lnTo>
                    <a:pt x="327866" y="705744"/>
                  </a:lnTo>
                  <a:lnTo>
                    <a:pt x="328770" y="706390"/>
                  </a:lnTo>
                  <a:lnTo>
                    <a:pt x="330450" y="708200"/>
                  </a:lnTo>
                  <a:lnTo>
                    <a:pt x="331355" y="708975"/>
                  </a:lnTo>
                  <a:lnTo>
                    <a:pt x="332130" y="709492"/>
                  </a:lnTo>
                  <a:lnTo>
                    <a:pt x="332776" y="709492"/>
                  </a:lnTo>
                  <a:lnTo>
                    <a:pt x="335490" y="709621"/>
                  </a:lnTo>
                  <a:lnTo>
                    <a:pt x="339884" y="710267"/>
                  </a:lnTo>
                  <a:lnTo>
                    <a:pt x="342081" y="711043"/>
                  </a:lnTo>
                  <a:lnTo>
                    <a:pt x="342598" y="711301"/>
                  </a:lnTo>
                  <a:lnTo>
                    <a:pt x="344020" y="711689"/>
                  </a:lnTo>
                  <a:lnTo>
                    <a:pt x="344020" y="709750"/>
                  </a:lnTo>
                  <a:lnTo>
                    <a:pt x="341952" y="698766"/>
                  </a:lnTo>
                  <a:lnTo>
                    <a:pt x="341823" y="697603"/>
                  </a:lnTo>
                  <a:lnTo>
                    <a:pt x="342081" y="696439"/>
                  </a:lnTo>
                  <a:lnTo>
                    <a:pt x="344924" y="689202"/>
                  </a:lnTo>
                  <a:lnTo>
                    <a:pt x="346734" y="682353"/>
                  </a:lnTo>
                  <a:lnTo>
                    <a:pt x="346863" y="681190"/>
                  </a:lnTo>
                  <a:lnTo>
                    <a:pt x="346604" y="677313"/>
                  </a:lnTo>
                  <a:lnTo>
                    <a:pt x="346604" y="676021"/>
                  </a:lnTo>
                  <a:lnTo>
                    <a:pt x="346863" y="674857"/>
                  </a:lnTo>
                  <a:lnTo>
                    <a:pt x="347380" y="673953"/>
                  </a:lnTo>
                  <a:lnTo>
                    <a:pt x="347897" y="673048"/>
                  </a:lnTo>
                  <a:lnTo>
                    <a:pt x="348414" y="672014"/>
                  </a:lnTo>
                  <a:lnTo>
                    <a:pt x="348543" y="670851"/>
                  </a:lnTo>
                  <a:lnTo>
                    <a:pt x="348414" y="669559"/>
                  </a:lnTo>
                  <a:lnTo>
                    <a:pt x="346346" y="661417"/>
                  </a:lnTo>
                  <a:lnTo>
                    <a:pt x="346087" y="658832"/>
                  </a:lnTo>
                  <a:lnTo>
                    <a:pt x="346217" y="657540"/>
                  </a:lnTo>
                  <a:lnTo>
                    <a:pt x="346734" y="655343"/>
                  </a:lnTo>
                  <a:lnTo>
                    <a:pt x="349060" y="650174"/>
                  </a:lnTo>
                  <a:lnTo>
                    <a:pt x="349447" y="649269"/>
                  </a:lnTo>
                  <a:lnTo>
                    <a:pt x="350094" y="642808"/>
                  </a:lnTo>
                  <a:lnTo>
                    <a:pt x="350998" y="639447"/>
                  </a:lnTo>
                  <a:lnTo>
                    <a:pt x="351515" y="638414"/>
                  </a:lnTo>
                  <a:lnTo>
                    <a:pt x="352032" y="637509"/>
                  </a:lnTo>
                  <a:lnTo>
                    <a:pt x="352808" y="636734"/>
                  </a:lnTo>
                  <a:lnTo>
                    <a:pt x="355392" y="634666"/>
                  </a:lnTo>
                  <a:lnTo>
                    <a:pt x="355909" y="633890"/>
                  </a:lnTo>
                  <a:lnTo>
                    <a:pt x="356426" y="633115"/>
                  </a:lnTo>
                  <a:lnTo>
                    <a:pt x="357201" y="631047"/>
                  </a:lnTo>
                  <a:lnTo>
                    <a:pt x="357848" y="630143"/>
                  </a:lnTo>
                  <a:lnTo>
                    <a:pt x="358494" y="629367"/>
                  </a:lnTo>
                  <a:lnTo>
                    <a:pt x="359399" y="628850"/>
                  </a:lnTo>
                  <a:lnTo>
                    <a:pt x="367023" y="624715"/>
                  </a:lnTo>
                  <a:lnTo>
                    <a:pt x="368057" y="624327"/>
                  </a:lnTo>
                  <a:lnTo>
                    <a:pt x="371934" y="623552"/>
                  </a:lnTo>
                  <a:lnTo>
                    <a:pt x="380464" y="620450"/>
                  </a:lnTo>
                  <a:lnTo>
                    <a:pt x="381368" y="619933"/>
                  </a:lnTo>
                  <a:lnTo>
                    <a:pt x="382144" y="619287"/>
                  </a:lnTo>
                  <a:lnTo>
                    <a:pt x="382790" y="618512"/>
                  </a:lnTo>
                  <a:lnTo>
                    <a:pt x="383436" y="617607"/>
                  </a:lnTo>
                  <a:lnTo>
                    <a:pt x="383824" y="616444"/>
                  </a:lnTo>
                  <a:lnTo>
                    <a:pt x="384341" y="614635"/>
                  </a:lnTo>
                  <a:lnTo>
                    <a:pt x="384470" y="614118"/>
                  </a:lnTo>
                  <a:lnTo>
                    <a:pt x="384857" y="613859"/>
                  </a:lnTo>
                  <a:lnTo>
                    <a:pt x="385245" y="613472"/>
                  </a:lnTo>
                  <a:lnTo>
                    <a:pt x="386150" y="613342"/>
                  </a:lnTo>
                  <a:lnTo>
                    <a:pt x="386667" y="613342"/>
                  </a:lnTo>
                  <a:lnTo>
                    <a:pt x="388734" y="613601"/>
                  </a:lnTo>
                  <a:lnTo>
                    <a:pt x="389898" y="613601"/>
                  </a:lnTo>
                  <a:lnTo>
                    <a:pt x="393387" y="612825"/>
                  </a:lnTo>
                  <a:lnTo>
                    <a:pt x="394679" y="612825"/>
                  </a:lnTo>
                  <a:lnTo>
                    <a:pt x="395972" y="612955"/>
                  </a:lnTo>
                  <a:lnTo>
                    <a:pt x="397005" y="613342"/>
                  </a:lnTo>
                  <a:lnTo>
                    <a:pt x="397781" y="613730"/>
                  </a:lnTo>
                  <a:lnTo>
                    <a:pt x="398298" y="613988"/>
                  </a:lnTo>
                  <a:lnTo>
                    <a:pt x="400236" y="615927"/>
                  </a:lnTo>
                  <a:lnTo>
                    <a:pt x="401012" y="616573"/>
                  </a:lnTo>
                  <a:lnTo>
                    <a:pt x="402046" y="617090"/>
                  </a:lnTo>
                  <a:lnTo>
                    <a:pt x="407473" y="618641"/>
                  </a:lnTo>
                  <a:lnTo>
                    <a:pt x="408895" y="618770"/>
                  </a:lnTo>
                  <a:lnTo>
                    <a:pt x="413160" y="618899"/>
                  </a:lnTo>
                  <a:lnTo>
                    <a:pt x="414452" y="619158"/>
                  </a:lnTo>
                  <a:lnTo>
                    <a:pt x="415874" y="619933"/>
                  </a:lnTo>
                  <a:lnTo>
                    <a:pt x="416520" y="620967"/>
                  </a:lnTo>
                  <a:lnTo>
                    <a:pt x="417295" y="623552"/>
                  </a:lnTo>
                  <a:lnTo>
                    <a:pt x="418070" y="624973"/>
                  </a:lnTo>
                  <a:lnTo>
                    <a:pt x="418846" y="625878"/>
                  </a:lnTo>
                  <a:lnTo>
                    <a:pt x="419880" y="626653"/>
                  </a:lnTo>
                  <a:lnTo>
                    <a:pt x="421172" y="627429"/>
                  </a:lnTo>
                  <a:lnTo>
                    <a:pt x="422852" y="628721"/>
                  </a:lnTo>
                  <a:lnTo>
                    <a:pt x="425308" y="631564"/>
                  </a:lnTo>
                  <a:lnTo>
                    <a:pt x="428280" y="633890"/>
                  </a:lnTo>
                  <a:lnTo>
                    <a:pt x="429314" y="635312"/>
                  </a:lnTo>
                  <a:lnTo>
                    <a:pt x="432028" y="640481"/>
                  </a:lnTo>
                  <a:lnTo>
                    <a:pt x="432545" y="642808"/>
                  </a:lnTo>
                  <a:lnTo>
                    <a:pt x="433062" y="643583"/>
                  </a:lnTo>
                  <a:lnTo>
                    <a:pt x="433708" y="644358"/>
                  </a:lnTo>
                  <a:lnTo>
                    <a:pt x="434095" y="645134"/>
                  </a:lnTo>
                  <a:lnTo>
                    <a:pt x="433837" y="647331"/>
                  </a:lnTo>
                  <a:lnTo>
                    <a:pt x="433966" y="648623"/>
                  </a:lnTo>
                  <a:lnTo>
                    <a:pt x="434612" y="650045"/>
                  </a:lnTo>
                  <a:lnTo>
                    <a:pt x="435517" y="650820"/>
                  </a:lnTo>
                  <a:lnTo>
                    <a:pt x="436680" y="651208"/>
                  </a:lnTo>
                  <a:lnTo>
                    <a:pt x="443271" y="651725"/>
                  </a:lnTo>
                  <a:lnTo>
                    <a:pt x="445985" y="652242"/>
                  </a:lnTo>
                  <a:lnTo>
                    <a:pt x="447019" y="652242"/>
                  </a:lnTo>
                  <a:lnTo>
                    <a:pt x="447923" y="651983"/>
                  </a:lnTo>
                  <a:lnTo>
                    <a:pt x="448828" y="651466"/>
                  </a:lnTo>
                  <a:lnTo>
                    <a:pt x="449603" y="650820"/>
                  </a:lnTo>
                  <a:lnTo>
                    <a:pt x="450120" y="650303"/>
                  </a:lnTo>
                  <a:lnTo>
                    <a:pt x="450508" y="649915"/>
                  </a:lnTo>
                  <a:lnTo>
                    <a:pt x="451283" y="649528"/>
                  </a:lnTo>
                  <a:lnTo>
                    <a:pt x="453093" y="649657"/>
                  </a:lnTo>
                  <a:lnTo>
                    <a:pt x="455290" y="649269"/>
                  </a:lnTo>
                  <a:lnTo>
                    <a:pt x="458133" y="649657"/>
                  </a:lnTo>
                  <a:lnTo>
                    <a:pt x="459425" y="649528"/>
                  </a:lnTo>
                  <a:lnTo>
                    <a:pt x="460330" y="649011"/>
                  </a:lnTo>
                  <a:lnTo>
                    <a:pt x="461105" y="648235"/>
                  </a:lnTo>
                  <a:lnTo>
                    <a:pt x="461493" y="647201"/>
                  </a:lnTo>
                  <a:lnTo>
                    <a:pt x="461751" y="644875"/>
                  </a:lnTo>
                  <a:lnTo>
                    <a:pt x="462139" y="644229"/>
                  </a:lnTo>
                  <a:lnTo>
                    <a:pt x="462527" y="643712"/>
                  </a:lnTo>
                  <a:lnTo>
                    <a:pt x="463173" y="643066"/>
                  </a:lnTo>
                  <a:lnTo>
                    <a:pt x="463561" y="642161"/>
                  </a:lnTo>
                  <a:lnTo>
                    <a:pt x="463819" y="641127"/>
                  </a:lnTo>
                  <a:lnTo>
                    <a:pt x="464465" y="640223"/>
                  </a:lnTo>
                  <a:lnTo>
                    <a:pt x="465370" y="639706"/>
                  </a:lnTo>
                  <a:lnTo>
                    <a:pt x="472349" y="637897"/>
                  </a:lnTo>
                  <a:lnTo>
                    <a:pt x="475321" y="636475"/>
                  </a:lnTo>
                  <a:lnTo>
                    <a:pt x="479069" y="635829"/>
                  </a:lnTo>
                  <a:lnTo>
                    <a:pt x="480232" y="635312"/>
                  </a:lnTo>
                  <a:lnTo>
                    <a:pt x="481136" y="634795"/>
                  </a:lnTo>
                  <a:lnTo>
                    <a:pt x="481912" y="634149"/>
                  </a:lnTo>
                  <a:lnTo>
                    <a:pt x="482429" y="633244"/>
                  </a:lnTo>
                  <a:lnTo>
                    <a:pt x="482816" y="632210"/>
                  </a:lnTo>
                  <a:lnTo>
                    <a:pt x="482816" y="631306"/>
                  </a:lnTo>
                  <a:lnTo>
                    <a:pt x="482816" y="630013"/>
                  </a:lnTo>
                  <a:lnTo>
                    <a:pt x="482558" y="628850"/>
                  </a:lnTo>
                  <a:lnTo>
                    <a:pt x="482041" y="627816"/>
                  </a:lnTo>
                  <a:lnTo>
                    <a:pt x="481524" y="626912"/>
                  </a:lnTo>
                  <a:lnTo>
                    <a:pt x="475321" y="620062"/>
                  </a:lnTo>
                  <a:lnTo>
                    <a:pt x="474675" y="619158"/>
                  </a:lnTo>
                  <a:lnTo>
                    <a:pt x="474158" y="618124"/>
                  </a:lnTo>
                  <a:lnTo>
                    <a:pt x="473512" y="616056"/>
                  </a:lnTo>
                  <a:lnTo>
                    <a:pt x="473382" y="615152"/>
                  </a:lnTo>
                  <a:lnTo>
                    <a:pt x="473382" y="614376"/>
                  </a:lnTo>
                  <a:lnTo>
                    <a:pt x="474158" y="610241"/>
                  </a:lnTo>
                  <a:lnTo>
                    <a:pt x="474546" y="609078"/>
                  </a:lnTo>
                  <a:lnTo>
                    <a:pt x="474933" y="608044"/>
                  </a:lnTo>
                  <a:lnTo>
                    <a:pt x="476096" y="606234"/>
                  </a:lnTo>
                  <a:lnTo>
                    <a:pt x="476484" y="605071"/>
                  </a:lnTo>
                  <a:lnTo>
                    <a:pt x="477130" y="602874"/>
                  </a:lnTo>
                  <a:lnTo>
                    <a:pt x="477518" y="601840"/>
                  </a:lnTo>
                  <a:lnTo>
                    <a:pt x="479198" y="598610"/>
                  </a:lnTo>
                  <a:lnTo>
                    <a:pt x="479844" y="596671"/>
                  </a:lnTo>
                  <a:lnTo>
                    <a:pt x="481524" y="593440"/>
                  </a:lnTo>
                  <a:lnTo>
                    <a:pt x="481912" y="592277"/>
                  </a:lnTo>
                  <a:lnTo>
                    <a:pt x="482041" y="591243"/>
                  </a:lnTo>
                  <a:lnTo>
                    <a:pt x="482300" y="585945"/>
                  </a:lnTo>
                  <a:lnTo>
                    <a:pt x="482429" y="584911"/>
                  </a:lnTo>
                  <a:lnTo>
                    <a:pt x="482946" y="583877"/>
                  </a:lnTo>
                  <a:lnTo>
                    <a:pt x="484755" y="581939"/>
                  </a:lnTo>
                  <a:lnTo>
                    <a:pt x="488374" y="576769"/>
                  </a:lnTo>
                  <a:lnTo>
                    <a:pt x="488890" y="575606"/>
                  </a:lnTo>
                  <a:lnTo>
                    <a:pt x="489149" y="574572"/>
                  </a:lnTo>
                  <a:lnTo>
                    <a:pt x="489666" y="571212"/>
                  </a:lnTo>
                  <a:lnTo>
                    <a:pt x="490054" y="570049"/>
                  </a:lnTo>
                  <a:lnTo>
                    <a:pt x="491217" y="567723"/>
                  </a:lnTo>
                  <a:lnTo>
                    <a:pt x="491604" y="566689"/>
                  </a:lnTo>
                  <a:lnTo>
                    <a:pt x="492121" y="565655"/>
                  </a:lnTo>
                  <a:lnTo>
                    <a:pt x="492897" y="564621"/>
                  </a:lnTo>
                  <a:lnTo>
                    <a:pt x="497291" y="560227"/>
                  </a:lnTo>
                  <a:lnTo>
                    <a:pt x="500651" y="553766"/>
                  </a:lnTo>
                  <a:lnTo>
                    <a:pt x="501038" y="552603"/>
                  </a:lnTo>
                  <a:lnTo>
                    <a:pt x="501168" y="551439"/>
                  </a:lnTo>
                  <a:lnTo>
                    <a:pt x="500909" y="550276"/>
                  </a:lnTo>
                  <a:lnTo>
                    <a:pt x="500909" y="549242"/>
                  </a:lnTo>
                  <a:lnTo>
                    <a:pt x="501168" y="548079"/>
                  </a:lnTo>
                  <a:lnTo>
                    <a:pt x="501943" y="547045"/>
                  </a:lnTo>
                  <a:lnTo>
                    <a:pt x="502848" y="546399"/>
                  </a:lnTo>
                  <a:lnTo>
                    <a:pt x="504011" y="545753"/>
                  </a:lnTo>
                  <a:lnTo>
                    <a:pt x="505045" y="545365"/>
                  </a:lnTo>
                  <a:lnTo>
                    <a:pt x="507242" y="544073"/>
                  </a:lnTo>
                  <a:lnTo>
                    <a:pt x="508276" y="543298"/>
                  </a:lnTo>
                  <a:lnTo>
                    <a:pt x="508922" y="542264"/>
                  </a:lnTo>
                  <a:lnTo>
                    <a:pt x="509568" y="541230"/>
                  </a:lnTo>
                  <a:lnTo>
                    <a:pt x="509697" y="540196"/>
                  </a:lnTo>
                  <a:lnTo>
                    <a:pt x="509826" y="539162"/>
                  </a:lnTo>
                  <a:lnTo>
                    <a:pt x="510343" y="538387"/>
                  </a:lnTo>
                  <a:lnTo>
                    <a:pt x="512928" y="537095"/>
                  </a:lnTo>
                  <a:lnTo>
                    <a:pt x="540196" y="536448"/>
                  </a:lnTo>
                  <a:lnTo>
                    <a:pt x="636346" y="536965"/>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8" name="Graphic 2">
              <a:extLst>
                <a:ext uri="{FF2B5EF4-FFF2-40B4-BE49-F238E27FC236}">
                  <a16:creationId xmlns:a16="http://schemas.microsoft.com/office/drawing/2014/main" id="{F86DFD8B-BA18-DCD3-53A6-5B519D22107B}"/>
                </a:ext>
              </a:extLst>
            </p:cNvPr>
            <p:cNvSpPr/>
            <p:nvPr/>
          </p:nvSpPr>
          <p:spPr>
            <a:xfrm>
              <a:off x="4450340" y="2654374"/>
              <a:ext cx="750200" cy="613471"/>
            </a:xfrm>
            <a:custGeom>
              <a:avLst/>
              <a:gdLst>
                <a:gd name="connsiteX0" fmla="*/ 750071 w 750200"/>
                <a:gd name="connsiteY0" fmla="*/ 474158 h 613471"/>
                <a:gd name="connsiteX1" fmla="*/ 748391 w 750200"/>
                <a:gd name="connsiteY1" fmla="*/ 471444 h 613471"/>
                <a:gd name="connsiteX2" fmla="*/ 746065 w 750200"/>
                <a:gd name="connsiteY2" fmla="*/ 467567 h 613471"/>
                <a:gd name="connsiteX3" fmla="*/ 743739 w 750200"/>
                <a:gd name="connsiteY3" fmla="*/ 462268 h 613471"/>
                <a:gd name="connsiteX4" fmla="*/ 743222 w 750200"/>
                <a:gd name="connsiteY4" fmla="*/ 460330 h 613471"/>
                <a:gd name="connsiteX5" fmla="*/ 742964 w 750200"/>
                <a:gd name="connsiteY5" fmla="*/ 458520 h 613471"/>
                <a:gd name="connsiteX6" fmla="*/ 743222 w 750200"/>
                <a:gd name="connsiteY6" fmla="*/ 446114 h 613471"/>
                <a:gd name="connsiteX7" fmla="*/ 742964 w 750200"/>
                <a:gd name="connsiteY7" fmla="*/ 444693 h 613471"/>
                <a:gd name="connsiteX8" fmla="*/ 742317 w 750200"/>
                <a:gd name="connsiteY8" fmla="*/ 443142 h 613471"/>
                <a:gd name="connsiteX9" fmla="*/ 738570 w 750200"/>
                <a:gd name="connsiteY9" fmla="*/ 437843 h 613471"/>
                <a:gd name="connsiteX10" fmla="*/ 737277 w 750200"/>
                <a:gd name="connsiteY10" fmla="*/ 433320 h 613471"/>
                <a:gd name="connsiteX11" fmla="*/ 734822 w 750200"/>
                <a:gd name="connsiteY11" fmla="*/ 428538 h 613471"/>
                <a:gd name="connsiteX12" fmla="*/ 733013 w 750200"/>
                <a:gd name="connsiteY12" fmla="*/ 422981 h 613471"/>
                <a:gd name="connsiteX13" fmla="*/ 731850 w 750200"/>
                <a:gd name="connsiteY13" fmla="*/ 421948 h 613471"/>
                <a:gd name="connsiteX14" fmla="*/ 731203 w 750200"/>
                <a:gd name="connsiteY14" fmla="*/ 421560 h 613471"/>
                <a:gd name="connsiteX15" fmla="*/ 730299 w 750200"/>
                <a:gd name="connsiteY15" fmla="*/ 421431 h 613471"/>
                <a:gd name="connsiteX16" fmla="*/ 729265 w 750200"/>
                <a:gd name="connsiteY16" fmla="*/ 421560 h 613471"/>
                <a:gd name="connsiteX17" fmla="*/ 727197 w 750200"/>
                <a:gd name="connsiteY17" fmla="*/ 422206 h 613471"/>
                <a:gd name="connsiteX18" fmla="*/ 725905 w 750200"/>
                <a:gd name="connsiteY18" fmla="*/ 422206 h 613471"/>
                <a:gd name="connsiteX19" fmla="*/ 724742 w 750200"/>
                <a:gd name="connsiteY19" fmla="*/ 421689 h 613471"/>
                <a:gd name="connsiteX20" fmla="*/ 723708 w 750200"/>
                <a:gd name="connsiteY20" fmla="*/ 420526 h 613471"/>
                <a:gd name="connsiteX21" fmla="*/ 722803 w 750200"/>
                <a:gd name="connsiteY21" fmla="*/ 418587 h 613471"/>
                <a:gd name="connsiteX22" fmla="*/ 722157 w 750200"/>
                <a:gd name="connsiteY22" fmla="*/ 416261 h 613471"/>
                <a:gd name="connsiteX23" fmla="*/ 721898 w 750200"/>
                <a:gd name="connsiteY23" fmla="*/ 414581 h 613471"/>
                <a:gd name="connsiteX24" fmla="*/ 721769 w 750200"/>
                <a:gd name="connsiteY24" fmla="*/ 409670 h 613471"/>
                <a:gd name="connsiteX25" fmla="*/ 721511 w 750200"/>
                <a:gd name="connsiteY25" fmla="*/ 408507 h 613471"/>
                <a:gd name="connsiteX26" fmla="*/ 720606 w 750200"/>
                <a:gd name="connsiteY26" fmla="*/ 405535 h 613471"/>
                <a:gd name="connsiteX27" fmla="*/ 720348 w 750200"/>
                <a:gd name="connsiteY27" fmla="*/ 404242 h 613471"/>
                <a:gd name="connsiteX28" fmla="*/ 719702 w 750200"/>
                <a:gd name="connsiteY28" fmla="*/ 394938 h 613471"/>
                <a:gd name="connsiteX29" fmla="*/ 720089 w 750200"/>
                <a:gd name="connsiteY29" fmla="*/ 389897 h 613471"/>
                <a:gd name="connsiteX30" fmla="*/ 720348 w 750200"/>
                <a:gd name="connsiteY30" fmla="*/ 388605 h 613471"/>
                <a:gd name="connsiteX31" fmla="*/ 720994 w 750200"/>
                <a:gd name="connsiteY31" fmla="*/ 387442 h 613471"/>
                <a:gd name="connsiteX32" fmla="*/ 721898 w 750200"/>
                <a:gd name="connsiteY32" fmla="*/ 386537 h 613471"/>
                <a:gd name="connsiteX33" fmla="*/ 728489 w 750200"/>
                <a:gd name="connsiteY33" fmla="*/ 381627 h 613471"/>
                <a:gd name="connsiteX34" fmla="*/ 729782 w 750200"/>
                <a:gd name="connsiteY34" fmla="*/ 380334 h 613471"/>
                <a:gd name="connsiteX35" fmla="*/ 731462 w 750200"/>
                <a:gd name="connsiteY35" fmla="*/ 377879 h 613471"/>
                <a:gd name="connsiteX36" fmla="*/ 732754 w 750200"/>
                <a:gd name="connsiteY36" fmla="*/ 376457 h 613471"/>
                <a:gd name="connsiteX37" fmla="*/ 733271 w 750200"/>
                <a:gd name="connsiteY37" fmla="*/ 375423 h 613471"/>
                <a:gd name="connsiteX38" fmla="*/ 734176 w 750200"/>
                <a:gd name="connsiteY38" fmla="*/ 373097 h 613471"/>
                <a:gd name="connsiteX39" fmla="*/ 734693 w 750200"/>
                <a:gd name="connsiteY39" fmla="*/ 371805 h 613471"/>
                <a:gd name="connsiteX40" fmla="*/ 735726 w 750200"/>
                <a:gd name="connsiteY40" fmla="*/ 370771 h 613471"/>
                <a:gd name="connsiteX41" fmla="*/ 736760 w 750200"/>
                <a:gd name="connsiteY41" fmla="*/ 370125 h 613471"/>
                <a:gd name="connsiteX42" fmla="*/ 737924 w 750200"/>
                <a:gd name="connsiteY42" fmla="*/ 369479 h 613471"/>
                <a:gd name="connsiteX43" fmla="*/ 738957 w 750200"/>
                <a:gd name="connsiteY43" fmla="*/ 368703 h 613471"/>
                <a:gd name="connsiteX44" fmla="*/ 739862 w 750200"/>
                <a:gd name="connsiteY44" fmla="*/ 367669 h 613471"/>
                <a:gd name="connsiteX45" fmla="*/ 740379 w 750200"/>
                <a:gd name="connsiteY45" fmla="*/ 366377 h 613471"/>
                <a:gd name="connsiteX46" fmla="*/ 740637 w 750200"/>
                <a:gd name="connsiteY46" fmla="*/ 365214 h 613471"/>
                <a:gd name="connsiteX47" fmla="*/ 740120 w 750200"/>
                <a:gd name="connsiteY47" fmla="*/ 362759 h 613471"/>
                <a:gd name="connsiteX48" fmla="*/ 735726 w 750200"/>
                <a:gd name="connsiteY48" fmla="*/ 353454 h 613471"/>
                <a:gd name="connsiteX49" fmla="*/ 734693 w 750200"/>
                <a:gd name="connsiteY49" fmla="*/ 350481 h 613471"/>
                <a:gd name="connsiteX50" fmla="*/ 734176 w 750200"/>
                <a:gd name="connsiteY50" fmla="*/ 348284 h 613471"/>
                <a:gd name="connsiteX51" fmla="*/ 734046 w 750200"/>
                <a:gd name="connsiteY51" fmla="*/ 346863 h 613471"/>
                <a:gd name="connsiteX52" fmla="*/ 733659 w 750200"/>
                <a:gd name="connsiteY52" fmla="*/ 345053 h 613471"/>
                <a:gd name="connsiteX53" fmla="*/ 731979 w 750200"/>
                <a:gd name="connsiteY53" fmla="*/ 340530 h 613471"/>
                <a:gd name="connsiteX54" fmla="*/ 731074 w 750200"/>
                <a:gd name="connsiteY54" fmla="*/ 339109 h 613471"/>
                <a:gd name="connsiteX55" fmla="*/ 729523 w 750200"/>
                <a:gd name="connsiteY55" fmla="*/ 338333 h 613471"/>
                <a:gd name="connsiteX56" fmla="*/ 726809 w 750200"/>
                <a:gd name="connsiteY56" fmla="*/ 337687 h 613471"/>
                <a:gd name="connsiteX57" fmla="*/ 724742 w 750200"/>
                <a:gd name="connsiteY57" fmla="*/ 336266 h 613471"/>
                <a:gd name="connsiteX58" fmla="*/ 723708 w 750200"/>
                <a:gd name="connsiteY58" fmla="*/ 335878 h 613471"/>
                <a:gd name="connsiteX59" fmla="*/ 722545 w 750200"/>
                <a:gd name="connsiteY59" fmla="*/ 335878 h 613471"/>
                <a:gd name="connsiteX60" fmla="*/ 721511 w 750200"/>
                <a:gd name="connsiteY60" fmla="*/ 336137 h 613471"/>
                <a:gd name="connsiteX61" fmla="*/ 720348 w 750200"/>
                <a:gd name="connsiteY61" fmla="*/ 336007 h 613471"/>
                <a:gd name="connsiteX62" fmla="*/ 716729 w 750200"/>
                <a:gd name="connsiteY62" fmla="*/ 334973 h 613471"/>
                <a:gd name="connsiteX63" fmla="*/ 715566 w 750200"/>
                <a:gd name="connsiteY63" fmla="*/ 334973 h 613471"/>
                <a:gd name="connsiteX64" fmla="*/ 714403 w 750200"/>
                <a:gd name="connsiteY64" fmla="*/ 335361 h 613471"/>
                <a:gd name="connsiteX65" fmla="*/ 713240 w 750200"/>
                <a:gd name="connsiteY65" fmla="*/ 336007 h 613471"/>
                <a:gd name="connsiteX66" fmla="*/ 712077 w 750200"/>
                <a:gd name="connsiteY66" fmla="*/ 336266 h 613471"/>
                <a:gd name="connsiteX67" fmla="*/ 710784 w 750200"/>
                <a:gd name="connsiteY67" fmla="*/ 336137 h 613471"/>
                <a:gd name="connsiteX68" fmla="*/ 706391 w 750200"/>
                <a:gd name="connsiteY68" fmla="*/ 335103 h 613471"/>
                <a:gd name="connsiteX69" fmla="*/ 704969 w 750200"/>
                <a:gd name="connsiteY69" fmla="*/ 334586 h 613471"/>
                <a:gd name="connsiteX70" fmla="*/ 701350 w 750200"/>
                <a:gd name="connsiteY70" fmla="*/ 332259 h 613471"/>
                <a:gd name="connsiteX71" fmla="*/ 700187 w 750200"/>
                <a:gd name="connsiteY71" fmla="*/ 331872 h 613471"/>
                <a:gd name="connsiteX72" fmla="*/ 699153 w 750200"/>
                <a:gd name="connsiteY72" fmla="*/ 331742 h 613471"/>
                <a:gd name="connsiteX73" fmla="*/ 698120 w 750200"/>
                <a:gd name="connsiteY73" fmla="*/ 332001 h 613471"/>
                <a:gd name="connsiteX74" fmla="*/ 696956 w 750200"/>
                <a:gd name="connsiteY74" fmla="*/ 332518 h 613471"/>
                <a:gd name="connsiteX75" fmla="*/ 693726 w 750200"/>
                <a:gd name="connsiteY75" fmla="*/ 334844 h 613471"/>
                <a:gd name="connsiteX76" fmla="*/ 692692 w 750200"/>
                <a:gd name="connsiteY76" fmla="*/ 335361 h 613471"/>
                <a:gd name="connsiteX77" fmla="*/ 691529 w 750200"/>
                <a:gd name="connsiteY77" fmla="*/ 335361 h 613471"/>
                <a:gd name="connsiteX78" fmla="*/ 690236 w 750200"/>
                <a:gd name="connsiteY78" fmla="*/ 334586 h 613471"/>
                <a:gd name="connsiteX79" fmla="*/ 684809 w 750200"/>
                <a:gd name="connsiteY79" fmla="*/ 329287 h 613471"/>
                <a:gd name="connsiteX80" fmla="*/ 683904 w 750200"/>
                <a:gd name="connsiteY80" fmla="*/ 327995 h 613471"/>
                <a:gd name="connsiteX81" fmla="*/ 684033 w 750200"/>
                <a:gd name="connsiteY81" fmla="*/ 326573 h 613471"/>
                <a:gd name="connsiteX82" fmla="*/ 684550 w 750200"/>
                <a:gd name="connsiteY82" fmla="*/ 325410 h 613471"/>
                <a:gd name="connsiteX83" fmla="*/ 684679 w 750200"/>
                <a:gd name="connsiteY83" fmla="*/ 324376 h 613471"/>
                <a:gd name="connsiteX84" fmla="*/ 683904 w 750200"/>
                <a:gd name="connsiteY84" fmla="*/ 323859 h 613471"/>
                <a:gd name="connsiteX85" fmla="*/ 573797 w 750200"/>
                <a:gd name="connsiteY85" fmla="*/ 323213 h 613471"/>
                <a:gd name="connsiteX86" fmla="*/ 569532 w 750200"/>
                <a:gd name="connsiteY86" fmla="*/ 322308 h 613471"/>
                <a:gd name="connsiteX87" fmla="*/ 568369 w 750200"/>
                <a:gd name="connsiteY87" fmla="*/ 319982 h 613471"/>
                <a:gd name="connsiteX88" fmla="*/ 568240 w 750200"/>
                <a:gd name="connsiteY88" fmla="*/ 318431 h 613471"/>
                <a:gd name="connsiteX89" fmla="*/ 569791 w 750200"/>
                <a:gd name="connsiteY89" fmla="*/ 310419 h 613471"/>
                <a:gd name="connsiteX90" fmla="*/ 569920 w 750200"/>
                <a:gd name="connsiteY90" fmla="*/ 308739 h 613471"/>
                <a:gd name="connsiteX91" fmla="*/ 569661 w 750200"/>
                <a:gd name="connsiteY91" fmla="*/ 306930 h 613471"/>
                <a:gd name="connsiteX92" fmla="*/ 568628 w 750200"/>
                <a:gd name="connsiteY92" fmla="*/ 302407 h 613471"/>
                <a:gd name="connsiteX93" fmla="*/ 568498 w 750200"/>
                <a:gd name="connsiteY93" fmla="*/ 300856 h 613471"/>
                <a:gd name="connsiteX94" fmla="*/ 568886 w 750200"/>
                <a:gd name="connsiteY94" fmla="*/ 299563 h 613471"/>
                <a:gd name="connsiteX95" fmla="*/ 569661 w 750200"/>
                <a:gd name="connsiteY95" fmla="*/ 299046 h 613471"/>
                <a:gd name="connsiteX96" fmla="*/ 570437 w 750200"/>
                <a:gd name="connsiteY96" fmla="*/ 299176 h 613471"/>
                <a:gd name="connsiteX97" fmla="*/ 571083 w 750200"/>
                <a:gd name="connsiteY97" fmla="*/ 299434 h 613471"/>
                <a:gd name="connsiteX98" fmla="*/ 571858 w 750200"/>
                <a:gd name="connsiteY98" fmla="*/ 299563 h 613471"/>
                <a:gd name="connsiteX99" fmla="*/ 572763 w 750200"/>
                <a:gd name="connsiteY99" fmla="*/ 298788 h 613471"/>
                <a:gd name="connsiteX100" fmla="*/ 573538 w 750200"/>
                <a:gd name="connsiteY100" fmla="*/ 297366 h 613471"/>
                <a:gd name="connsiteX101" fmla="*/ 574185 w 750200"/>
                <a:gd name="connsiteY101" fmla="*/ 294782 h 613471"/>
                <a:gd name="connsiteX102" fmla="*/ 574314 w 750200"/>
                <a:gd name="connsiteY102" fmla="*/ 293231 h 613471"/>
                <a:gd name="connsiteX103" fmla="*/ 573797 w 750200"/>
                <a:gd name="connsiteY103" fmla="*/ 291938 h 613471"/>
                <a:gd name="connsiteX104" fmla="*/ 573022 w 750200"/>
                <a:gd name="connsiteY104" fmla="*/ 291422 h 613471"/>
                <a:gd name="connsiteX105" fmla="*/ 571988 w 750200"/>
                <a:gd name="connsiteY105" fmla="*/ 291034 h 613471"/>
                <a:gd name="connsiteX106" fmla="*/ 571083 w 750200"/>
                <a:gd name="connsiteY106" fmla="*/ 290775 h 613471"/>
                <a:gd name="connsiteX107" fmla="*/ 570695 w 750200"/>
                <a:gd name="connsiteY107" fmla="*/ 290388 h 613471"/>
                <a:gd name="connsiteX108" fmla="*/ 570308 w 750200"/>
                <a:gd name="connsiteY108" fmla="*/ 289612 h 613471"/>
                <a:gd name="connsiteX109" fmla="*/ 570954 w 750200"/>
                <a:gd name="connsiteY109" fmla="*/ 286252 h 613471"/>
                <a:gd name="connsiteX110" fmla="*/ 571212 w 750200"/>
                <a:gd name="connsiteY110" fmla="*/ 282117 h 613471"/>
                <a:gd name="connsiteX111" fmla="*/ 572246 w 750200"/>
                <a:gd name="connsiteY111" fmla="*/ 276430 h 613471"/>
                <a:gd name="connsiteX112" fmla="*/ 572505 w 750200"/>
                <a:gd name="connsiteY112" fmla="*/ 269581 h 613471"/>
                <a:gd name="connsiteX113" fmla="*/ 573538 w 750200"/>
                <a:gd name="connsiteY113" fmla="*/ 264541 h 613471"/>
                <a:gd name="connsiteX114" fmla="*/ 573668 w 750200"/>
                <a:gd name="connsiteY114" fmla="*/ 262344 h 613471"/>
                <a:gd name="connsiteX115" fmla="*/ 573538 w 750200"/>
                <a:gd name="connsiteY115" fmla="*/ 261052 h 613471"/>
                <a:gd name="connsiteX116" fmla="*/ 572892 w 750200"/>
                <a:gd name="connsiteY116" fmla="*/ 259372 h 613471"/>
                <a:gd name="connsiteX117" fmla="*/ 572246 w 750200"/>
                <a:gd name="connsiteY117" fmla="*/ 258079 h 613471"/>
                <a:gd name="connsiteX118" fmla="*/ 571342 w 750200"/>
                <a:gd name="connsiteY118" fmla="*/ 256916 h 613471"/>
                <a:gd name="connsiteX119" fmla="*/ 569144 w 750200"/>
                <a:gd name="connsiteY119" fmla="*/ 254849 h 613471"/>
                <a:gd name="connsiteX120" fmla="*/ 568498 w 750200"/>
                <a:gd name="connsiteY120" fmla="*/ 253815 h 613471"/>
                <a:gd name="connsiteX121" fmla="*/ 563846 w 750200"/>
                <a:gd name="connsiteY121" fmla="*/ 243605 h 613471"/>
                <a:gd name="connsiteX122" fmla="*/ 563587 w 750200"/>
                <a:gd name="connsiteY122" fmla="*/ 242184 h 613471"/>
                <a:gd name="connsiteX123" fmla="*/ 563717 w 750200"/>
                <a:gd name="connsiteY123" fmla="*/ 240633 h 613471"/>
                <a:gd name="connsiteX124" fmla="*/ 564751 w 750200"/>
                <a:gd name="connsiteY124" fmla="*/ 236885 h 613471"/>
                <a:gd name="connsiteX125" fmla="*/ 564751 w 750200"/>
                <a:gd name="connsiteY125" fmla="*/ 235334 h 613471"/>
                <a:gd name="connsiteX126" fmla="*/ 564104 w 750200"/>
                <a:gd name="connsiteY126" fmla="*/ 233913 h 613471"/>
                <a:gd name="connsiteX127" fmla="*/ 563329 w 750200"/>
                <a:gd name="connsiteY127" fmla="*/ 232879 h 613471"/>
                <a:gd name="connsiteX128" fmla="*/ 562554 w 750200"/>
                <a:gd name="connsiteY128" fmla="*/ 231457 h 613471"/>
                <a:gd name="connsiteX129" fmla="*/ 562166 w 750200"/>
                <a:gd name="connsiteY129" fmla="*/ 229519 h 613471"/>
                <a:gd name="connsiteX130" fmla="*/ 562295 w 750200"/>
                <a:gd name="connsiteY130" fmla="*/ 225900 h 613471"/>
                <a:gd name="connsiteX131" fmla="*/ 562683 w 750200"/>
                <a:gd name="connsiteY131" fmla="*/ 223703 h 613471"/>
                <a:gd name="connsiteX132" fmla="*/ 563071 w 750200"/>
                <a:gd name="connsiteY132" fmla="*/ 221894 h 613471"/>
                <a:gd name="connsiteX133" fmla="*/ 564363 w 750200"/>
                <a:gd name="connsiteY133" fmla="*/ 219180 h 613471"/>
                <a:gd name="connsiteX134" fmla="*/ 566818 w 750200"/>
                <a:gd name="connsiteY134" fmla="*/ 214915 h 613471"/>
                <a:gd name="connsiteX135" fmla="*/ 567206 w 750200"/>
                <a:gd name="connsiteY135" fmla="*/ 213882 h 613471"/>
                <a:gd name="connsiteX136" fmla="*/ 567335 w 750200"/>
                <a:gd name="connsiteY136" fmla="*/ 212589 h 613471"/>
                <a:gd name="connsiteX137" fmla="*/ 566948 w 750200"/>
                <a:gd name="connsiteY137" fmla="*/ 210263 h 613471"/>
                <a:gd name="connsiteX138" fmla="*/ 566948 w 750200"/>
                <a:gd name="connsiteY138" fmla="*/ 208583 h 613471"/>
                <a:gd name="connsiteX139" fmla="*/ 567206 w 750200"/>
                <a:gd name="connsiteY139" fmla="*/ 206644 h 613471"/>
                <a:gd name="connsiteX140" fmla="*/ 568369 w 750200"/>
                <a:gd name="connsiteY140" fmla="*/ 203026 h 613471"/>
                <a:gd name="connsiteX141" fmla="*/ 568498 w 750200"/>
                <a:gd name="connsiteY141" fmla="*/ 201734 h 613471"/>
                <a:gd name="connsiteX142" fmla="*/ 568498 w 750200"/>
                <a:gd name="connsiteY142" fmla="*/ 200441 h 613471"/>
                <a:gd name="connsiteX143" fmla="*/ 567077 w 750200"/>
                <a:gd name="connsiteY143" fmla="*/ 196176 h 613471"/>
                <a:gd name="connsiteX144" fmla="*/ 566689 w 750200"/>
                <a:gd name="connsiteY144" fmla="*/ 194755 h 613471"/>
                <a:gd name="connsiteX145" fmla="*/ 566431 w 750200"/>
                <a:gd name="connsiteY145" fmla="*/ 190878 h 613471"/>
                <a:gd name="connsiteX146" fmla="*/ 566172 w 750200"/>
                <a:gd name="connsiteY146" fmla="*/ 189327 h 613471"/>
                <a:gd name="connsiteX147" fmla="*/ 565138 w 750200"/>
                <a:gd name="connsiteY147" fmla="*/ 187776 h 613471"/>
                <a:gd name="connsiteX148" fmla="*/ 564363 w 750200"/>
                <a:gd name="connsiteY148" fmla="*/ 186742 h 613471"/>
                <a:gd name="connsiteX149" fmla="*/ 563717 w 750200"/>
                <a:gd name="connsiteY149" fmla="*/ 185838 h 613471"/>
                <a:gd name="connsiteX150" fmla="*/ 564234 w 750200"/>
                <a:gd name="connsiteY150" fmla="*/ 185062 h 613471"/>
                <a:gd name="connsiteX151" fmla="*/ 565138 w 750200"/>
                <a:gd name="connsiteY151" fmla="*/ 184675 h 613471"/>
                <a:gd name="connsiteX152" fmla="*/ 567335 w 750200"/>
                <a:gd name="connsiteY152" fmla="*/ 184029 h 613471"/>
                <a:gd name="connsiteX153" fmla="*/ 568369 w 750200"/>
                <a:gd name="connsiteY153" fmla="*/ 183641 h 613471"/>
                <a:gd name="connsiteX154" fmla="*/ 569015 w 750200"/>
                <a:gd name="connsiteY154" fmla="*/ 182736 h 613471"/>
                <a:gd name="connsiteX155" fmla="*/ 570178 w 750200"/>
                <a:gd name="connsiteY155" fmla="*/ 179376 h 613471"/>
                <a:gd name="connsiteX156" fmla="*/ 570695 w 750200"/>
                <a:gd name="connsiteY156" fmla="*/ 178601 h 613471"/>
                <a:gd name="connsiteX157" fmla="*/ 571342 w 750200"/>
                <a:gd name="connsiteY157" fmla="*/ 177955 h 613471"/>
                <a:gd name="connsiteX158" fmla="*/ 572117 w 750200"/>
                <a:gd name="connsiteY158" fmla="*/ 177308 h 613471"/>
                <a:gd name="connsiteX159" fmla="*/ 572634 w 750200"/>
                <a:gd name="connsiteY159" fmla="*/ 176275 h 613471"/>
                <a:gd name="connsiteX160" fmla="*/ 572634 w 750200"/>
                <a:gd name="connsiteY160" fmla="*/ 175241 h 613471"/>
                <a:gd name="connsiteX161" fmla="*/ 571988 w 750200"/>
                <a:gd name="connsiteY161" fmla="*/ 174207 h 613471"/>
                <a:gd name="connsiteX162" fmla="*/ 571212 w 750200"/>
                <a:gd name="connsiteY162" fmla="*/ 173561 h 613471"/>
                <a:gd name="connsiteX163" fmla="*/ 570308 w 750200"/>
                <a:gd name="connsiteY163" fmla="*/ 172010 h 613471"/>
                <a:gd name="connsiteX164" fmla="*/ 569661 w 750200"/>
                <a:gd name="connsiteY164" fmla="*/ 170588 h 613471"/>
                <a:gd name="connsiteX165" fmla="*/ 568886 w 750200"/>
                <a:gd name="connsiteY165" fmla="*/ 169554 h 613471"/>
                <a:gd name="connsiteX166" fmla="*/ 568240 w 750200"/>
                <a:gd name="connsiteY166" fmla="*/ 168262 h 613471"/>
                <a:gd name="connsiteX167" fmla="*/ 565138 w 750200"/>
                <a:gd name="connsiteY167" fmla="*/ 157277 h 613471"/>
                <a:gd name="connsiteX168" fmla="*/ 565526 w 750200"/>
                <a:gd name="connsiteY168" fmla="*/ 153142 h 613471"/>
                <a:gd name="connsiteX169" fmla="*/ 565526 w 750200"/>
                <a:gd name="connsiteY169" fmla="*/ 151462 h 613471"/>
                <a:gd name="connsiteX170" fmla="*/ 564751 w 750200"/>
                <a:gd name="connsiteY170" fmla="*/ 149394 h 613471"/>
                <a:gd name="connsiteX171" fmla="*/ 563975 w 750200"/>
                <a:gd name="connsiteY171" fmla="*/ 147843 h 613471"/>
                <a:gd name="connsiteX172" fmla="*/ 562941 w 750200"/>
                <a:gd name="connsiteY172" fmla="*/ 147068 h 613471"/>
                <a:gd name="connsiteX173" fmla="*/ 560486 w 750200"/>
                <a:gd name="connsiteY173" fmla="*/ 145646 h 613471"/>
                <a:gd name="connsiteX174" fmla="*/ 559323 w 750200"/>
                <a:gd name="connsiteY174" fmla="*/ 144612 h 613471"/>
                <a:gd name="connsiteX175" fmla="*/ 558806 w 750200"/>
                <a:gd name="connsiteY175" fmla="*/ 143449 h 613471"/>
                <a:gd name="connsiteX176" fmla="*/ 558677 w 750200"/>
                <a:gd name="connsiteY176" fmla="*/ 142028 h 613471"/>
                <a:gd name="connsiteX177" fmla="*/ 559323 w 750200"/>
                <a:gd name="connsiteY177" fmla="*/ 140348 h 613471"/>
                <a:gd name="connsiteX178" fmla="*/ 560486 w 750200"/>
                <a:gd name="connsiteY178" fmla="*/ 137634 h 613471"/>
                <a:gd name="connsiteX179" fmla="*/ 560357 w 750200"/>
                <a:gd name="connsiteY179" fmla="*/ 135954 h 613471"/>
                <a:gd name="connsiteX180" fmla="*/ 560227 w 750200"/>
                <a:gd name="connsiteY180" fmla="*/ 134661 h 613471"/>
                <a:gd name="connsiteX181" fmla="*/ 560744 w 750200"/>
                <a:gd name="connsiteY181" fmla="*/ 133628 h 613471"/>
                <a:gd name="connsiteX182" fmla="*/ 561649 w 750200"/>
                <a:gd name="connsiteY182" fmla="*/ 132981 h 613471"/>
                <a:gd name="connsiteX183" fmla="*/ 562812 w 750200"/>
                <a:gd name="connsiteY183" fmla="*/ 132723 h 613471"/>
                <a:gd name="connsiteX184" fmla="*/ 565397 w 750200"/>
                <a:gd name="connsiteY184" fmla="*/ 132594 h 613471"/>
                <a:gd name="connsiteX185" fmla="*/ 566431 w 750200"/>
                <a:gd name="connsiteY185" fmla="*/ 132335 h 613471"/>
                <a:gd name="connsiteX186" fmla="*/ 567335 w 750200"/>
                <a:gd name="connsiteY186" fmla="*/ 131689 h 613471"/>
                <a:gd name="connsiteX187" fmla="*/ 567594 w 750200"/>
                <a:gd name="connsiteY187" fmla="*/ 130526 h 613471"/>
                <a:gd name="connsiteX188" fmla="*/ 567335 w 750200"/>
                <a:gd name="connsiteY188" fmla="*/ 128846 h 613471"/>
                <a:gd name="connsiteX189" fmla="*/ 564621 w 750200"/>
                <a:gd name="connsiteY189" fmla="*/ 121480 h 613471"/>
                <a:gd name="connsiteX190" fmla="*/ 564363 w 750200"/>
                <a:gd name="connsiteY190" fmla="*/ 119929 h 613471"/>
                <a:gd name="connsiteX191" fmla="*/ 564492 w 750200"/>
                <a:gd name="connsiteY191" fmla="*/ 117990 h 613471"/>
                <a:gd name="connsiteX192" fmla="*/ 564621 w 750200"/>
                <a:gd name="connsiteY192" fmla="*/ 116439 h 613471"/>
                <a:gd name="connsiteX193" fmla="*/ 567335 w 750200"/>
                <a:gd name="connsiteY193" fmla="*/ 107264 h 613471"/>
                <a:gd name="connsiteX194" fmla="*/ 572117 w 750200"/>
                <a:gd name="connsiteY194" fmla="*/ 98347 h 613471"/>
                <a:gd name="connsiteX195" fmla="*/ 572246 w 750200"/>
                <a:gd name="connsiteY195" fmla="*/ 97184 h 613471"/>
                <a:gd name="connsiteX196" fmla="*/ 572117 w 750200"/>
                <a:gd name="connsiteY196" fmla="*/ 96150 h 613471"/>
                <a:gd name="connsiteX197" fmla="*/ 571729 w 750200"/>
                <a:gd name="connsiteY197" fmla="*/ 94987 h 613471"/>
                <a:gd name="connsiteX198" fmla="*/ 570825 w 750200"/>
                <a:gd name="connsiteY198" fmla="*/ 92790 h 613471"/>
                <a:gd name="connsiteX199" fmla="*/ 569661 w 750200"/>
                <a:gd name="connsiteY199" fmla="*/ 90980 h 613471"/>
                <a:gd name="connsiteX200" fmla="*/ 566043 w 750200"/>
                <a:gd name="connsiteY200" fmla="*/ 87879 h 613471"/>
                <a:gd name="connsiteX201" fmla="*/ 562166 w 750200"/>
                <a:gd name="connsiteY201" fmla="*/ 85423 h 613471"/>
                <a:gd name="connsiteX202" fmla="*/ 558677 w 750200"/>
                <a:gd name="connsiteY202" fmla="*/ 82580 h 613471"/>
                <a:gd name="connsiteX203" fmla="*/ 559064 w 750200"/>
                <a:gd name="connsiteY203" fmla="*/ 78703 h 613471"/>
                <a:gd name="connsiteX204" fmla="*/ 558806 w 750200"/>
                <a:gd name="connsiteY204" fmla="*/ 77540 h 613471"/>
                <a:gd name="connsiteX205" fmla="*/ 557901 w 750200"/>
                <a:gd name="connsiteY205" fmla="*/ 76506 h 613471"/>
                <a:gd name="connsiteX206" fmla="*/ 556480 w 750200"/>
                <a:gd name="connsiteY206" fmla="*/ 75731 h 613471"/>
                <a:gd name="connsiteX207" fmla="*/ 550664 w 750200"/>
                <a:gd name="connsiteY207" fmla="*/ 74826 h 613471"/>
                <a:gd name="connsiteX208" fmla="*/ 548855 w 750200"/>
                <a:gd name="connsiteY208" fmla="*/ 74180 h 613471"/>
                <a:gd name="connsiteX209" fmla="*/ 547433 w 750200"/>
                <a:gd name="connsiteY209" fmla="*/ 73922 h 613471"/>
                <a:gd name="connsiteX210" fmla="*/ 545753 w 750200"/>
                <a:gd name="connsiteY210" fmla="*/ 74309 h 613471"/>
                <a:gd name="connsiteX211" fmla="*/ 544849 w 750200"/>
                <a:gd name="connsiteY211" fmla="*/ 75214 h 613471"/>
                <a:gd name="connsiteX212" fmla="*/ 543427 w 750200"/>
                <a:gd name="connsiteY212" fmla="*/ 77282 h 613471"/>
                <a:gd name="connsiteX213" fmla="*/ 542393 w 750200"/>
                <a:gd name="connsiteY213" fmla="*/ 78316 h 613471"/>
                <a:gd name="connsiteX214" fmla="*/ 541230 w 750200"/>
                <a:gd name="connsiteY214" fmla="*/ 78962 h 613471"/>
                <a:gd name="connsiteX215" fmla="*/ 540067 w 750200"/>
                <a:gd name="connsiteY215" fmla="*/ 79220 h 613471"/>
                <a:gd name="connsiteX216" fmla="*/ 536448 w 750200"/>
                <a:gd name="connsiteY216" fmla="*/ 79091 h 613471"/>
                <a:gd name="connsiteX217" fmla="*/ 535414 w 750200"/>
                <a:gd name="connsiteY217" fmla="*/ 79479 h 613471"/>
                <a:gd name="connsiteX218" fmla="*/ 534510 w 750200"/>
                <a:gd name="connsiteY218" fmla="*/ 79996 h 613471"/>
                <a:gd name="connsiteX219" fmla="*/ 533734 w 750200"/>
                <a:gd name="connsiteY219" fmla="*/ 81029 h 613471"/>
                <a:gd name="connsiteX220" fmla="*/ 533088 w 750200"/>
                <a:gd name="connsiteY220" fmla="*/ 82063 h 613471"/>
                <a:gd name="connsiteX221" fmla="*/ 532571 w 750200"/>
                <a:gd name="connsiteY221" fmla="*/ 83226 h 613471"/>
                <a:gd name="connsiteX222" fmla="*/ 532184 w 750200"/>
                <a:gd name="connsiteY222" fmla="*/ 84389 h 613471"/>
                <a:gd name="connsiteX223" fmla="*/ 531796 w 750200"/>
                <a:gd name="connsiteY223" fmla="*/ 86845 h 613471"/>
                <a:gd name="connsiteX224" fmla="*/ 531667 w 750200"/>
                <a:gd name="connsiteY224" fmla="*/ 89042 h 613471"/>
                <a:gd name="connsiteX225" fmla="*/ 531538 w 750200"/>
                <a:gd name="connsiteY225" fmla="*/ 90205 h 613471"/>
                <a:gd name="connsiteX226" fmla="*/ 531150 w 750200"/>
                <a:gd name="connsiteY226" fmla="*/ 91239 h 613471"/>
                <a:gd name="connsiteX227" fmla="*/ 530374 w 750200"/>
                <a:gd name="connsiteY227" fmla="*/ 92144 h 613471"/>
                <a:gd name="connsiteX228" fmla="*/ 529470 w 750200"/>
                <a:gd name="connsiteY228" fmla="*/ 92919 h 613471"/>
                <a:gd name="connsiteX229" fmla="*/ 528436 w 750200"/>
                <a:gd name="connsiteY229" fmla="*/ 93565 h 613471"/>
                <a:gd name="connsiteX230" fmla="*/ 527273 w 750200"/>
                <a:gd name="connsiteY230" fmla="*/ 93824 h 613471"/>
                <a:gd name="connsiteX231" fmla="*/ 525722 w 750200"/>
                <a:gd name="connsiteY231" fmla="*/ 93824 h 613471"/>
                <a:gd name="connsiteX232" fmla="*/ 523913 w 750200"/>
                <a:gd name="connsiteY232" fmla="*/ 93307 h 613471"/>
                <a:gd name="connsiteX233" fmla="*/ 521070 w 750200"/>
                <a:gd name="connsiteY233" fmla="*/ 92144 h 613471"/>
                <a:gd name="connsiteX234" fmla="*/ 519260 w 750200"/>
                <a:gd name="connsiteY234" fmla="*/ 90593 h 613471"/>
                <a:gd name="connsiteX235" fmla="*/ 518356 w 750200"/>
                <a:gd name="connsiteY235" fmla="*/ 89300 h 613471"/>
                <a:gd name="connsiteX236" fmla="*/ 517839 w 750200"/>
                <a:gd name="connsiteY236" fmla="*/ 88267 h 613471"/>
                <a:gd name="connsiteX237" fmla="*/ 517322 w 750200"/>
                <a:gd name="connsiteY237" fmla="*/ 87362 h 613471"/>
                <a:gd name="connsiteX238" fmla="*/ 516546 w 750200"/>
                <a:gd name="connsiteY238" fmla="*/ 86845 h 613471"/>
                <a:gd name="connsiteX239" fmla="*/ 515383 w 750200"/>
                <a:gd name="connsiteY239" fmla="*/ 86199 h 613471"/>
                <a:gd name="connsiteX240" fmla="*/ 508534 w 750200"/>
                <a:gd name="connsiteY240" fmla="*/ 84389 h 613471"/>
                <a:gd name="connsiteX241" fmla="*/ 507242 w 750200"/>
                <a:gd name="connsiteY241" fmla="*/ 84260 h 613471"/>
                <a:gd name="connsiteX242" fmla="*/ 506079 w 750200"/>
                <a:gd name="connsiteY242" fmla="*/ 84389 h 613471"/>
                <a:gd name="connsiteX243" fmla="*/ 504915 w 750200"/>
                <a:gd name="connsiteY243" fmla="*/ 84260 h 613471"/>
                <a:gd name="connsiteX244" fmla="*/ 503882 w 750200"/>
                <a:gd name="connsiteY244" fmla="*/ 83873 h 613471"/>
                <a:gd name="connsiteX245" fmla="*/ 502848 w 750200"/>
                <a:gd name="connsiteY245" fmla="*/ 82580 h 613471"/>
                <a:gd name="connsiteX246" fmla="*/ 502331 w 750200"/>
                <a:gd name="connsiteY246" fmla="*/ 81417 h 613471"/>
                <a:gd name="connsiteX247" fmla="*/ 501943 w 750200"/>
                <a:gd name="connsiteY247" fmla="*/ 80254 h 613471"/>
                <a:gd name="connsiteX248" fmla="*/ 501297 w 750200"/>
                <a:gd name="connsiteY248" fmla="*/ 75602 h 613471"/>
                <a:gd name="connsiteX249" fmla="*/ 500651 w 750200"/>
                <a:gd name="connsiteY249" fmla="*/ 73405 h 613471"/>
                <a:gd name="connsiteX250" fmla="*/ 498971 w 750200"/>
                <a:gd name="connsiteY250" fmla="*/ 70045 h 613471"/>
                <a:gd name="connsiteX251" fmla="*/ 498454 w 750200"/>
                <a:gd name="connsiteY251" fmla="*/ 68881 h 613471"/>
                <a:gd name="connsiteX252" fmla="*/ 498454 w 750200"/>
                <a:gd name="connsiteY252" fmla="*/ 67848 h 613471"/>
                <a:gd name="connsiteX253" fmla="*/ 498841 w 750200"/>
                <a:gd name="connsiteY253" fmla="*/ 65651 h 613471"/>
                <a:gd name="connsiteX254" fmla="*/ 498325 w 750200"/>
                <a:gd name="connsiteY254" fmla="*/ 64617 h 613471"/>
                <a:gd name="connsiteX255" fmla="*/ 497161 w 750200"/>
                <a:gd name="connsiteY255" fmla="*/ 63712 h 613471"/>
                <a:gd name="connsiteX256" fmla="*/ 494577 w 750200"/>
                <a:gd name="connsiteY256" fmla="*/ 63066 h 613471"/>
                <a:gd name="connsiteX257" fmla="*/ 492897 w 750200"/>
                <a:gd name="connsiteY257" fmla="*/ 63066 h 613471"/>
                <a:gd name="connsiteX258" fmla="*/ 489278 w 750200"/>
                <a:gd name="connsiteY258" fmla="*/ 63583 h 613471"/>
                <a:gd name="connsiteX259" fmla="*/ 488115 w 750200"/>
                <a:gd name="connsiteY259" fmla="*/ 63583 h 613471"/>
                <a:gd name="connsiteX260" fmla="*/ 487081 w 750200"/>
                <a:gd name="connsiteY260" fmla="*/ 63454 h 613471"/>
                <a:gd name="connsiteX261" fmla="*/ 485918 w 750200"/>
                <a:gd name="connsiteY261" fmla="*/ 63066 h 613471"/>
                <a:gd name="connsiteX262" fmla="*/ 485013 w 750200"/>
                <a:gd name="connsiteY262" fmla="*/ 62420 h 613471"/>
                <a:gd name="connsiteX263" fmla="*/ 484238 w 750200"/>
                <a:gd name="connsiteY263" fmla="*/ 61386 h 613471"/>
                <a:gd name="connsiteX264" fmla="*/ 483850 w 750200"/>
                <a:gd name="connsiteY264" fmla="*/ 60352 h 613471"/>
                <a:gd name="connsiteX265" fmla="*/ 483204 w 750200"/>
                <a:gd name="connsiteY265" fmla="*/ 58155 h 613471"/>
                <a:gd name="connsiteX266" fmla="*/ 481653 w 750200"/>
                <a:gd name="connsiteY266" fmla="*/ 54020 h 613471"/>
                <a:gd name="connsiteX267" fmla="*/ 480490 w 750200"/>
                <a:gd name="connsiteY267" fmla="*/ 49755 h 613471"/>
                <a:gd name="connsiteX268" fmla="*/ 479973 w 750200"/>
                <a:gd name="connsiteY268" fmla="*/ 48721 h 613471"/>
                <a:gd name="connsiteX269" fmla="*/ 478681 w 750200"/>
                <a:gd name="connsiteY269" fmla="*/ 46524 h 613471"/>
                <a:gd name="connsiteX270" fmla="*/ 478164 w 750200"/>
                <a:gd name="connsiteY270" fmla="*/ 45361 h 613471"/>
                <a:gd name="connsiteX271" fmla="*/ 478035 w 750200"/>
                <a:gd name="connsiteY271" fmla="*/ 44327 h 613471"/>
                <a:gd name="connsiteX272" fmla="*/ 477906 w 750200"/>
                <a:gd name="connsiteY272" fmla="*/ 43293 h 613471"/>
                <a:gd name="connsiteX273" fmla="*/ 477647 w 750200"/>
                <a:gd name="connsiteY273" fmla="*/ 42259 h 613471"/>
                <a:gd name="connsiteX274" fmla="*/ 477130 w 750200"/>
                <a:gd name="connsiteY274" fmla="*/ 41226 h 613471"/>
                <a:gd name="connsiteX275" fmla="*/ 476355 w 750200"/>
                <a:gd name="connsiteY275" fmla="*/ 40192 h 613471"/>
                <a:gd name="connsiteX276" fmla="*/ 474675 w 750200"/>
                <a:gd name="connsiteY276" fmla="*/ 39158 h 613471"/>
                <a:gd name="connsiteX277" fmla="*/ 472607 w 750200"/>
                <a:gd name="connsiteY277" fmla="*/ 38382 h 613471"/>
                <a:gd name="connsiteX278" fmla="*/ 468472 w 750200"/>
                <a:gd name="connsiteY278" fmla="*/ 37478 h 613471"/>
                <a:gd name="connsiteX279" fmla="*/ 466275 w 750200"/>
                <a:gd name="connsiteY279" fmla="*/ 37478 h 613471"/>
                <a:gd name="connsiteX280" fmla="*/ 464724 w 750200"/>
                <a:gd name="connsiteY280" fmla="*/ 37865 h 613471"/>
                <a:gd name="connsiteX281" fmla="*/ 463819 w 750200"/>
                <a:gd name="connsiteY281" fmla="*/ 38253 h 613471"/>
                <a:gd name="connsiteX282" fmla="*/ 463173 w 750200"/>
                <a:gd name="connsiteY282" fmla="*/ 38512 h 613471"/>
                <a:gd name="connsiteX283" fmla="*/ 462268 w 750200"/>
                <a:gd name="connsiteY283" fmla="*/ 38770 h 613471"/>
                <a:gd name="connsiteX284" fmla="*/ 461364 w 750200"/>
                <a:gd name="connsiteY284" fmla="*/ 39029 h 613471"/>
                <a:gd name="connsiteX285" fmla="*/ 460201 w 750200"/>
                <a:gd name="connsiteY285" fmla="*/ 39158 h 613471"/>
                <a:gd name="connsiteX286" fmla="*/ 459296 w 750200"/>
                <a:gd name="connsiteY286" fmla="*/ 39029 h 613471"/>
                <a:gd name="connsiteX287" fmla="*/ 458779 w 750200"/>
                <a:gd name="connsiteY287" fmla="*/ 38253 h 613471"/>
                <a:gd name="connsiteX288" fmla="*/ 458650 w 750200"/>
                <a:gd name="connsiteY288" fmla="*/ 37348 h 613471"/>
                <a:gd name="connsiteX289" fmla="*/ 458391 w 750200"/>
                <a:gd name="connsiteY289" fmla="*/ 32955 h 613471"/>
                <a:gd name="connsiteX290" fmla="*/ 458133 w 750200"/>
                <a:gd name="connsiteY290" fmla="*/ 31921 h 613471"/>
                <a:gd name="connsiteX291" fmla="*/ 457745 w 750200"/>
                <a:gd name="connsiteY291" fmla="*/ 30887 h 613471"/>
                <a:gd name="connsiteX292" fmla="*/ 456582 w 750200"/>
                <a:gd name="connsiteY292" fmla="*/ 29594 h 613471"/>
                <a:gd name="connsiteX293" fmla="*/ 454902 w 750200"/>
                <a:gd name="connsiteY293" fmla="*/ 28173 h 613471"/>
                <a:gd name="connsiteX294" fmla="*/ 451800 w 750200"/>
                <a:gd name="connsiteY294" fmla="*/ 26234 h 613471"/>
                <a:gd name="connsiteX295" fmla="*/ 450120 w 750200"/>
                <a:gd name="connsiteY295" fmla="*/ 24942 h 613471"/>
                <a:gd name="connsiteX296" fmla="*/ 448957 w 750200"/>
                <a:gd name="connsiteY296" fmla="*/ 23650 h 613471"/>
                <a:gd name="connsiteX297" fmla="*/ 445985 w 750200"/>
                <a:gd name="connsiteY297" fmla="*/ 17576 h 613471"/>
                <a:gd name="connsiteX298" fmla="*/ 445726 w 750200"/>
                <a:gd name="connsiteY298" fmla="*/ 16542 h 613471"/>
                <a:gd name="connsiteX299" fmla="*/ 445726 w 750200"/>
                <a:gd name="connsiteY299" fmla="*/ 14345 h 613471"/>
                <a:gd name="connsiteX300" fmla="*/ 445468 w 750200"/>
                <a:gd name="connsiteY300" fmla="*/ 13311 h 613471"/>
                <a:gd name="connsiteX301" fmla="*/ 444822 w 750200"/>
                <a:gd name="connsiteY301" fmla="*/ 12277 h 613471"/>
                <a:gd name="connsiteX302" fmla="*/ 439652 w 750200"/>
                <a:gd name="connsiteY302" fmla="*/ 6720 h 613471"/>
                <a:gd name="connsiteX303" fmla="*/ 438619 w 750200"/>
                <a:gd name="connsiteY303" fmla="*/ 5945 h 613471"/>
                <a:gd name="connsiteX304" fmla="*/ 437456 w 750200"/>
                <a:gd name="connsiteY304" fmla="*/ 5299 h 613471"/>
                <a:gd name="connsiteX305" fmla="*/ 436034 w 750200"/>
                <a:gd name="connsiteY305" fmla="*/ 4652 h 613471"/>
                <a:gd name="connsiteX306" fmla="*/ 430735 w 750200"/>
                <a:gd name="connsiteY306" fmla="*/ 3102 h 613471"/>
                <a:gd name="connsiteX307" fmla="*/ 429443 w 750200"/>
                <a:gd name="connsiteY307" fmla="*/ 2455 h 613471"/>
                <a:gd name="connsiteX308" fmla="*/ 428280 w 750200"/>
                <a:gd name="connsiteY308" fmla="*/ 1680 h 613471"/>
                <a:gd name="connsiteX309" fmla="*/ 420267 w 750200"/>
                <a:gd name="connsiteY309" fmla="*/ 905 h 613471"/>
                <a:gd name="connsiteX310" fmla="*/ 352420 w 750200"/>
                <a:gd name="connsiteY310" fmla="*/ 0 h 613471"/>
                <a:gd name="connsiteX311" fmla="*/ 350094 w 750200"/>
                <a:gd name="connsiteY311" fmla="*/ 2972 h 613471"/>
                <a:gd name="connsiteX312" fmla="*/ 347380 w 750200"/>
                <a:gd name="connsiteY312" fmla="*/ 7496 h 613471"/>
                <a:gd name="connsiteX313" fmla="*/ 346992 w 750200"/>
                <a:gd name="connsiteY313" fmla="*/ 8529 h 613471"/>
                <a:gd name="connsiteX314" fmla="*/ 346734 w 750200"/>
                <a:gd name="connsiteY314" fmla="*/ 9693 h 613471"/>
                <a:gd name="connsiteX315" fmla="*/ 346863 w 750200"/>
                <a:gd name="connsiteY315" fmla="*/ 10726 h 613471"/>
                <a:gd name="connsiteX316" fmla="*/ 348026 w 750200"/>
                <a:gd name="connsiteY316" fmla="*/ 14991 h 613471"/>
                <a:gd name="connsiteX317" fmla="*/ 348026 w 750200"/>
                <a:gd name="connsiteY317" fmla="*/ 16025 h 613471"/>
                <a:gd name="connsiteX318" fmla="*/ 347509 w 750200"/>
                <a:gd name="connsiteY318" fmla="*/ 17059 h 613471"/>
                <a:gd name="connsiteX319" fmla="*/ 346604 w 750200"/>
                <a:gd name="connsiteY319" fmla="*/ 17834 h 613471"/>
                <a:gd name="connsiteX320" fmla="*/ 344666 w 750200"/>
                <a:gd name="connsiteY320" fmla="*/ 18093 h 613471"/>
                <a:gd name="connsiteX321" fmla="*/ 343244 w 750200"/>
                <a:gd name="connsiteY321" fmla="*/ 18093 h 613471"/>
                <a:gd name="connsiteX322" fmla="*/ 341952 w 750200"/>
                <a:gd name="connsiteY322" fmla="*/ 18222 h 613471"/>
                <a:gd name="connsiteX323" fmla="*/ 338850 w 750200"/>
                <a:gd name="connsiteY323" fmla="*/ 19514 h 613471"/>
                <a:gd name="connsiteX324" fmla="*/ 334586 w 750200"/>
                <a:gd name="connsiteY324" fmla="*/ 19902 h 613471"/>
                <a:gd name="connsiteX325" fmla="*/ 333552 w 750200"/>
                <a:gd name="connsiteY325" fmla="*/ 20160 h 613471"/>
                <a:gd name="connsiteX326" fmla="*/ 332389 w 750200"/>
                <a:gd name="connsiteY326" fmla="*/ 20677 h 613471"/>
                <a:gd name="connsiteX327" fmla="*/ 331355 w 750200"/>
                <a:gd name="connsiteY327" fmla="*/ 21324 h 613471"/>
                <a:gd name="connsiteX328" fmla="*/ 330321 w 750200"/>
                <a:gd name="connsiteY328" fmla="*/ 22487 h 613471"/>
                <a:gd name="connsiteX329" fmla="*/ 330062 w 750200"/>
                <a:gd name="connsiteY329" fmla="*/ 23520 h 613471"/>
                <a:gd name="connsiteX330" fmla="*/ 330062 w 750200"/>
                <a:gd name="connsiteY330" fmla="*/ 24684 h 613471"/>
                <a:gd name="connsiteX331" fmla="*/ 331096 w 750200"/>
                <a:gd name="connsiteY331" fmla="*/ 27785 h 613471"/>
                <a:gd name="connsiteX332" fmla="*/ 331226 w 750200"/>
                <a:gd name="connsiteY332" fmla="*/ 28948 h 613471"/>
                <a:gd name="connsiteX333" fmla="*/ 330709 w 750200"/>
                <a:gd name="connsiteY333" fmla="*/ 29853 h 613471"/>
                <a:gd name="connsiteX334" fmla="*/ 329675 w 750200"/>
                <a:gd name="connsiteY334" fmla="*/ 30628 h 613471"/>
                <a:gd name="connsiteX335" fmla="*/ 325669 w 750200"/>
                <a:gd name="connsiteY335" fmla="*/ 31533 h 613471"/>
                <a:gd name="connsiteX336" fmla="*/ 321404 w 750200"/>
                <a:gd name="connsiteY336" fmla="*/ 32955 h 613471"/>
                <a:gd name="connsiteX337" fmla="*/ 315976 w 750200"/>
                <a:gd name="connsiteY337" fmla="*/ 33472 h 613471"/>
                <a:gd name="connsiteX338" fmla="*/ 314813 w 750200"/>
                <a:gd name="connsiteY338" fmla="*/ 33730 h 613471"/>
                <a:gd name="connsiteX339" fmla="*/ 313779 w 750200"/>
                <a:gd name="connsiteY339" fmla="*/ 34118 h 613471"/>
                <a:gd name="connsiteX340" fmla="*/ 312616 w 750200"/>
                <a:gd name="connsiteY340" fmla="*/ 34893 h 613471"/>
                <a:gd name="connsiteX341" fmla="*/ 311841 w 750200"/>
                <a:gd name="connsiteY341" fmla="*/ 35927 h 613471"/>
                <a:gd name="connsiteX342" fmla="*/ 309773 w 750200"/>
                <a:gd name="connsiteY342" fmla="*/ 39675 h 613471"/>
                <a:gd name="connsiteX343" fmla="*/ 308997 w 750200"/>
                <a:gd name="connsiteY343" fmla="*/ 40838 h 613471"/>
                <a:gd name="connsiteX344" fmla="*/ 304991 w 750200"/>
                <a:gd name="connsiteY344" fmla="*/ 44973 h 613471"/>
                <a:gd name="connsiteX345" fmla="*/ 304216 w 750200"/>
                <a:gd name="connsiteY345" fmla="*/ 46136 h 613471"/>
                <a:gd name="connsiteX346" fmla="*/ 303828 w 750200"/>
                <a:gd name="connsiteY346" fmla="*/ 47300 h 613471"/>
                <a:gd name="connsiteX347" fmla="*/ 303699 w 750200"/>
                <a:gd name="connsiteY347" fmla="*/ 48333 h 613471"/>
                <a:gd name="connsiteX348" fmla="*/ 303957 w 750200"/>
                <a:gd name="connsiteY348" fmla="*/ 49496 h 613471"/>
                <a:gd name="connsiteX349" fmla="*/ 304603 w 750200"/>
                <a:gd name="connsiteY349" fmla="*/ 50530 h 613471"/>
                <a:gd name="connsiteX350" fmla="*/ 305379 w 750200"/>
                <a:gd name="connsiteY350" fmla="*/ 51564 h 613471"/>
                <a:gd name="connsiteX351" fmla="*/ 306413 w 750200"/>
                <a:gd name="connsiteY351" fmla="*/ 52340 h 613471"/>
                <a:gd name="connsiteX352" fmla="*/ 308739 w 750200"/>
                <a:gd name="connsiteY352" fmla="*/ 53761 h 613471"/>
                <a:gd name="connsiteX353" fmla="*/ 309773 w 750200"/>
                <a:gd name="connsiteY353" fmla="*/ 54666 h 613471"/>
                <a:gd name="connsiteX354" fmla="*/ 310548 w 750200"/>
                <a:gd name="connsiteY354" fmla="*/ 55441 h 613471"/>
                <a:gd name="connsiteX355" fmla="*/ 311065 w 750200"/>
                <a:gd name="connsiteY355" fmla="*/ 56475 h 613471"/>
                <a:gd name="connsiteX356" fmla="*/ 311453 w 750200"/>
                <a:gd name="connsiteY356" fmla="*/ 57509 h 613471"/>
                <a:gd name="connsiteX357" fmla="*/ 311453 w 750200"/>
                <a:gd name="connsiteY357" fmla="*/ 58543 h 613471"/>
                <a:gd name="connsiteX358" fmla="*/ 311065 w 750200"/>
                <a:gd name="connsiteY358" fmla="*/ 59577 h 613471"/>
                <a:gd name="connsiteX359" fmla="*/ 309773 w 750200"/>
                <a:gd name="connsiteY359" fmla="*/ 61774 h 613471"/>
                <a:gd name="connsiteX360" fmla="*/ 309127 w 750200"/>
                <a:gd name="connsiteY360" fmla="*/ 63971 h 613471"/>
                <a:gd name="connsiteX361" fmla="*/ 308610 w 750200"/>
                <a:gd name="connsiteY361" fmla="*/ 65004 h 613471"/>
                <a:gd name="connsiteX362" fmla="*/ 307834 w 750200"/>
                <a:gd name="connsiteY362" fmla="*/ 66038 h 613471"/>
                <a:gd name="connsiteX363" fmla="*/ 306800 w 750200"/>
                <a:gd name="connsiteY363" fmla="*/ 66943 h 613471"/>
                <a:gd name="connsiteX364" fmla="*/ 305896 w 750200"/>
                <a:gd name="connsiteY364" fmla="*/ 67977 h 613471"/>
                <a:gd name="connsiteX365" fmla="*/ 303699 w 750200"/>
                <a:gd name="connsiteY365" fmla="*/ 72112 h 613471"/>
                <a:gd name="connsiteX366" fmla="*/ 303182 w 750200"/>
                <a:gd name="connsiteY366" fmla="*/ 73017 h 613471"/>
                <a:gd name="connsiteX367" fmla="*/ 302536 w 750200"/>
                <a:gd name="connsiteY367" fmla="*/ 73663 h 613471"/>
                <a:gd name="connsiteX368" fmla="*/ 301243 w 750200"/>
                <a:gd name="connsiteY368" fmla="*/ 74439 h 613471"/>
                <a:gd name="connsiteX369" fmla="*/ 299046 w 750200"/>
                <a:gd name="connsiteY369" fmla="*/ 75214 h 613471"/>
                <a:gd name="connsiteX370" fmla="*/ 296849 w 750200"/>
                <a:gd name="connsiteY370" fmla="*/ 76119 h 613471"/>
                <a:gd name="connsiteX371" fmla="*/ 295169 w 750200"/>
                <a:gd name="connsiteY371" fmla="*/ 76635 h 613471"/>
                <a:gd name="connsiteX372" fmla="*/ 293360 w 750200"/>
                <a:gd name="connsiteY372" fmla="*/ 76377 h 613471"/>
                <a:gd name="connsiteX373" fmla="*/ 292585 w 750200"/>
                <a:gd name="connsiteY373" fmla="*/ 75472 h 613471"/>
                <a:gd name="connsiteX374" fmla="*/ 292068 w 750200"/>
                <a:gd name="connsiteY374" fmla="*/ 74568 h 613471"/>
                <a:gd name="connsiteX375" fmla="*/ 291422 w 750200"/>
                <a:gd name="connsiteY375" fmla="*/ 73792 h 613471"/>
                <a:gd name="connsiteX376" fmla="*/ 290388 w 750200"/>
                <a:gd name="connsiteY376" fmla="*/ 73405 h 613471"/>
                <a:gd name="connsiteX377" fmla="*/ 289483 w 750200"/>
                <a:gd name="connsiteY377" fmla="*/ 73792 h 613471"/>
                <a:gd name="connsiteX378" fmla="*/ 288578 w 750200"/>
                <a:gd name="connsiteY378" fmla="*/ 74568 h 613471"/>
                <a:gd name="connsiteX379" fmla="*/ 288320 w 750200"/>
                <a:gd name="connsiteY379" fmla="*/ 75602 h 613471"/>
                <a:gd name="connsiteX380" fmla="*/ 288191 w 750200"/>
                <a:gd name="connsiteY380" fmla="*/ 76635 h 613471"/>
                <a:gd name="connsiteX381" fmla="*/ 288966 w 750200"/>
                <a:gd name="connsiteY381" fmla="*/ 79996 h 613471"/>
                <a:gd name="connsiteX382" fmla="*/ 289095 w 750200"/>
                <a:gd name="connsiteY382" fmla="*/ 81159 h 613471"/>
                <a:gd name="connsiteX383" fmla="*/ 288708 w 750200"/>
                <a:gd name="connsiteY383" fmla="*/ 83226 h 613471"/>
                <a:gd name="connsiteX384" fmla="*/ 288708 w 750200"/>
                <a:gd name="connsiteY384" fmla="*/ 84260 h 613471"/>
                <a:gd name="connsiteX385" fmla="*/ 289095 w 750200"/>
                <a:gd name="connsiteY385" fmla="*/ 85423 h 613471"/>
                <a:gd name="connsiteX386" fmla="*/ 289742 w 750200"/>
                <a:gd name="connsiteY386" fmla="*/ 86457 h 613471"/>
                <a:gd name="connsiteX387" fmla="*/ 290129 w 750200"/>
                <a:gd name="connsiteY387" fmla="*/ 87620 h 613471"/>
                <a:gd name="connsiteX388" fmla="*/ 290000 w 750200"/>
                <a:gd name="connsiteY388" fmla="*/ 88654 h 613471"/>
                <a:gd name="connsiteX389" fmla="*/ 289095 w 750200"/>
                <a:gd name="connsiteY389" fmla="*/ 90851 h 613471"/>
                <a:gd name="connsiteX390" fmla="*/ 288708 w 750200"/>
                <a:gd name="connsiteY390" fmla="*/ 91885 h 613471"/>
                <a:gd name="connsiteX391" fmla="*/ 288578 w 750200"/>
                <a:gd name="connsiteY391" fmla="*/ 93048 h 613471"/>
                <a:gd name="connsiteX392" fmla="*/ 288708 w 750200"/>
                <a:gd name="connsiteY392" fmla="*/ 94211 h 613471"/>
                <a:gd name="connsiteX393" fmla="*/ 290517 w 750200"/>
                <a:gd name="connsiteY393" fmla="*/ 100802 h 613471"/>
                <a:gd name="connsiteX394" fmla="*/ 290517 w 750200"/>
                <a:gd name="connsiteY394" fmla="*/ 101965 h 613471"/>
                <a:gd name="connsiteX395" fmla="*/ 290259 w 750200"/>
                <a:gd name="connsiteY395" fmla="*/ 102870 h 613471"/>
                <a:gd name="connsiteX396" fmla="*/ 289225 w 750200"/>
                <a:gd name="connsiteY396" fmla="*/ 103258 h 613471"/>
                <a:gd name="connsiteX397" fmla="*/ 287803 w 750200"/>
                <a:gd name="connsiteY397" fmla="*/ 102611 h 613471"/>
                <a:gd name="connsiteX398" fmla="*/ 285477 w 750200"/>
                <a:gd name="connsiteY398" fmla="*/ 100931 h 613471"/>
                <a:gd name="connsiteX399" fmla="*/ 284185 w 750200"/>
                <a:gd name="connsiteY399" fmla="*/ 100414 h 613471"/>
                <a:gd name="connsiteX400" fmla="*/ 282892 w 750200"/>
                <a:gd name="connsiteY400" fmla="*/ 100673 h 613471"/>
                <a:gd name="connsiteX401" fmla="*/ 279920 w 750200"/>
                <a:gd name="connsiteY401" fmla="*/ 102224 h 613471"/>
                <a:gd name="connsiteX402" fmla="*/ 278628 w 750200"/>
                <a:gd name="connsiteY402" fmla="*/ 102224 h 613471"/>
                <a:gd name="connsiteX403" fmla="*/ 275914 w 750200"/>
                <a:gd name="connsiteY403" fmla="*/ 101061 h 613471"/>
                <a:gd name="connsiteX404" fmla="*/ 273975 w 750200"/>
                <a:gd name="connsiteY404" fmla="*/ 100673 h 613471"/>
                <a:gd name="connsiteX405" fmla="*/ 270486 w 750200"/>
                <a:gd name="connsiteY405" fmla="*/ 101061 h 613471"/>
                <a:gd name="connsiteX406" fmla="*/ 264283 w 750200"/>
                <a:gd name="connsiteY406" fmla="*/ 100414 h 613471"/>
                <a:gd name="connsiteX407" fmla="*/ 263119 w 750200"/>
                <a:gd name="connsiteY407" fmla="*/ 100673 h 613471"/>
                <a:gd name="connsiteX408" fmla="*/ 262086 w 750200"/>
                <a:gd name="connsiteY408" fmla="*/ 101061 h 613471"/>
                <a:gd name="connsiteX409" fmla="*/ 260922 w 750200"/>
                <a:gd name="connsiteY409" fmla="*/ 101836 h 613471"/>
                <a:gd name="connsiteX410" fmla="*/ 259113 w 750200"/>
                <a:gd name="connsiteY410" fmla="*/ 103774 h 613471"/>
                <a:gd name="connsiteX411" fmla="*/ 258079 w 750200"/>
                <a:gd name="connsiteY411" fmla="*/ 104421 h 613471"/>
                <a:gd name="connsiteX412" fmla="*/ 256916 w 750200"/>
                <a:gd name="connsiteY412" fmla="*/ 104421 h 613471"/>
                <a:gd name="connsiteX413" fmla="*/ 255753 w 750200"/>
                <a:gd name="connsiteY413" fmla="*/ 104033 h 613471"/>
                <a:gd name="connsiteX414" fmla="*/ 253427 w 750200"/>
                <a:gd name="connsiteY414" fmla="*/ 102482 h 613471"/>
                <a:gd name="connsiteX415" fmla="*/ 252135 w 750200"/>
                <a:gd name="connsiteY415" fmla="*/ 102353 h 613471"/>
                <a:gd name="connsiteX416" fmla="*/ 250713 w 750200"/>
                <a:gd name="connsiteY416" fmla="*/ 102611 h 613471"/>
                <a:gd name="connsiteX417" fmla="*/ 248645 w 750200"/>
                <a:gd name="connsiteY417" fmla="*/ 103516 h 613471"/>
                <a:gd name="connsiteX418" fmla="*/ 246448 w 750200"/>
                <a:gd name="connsiteY418" fmla="*/ 105067 h 613471"/>
                <a:gd name="connsiteX419" fmla="*/ 245027 w 750200"/>
                <a:gd name="connsiteY419" fmla="*/ 106230 h 613471"/>
                <a:gd name="connsiteX420" fmla="*/ 243347 w 750200"/>
                <a:gd name="connsiteY420" fmla="*/ 108685 h 613471"/>
                <a:gd name="connsiteX421" fmla="*/ 242442 w 750200"/>
                <a:gd name="connsiteY421" fmla="*/ 109461 h 613471"/>
                <a:gd name="connsiteX422" fmla="*/ 241021 w 750200"/>
                <a:gd name="connsiteY422" fmla="*/ 110107 h 613471"/>
                <a:gd name="connsiteX423" fmla="*/ 239082 w 750200"/>
                <a:gd name="connsiteY423" fmla="*/ 110365 h 613471"/>
                <a:gd name="connsiteX424" fmla="*/ 229131 w 750200"/>
                <a:gd name="connsiteY424" fmla="*/ 109719 h 613471"/>
                <a:gd name="connsiteX425" fmla="*/ 227968 w 750200"/>
                <a:gd name="connsiteY425" fmla="*/ 109461 h 613471"/>
                <a:gd name="connsiteX426" fmla="*/ 226934 w 750200"/>
                <a:gd name="connsiteY426" fmla="*/ 109073 h 613471"/>
                <a:gd name="connsiteX427" fmla="*/ 225900 w 750200"/>
                <a:gd name="connsiteY427" fmla="*/ 108427 h 613471"/>
                <a:gd name="connsiteX428" fmla="*/ 224349 w 750200"/>
                <a:gd name="connsiteY428" fmla="*/ 107005 h 613471"/>
                <a:gd name="connsiteX429" fmla="*/ 223574 w 750200"/>
                <a:gd name="connsiteY429" fmla="*/ 106359 h 613471"/>
                <a:gd name="connsiteX430" fmla="*/ 222411 w 750200"/>
                <a:gd name="connsiteY430" fmla="*/ 105972 h 613471"/>
                <a:gd name="connsiteX431" fmla="*/ 221119 w 750200"/>
                <a:gd name="connsiteY431" fmla="*/ 105842 h 613471"/>
                <a:gd name="connsiteX432" fmla="*/ 219697 w 750200"/>
                <a:gd name="connsiteY432" fmla="*/ 106101 h 613471"/>
                <a:gd name="connsiteX433" fmla="*/ 212848 w 750200"/>
                <a:gd name="connsiteY433" fmla="*/ 109978 h 613471"/>
                <a:gd name="connsiteX434" fmla="*/ 210263 w 750200"/>
                <a:gd name="connsiteY434" fmla="*/ 111916 h 613471"/>
                <a:gd name="connsiteX435" fmla="*/ 208195 w 750200"/>
                <a:gd name="connsiteY435" fmla="*/ 113855 h 613471"/>
                <a:gd name="connsiteX436" fmla="*/ 207420 w 750200"/>
                <a:gd name="connsiteY436" fmla="*/ 114889 h 613471"/>
                <a:gd name="connsiteX437" fmla="*/ 206903 w 750200"/>
                <a:gd name="connsiteY437" fmla="*/ 116052 h 613471"/>
                <a:gd name="connsiteX438" fmla="*/ 206257 w 750200"/>
                <a:gd name="connsiteY438" fmla="*/ 117086 h 613471"/>
                <a:gd name="connsiteX439" fmla="*/ 204447 w 750200"/>
                <a:gd name="connsiteY439" fmla="*/ 119283 h 613471"/>
                <a:gd name="connsiteX440" fmla="*/ 203931 w 750200"/>
                <a:gd name="connsiteY440" fmla="*/ 120446 h 613471"/>
                <a:gd name="connsiteX441" fmla="*/ 203801 w 750200"/>
                <a:gd name="connsiteY441" fmla="*/ 121738 h 613471"/>
                <a:gd name="connsiteX442" fmla="*/ 204060 w 750200"/>
                <a:gd name="connsiteY442" fmla="*/ 122901 h 613471"/>
                <a:gd name="connsiteX443" fmla="*/ 205998 w 750200"/>
                <a:gd name="connsiteY443" fmla="*/ 128329 h 613471"/>
                <a:gd name="connsiteX444" fmla="*/ 206257 w 750200"/>
                <a:gd name="connsiteY444" fmla="*/ 129492 h 613471"/>
                <a:gd name="connsiteX445" fmla="*/ 206257 w 750200"/>
                <a:gd name="connsiteY445" fmla="*/ 130655 h 613471"/>
                <a:gd name="connsiteX446" fmla="*/ 205869 w 750200"/>
                <a:gd name="connsiteY446" fmla="*/ 131689 h 613471"/>
                <a:gd name="connsiteX447" fmla="*/ 205223 w 750200"/>
                <a:gd name="connsiteY447" fmla="*/ 132852 h 613471"/>
                <a:gd name="connsiteX448" fmla="*/ 204447 w 750200"/>
                <a:gd name="connsiteY448" fmla="*/ 133886 h 613471"/>
                <a:gd name="connsiteX449" fmla="*/ 201087 w 750200"/>
                <a:gd name="connsiteY449" fmla="*/ 136600 h 613471"/>
                <a:gd name="connsiteX450" fmla="*/ 200312 w 750200"/>
                <a:gd name="connsiteY450" fmla="*/ 137504 h 613471"/>
                <a:gd name="connsiteX451" fmla="*/ 199666 w 750200"/>
                <a:gd name="connsiteY451" fmla="*/ 138668 h 613471"/>
                <a:gd name="connsiteX452" fmla="*/ 199407 w 750200"/>
                <a:gd name="connsiteY452" fmla="*/ 140994 h 613471"/>
                <a:gd name="connsiteX453" fmla="*/ 199020 w 750200"/>
                <a:gd name="connsiteY453" fmla="*/ 142028 h 613471"/>
                <a:gd name="connsiteX454" fmla="*/ 198244 w 750200"/>
                <a:gd name="connsiteY454" fmla="*/ 142803 h 613471"/>
                <a:gd name="connsiteX455" fmla="*/ 196435 w 750200"/>
                <a:gd name="connsiteY455" fmla="*/ 143966 h 613471"/>
                <a:gd name="connsiteX456" fmla="*/ 195789 w 750200"/>
                <a:gd name="connsiteY456" fmla="*/ 144354 h 613471"/>
                <a:gd name="connsiteX457" fmla="*/ 195143 w 750200"/>
                <a:gd name="connsiteY457" fmla="*/ 145129 h 613471"/>
                <a:gd name="connsiteX458" fmla="*/ 193592 w 750200"/>
                <a:gd name="connsiteY458" fmla="*/ 148360 h 613471"/>
                <a:gd name="connsiteX459" fmla="*/ 192816 w 750200"/>
                <a:gd name="connsiteY459" fmla="*/ 149523 h 613471"/>
                <a:gd name="connsiteX460" fmla="*/ 192041 w 750200"/>
                <a:gd name="connsiteY460" fmla="*/ 150557 h 613471"/>
                <a:gd name="connsiteX461" fmla="*/ 191007 w 750200"/>
                <a:gd name="connsiteY461" fmla="*/ 151591 h 613471"/>
                <a:gd name="connsiteX462" fmla="*/ 188810 w 750200"/>
                <a:gd name="connsiteY462" fmla="*/ 153400 h 613471"/>
                <a:gd name="connsiteX463" fmla="*/ 187647 w 750200"/>
                <a:gd name="connsiteY463" fmla="*/ 154046 h 613471"/>
                <a:gd name="connsiteX464" fmla="*/ 186355 w 750200"/>
                <a:gd name="connsiteY464" fmla="*/ 154434 h 613471"/>
                <a:gd name="connsiteX465" fmla="*/ 184546 w 750200"/>
                <a:gd name="connsiteY465" fmla="*/ 154434 h 613471"/>
                <a:gd name="connsiteX466" fmla="*/ 183124 w 750200"/>
                <a:gd name="connsiteY466" fmla="*/ 154046 h 613471"/>
                <a:gd name="connsiteX467" fmla="*/ 181832 w 750200"/>
                <a:gd name="connsiteY467" fmla="*/ 153400 h 613471"/>
                <a:gd name="connsiteX468" fmla="*/ 180668 w 750200"/>
                <a:gd name="connsiteY468" fmla="*/ 152366 h 613471"/>
                <a:gd name="connsiteX469" fmla="*/ 179505 w 750200"/>
                <a:gd name="connsiteY469" fmla="*/ 151332 h 613471"/>
                <a:gd name="connsiteX470" fmla="*/ 178601 w 750200"/>
                <a:gd name="connsiteY470" fmla="*/ 150169 h 613471"/>
                <a:gd name="connsiteX471" fmla="*/ 177955 w 750200"/>
                <a:gd name="connsiteY471" fmla="*/ 148877 h 613471"/>
                <a:gd name="connsiteX472" fmla="*/ 177567 w 750200"/>
                <a:gd name="connsiteY472" fmla="*/ 147843 h 613471"/>
                <a:gd name="connsiteX473" fmla="*/ 177308 w 750200"/>
                <a:gd name="connsiteY473" fmla="*/ 146680 h 613471"/>
                <a:gd name="connsiteX474" fmla="*/ 177308 w 750200"/>
                <a:gd name="connsiteY474" fmla="*/ 145517 h 613471"/>
                <a:gd name="connsiteX475" fmla="*/ 177438 w 750200"/>
                <a:gd name="connsiteY475" fmla="*/ 143320 h 613471"/>
                <a:gd name="connsiteX476" fmla="*/ 177308 w 750200"/>
                <a:gd name="connsiteY476" fmla="*/ 142286 h 613471"/>
                <a:gd name="connsiteX477" fmla="*/ 176533 w 750200"/>
                <a:gd name="connsiteY477" fmla="*/ 141381 h 613471"/>
                <a:gd name="connsiteX478" fmla="*/ 175628 w 750200"/>
                <a:gd name="connsiteY478" fmla="*/ 140477 h 613471"/>
                <a:gd name="connsiteX479" fmla="*/ 174982 w 750200"/>
                <a:gd name="connsiteY479" fmla="*/ 139443 h 613471"/>
                <a:gd name="connsiteX480" fmla="*/ 174724 w 750200"/>
                <a:gd name="connsiteY480" fmla="*/ 138280 h 613471"/>
                <a:gd name="connsiteX481" fmla="*/ 174724 w 750200"/>
                <a:gd name="connsiteY481" fmla="*/ 136083 h 613471"/>
                <a:gd name="connsiteX482" fmla="*/ 174336 w 750200"/>
                <a:gd name="connsiteY482" fmla="*/ 135178 h 613471"/>
                <a:gd name="connsiteX483" fmla="*/ 173302 w 750200"/>
                <a:gd name="connsiteY483" fmla="*/ 134791 h 613471"/>
                <a:gd name="connsiteX484" fmla="*/ 172010 w 750200"/>
                <a:gd name="connsiteY484" fmla="*/ 135178 h 613471"/>
                <a:gd name="connsiteX485" fmla="*/ 170201 w 750200"/>
                <a:gd name="connsiteY485" fmla="*/ 136471 h 613471"/>
                <a:gd name="connsiteX486" fmla="*/ 168908 w 750200"/>
                <a:gd name="connsiteY486" fmla="*/ 137634 h 613471"/>
                <a:gd name="connsiteX487" fmla="*/ 166970 w 750200"/>
                <a:gd name="connsiteY487" fmla="*/ 138926 h 613471"/>
                <a:gd name="connsiteX488" fmla="*/ 159991 w 750200"/>
                <a:gd name="connsiteY488" fmla="*/ 142545 h 613471"/>
                <a:gd name="connsiteX489" fmla="*/ 157794 w 750200"/>
                <a:gd name="connsiteY489" fmla="*/ 144225 h 613471"/>
                <a:gd name="connsiteX490" fmla="*/ 156243 w 750200"/>
                <a:gd name="connsiteY490" fmla="*/ 145646 h 613471"/>
                <a:gd name="connsiteX491" fmla="*/ 155339 w 750200"/>
                <a:gd name="connsiteY491" fmla="*/ 146680 h 613471"/>
                <a:gd name="connsiteX492" fmla="*/ 154434 w 750200"/>
                <a:gd name="connsiteY492" fmla="*/ 147455 h 613471"/>
                <a:gd name="connsiteX493" fmla="*/ 151074 w 750200"/>
                <a:gd name="connsiteY493" fmla="*/ 149523 h 613471"/>
                <a:gd name="connsiteX494" fmla="*/ 150169 w 750200"/>
                <a:gd name="connsiteY494" fmla="*/ 150557 h 613471"/>
                <a:gd name="connsiteX495" fmla="*/ 149523 w 750200"/>
                <a:gd name="connsiteY495" fmla="*/ 151462 h 613471"/>
                <a:gd name="connsiteX496" fmla="*/ 149135 w 750200"/>
                <a:gd name="connsiteY496" fmla="*/ 152496 h 613471"/>
                <a:gd name="connsiteX497" fmla="*/ 149006 w 750200"/>
                <a:gd name="connsiteY497" fmla="*/ 154693 h 613471"/>
                <a:gd name="connsiteX498" fmla="*/ 148619 w 750200"/>
                <a:gd name="connsiteY498" fmla="*/ 155726 h 613471"/>
                <a:gd name="connsiteX499" fmla="*/ 147714 w 750200"/>
                <a:gd name="connsiteY499" fmla="*/ 156502 h 613471"/>
                <a:gd name="connsiteX500" fmla="*/ 146422 w 750200"/>
                <a:gd name="connsiteY500" fmla="*/ 156760 h 613471"/>
                <a:gd name="connsiteX501" fmla="*/ 144354 w 750200"/>
                <a:gd name="connsiteY501" fmla="*/ 156373 h 613471"/>
                <a:gd name="connsiteX502" fmla="*/ 143449 w 750200"/>
                <a:gd name="connsiteY502" fmla="*/ 155468 h 613471"/>
                <a:gd name="connsiteX503" fmla="*/ 142674 w 750200"/>
                <a:gd name="connsiteY503" fmla="*/ 154563 h 613471"/>
                <a:gd name="connsiteX504" fmla="*/ 142286 w 750200"/>
                <a:gd name="connsiteY504" fmla="*/ 153917 h 613471"/>
                <a:gd name="connsiteX505" fmla="*/ 141640 w 750200"/>
                <a:gd name="connsiteY505" fmla="*/ 153142 h 613471"/>
                <a:gd name="connsiteX506" fmla="*/ 140735 w 750200"/>
                <a:gd name="connsiteY506" fmla="*/ 152496 h 613471"/>
                <a:gd name="connsiteX507" fmla="*/ 139701 w 750200"/>
                <a:gd name="connsiteY507" fmla="*/ 151979 h 613471"/>
                <a:gd name="connsiteX508" fmla="*/ 138538 w 750200"/>
                <a:gd name="connsiteY508" fmla="*/ 151720 h 613471"/>
                <a:gd name="connsiteX509" fmla="*/ 137246 w 750200"/>
                <a:gd name="connsiteY509" fmla="*/ 151720 h 613471"/>
                <a:gd name="connsiteX510" fmla="*/ 135695 w 750200"/>
                <a:gd name="connsiteY510" fmla="*/ 152108 h 613471"/>
                <a:gd name="connsiteX511" fmla="*/ 128200 w 750200"/>
                <a:gd name="connsiteY511" fmla="*/ 155856 h 613471"/>
                <a:gd name="connsiteX512" fmla="*/ 126778 w 750200"/>
                <a:gd name="connsiteY512" fmla="*/ 157148 h 613471"/>
                <a:gd name="connsiteX513" fmla="*/ 125873 w 750200"/>
                <a:gd name="connsiteY513" fmla="*/ 158311 h 613471"/>
                <a:gd name="connsiteX514" fmla="*/ 125486 w 750200"/>
                <a:gd name="connsiteY514" fmla="*/ 159345 h 613471"/>
                <a:gd name="connsiteX515" fmla="*/ 124840 w 750200"/>
                <a:gd name="connsiteY515" fmla="*/ 162963 h 613471"/>
                <a:gd name="connsiteX516" fmla="*/ 124452 w 750200"/>
                <a:gd name="connsiteY516" fmla="*/ 163868 h 613471"/>
                <a:gd name="connsiteX517" fmla="*/ 123547 w 750200"/>
                <a:gd name="connsiteY517" fmla="*/ 164902 h 613471"/>
                <a:gd name="connsiteX518" fmla="*/ 122126 w 750200"/>
                <a:gd name="connsiteY518" fmla="*/ 165807 h 613471"/>
                <a:gd name="connsiteX519" fmla="*/ 119670 w 750200"/>
                <a:gd name="connsiteY519" fmla="*/ 166970 h 613471"/>
                <a:gd name="connsiteX520" fmla="*/ 118119 w 750200"/>
                <a:gd name="connsiteY520" fmla="*/ 168004 h 613471"/>
                <a:gd name="connsiteX521" fmla="*/ 116698 w 750200"/>
                <a:gd name="connsiteY521" fmla="*/ 168650 h 613471"/>
                <a:gd name="connsiteX522" fmla="*/ 115406 w 750200"/>
                <a:gd name="connsiteY522" fmla="*/ 168908 h 613471"/>
                <a:gd name="connsiteX523" fmla="*/ 113725 w 750200"/>
                <a:gd name="connsiteY523" fmla="*/ 168521 h 613471"/>
                <a:gd name="connsiteX524" fmla="*/ 112821 w 750200"/>
                <a:gd name="connsiteY524" fmla="*/ 167616 h 613471"/>
                <a:gd name="connsiteX525" fmla="*/ 111658 w 750200"/>
                <a:gd name="connsiteY525" fmla="*/ 165548 h 613471"/>
                <a:gd name="connsiteX526" fmla="*/ 110882 w 750200"/>
                <a:gd name="connsiteY526" fmla="*/ 164773 h 613471"/>
                <a:gd name="connsiteX527" fmla="*/ 108685 w 750200"/>
                <a:gd name="connsiteY527" fmla="*/ 163610 h 613471"/>
                <a:gd name="connsiteX528" fmla="*/ 107781 w 750200"/>
                <a:gd name="connsiteY528" fmla="*/ 162963 h 613471"/>
                <a:gd name="connsiteX529" fmla="*/ 107264 w 750200"/>
                <a:gd name="connsiteY529" fmla="*/ 162188 h 613471"/>
                <a:gd name="connsiteX530" fmla="*/ 107005 w 750200"/>
                <a:gd name="connsiteY530" fmla="*/ 161671 h 613471"/>
                <a:gd name="connsiteX531" fmla="*/ 106876 w 750200"/>
                <a:gd name="connsiteY531" fmla="*/ 161283 h 613471"/>
                <a:gd name="connsiteX532" fmla="*/ 106488 w 750200"/>
                <a:gd name="connsiteY532" fmla="*/ 160896 h 613471"/>
                <a:gd name="connsiteX533" fmla="*/ 103258 w 750200"/>
                <a:gd name="connsiteY533" fmla="*/ 159733 h 613471"/>
                <a:gd name="connsiteX534" fmla="*/ 102224 w 750200"/>
                <a:gd name="connsiteY534" fmla="*/ 158828 h 613471"/>
                <a:gd name="connsiteX535" fmla="*/ 99898 w 750200"/>
                <a:gd name="connsiteY535" fmla="*/ 155597 h 613471"/>
                <a:gd name="connsiteX536" fmla="*/ 97701 w 750200"/>
                <a:gd name="connsiteY536" fmla="*/ 153271 h 613471"/>
                <a:gd name="connsiteX537" fmla="*/ 96408 w 750200"/>
                <a:gd name="connsiteY537" fmla="*/ 152108 h 613471"/>
                <a:gd name="connsiteX538" fmla="*/ 95116 w 750200"/>
                <a:gd name="connsiteY538" fmla="*/ 151462 h 613471"/>
                <a:gd name="connsiteX539" fmla="*/ 93953 w 750200"/>
                <a:gd name="connsiteY539" fmla="*/ 151074 h 613471"/>
                <a:gd name="connsiteX540" fmla="*/ 90851 w 750200"/>
                <a:gd name="connsiteY540" fmla="*/ 150557 h 613471"/>
                <a:gd name="connsiteX541" fmla="*/ 88913 w 750200"/>
                <a:gd name="connsiteY541" fmla="*/ 150686 h 613471"/>
                <a:gd name="connsiteX542" fmla="*/ 77799 w 750200"/>
                <a:gd name="connsiteY542" fmla="*/ 152625 h 613471"/>
                <a:gd name="connsiteX543" fmla="*/ 72758 w 750200"/>
                <a:gd name="connsiteY543" fmla="*/ 153013 h 613471"/>
                <a:gd name="connsiteX544" fmla="*/ 67589 w 750200"/>
                <a:gd name="connsiteY544" fmla="*/ 152496 h 613471"/>
                <a:gd name="connsiteX545" fmla="*/ 64746 w 750200"/>
                <a:gd name="connsiteY545" fmla="*/ 151979 h 613471"/>
                <a:gd name="connsiteX546" fmla="*/ 62420 w 750200"/>
                <a:gd name="connsiteY546" fmla="*/ 151203 h 613471"/>
                <a:gd name="connsiteX547" fmla="*/ 61127 w 750200"/>
                <a:gd name="connsiteY547" fmla="*/ 151203 h 613471"/>
                <a:gd name="connsiteX548" fmla="*/ 59447 w 750200"/>
                <a:gd name="connsiteY548" fmla="*/ 151462 h 613471"/>
                <a:gd name="connsiteX549" fmla="*/ 56992 w 750200"/>
                <a:gd name="connsiteY549" fmla="*/ 152108 h 613471"/>
                <a:gd name="connsiteX550" fmla="*/ 53890 w 750200"/>
                <a:gd name="connsiteY550" fmla="*/ 151591 h 613471"/>
                <a:gd name="connsiteX551" fmla="*/ 51693 w 750200"/>
                <a:gd name="connsiteY551" fmla="*/ 151591 h 613471"/>
                <a:gd name="connsiteX552" fmla="*/ 50660 w 750200"/>
                <a:gd name="connsiteY552" fmla="*/ 151332 h 613471"/>
                <a:gd name="connsiteX553" fmla="*/ 48463 w 750200"/>
                <a:gd name="connsiteY553" fmla="*/ 150686 h 613471"/>
                <a:gd name="connsiteX554" fmla="*/ 47429 w 750200"/>
                <a:gd name="connsiteY554" fmla="*/ 150686 h 613471"/>
                <a:gd name="connsiteX555" fmla="*/ 46524 w 750200"/>
                <a:gd name="connsiteY555" fmla="*/ 151203 h 613471"/>
                <a:gd name="connsiteX556" fmla="*/ 46007 w 750200"/>
                <a:gd name="connsiteY556" fmla="*/ 152625 h 613471"/>
                <a:gd name="connsiteX557" fmla="*/ 46007 w 750200"/>
                <a:gd name="connsiteY557" fmla="*/ 153917 h 613471"/>
                <a:gd name="connsiteX558" fmla="*/ 47170 w 750200"/>
                <a:gd name="connsiteY558" fmla="*/ 157923 h 613471"/>
                <a:gd name="connsiteX559" fmla="*/ 47299 w 750200"/>
                <a:gd name="connsiteY559" fmla="*/ 159087 h 613471"/>
                <a:gd name="connsiteX560" fmla="*/ 47041 w 750200"/>
                <a:gd name="connsiteY560" fmla="*/ 161283 h 613471"/>
                <a:gd name="connsiteX561" fmla="*/ 46783 w 750200"/>
                <a:gd name="connsiteY561" fmla="*/ 162576 h 613471"/>
                <a:gd name="connsiteX562" fmla="*/ 45749 w 750200"/>
                <a:gd name="connsiteY562" fmla="*/ 163997 h 613471"/>
                <a:gd name="connsiteX563" fmla="*/ 38124 w 750200"/>
                <a:gd name="connsiteY563" fmla="*/ 172010 h 613471"/>
                <a:gd name="connsiteX564" fmla="*/ 36315 w 750200"/>
                <a:gd name="connsiteY564" fmla="*/ 174853 h 613471"/>
                <a:gd name="connsiteX565" fmla="*/ 35022 w 750200"/>
                <a:gd name="connsiteY565" fmla="*/ 176016 h 613471"/>
                <a:gd name="connsiteX566" fmla="*/ 32179 w 750200"/>
                <a:gd name="connsiteY566" fmla="*/ 177050 h 613471"/>
                <a:gd name="connsiteX567" fmla="*/ 26105 w 750200"/>
                <a:gd name="connsiteY567" fmla="*/ 178730 h 613471"/>
                <a:gd name="connsiteX568" fmla="*/ 24942 w 750200"/>
                <a:gd name="connsiteY568" fmla="*/ 179118 h 613471"/>
                <a:gd name="connsiteX569" fmla="*/ 21194 w 750200"/>
                <a:gd name="connsiteY569" fmla="*/ 181832 h 613471"/>
                <a:gd name="connsiteX570" fmla="*/ 14474 w 750200"/>
                <a:gd name="connsiteY570" fmla="*/ 188293 h 613471"/>
                <a:gd name="connsiteX571" fmla="*/ 12923 w 750200"/>
                <a:gd name="connsiteY571" fmla="*/ 188293 h 613471"/>
                <a:gd name="connsiteX572" fmla="*/ 10339 w 750200"/>
                <a:gd name="connsiteY572" fmla="*/ 188035 h 613471"/>
                <a:gd name="connsiteX573" fmla="*/ 9305 w 750200"/>
                <a:gd name="connsiteY573" fmla="*/ 188293 h 613471"/>
                <a:gd name="connsiteX574" fmla="*/ 8529 w 750200"/>
                <a:gd name="connsiteY574" fmla="*/ 189456 h 613471"/>
                <a:gd name="connsiteX575" fmla="*/ 8012 w 750200"/>
                <a:gd name="connsiteY575" fmla="*/ 190490 h 613471"/>
                <a:gd name="connsiteX576" fmla="*/ 6849 w 750200"/>
                <a:gd name="connsiteY576" fmla="*/ 192170 h 613471"/>
                <a:gd name="connsiteX577" fmla="*/ 5816 w 750200"/>
                <a:gd name="connsiteY577" fmla="*/ 193204 h 613471"/>
                <a:gd name="connsiteX578" fmla="*/ 0 w 750200"/>
                <a:gd name="connsiteY578" fmla="*/ 197857 h 613471"/>
                <a:gd name="connsiteX579" fmla="*/ 19514 w 750200"/>
                <a:gd name="connsiteY579" fmla="*/ 206257 h 613471"/>
                <a:gd name="connsiteX580" fmla="*/ 20160 w 750200"/>
                <a:gd name="connsiteY580" fmla="*/ 205481 h 613471"/>
                <a:gd name="connsiteX581" fmla="*/ 21324 w 750200"/>
                <a:gd name="connsiteY581" fmla="*/ 205094 h 613471"/>
                <a:gd name="connsiteX582" fmla="*/ 33988 w 750200"/>
                <a:gd name="connsiteY582" fmla="*/ 202767 h 613471"/>
                <a:gd name="connsiteX583" fmla="*/ 40450 w 750200"/>
                <a:gd name="connsiteY583" fmla="*/ 203284 h 613471"/>
                <a:gd name="connsiteX584" fmla="*/ 42647 w 750200"/>
                <a:gd name="connsiteY584" fmla="*/ 203026 h 613471"/>
                <a:gd name="connsiteX585" fmla="*/ 44715 w 750200"/>
                <a:gd name="connsiteY585" fmla="*/ 202380 h 613471"/>
                <a:gd name="connsiteX586" fmla="*/ 49109 w 750200"/>
                <a:gd name="connsiteY586" fmla="*/ 199795 h 613471"/>
                <a:gd name="connsiteX587" fmla="*/ 50918 w 750200"/>
                <a:gd name="connsiteY587" fmla="*/ 199149 h 613471"/>
                <a:gd name="connsiteX588" fmla="*/ 61386 w 750200"/>
                <a:gd name="connsiteY588" fmla="*/ 197469 h 613471"/>
                <a:gd name="connsiteX589" fmla="*/ 63324 w 750200"/>
                <a:gd name="connsiteY589" fmla="*/ 196823 h 613471"/>
                <a:gd name="connsiteX590" fmla="*/ 66685 w 750200"/>
                <a:gd name="connsiteY590" fmla="*/ 194626 h 613471"/>
                <a:gd name="connsiteX591" fmla="*/ 68494 w 750200"/>
                <a:gd name="connsiteY591" fmla="*/ 193850 h 613471"/>
                <a:gd name="connsiteX592" fmla="*/ 74438 w 750200"/>
                <a:gd name="connsiteY592" fmla="*/ 193204 h 613471"/>
                <a:gd name="connsiteX593" fmla="*/ 74826 w 750200"/>
                <a:gd name="connsiteY593" fmla="*/ 193463 h 613471"/>
                <a:gd name="connsiteX594" fmla="*/ 75214 w 750200"/>
                <a:gd name="connsiteY594" fmla="*/ 193850 h 613471"/>
                <a:gd name="connsiteX595" fmla="*/ 75731 w 750200"/>
                <a:gd name="connsiteY595" fmla="*/ 194367 h 613471"/>
                <a:gd name="connsiteX596" fmla="*/ 76248 w 750200"/>
                <a:gd name="connsiteY596" fmla="*/ 194367 h 613471"/>
                <a:gd name="connsiteX597" fmla="*/ 76765 w 750200"/>
                <a:gd name="connsiteY597" fmla="*/ 193980 h 613471"/>
                <a:gd name="connsiteX598" fmla="*/ 77540 w 750200"/>
                <a:gd name="connsiteY598" fmla="*/ 192687 h 613471"/>
                <a:gd name="connsiteX599" fmla="*/ 78057 w 750200"/>
                <a:gd name="connsiteY599" fmla="*/ 192429 h 613471"/>
                <a:gd name="connsiteX600" fmla="*/ 79608 w 750200"/>
                <a:gd name="connsiteY600" fmla="*/ 192041 h 613471"/>
                <a:gd name="connsiteX601" fmla="*/ 80125 w 750200"/>
                <a:gd name="connsiteY601" fmla="*/ 192170 h 613471"/>
                <a:gd name="connsiteX602" fmla="*/ 81546 w 750200"/>
                <a:gd name="connsiteY602" fmla="*/ 192687 h 613471"/>
                <a:gd name="connsiteX603" fmla="*/ 84390 w 750200"/>
                <a:gd name="connsiteY603" fmla="*/ 194238 h 613471"/>
                <a:gd name="connsiteX604" fmla="*/ 85811 w 750200"/>
                <a:gd name="connsiteY604" fmla="*/ 194626 h 613471"/>
                <a:gd name="connsiteX605" fmla="*/ 87879 w 750200"/>
                <a:gd name="connsiteY605" fmla="*/ 194238 h 613471"/>
                <a:gd name="connsiteX606" fmla="*/ 92660 w 750200"/>
                <a:gd name="connsiteY606" fmla="*/ 191266 h 613471"/>
                <a:gd name="connsiteX607" fmla="*/ 94599 w 750200"/>
                <a:gd name="connsiteY607" fmla="*/ 190619 h 613471"/>
                <a:gd name="connsiteX608" fmla="*/ 96537 w 750200"/>
                <a:gd name="connsiteY608" fmla="*/ 190619 h 613471"/>
                <a:gd name="connsiteX609" fmla="*/ 97959 w 750200"/>
                <a:gd name="connsiteY609" fmla="*/ 190749 h 613471"/>
                <a:gd name="connsiteX610" fmla="*/ 102353 w 750200"/>
                <a:gd name="connsiteY610" fmla="*/ 191783 h 613471"/>
                <a:gd name="connsiteX611" fmla="*/ 103645 w 750200"/>
                <a:gd name="connsiteY611" fmla="*/ 191783 h 613471"/>
                <a:gd name="connsiteX612" fmla="*/ 104938 w 750200"/>
                <a:gd name="connsiteY612" fmla="*/ 191136 h 613471"/>
                <a:gd name="connsiteX613" fmla="*/ 106747 w 750200"/>
                <a:gd name="connsiteY613" fmla="*/ 189327 h 613471"/>
                <a:gd name="connsiteX614" fmla="*/ 107005 w 750200"/>
                <a:gd name="connsiteY614" fmla="*/ 189973 h 613471"/>
                <a:gd name="connsiteX615" fmla="*/ 107393 w 750200"/>
                <a:gd name="connsiteY615" fmla="*/ 191007 h 613471"/>
                <a:gd name="connsiteX616" fmla="*/ 107910 w 750200"/>
                <a:gd name="connsiteY616" fmla="*/ 191783 h 613471"/>
                <a:gd name="connsiteX617" fmla="*/ 108556 w 750200"/>
                <a:gd name="connsiteY617" fmla="*/ 192300 h 613471"/>
                <a:gd name="connsiteX618" fmla="*/ 109719 w 750200"/>
                <a:gd name="connsiteY618" fmla="*/ 192041 h 613471"/>
                <a:gd name="connsiteX619" fmla="*/ 109978 w 750200"/>
                <a:gd name="connsiteY619" fmla="*/ 191136 h 613471"/>
                <a:gd name="connsiteX620" fmla="*/ 109978 w 750200"/>
                <a:gd name="connsiteY620" fmla="*/ 189973 h 613471"/>
                <a:gd name="connsiteX621" fmla="*/ 110107 w 750200"/>
                <a:gd name="connsiteY621" fmla="*/ 189198 h 613471"/>
                <a:gd name="connsiteX622" fmla="*/ 110882 w 750200"/>
                <a:gd name="connsiteY622" fmla="*/ 187001 h 613471"/>
                <a:gd name="connsiteX623" fmla="*/ 111529 w 750200"/>
                <a:gd name="connsiteY623" fmla="*/ 186484 h 613471"/>
                <a:gd name="connsiteX624" fmla="*/ 112304 w 750200"/>
                <a:gd name="connsiteY624" fmla="*/ 188035 h 613471"/>
                <a:gd name="connsiteX625" fmla="*/ 112433 w 750200"/>
                <a:gd name="connsiteY625" fmla="*/ 189069 h 613471"/>
                <a:gd name="connsiteX626" fmla="*/ 112821 w 750200"/>
                <a:gd name="connsiteY626" fmla="*/ 189844 h 613471"/>
                <a:gd name="connsiteX627" fmla="*/ 113338 w 750200"/>
                <a:gd name="connsiteY627" fmla="*/ 190361 h 613471"/>
                <a:gd name="connsiteX628" fmla="*/ 114242 w 750200"/>
                <a:gd name="connsiteY628" fmla="*/ 190749 h 613471"/>
                <a:gd name="connsiteX629" fmla="*/ 118378 w 750200"/>
                <a:gd name="connsiteY629" fmla="*/ 189069 h 613471"/>
                <a:gd name="connsiteX630" fmla="*/ 119929 w 750200"/>
                <a:gd name="connsiteY630" fmla="*/ 189069 h 613471"/>
                <a:gd name="connsiteX631" fmla="*/ 119541 w 750200"/>
                <a:gd name="connsiteY631" fmla="*/ 191524 h 613471"/>
                <a:gd name="connsiteX632" fmla="*/ 119153 w 750200"/>
                <a:gd name="connsiteY632" fmla="*/ 192816 h 613471"/>
                <a:gd name="connsiteX633" fmla="*/ 119670 w 750200"/>
                <a:gd name="connsiteY633" fmla="*/ 193204 h 613471"/>
                <a:gd name="connsiteX634" fmla="*/ 120446 w 750200"/>
                <a:gd name="connsiteY634" fmla="*/ 193075 h 613471"/>
                <a:gd name="connsiteX635" fmla="*/ 121350 w 750200"/>
                <a:gd name="connsiteY635" fmla="*/ 193204 h 613471"/>
                <a:gd name="connsiteX636" fmla="*/ 121609 w 750200"/>
                <a:gd name="connsiteY636" fmla="*/ 193075 h 613471"/>
                <a:gd name="connsiteX637" fmla="*/ 122772 w 750200"/>
                <a:gd name="connsiteY637" fmla="*/ 192687 h 613471"/>
                <a:gd name="connsiteX638" fmla="*/ 123289 w 750200"/>
                <a:gd name="connsiteY638" fmla="*/ 192687 h 613471"/>
                <a:gd name="connsiteX639" fmla="*/ 123935 w 750200"/>
                <a:gd name="connsiteY639" fmla="*/ 192946 h 613471"/>
                <a:gd name="connsiteX640" fmla="*/ 124969 w 750200"/>
                <a:gd name="connsiteY640" fmla="*/ 194109 h 613471"/>
                <a:gd name="connsiteX641" fmla="*/ 125486 w 750200"/>
                <a:gd name="connsiteY641" fmla="*/ 194626 h 613471"/>
                <a:gd name="connsiteX642" fmla="*/ 128717 w 750200"/>
                <a:gd name="connsiteY642" fmla="*/ 196693 h 613471"/>
                <a:gd name="connsiteX643" fmla="*/ 130267 w 750200"/>
                <a:gd name="connsiteY643" fmla="*/ 197469 h 613471"/>
                <a:gd name="connsiteX644" fmla="*/ 132206 w 750200"/>
                <a:gd name="connsiteY644" fmla="*/ 197857 h 613471"/>
                <a:gd name="connsiteX645" fmla="*/ 133498 w 750200"/>
                <a:gd name="connsiteY645" fmla="*/ 197727 h 613471"/>
                <a:gd name="connsiteX646" fmla="*/ 134015 w 750200"/>
                <a:gd name="connsiteY646" fmla="*/ 197340 h 613471"/>
                <a:gd name="connsiteX647" fmla="*/ 134144 w 750200"/>
                <a:gd name="connsiteY647" fmla="*/ 196564 h 613471"/>
                <a:gd name="connsiteX648" fmla="*/ 134791 w 750200"/>
                <a:gd name="connsiteY648" fmla="*/ 195789 h 613471"/>
                <a:gd name="connsiteX649" fmla="*/ 134920 w 750200"/>
                <a:gd name="connsiteY649" fmla="*/ 195530 h 613471"/>
                <a:gd name="connsiteX650" fmla="*/ 134920 w 750200"/>
                <a:gd name="connsiteY650" fmla="*/ 194367 h 613471"/>
                <a:gd name="connsiteX651" fmla="*/ 135178 w 750200"/>
                <a:gd name="connsiteY651" fmla="*/ 193980 h 613471"/>
                <a:gd name="connsiteX652" fmla="*/ 135695 w 750200"/>
                <a:gd name="connsiteY652" fmla="*/ 193721 h 613471"/>
                <a:gd name="connsiteX653" fmla="*/ 136988 w 750200"/>
                <a:gd name="connsiteY653" fmla="*/ 193463 h 613471"/>
                <a:gd name="connsiteX654" fmla="*/ 137505 w 750200"/>
                <a:gd name="connsiteY654" fmla="*/ 193204 h 613471"/>
                <a:gd name="connsiteX655" fmla="*/ 138668 w 750200"/>
                <a:gd name="connsiteY655" fmla="*/ 191912 h 613471"/>
                <a:gd name="connsiteX656" fmla="*/ 139701 w 750200"/>
                <a:gd name="connsiteY656" fmla="*/ 190361 h 613471"/>
                <a:gd name="connsiteX657" fmla="*/ 140218 w 750200"/>
                <a:gd name="connsiteY657" fmla="*/ 189327 h 613471"/>
                <a:gd name="connsiteX658" fmla="*/ 140606 w 750200"/>
                <a:gd name="connsiteY658" fmla="*/ 187647 h 613471"/>
                <a:gd name="connsiteX659" fmla="*/ 141252 w 750200"/>
                <a:gd name="connsiteY659" fmla="*/ 186613 h 613471"/>
                <a:gd name="connsiteX660" fmla="*/ 146163 w 750200"/>
                <a:gd name="connsiteY660" fmla="*/ 182607 h 613471"/>
                <a:gd name="connsiteX661" fmla="*/ 147585 w 750200"/>
                <a:gd name="connsiteY661" fmla="*/ 180927 h 613471"/>
                <a:gd name="connsiteX662" fmla="*/ 148619 w 750200"/>
                <a:gd name="connsiteY662" fmla="*/ 180798 h 613471"/>
                <a:gd name="connsiteX663" fmla="*/ 151462 w 750200"/>
                <a:gd name="connsiteY663" fmla="*/ 180798 h 613471"/>
                <a:gd name="connsiteX664" fmla="*/ 153400 w 750200"/>
                <a:gd name="connsiteY664" fmla="*/ 181573 h 613471"/>
                <a:gd name="connsiteX665" fmla="*/ 156373 w 750200"/>
                <a:gd name="connsiteY665" fmla="*/ 184158 h 613471"/>
                <a:gd name="connsiteX666" fmla="*/ 157923 w 750200"/>
                <a:gd name="connsiteY666" fmla="*/ 187518 h 613471"/>
                <a:gd name="connsiteX667" fmla="*/ 158053 w 750200"/>
                <a:gd name="connsiteY667" fmla="*/ 187776 h 613471"/>
                <a:gd name="connsiteX668" fmla="*/ 159603 w 750200"/>
                <a:gd name="connsiteY668" fmla="*/ 192687 h 613471"/>
                <a:gd name="connsiteX669" fmla="*/ 160637 w 750200"/>
                <a:gd name="connsiteY669" fmla="*/ 193850 h 613471"/>
                <a:gd name="connsiteX670" fmla="*/ 162059 w 750200"/>
                <a:gd name="connsiteY670" fmla="*/ 195143 h 613471"/>
                <a:gd name="connsiteX671" fmla="*/ 163351 w 750200"/>
                <a:gd name="connsiteY671" fmla="*/ 196564 h 613471"/>
                <a:gd name="connsiteX672" fmla="*/ 163997 w 750200"/>
                <a:gd name="connsiteY672" fmla="*/ 198244 h 613471"/>
                <a:gd name="connsiteX673" fmla="*/ 163480 w 750200"/>
                <a:gd name="connsiteY673" fmla="*/ 200700 h 613471"/>
                <a:gd name="connsiteX674" fmla="*/ 161154 w 750200"/>
                <a:gd name="connsiteY674" fmla="*/ 205094 h 613471"/>
                <a:gd name="connsiteX675" fmla="*/ 160250 w 750200"/>
                <a:gd name="connsiteY675" fmla="*/ 207420 h 613471"/>
                <a:gd name="connsiteX676" fmla="*/ 159862 w 750200"/>
                <a:gd name="connsiteY676" fmla="*/ 211814 h 613471"/>
                <a:gd name="connsiteX677" fmla="*/ 160379 w 750200"/>
                <a:gd name="connsiteY677" fmla="*/ 216208 h 613471"/>
                <a:gd name="connsiteX678" fmla="*/ 161283 w 750200"/>
                <a:gd name="connsiteY678" fmla="*/ 220343 h 613471"/>
                <a:gd name="connsiteX679" fmla="*/ 163222 w 750200"/>
                <a:gd name="connsiteY679" fmla="*/ 226029 h 613471"/>
                <a:gd name="connsiteX680" fmla="*/ 163739 w 750200"/>
                <a:gd name="connsiteY680" fmla="*/ 228226 h 613471"/>
                <a:gd name="connsiteX681" fmla="*/ 163997 w 750200"/>
                <a:gd name="connsiteY681" fmla="*/ 233008 h 613471"/>
                <a:gd name="connsiteX682" fmla="*/ 164256 w 750200"/>
                <a:gd name="connsiteY682" fmla="*/ 234042 h 613471"/>
                <a:gd name="connsiteX683" fmla="*/ 165290 w 750200"/>
                <a:gd name="connsiteY683" fmla="*/ 236627 h 613471"/>
                <a:gd name="connsiteX684" fmla="*/ 165548 w 750200"/>
                <a:gd name="connsiteY684" fmla="*/ 237660 h 613471"/>
                <a:gd name="connsiteX685" fmla="*/ 165160 w 750200"/>
                <a:gd name="connsiteY685" fmla="*/ 238694 h 613471"/>
                <a:gd name="connsiteX686" fmla="*/ 163351 w 750200"/>
                <a:gd name="connsiteY686" fmla="*/ 241537 h 613471"/>
                <a:gd name="connsiteX687" fmla="*/ 162188 w 750200"/>
                <a:gd name="connsiteY687" fmla="*/ 246836 h 613471"/>
                <a:gd name="connsiteX688" fmla="*/ 160896 w 750200"/>
                <a:gd name="connsiteY688" fmla="*/ 249292 h 613471"/>
                <a:gd name="connsiteX689" fmla="*/ 156890 w 750200"/>
                <a:gd name="connsiteY689" fmla="*/ 251230 h 613471"/>
                <a:gd name="connsiteX690" fmla="*/ 155339 w 750200"/>
                <a:gd name="connsiteY690" fmla="*/ 253298 h 613471"/>
                <a:gd name="connsiteX691" fmla="*/ 154176 w 750200"/>
                <a:gd name="connsiteY691" fmla="*/ 255753 h 613471"/>
                <a:gd name="connsiteX692" fmla="*/ 153788 w 750200"/>
                <a:gd name="connsiteY692" fmla="*/ 257692 h 613471"/>
                <a:gd name="connsiteX693" fmla="*/ 153788 w 750200"/>
                <a:gd name="connsiteY693" fmla="*/ 257821 h 613471"/>
                <a:gd name="connsiteX694" fmla="*/ 153917 w 750200"/>
                <a:gd name="connsiteY694" fmla="*/ 258596 h 613471"/>
                <a:gd name="connsiteX695" fmla="*/ 154046 w 750200"/>
                <a:gd name="connsiteY695" fmla="*/ 258984 h 613471"/>
                <a:gd name="connsiteX696" fmla="*/ 154563 w 750200"/>
                <a:gd name="connsiteY696" fmla="*/ 259372 h 613471"/>
                <a:gd name="connsiteX697" fmla="*/ 151979 w 750200"/>
                <a:gd name="connsiteY697" fmla="*/ 263895 h 613471"/>
                <a:gd name="connsiteX698" fmla="*/ 150428 w 750200"/>
                <a:gd name="connsiteY698" fmla="*/ 265446 h 613471"/>
                <a:gd name="connsiteX699" fmla="*/ 147843 w 750200"/>
                <a:gd name="connsiteY699" fmla="*/ 265963 h 613471"/>
                <a:gd name="connsiteX700" fmla="*/ 147843 w 750200"/>
                <a:gd name="connsiteY700" fmla="*/ 266738 h 613471"/>
                <a:gd name="connsiteX701" fmla="*/ 149135 w 750200"/>
                <a:gd name="connsiteY701" fmla="*/ 268547 h 613471"/>
                <a:gd name="connsiteX702" fmla="*/ 149394 w 750200"/>
                <a:gd name="connsiteY702" fmla="*/ 269323 h 613471"/>
                <a:gd name="connsiteX703" fmla="*/ 149265 w 750200"/>
                <a:gd name="connsiteY703" fmla="*/ 269840 h 613471"/>
                <a:gd name="connsiteX704" fmla="*/ 148748 w 750200"/>
                <a:gd name="connsiteY704" fmla="*/ 270874 h 613471"/>
                <a:gd name="connsiteX705" fmla="*/ 148619 w 750200"/>
                <a:gd name="connsiteY705" fmla="*/ 271520 h 613471"/>
                <a:gd name="connsiteX706" fmla="*/ 148748 w 750200"/>
                <a:gd name="connsiteY706" fmla="*/ 272424 h 613471"/>
                <a:gd name="connsiteX707" fmla="*/ 149006 w 750200"/>
                <a:gd name="connsiteY707" fmla="*/ 273587 h 613471"/>
                <a:gd name="connsiteX708" fmla="*/ 149265 w 750200"/>
                <a:gd name="connsiteY708" fmla="*/ 274492 h 613471"/>
                <a:gd name="connsiteX709" fmla="*/ 149782 w 750200"/>
                <a:gd name="connsiteY709" fmla="*/ 274880 h 613471"/>
                <a:gd name="connsiteX710" fmla="*/ 150040 w 750200"/>
                <a:gd name="connsiteY710" fmla="*/ 276043 h 613471"/>
                <a:gd name="connsiteX711" fmla="*/ 149394 w 750200"/>
                <a:gd name="connsiteY711" fmla="*/ 281341 h 613471"/>
                <a:gd name="connsiteX712" fmla="*/ 149394 w 750200"/>
                <a:gd name="connsiteY712" fmla="*/ 283022 h 613471"/>
                <a:gd name="connsiteX713" fmla="*/ 151203 w 750200"/>
                <a:gd name="connsiteY713" fmla="*/ 285089 h 613471"/>
                <a:gd name="connsiteX714" fmla="*/ 153013 w 750200"/>
                <a:gd name="connsiteY714" fmla="*/ 286252 h 613471"/>
                <a:gd name="connsiteX715" fmla="*/ 154563 w 750200"/>
                <a:gd name="connsiteY715" fmla="*/ 287803 h 613471"/>
                <a:gd name="connsiteX716" fmla="*/ 155209 w 750200"/>
                <a:gd name="connsiteY716" fmla="*/ 290775 h 613471"/>
                <a:gd name="connsiteX717" fmla="*/ 155080 w 750200"/>
                <a:gd name="connsiteY717" fmla="*/ 292714 h 613471"/>
                <a:gd name="connsiteX718" fmla="*/ 154305 w 750200"/>
                <a:gd name="connsiteY718" fmla="*/ 296849 h 613471"/>
                <a:gd name="connsiteX719" fmla="*/ 152625 w 750200"/>
                <a:gd name="connsiteY719" fmla="*/ 301760 h 613471"/>
                <a:gd name="connsiteX720" fmla="*/ 153142 w 750200"/>
                <a:gd name="connsiteY720" fmla="*/ 303182 h 613471"/>
                <a:gd name="connsiteX721" fmla="*/ 157406 w 750200"/>
                <a:gd name="connsiteY721" fmla="*/ 304345 h 613471"/>
                <a:gd name="connsiteX722" fmla="*/ 159345 w 750200"/>
                <a:gd name="connsiteY722" fmla="*/ 305637 h 613471"/>
                <a:gd name="connsiteX723" fmla="*/ 160896 w 750200"/>
                <a:gd name="connsiteY723" fmla="*/ 307317 h 613471"/>
                <a:gd name="connsiteX724" fmla="*/ 161800 w 750200"/>
                <a:gd name="connsiteY724" fmla="*/ 308997 h 613471"/>
                <a:gd name="connsiteX725" fmla="*/ 162447 w 750200"/>
                <a:gd name="connsiteY725" fmla="*/ 318173 h 613471"/>
                <a:gd name="connsiteX726" fmla="*/ 162834 w 750200"/>
                <a:gd name="connsiteY726" fmla="*/ 318819 h 613471"/>
                <a:gd name="connsiteX727" fmla="*/ 163351 w 750200"/>
                <a:gd name="connsiteY727" fmla="*/ 319465 h 613471"/>
                <a:gd name="connsiteX728" fmla="*/ 163868 w 750200"/>
                <a:gd name="connsiteY728" fmla="*/ 320241 h 613471"/>
                <a:gd name="connsiteX729" fmla="*/ 163997 w 750200"/>
                <a:gd name="connsiteY729" fmla="*/ 321533 h 613471"/>
                <a:gd name="connsiteX730" fmla="*/ 163480 w 750200"/>
                <a:gd name="connsiteY730" fmla="*/ 322567 h 613471"/>
                <a:gd name="connsiteX731" fmla="*/ 162834 w 750200"/>
                <a:gd name="connsiteY731" fmla="*/ 323213 h 613471"/>
                <a:gd name="connsiteX732" fmla="*/ 161930 w 750200"/>
                <a:gd name="connsiteY732" fmla="*/ 323730 h 613471"/>
                <a:gd name="connsiteX733" fmla="*/ 161025 w 750200"/>
                <a:gd name="connsiteY733" fmla="*/ 324505 h 613471"/>
                <a:gd name="connsiteX734" fmla="*/ 159345 w 750200"/>
                <a:gd name="connsiteY734" fmla="*/ 327090 h 613471"/>
                <a:gd name="connsiteX735" fmla="*/ 159345 w 750200"/>
                <a:gd name="connsiteY735" fmla="*/ 329029 h 613471"/>
                <a:gd name="connsiteX736" fmla="*/ 159862 w 750200"/>
                <a:gd name="connsiteY736" fmla="*/ 330838 h 613471"/>
                <a:gd name="connsiteX737" fmla="*/ 160250 w 750200"/>
                <a:gd name="connsiteY737" fmla="*/ 333164 h 613471"/>
                <a:gd name="connsiteX738" fmla="*/ 159474 w 750200"/>
                <a:gd name="connsiteY738" fmla="*/ 335103 h 613471"/>
                <a:gd name="connsiteX739" fmla="*/ 155339 w 750200"/>
                <a:gd name="connsiteY739" fmla="*/ 338333 h 613471"/>
                <a:gd name="connsiteX740" fmla="*/ 153788 w 750200"/>
                <a:gd name="connsiteY740" fmla="*/ 340143 h 613471"/>
                <a:gd name="connsiteX741" fmla="*/ 153400 w 750200"/>
                <a:gd name="connsiteY741" fmla="*/ 342857 h 613471"/>
                <a:gd name="connsiteX742" fmla="*/ 154693 w 750200"/>
                <a:gd name="connsiteY742" fmla="*/ 344537 h 613471"/>
                <a:gd name="connsiteX743" fmla="*/ 156502 w 750200"/>
                <a:gd name="connsiteY743" fmla="*/ 345829 h 613471"/>
                <a:gd name="connsiteX744" fmla="*/ 157406 w 750200"/>
                <a:gd name="connsiteY744" fmla="*/ 347250 h 613471"/>
                <a:gd name="connsiteX745" fmla="*/ 156760 w 750200"/>
                <a:gd name="connsiteY745" fmla="*/ 348930 h 613471"/>
                <a:gd name="connsiteX746" fmla="*/ 155468 w 750200"/>
                <a:gd name="connsiteY746" fmla="*/ 349706 h 613471"/>
                <a:gd name="connsiteX747" fmla="*/ 154434 w 750200"/>
                <a:gd name="connsiteY747" fmla="*/ 350998 h 613471"/>
                <a:gd name="connsiteX748" fmla="*/ 154563 w 750200"/>
                <a:gd name="connsiteY748" fmla="*/ 353583 h 613471"/>
                <a:gd name="connsiteX749" fmla="*/ 155856 w 750200"/>
                <a:gd name="connsiteY749" fmla="*/ 355651 h 613471"/>
                <a:gd name="connsiteX750" fmla="*/ 158053 w 750200"/>
                <a:gd name="connsiteY750" fmla="*/ 357201 h 613471"/>
                <a:gd name="connsiteX751" fmla="*/ 160120 w 750200"/>
                <a:gd name="connsiteY751" fmla="*/ 358364 h 613471"/>
                <a:gd name="connsiteX752" fmla="*/ 161025 w 750200"/>
                <a:gd name="connsiteY752" fmla="*/ 359011 h 613471"/>
                <a:gd name="connsiteX753" fmla="*/ 160637 w 750200"/>
                <a:gd name="connsiteY753" fmla="*/ 360432 h 613471"/>
                <a:gd name="connsiteX754" fmla="*/ 158828 w 750200"/>
                <a:gd name="connsiteY754" fmla="*/ 362629 h 613471"/>
                <a:gd name="connsiteX755" fmla="*/ 158053 w 750200"/>
                <a:gd name="connsiteY755" fmla="*/ 363922 h 613471"/>
                <a:gd name="connsiteX756" fmla="*/ 158053 w 750200"/>
                <a:gd name="connsiteY756" fmla="*/ 364956 h 613471"/>
                <a:gd name="connsiteX757" fmla="*/ 158182 w 750200"/>
                <a:gd name="connsiteY757" fmla="*/ 365860 h 613471"/>
                <a:gd name="connsiteX758" fmla="*/ 161800 w 750200"/>
                <a:gd name="connsiteY758" fmla="*/ 375165 h 613471"/>
                <a:gd name="connsiteX759" fmla="*/ 164644 w 750200"/>
                <a:gd name="connsiteY759" fmla="*/ 378267 h 613471"/>
                <a:gd name="connsiteX760" fmla="*/ 168391 w 750200"/>
                <a:gd name="connsiteY760" fmla="*/ 377233 h 613471"/>
                <a:gd name="connsiteX761" fmla="*/ 170976 w 750200"/>
                <a:gd name="connsiteY761" fmla="*/ 378654 h 613471"/>
                <a:gd name="connsiteX762" fmla="*/ 172139 w 750200"/>
                <a:gd name="connsiteY762" fmla="*/ 379688 h 613471"/>
                <a:gd name="connsiteX763" fmla="*/ 172914 w 750200"/>
                <a:gd name="connsiteY763" fmla="*/ 380980 h 613471"/>
                <a:gd name="connsiteX764" fmla="*/ 172914 w 750200"/>
                <a:gd name="connsiteY764" fmla="*/ 382144 h 613471"/>
                <a:gd name="connsiteX765" fmla="*/ 172010 w 750200"/>
                <a:gd name="connsiteY765" fmla="*/ 384082 h 613471"/>
                <a:gd name="connsiteX766" fmla="*/ 172010 w 750200"/>
                <a:gd name="connsiteY766" fmla="*/ 385504 h 613471"/>
                <a:gd name="connsiteX767" fmla="*/ 172527 w 750200"/>
                <a:gd name="connsiteY767" fmla="*/ 386925 h 613471"/>
                <a:gd name="connsiteX768" fmla="*/ 173044 w 750200"/>
                <a:gd name="connsiteY768" fmla="*/ 387184 h 613471"/>
                <a:gd name="connsiteX769" fmla="*/ 173819 w 750200"/>
                <a:gd name="connsiteY769" fmla="*/ 387313 h 613471"/>
                <a:gd name="connsiteX770" fmla="*/ 175111 w 750200"/>
                <a:gd name="connsiteY770" fmla="*/ 387701 h 613471"/>
                <a:gd name="connsiteX771" fmla="*/ 177308 w 750200"/>
                <a:gd name="connsiteY771" fmla="*/ 389251 h 613471"/>
                <a:gd name="connsiteX772" fmla="*/ 178084 w 750200"/>
                <a:gd name="connsiteY772" fmla="*/ 390285 h 613471"/>
                <a:gd name="connsiteX773" fmla="*/ 175499 w 750200"/>
                <a:gd name="connsiteY773" fmla="*/ 391061 h 613471"/>
                <a:gd name="connsiteX774" fmla="*/ 175241 w 750200"/>
                <a:gd name="connsiteY774" fmla="*/ 392094 h 613471"/>
                <a:gd name="connsiteX775" fmla="*/ 175758 w 750200"/>
                <a:gd name="connsiteY775" fmla="*/ 394808 h 613471"/>
                <a:gd name="connsiteX776" fmla="*/ 175499 w 750200"/>
                <a:gd name="connsiteY776" fmla="*/ 395842 h 613471"/>
                <a:gd name="connsiteX777" fmla="*/ 174594 w 750200"/>
                <a:gd name="connsiteY777" fmla="*/ 397522 h 613471"/>
                <a:gd name="connsiteX778" fmla="*/ 174336 w 750200"/>
                <a:gd name="connsiteY778" fmla="*/ 398556 h 613471"/>
                <a:gd name="connsiteX779" fmla="*/ 174336 w 750200"/>
                <a:gd name="connsiteY779" fmla="*/ 402433 h 613471"/>
                <a:gd name="connsiteX780" fmla="*/ 174982 w 750200"/>
                <a:gd name="connsiteY780" fmla="*/ 403984 h 613471"/>
                <a:gd name="connsiteX781" fmla="*/ 176404 w 750200"/>
                <a:gd name="connsiteY781" fmla="*/ 405664 h 613471"/>
                <a:gd name="connsiteX782" fmla="*/ 178342 w 750200"/>
                <a:gd name="connsiteY782" fmla="*/ 407086 h 613471"/>
                <a:gd name="connsiteX783" fmla="*/ 179764 w 750200"/>
                <a:gd name="connsiteY783" fmla="*/ 407344 h 613471"/>
                <a:gd name="connsiteX784" fmla="*/ 180668 w 750200"/>
                <a:gd name="connsiteY784" fmla="*/ 406439 h 613471"/>
                <a:gd name="connsiteX785" fmla="*/ 181185 w 750200"/>
                <a:gd name="connsiteY785" fmla="*/ 401141 h 613471"/>
                <a:gd name="connsiteX786" fmla="*/ 181573 w 750200"/>
                <a:gd name="connsiteY786" fmla="*/ 399719 h 613471"/>
                <a:gd name="connsiteX787" fmla="*/ 182348 w 750200"/>
                <a:gd name="connsiteY787" fmla="*/ 398815 h 613471"/>
                <a:gd name="connsiteX788" fmla="*/ 183899 w 750200"/>
                <a:gd name="connsiteY788" fmla="*/ 398427 h 613471"/>
                <a:gd name="connsiteX789" fmla="*/ 184158 w 750200"/>
                <a:gd name="connsiteY789" fmla="*/ 399461 h 613471"/>
                <a:gd name="connsiteX790" fmla="*/ 183770 w 750200"/>
                <a:gd name="connsiteY790" fmla="*/ 401916 h 613471"/>
                <a:gd name="connsiteX791" fmla="*/ 185321 w 750200"/>
                <a:gd name="connsiteY791" fmla="*/ 403338 h 613471"/>
                <a:gd name="connsiteX792" fmla="*/ 187259 w 750200"/>
                <a:gd name="connsiteY792" fmla="*/ 404242 h 613471"/>
                <a:gd name="connsiteX793" fmla="*/ 188939 w 750200"/>
                <a:gd name="connsiteY793" fmla="*/ 405276 h 613471"/>
                <a:gd name="connsiteX794" fmla="*/ 189973 w 750200"/>
                <a:gd name="connsiteY794" fmla="*/ 408766 h 613471"/>
                <a:gd name="connsiteX795" fmla="*/ 191395 w 750200"/>
                <a:gd name="connsiteY795" fmla="*/ 411092 h 613471"/>
                <a:gd name="connsiteX796" fmla="*/ 191912 w 750200"/>
                <a:gd name="connsiteY796" fmla="*/ 412384 h 613471"/>
                <a:gd name="connsiteX797" fmla="*/ 191912 w 750200"/>
                <a:gd name="connsiteY797" fmla="*/ 413418 h 613471"/>
                <a:gd name="connsiteX798" fmla="*/ 191783 w 750200"/>
                <a:gd name="connsiteY798" fmla="*/ 415615 h 613471"/>
                <a:gd name="connsiteX799" fmla="*/ 191912 w 750200"/>
                <a:gd name="connsiteY799" fmla="*/ 416649 h 613471"/>
                <a:gd name="connsiteX800" fmla="*/ 192429 w 750200"/>
                <a:gd name="connsiteY800" fmla="*/ 418975 h 613471"/>
                <a:gd name="connsiteX801" fmla="*/ 192946 w 750200"/>
                <a:gd name="connsiteY801" fmla="*/ 420009 h 613471"/>
                <a:gd name="connsiteX802" fmla="*/ 194109 w 750200"/>
                <a:gd name="connsiteY802" fmla="*/ 420526 h 613471"/>
                <a:gd name="connsiteX803" fmla="*/ 194367 w 750200"/>
                <a:gd name="connsiteY803" fmla="*/ 420526 h 613471"/>
                <a:gd name="connsiteX804" fmla="*/ 195530 w 750200"/>
                <a:gd name="connsiteY804" fmla="*/ 421043 h 613471"/>
                <a:gd name="connsiteX805" fmla="*/ 196176 w 750200"/>
                <a:gd name="connsiteY805" fmla="*/ 422206 h 613471"/>
                <a:gd name="connsiteX806" fmla="*/ 196306 w 750200"/>
                <a:gd name="connsiteY806" fmla="*/ 423498 h 613471"/>
                <a:gd name="connsiteX807" fmla="*/ 195918 w 750200"/>
                <a:gd name="connsiteY807" fmla="*/ 424532 h 613471"/>
                <a:gd name="connsiteX808" fmla="*/ 194367 w 750200"/>
                <a:gd name="connsiteY808" fmla="*/ 426600 h 613471"/>
                <a:gd name="connsiteX809" fmla="*/ 194238 w 750200"/>
                <a:gd name="connsiteY809" fmla="*/ 428668 h 613471"/>
                <a:gd name="connsiteX810" fmla="*/ 195013 w 750200"/>
                <a:gd name="connsiteY810" fmla="*/ 430348 h 613471"/>
                <a:gd name="connsiteX811" fmla="*/ 196306 w 750200"/>
                <a:gd name="connsiteY811" fmla="*/ 431640 h 613471"/>
                <a:gd name="connsiteX812" fmla="*/ 197727 w 750200"/>
                <a:gd name="connsiteY812" fmla="*/ 432545 h 613471"/>
                <a:gd name="connsiteX813" fmla="*/ 199407 w 750200"/>
                <a:gd name="connsiteY813" fmla="*/ 432932 h 613471"/>
                <a:gd name="connsiteX814" fmla="*/ 203931 w 750200"/>
                <a:gd name="connsiteY814" fmla="*/ 433191 h 613471"/>
                <a:gd name="connsiteX815" fmla="*/ 206257 w 750200"/>
                <a:gd name="connsiteY815" fmla="*/ 433578 h 613471"/>
                <a:gd name="connsiteX816" fmla="*/ 208454 w 750200"/>
                <a:gd name="connsiteY816" fmla="*/ 434354 h 613471"/>
                <a:gd name="connsiteX817" fmla="*/ 210780 w 750200"/>
                <a:gd name="connsiteY817" fmla="*/ 434742 h 613471"/>
                <a:gd name="connsiteX818" fmla="*/ 213106 w 750200"/>
                <a:gd name="connsiteY818" fmla="*/ 433837 h 613471"/>
                <a:gd name="connsiteX819" fmla="*/ 214398 w 750200"/>
                <a:gd name="connsiteY819" fmla="*/ 434483 h 613471"/>
                <a:gd name="connsiteX820" fmla="*/ 216337 w 750200"/>
                <a:gd name="connsiteY820" fmla="*/ 434871 h 613471"/>
                <a:gd name="connsiteX821" fmla="*/ 218146 w 750200"/>
                <a:gd name="connsiteY821" fmla="*/ 435646 h 613471"/>
                <a:gd name="connsiteX822" fmla="*/ 218922 w 750200"/>
                <a:gd name="connsiteY822" fmla="*/ 437197 h 613471"/>
                <a:gd name="connsiteX823" fmla="*/ 219439 w 750200"/>
                <a:gd name="connsiteY823" fmla="*/ 439394 h 613471"/>
                <a:gd name="connsiteX824" fmla="*/ 220731 w 750200"/>
                <a:gd name="connsiteY824" fmla="*/ 441462 h 613471"/>
                <a:gd name="connsiteX825" fmla="*/ 224091 w 750200"/>
                <a:gd name="connsiteY825" fmla="*/ 445080 h 613471"/>
                <a:gd name="connsiteX826" fmla="*/ 223316 w 750200"/>
                <a:gd name="connsiteY826" fmla="*/ 446631 h 613471"/>
                <a:gd name="connsiteX827" fmla="*/ 223833 w 750200"/>
                <a:gd name="connsiteY827" fmla="*/ 447794 h 613471"/>
                <a:gd name="connsiteX828" fmla="*/ 224996 w 750200"/>
                <a:gd name="connsiteY828" fmla="*/ 448311 h 613471"/>
                <a:gd name="connsiteX829" fmla="*/ 226288 w 750200"/>
                <a:gd name="connsiteY829" fmla="*/ 448053 h 613471"/>
                <a:gd name="connsiteX830" fmla="*/ 226676 w 750200"/>
                <a:gd name="connsiteY830" fmla="*/ 447148 h 613471"/>
                <a:gd name="connsiteX831" fmla="*/ 226934 w 750200"/>
                <a:gd name="connsiteY831" fmla="*/ 444176 h 613471"/>
                <a:gd name="connsiteX832" fmla="*/ 227451 w 750200"/>
                <a:gd name="connsiteY832" fmla="*/ 443659 h 613471"/>
                <a:gd name="connsiteX833" fmla="*/ 229131 w 750200"/>
                <a:gd name="connsiteY833" fmla="*/ 443400 h 613471"/>
                <a:gd name="connsiteX834" fmla="*/ 229519 w 750200"/>
                <a:gd name="connsiteY834" fmla="*/ 444046 h 613471"/>
                <a:gd name="connsiteX835" fmla="*/ 230036 w 750200"/>
                <a:gd name="connsiteY835" fmla="*/ 445856 h 613471"/>
                <a:gd name="connsiteX836" fmla="*/ 230036 w 750200"/>
                <a:gd name="connsiteY836" fmla="*/ 446760 h 613471"/>
                <a:gd name="connsiteX837" fmla="*/ 229260 w 750200"/>
                <a:gd name="connsiteY837" fmla="*/ 448053 h 613471"/>
                <a:gd name="connsiteX838" fmla="*/ 229260 w 750200"/>
                <a:gd name="connsiteY838" fmla="*/ 448828 h 613471"/>
                <a:gd name="connsiteX839" fmla="*/ 229648 w 750200"/>
                <a:gd name="connsiteY839" fmla="*/ 449345 h 613471"/>
                <a:gd name="connsiteX840" fmla="*/ 230553 w 750200"/>
                <a:gd name="connsiteY840" fmla="*/ 450250 h 613471"/>
                <a:gd name="connsiteX841" fmla="*/ 230682 w 750200"/>
                <a:gd name="connsiteY841" fmla="*/ 450637 h 613471"/>
                <a:gd name="connsiteX842" fmla="*/ 231845 w 750200"/>
                <a:gd name="connsiteY842" fmla="*/ 451800 h 613471"/>
                <a:gd name="connsiteX843" fmla="*/ 234430 w 750200"/>
                <a:gd name="connsiteY843" fmla="*/ 453222 h 613471"/>
                <a:gd name="connsiteX844" fmla="*/ 239470 w 750200"/>
                <a:gd name="connsiteY844" fmla="*/ 455548 h 613471"/>
                <a:gd name="connsiteX845" fmla="*/ 240762 w 750200"/>
                <a:gd name="connsiteY845" fmla="*/ 455677 h 613471"/>
                <a:gd name="connsiteX846" fmla="*/ 243605 w 750200"/>
                <a:gd name="connsiteY846" fmla="*/ 455807 h 613471"/>
                <a:gd name="connsiteX847" fmla="*/ 244251 w 750200"/>
                <a:gd name="connsiteY847" fmla="*/ 455936 h 613471"/>
                <a:gd name="connsiteX848" fmla="*/ 246061 w 750200"/>
                <a:gd name="connsiteY848" fmla="*/ 457357 h 613471"/>
                <a:gd name="connsiteX849" fmla="*/ 248258 w 750200"/>
                <a:gd name="connsiteY849" fmla="*/ 458520 h 613471"/>
                <a:gd name="connsiteX850" fmla="*/ 248387 w 750200"/>
                <a:gd name="connsiteY850" fmla="*/ 458133 h 613471"/>
                <a:gd name="connsiteX851" fmla="*/ 248387 w 750200"/>
                <a:gd name="connsiteY851" fmla="*/ 457874 h 613471"/>
                <a:gd name="connsiteX852" fmla="*/ 248516 w 750200"/>
                <a:gd name="connsiteY852" fmla="*/ 457745 h 613471"/>
                <a:gd name="connsiteX853" fmla="*/ 250067 w 750200"/>
                <a:gd name="connsiteY853" fmla="*/ 458004 h 613471"/>
                <a:gd name="connsiteX854" fmla="*/ 250584 w 750200"/>
                <a:gd name="connsiteY854" fmla="*/ 458133 h 613471"/>
                <a:gd name="connsiteX855" fmla="*/ 252393 w 750200"/>
                <a:gd name="connsiteY855" fmla="*/ 459554 h 613471"/>
                <a:gd name="connsiteX856" fmla="*/ 252781 w 750200"/>
                <a:gd name="connsiteY856" fmla="*/ 460459 h 613471"/>
                <a:gd name="connsiteX857" fmla="*/ 252910 w 750200"/>
                <a:gd name="connsiteY857" fmla="*/ 461751 h 613471"/>
                <a:gd name="connsiteX858" fmla="*/ 252781 w 750200"/>
                <a:gd name="connsiteY858" fmla="*/ 464078 h 613471"/>
                <a:gd name="connsiteX859" fmla="*/ 252264 w 750200"/>
                <a:gd name="connsiteY859" fmla="*/ 466533 h 613471"/>
                <a:gd name="connsiteX860" fmla="*/ 250325 w 750200"/>
                <a:gd name="connsiteY860" fmla="*/ 470798 h 613471"/>
                <a:gd name="connsiteX861" fmla="*/ 250584 w 750200"/>
                <a:gd name="connsiteY861" fmla="*/ 472736 h 613471"/>
                <a:gd name="connsiteX862" fmla="*/ 251230 w 750200"/>
                <a:gd name="connsiteY862" fmla="*/ 473124 h 613471"/>
                <a:gd name="connsiteX863" fmla="*/ 253556 w 750200"/>
                <a:gd name="connsiteY863" fmla="*/ 474029 h 613471"/>
                <a:gd name="connsiteX864" fmla="*/ 254590 w 750200"/>
                <a:gd name="connsiteY864" fmla="*/ 474545 h 613471"/>
                <a:gd name="connsiteX865" fmla="*/ 255495 w 750200"/>
                <a:gd name="connsiteY865" fmla="*/ 475579 h 613471"/>
                <a:gd name="connsiteX866" fmla="*/ 256787 w 750200"/>
                <a:gd name="connsiteY866" fmla="*/ 477905 h 613471"/>
                <a:gd name="connsiteX867" fmla="*/ 257562 w 750200"/>
                <a:gd name="connsiteY867" fmla="*/ 479069 h 613471"/>
                <a:gd name="connsiteX868" fmla="*/ 258984 w 750200"/>
                <a:gd name="connsiteY868" fmla="*/ 480490 h 613471"/>
                <a:gd name="connsiteX869" fmla="*/ 260664 w 750200"/>
                <a:gd name="connsiteY869" fmla="*/ 481783 h 613471"/>
                <a:gd name="connsiteX870" fmla="*/ 262732 w 750200"/>
                <a:gd name="connsiteY870" fmla="*/ 482816 h 613471"/>
                <a:gd name="connsiteX871" fmla="*/ 265187 w 750200"/>
                <a:gd name="connsiteY871" fmla="*/ 483075 h 613471"/>
                <a:gd name="connsiteX872" fmla="*/ 269581 w 750200"/>
                <a:gd name="connsiteY872" fmla="*/ 482300 h 613471"/>
                <a:gd name="connsiteX873" fmla="*/ 271132 w 750200"/>
                <a:gd name="connsiteY873" fmla="*/ 482687 h 613471"/>
                <a:gd name="connsiteX874" fmla="*/ 272295 w 750200"/>
                <a:gd name="connsiteY874" fmla="*/ 486176 h 613471"/>
                <a:gd name="connsiteX875" fmla="*/ 273200 w 750200"/>
                <a:gd name="connsiteY875" fmla="*/ 486435 h 613471"/>
                <a:gd name="connsiteX876" fmla="*/ 274234 w 750200"/>
                <a:gd name="connsiteY876" fmla="*/ 486176 h 613471"/>
                <a:gd name="connsiteX877" fmla="*/ 274750 w 750200"/>
                <a:gd name="connsiteY877" fmla="*/ 485918 h 613471"/>
                <a:gd name="connsiteX878" fmla="*/ 275526 w 750200"/>
                <a:gd name="connsiteY878" fmla="*/ 485530 h 613471"/>
                <a:gd name="connsiteX879" fmla="*/ 276689 w 750200"/>
                <a:gd name="connsiteY879" fmla="*/ 484238 h 613471"/>
                <a:gd name="connsiteX880" fmla="*/ 277723 w 750200"/>
                <a:gd name="connsiteY880" fmla="*/ 483850 h 613471"/>
                <a:gd name="connsiteX881" fmla="*/ 279920 w 750200"/>
                <a:gd name="connsiteY881" fmla="*/ 483592 h 613471"/>
                <a:gd name="connsiteX882" fmla="*/ 281858 w 750200"/>
                <a:gd name="connsiteY882" fmla="*/ 484109 h 613471"/>
                <a:gd name="connsiteX883" fmla="*/ 283409 w 750200"/>
                <a:gd name="connsiteY883" fmla="*/ 485143 h 613471"/>
                <a:gd name="connsiteX884" fmla="*/ 286382 w 750200"/>
                <a:gd name="connsiteY884" fmla="*/ 488374 h 613471"/>
                <a:gd name="connsiteX885" fmla="*/ 287545 w 750200"/>
                <a:gd name="connsiteY885" fmla="*/ 488761 h 613471"/>
                <a:gd name="connsiteX886" fmla="*/ 288578 w 750200"/>
                <a:gd name="connsiteY886" fmla="*/ 487727 h 613471"/>
                <a:gd name="connsiteX887" fmla="*/ 290129 w 750200"/>
                <a:gd name="connsiteY887" fmla="*/ 485401 h 613471"/>
                <a:gd name="connsiteX888" fmla="*/ 291809 w 750200"/>
                <a:gd name="connsiteY888" fmla="*/ 487210 h 613471"/>
                <a:gd name="connsiteX889" fmla="*/ 298271 w 750200"/>
                <a:gd name="connsiteY889" fmla="*/ 487469 h 613471"/>
                <a:gd name="connsiteX890" fmla="*/ 300597 w 750200"/>
                <a:gd name="connsiteY890" fmla="*/ 490571 h 613471"/>
                <a:gd name="connsiteX891" fmla="*/ 302536 w 750200"/>
                <a:gd name="connsiteY891" fmla="*/ 490312 h 613471"/>
                <a:gd name="connsiteX892" fmla="*/ 306025 w 750200"/>
                <a:gd name="connsiteY892" fmla="*/ 489020 h 613471"/>
                <a:gd name="connsiteX893" fmla="*/ 307317 w 750200"/>
                <a:gd name="connsiteY893" fmla="*/ 489537 h 613471"/>
                <a:gd name="connsiteX894" fmla="*/ 308351 w 750200"/>
                <a:gd name="connsiteY894" fmla="*/ 490441 h 613471"/>
                <a:gd name="connsiteX895" fmla="*/ 309514 w 750200"/>
                <a:gd name="connsiteY895" fmla="*/ 491346 h 613471"/>
                <a:gd name="connsiteX896" fmla="*/ 311453 w 750200"/>
                <a:gd name="connsiteY896" fmla="*/ 491346 h 613471"/>
                <a:gd name="connsiteX897" fmla="*/ 312745 w 750200"/>
                <a:gd name="connsiteY897" fmla="*/ 490183 h 613471"/>
                <a:gd name="connsiteX898" fmla="*/ 313521 w 750200"/>
                <a:gd name="connsiteY898" fmla="*/ 489278 h 613471"/>
                <a:gd name="connsiteX899" fmla="*/ 314037 w 750200"/>
                <a:gd name="connsiteY899" fmla="*/ 488244 h 613471"/>
                <a:gd name="connsiteX900" fmla="*/ 317656 w 750200"/>
                <a:gd name="connsiteY900" fmla="*/ 483721 h 613471"/>
                <a:gd name="connsiteX901" fmla="*/ 317656 w 750200"/>
                <a:gd name="connsiteY901" fmla="*/ 483075 h 613471"/>
                <a:gd name="connsiteX902" fmla="*/ 319595 w 750200"/>
                <a:gd name="connsiteY902" fmla="*/ 482816 h 613471"/>
                <a:gd name="connsiteX903" fmla="*/ 322825 w 750200"/>
                <a:gd name="connsiteY903" fmla="*/ 481783 h 613471"/>
                <a:gd name="connsiteX904" fmla="*/ 324247 w 750200"/>
                <a:gd name="connsiteY904" fmla="*/ 481524 h 613471"/>
                <a:gd name="connsiteX905" fmla="*/ 339626 w 750200"/>
                <a:gd name="connsiteY905" fmla="*/ 483850 h 613471"/>
                <a:gd name="connsiteX906" fmla="*/ 340013 w 750200"/>
                <a:gd name="connsiteY906" fmla="*/ 484109 h 613471"/>
                <a:gd name="connsiteX907" fmla="*/ 345829 w 750200"/>
                <a:gd name="connsiteY907" fmla="*/ 487081 h 613471"/>
                <a:gd name="connsiteX908" fmla="*/ 350223 w 750200"/>
                <a:gd name="connsiteY908" fmla="*/ 490829 h 613471"/>
                <a:gd name="connsiteX909" fmla="*/ 352032 w 750200"/>
                <a:gd name="connsiteY909" fmla="*/ 491734 h 613471"/>
                <a:gd name="connsiteX910" fmla="*/ 354358 w 750200"/>
                <a:gd name="connsiteY910" fmla="*/ 491992 h 613471"/>
                <a:gd name="connsiteX911" fmla="*/ 355780 w 750200"/>
                <a:gd name="connsiteY911" fmla="*/ 492121 h 613471"/>
                <a:gd name="connsiteX912" fmla="*/ 356943 w 750200"/>
                <a:gd name="connsiteY912" fmla="*/ 492250 h 613471"/>
                <a:gd name="connsiteX913" fmla="*/ 358106 w 750200"/>
                <a:gd name="connsiteY913" fmla="*/ 492767 h 613471"/>
                <a:gd name="connsiteX914" fmla="*/ 359140 w 750200"/>
                <a:gd name="connsiteY914" fmla="*/ 493543 h 613471"/>
                <a:gd name="connsiteX915" fmla="*/ 359915 w 750200"/>
                <a:gd name="connsiteY915" fmla="*/ 494706 h 613471"/>
                <a:gd name="connsiteX916" fmla="*/ 360045 w 750200"/>
                <a:gd name="connsiteY916" fmla="*/ 495869 h 613471"/>
                <a:gd name="connsiteX917" fmla="*/ 360174 w 750200"/>
                <a:gd name="connsiteY917" fmla="*/ 496903 h 613471"/>
                <a:gd name="connsiteX918" fmla="*/ 360562 w 750200"/>
                <a:gd name="connsiteY918" fmla="*/ 497937 h 613471"/>
                <a:gd name="connsiteX919" fmla="*/ 361466 w 750200"/>
                <a:gd name="connsiteY919" fmla="*/ 498712 h 613471"/>
                <a:gd name="connsiteX920" fmla="*/ 362371 w 750200"/>
                <a:gd name="connsiteY920" fmla="*/ 498971 h 613471"/>
                <a:gd name="connsiteX921" fmla="*/ 363146 w 750200"/>
                <a:gd name="connsiteY921" fmla="*/ 499488 h 613471"/>
                <a:gd name="connsiteX922" fmla="*/ 363534 w 750200"/>
                <a:gd name="connsiteY922" fmla="*/ 500651 h 613471"/>
                <a:gd name="connsiteX923" fmla="*/ 363922 w 750200"/>
                <a:gd name="connsiteY923" fmla="*/ 501426 h 613471"/>
                <a:gd name="connsiteX924" fmla="*/ 367928 w 750200"/>
                <a:gd name="connsiteY924" fmla="*/ 504398 h 613471"/>
                <a:gd name="connsiteX925" fmla="*/ 370383 w 750200"/>
                <a:gd name="connsiteY925" fmla="*/ 505045 h 613471"/>
                <a:gd name="connsiteX926" fmla="*/ 371546 w 750200"/>
                <a:gd name="connsiteY926" fmla="*/ 505561 h 613471"/>
                <a:gd name="connsiteX927" fmla="*/ 374648 w 750200"/>
                <a:gd name="connsiteY927" fmla="*/ 507888 h 613471"/>
                <a:gd name="connsiteX928" fmla="*/ 376070 w 750200"/>
                <a:gd name="connsiteY928" fmla="*/ 508534 h 613471"/>
                <a:gd name="connsiteX929" fmla="*/ 383565 w 750200"/>
                <a:gd name="connsiteY929" fmla="*/ 508405 h 613471"/>
                <a:gd name="connsiteX930" fmla="*/ 384857 w 750200"/>
                <a:gd name="connsiteY930" fmla="*/ 508146 h 613471"/>
                <a:gd name="connsiteX931" fmla="*/ 385245 w 750200"/>
                <a:gd name="connsiteY931" fmla="*/ 507371 h 613471"/>
                <a:gd name="connsiteX932" fmla="*/ 386279 w 750200"/>
                <a:gd name="connsiteY932" fmla="*/ 506337 h 613471"/>
                <a:gd name="connsiteX933" fmla="*/ 388476 w 750200"/>
                <a:gd name="connsiteY933" fmla="*/ 504786 h 613471"/>
                <a:gd name="connsiteX934" fmla="*/ 388993 w 750200"/>
                <a:gd name="connsiteY934" fmla="*/ 504657 h 613471"/>
                <a:gd name="connsiteX935" fmla="*/ 390156 w 750200"/>
                <a:gd name="connsiteY935" fmla="*/ 504786 h 613471"/>
                <a:gd name="connsiteX936" fmla="*/ 390673 w 750200"/>
                <a:gd name="connsiteY936" fmla="*/ 504786 h 613471"/>
                <a:gd name="connsiteX937" fmla="*/ 391190 w 750200"/>
                <a:gd name="connsiteY937" fmla="*/ 504269 h 613471"/>
                <a:gd name="connsiteX938" fmla="*/ 391707 w 750200"/>
                <a:gd name="connsiteY938" fmla="*/ 503106 h 613471"/>
                <a:gd name="connsiteX939" fmla="*/ 392224 w 750200"/>
                <a:gd name="connsiteY939" fmla="*/ 502589 h 613471"/>
                <a:gd name="connsiteX940" fmla="*/ 395196 w 750200"/>
                <a:gd name="connsiteY940" fmla="*/ 501297 h 613471"/>
                <a:gd name="connsiteX941" fmla="*/ 395455 w 750200"/>
                <a:gd name="connsiteY941" fmla="*/ 501038 h 613471"/>
                <a:gd name="connsiteX942" fmla="*/ 396618 w 750200"/>
                <a:gd name="connsiteY942" fmla="*/ 501297 h 613471"/>
                <a:gd name="connsiteX943" fmla="*/ 398815 w 750200"/>
                <a:gd name="connsiteY943" fmla="*/ 502331 h 613471"/>
                <a:gd name="connsiteX944" fmla="*/ 402045 w 750200"/>
                <a:gd name="connsiteY944" fmla="*/ 503106 h 613471"/>
                <a:gd name="connsiteX945" fmla="*/ 403079 w 750200"/>
                <a:gd name="connsiteY945" fmla="*/ 504528 h 613471"/>
                <a:gd name="connsiteX946" fmla="*/ 403855 w 750200"/>
                <a:gd name="connsiteY946" fmla="*/ 508534 h 613471"/>
                <a:gd name="connsiteX947" fmla="*/ 404372 w 750200"/>
                <a:gd name="connsiteY947" fmla="*/ 509180 h 613471"/>
                <a:gd name="connsiteX948" fmla="*/ 405018 w 750200"/>
                <a:gd name="connsiteY948" fmla="*/ 509697 h 613471"/>
                <a:gd name="connsiteX949" fmla="*/ 405406 w 750200"/>
                <a:gd name="connsiteY949" fmla="*/ 510343 h 613471"/>
                <a:gd name="connsiteX950" fmla="*/ 404630 w 750200"/>
                <a:gd name="connsiteY950" fmla="*/ 511635 h 613471"/>
                <a:gd name="connsiteX951" fmla="*/ 404501 w 750200"/>
                <a:gd name="connsiteY951" fmla="*/ 512282 h 613471"/>
                <a:gd name="connsiteX952" fmla="*/ 404630 w 750200"/>
                <a:gd name="connsiteY952" fmla="*/ 512928 h 613471"/>
                <a:gd name="connsiteX953" fmla="*/ 404889 w 750200"/>
                <a:gd name="connsiteY953" fmla="*/ 513316 h 613471"/>
                <a:gd name="connsiteX954" fmla="*/ 407344 w 750200"/>
                <a:gd name="connsiteY954" fmla="*/ 515383 h 613471"/>
                <a:gd name="connsiteX955" fmla="*/ 408507 w 750200"/>
                <a:gd name="connsiteY955" fmla="*/ 516805 h 613471"/>
                <a:gd name="connsiteX956" fmla="*/ 409024 w 750200"/>
                <a:gd name="connsiteY956" fmla="*/ 517839 h 613471"/>
                <a:gd name="connsiteX957" fmla="*/ 409283 w 750200"/>
                <a:gd name="connsiteY957" fmla="*/ 520294 h 613471"/>
                <a:gd name="connsiteX958" fmla="*/ 410187 w 750200"/>
                <a:gd name="connsiteY958" fmla="*/ 522362 h 613471"/>
                <a:gd name="connsiteX959" fmla="*/ 411350 w 750200"/>
                <a:gd name="connsiteY959" fmla="*/ 523913 h 613471"/>
                <a:gd name="connsiteX960" fmla="*/ 412772 w 750200"/>
                <a:gd name="connsiteY960" fmla="*/ 524946 h 613471"/>
                <a:gd name="connsiteX961" fmla="*/ 413806 w 750200"/>
                <a:gd name="connsiteY961" fmla="*/ 525334 h 613471"/>
                <a:gd name="connsiteX962" fmla="*/ 414840 w 750200"/>
                <a:gd name="connsiteY962" fmla="*/ 525464 h 613471"/>
                <a:gd name="connsiteX963" fmla="*/ 415744 w 750200"/>
                <a:gd name="connsiteY963" fmla="*/ 525205 h 613471"/>
                <a:gd name="connsiteX964" fmla="*/ 416649 w 750200"/>
                <a:gd name="connsiteY964" fmla="*/ 524559 h 613471"/>
                <a:gd name="connsiteX965" fmla="*/ 417683 w 750200"/>
                <a:gd name="connsiteY965" fmla="*/ 524171 h 613471"/>
                <a:gd name="connsiteX966" fmla="*/ 418200 w 750200"/>
                <a:gd name="connsiteY966" fmla="*/ 524946 h 613471"/>
                <a:gd name="connsiteX967" fmla="*/ 418587 w 750200"/>
                <a:gd name="connsiteY967" fmla="*/ 525980 h 613471"/>
                <a:gd name="connsiteX968" fmla="*/ 424145 w 750200"/>
                <a:gd name="connsiteY968" fmla="*/ 533218 h 613471"/>
                <a:gd name="connsiteX969" fmla="*/ 424532 w 750200"/>
                <a:gd name="connsiteY969" fmla="*/ 533993 h 613471"/>
                <a:gd name="connsiteX970" fmla="*/ 425049 w 750200"/>
                <a:gd name="connsiteY970" fmla="*/ 534510 h 613471"/>
                <a:gd name="connsiteX971" fmla="*/ 426212 w 750200"/>
                <a:gd name="connsiteY971" fmla="*/ 534639 h 613471"/>
                <a:gd name="connsiteX972" fmla="*/ 427246 w 750200"/>
                <a:gd name="connsiteY972" fmla="*/ 534768 h 613471"/>
                <a:gd name="connsiteX973" fmla="*/ 428151 w 750200"/>
                <a:gd name="connsiteY973" fmla="*/ 535027 h 613471"/>
                <a:gd name="connsiteX974" fmla="*/ 428668 w 750200"/>
                <a:gd name="connsiteY974" fmla="*/ 535544 h 613471"/>
                <a:gd name="connsiteX975" fmla="*/ 428797 w 750200"/>
                <a:gd name="connsiteY975" fmla="*/ 536448 h 613471"/>
                <a:gd name="connsiteX976" fmla="*/ 429314 w 750200"/>
                <a:gd name="connsiteY976" fmla="*/ 538258 h 613471"/>
                <a:gd name="connsiteX977" fmla="*/ 430735 w 750200"/>
                <a:gd name="connsiteY977" fmla="*/ 539808 h 613471"/>
                <a:gd name="connsiteX978" fmla="*/ 432545 w 750200"/>
                <a:gd name="connsiteY978" fmla="*/ 541101 h 613471"/>
                <a:gd name="connsiteX979" fmla="*/ 434612 w 750200"/>
                <a:gd name="connsiteY979" fmla="*/ 542135 h 613471"/>
                <a:gd name="connsiteX980" fmla="*/ 434871 w 750200"/>
                <a:gd name="connsiteY980" fmla="*/ 539938 h 613471"/>
                <a:gd name="connsiteX981" fmla="*/ 436034 w 750200"/>
                <a:gd name="connsiteY981" fmla="*/ 539421 h 613471"/>
                <a:gd name="connsiteX982" fmla="*/ 437714 w 750200"/>
                <a:gd name="connsiteY982" fmla="*/ 539421 h 613471"/>
                <a:gd name="connsiteX983" fmla="*/ 439782 w 750200"/>
                <a:gd name="connsiteY983" fmla="*/ 539162 h 613471"/>
                <a:gd name="connsiteX984" fmla="*/ 441203 w 750200"/>
                <a:gd name="connsiteY984" fmla="*/ 538258 h 613471"/>
                <a:gd name="connsiteX985" fmla="*/ 442237 w 750200"/>
                <a:gd name="connsiteY985" fmla="*/ 537353 h 613471"/>
                <a:gd name="connsiteX986" fmla="*/ 443659 w 750200"/>
                <a:gd name="connsiteY986" fmla="*/ 537224 h 613471"/>
                <a:gd name="connsiteX987" fmla="*/ 445597 w 750200"/>
                <a:gd name="connsiteY987" fmla="*/ 538387 h 613471"/>
                <a:gd name="connsiteX988" fmla="*/ 446631 w 750200"/>
                <a:gd name="connsiteY988" fmla="*/ 539291 h 613471"/>
                <a:gd name="connsiteX989" fmla="*/ 447406 w 750200"/>
                <a:gd name="connsiteY989" fmla="*/ 540196 h 613471"/>
                <a:gd name="connsiteX990" fmla="*/ 447794 w 750200"/>
                <a:gd name="connsiteY990" fmla="*/ 541230 h 613471"/>
                <a:gd name="connsiteX991" fmla="*/ 448053 w 750200"/>
                <a:gd name="connsiteY991" fmla="*/ 543815 h 613471"/>
                <a:gd name="connsiteX992" fmla="*/ 448440 w 750200"/>
                <a:gd name="connsiteY992" fmla="*/ 544332 h 613471"/>
                <a:gd name="connsiteX993" fmla="*/ 457745 w 750200"/>
                <a:gd name="connsiteY993" fmla="*/ 548338 h 613471"/>
                <a:gd name="connsiteX994" fmla="*/ 464336 w 750200"/>
                <a:gd name="connsiteY994" fmla="*/ 548079 h 613471"/>
                <a:gd name="connsiteX995" fmla="*/ 466533 w 750200"/>
                <a:gd name="connsiteY995" fmla="*/ 548467 h 613471"/>
                <a:gd name="connsiteX996" fmla="*/ 468084 w 750200"/>
                <a:gd name="connsiteY996" fmla="*/ 549501 h 613471"/>
                <a:gd name="connsiteX997" fmla="*/ 470927 w 750200"/>
                <a:gd name="connsiteY997" fmla="*/ 552990 h 613471"/>
                <a:gd name="connsiteX998" fmla="*/ 471186 w 750200"/>
                <a:gd name="connsiteY998" fmla="*/ 553507 h 613471"/>
                <a:gd name="connsiteX999" fmla="*/ 471315 w 750200"/>
                <a:gd name="connsiteY999" fmla="*/ 554670 h 613471"/>
                <a:gd name="connsiteX1000" fmla="*/ 471702 w 750200"/>
                <a:gd name="connsiteY1000" fmla="*/ 554800 h 613471"/>
                <a:gd name="connsiteX1001" fmla="*/ 473253 w 750200"/>
                <a:gd name="connsiteY1001" fmla="*/ 554670 h 613471"/>
                <a:gd name="connsiteX1002" fmla="*/ 473512 w 750200"/>
                <a:gd name="connsiteY1002" fmla="*/ 554800 h 613471"/>
                <a:gd name="connsiteX1003" fmla="*/ 475450 w 750200"/>
                <a:gd name="connsiteY1003" fmla="*/ 555963 h 613471"/>
                <a:gd name="connsiteX1004" fmla="*/ 476226 w 750200"/>
                <a:gd name="connsiteY1004" fmla="*/ 556221 h 613471"/>
                <a:gd name="connsiteX1005" fmla="*/ 481266 w 750200"/>
                <a:gd name="connsiteY1005" fmla="*/ 556867 h 613471"/>
                <a:gd name="connsiteX1006" fmla="*/ 482687 w 750200"/>
                <a:gd name="connsiteY1006" fmla="*/ 556738 h 613471"/>
                <a:gd name="connsiteX1007" fmla="*/ 483850 w 750200"/>
                <a:gd name="connsiteY1007" fmla="*/ 555575 h 613471"/>
                <a:gd name="connsiteX1008" fmla="*/ 486047 w 750200"/>
                <a:gd name="connsiteY1008" fmla="*/ 556479 h 613471"/>
                <a:gd name="connsiteX1009" fmla="*/ 487857 w 750200"/>
                <a:gd name="connsiteY1009" fmla="*/ 556092 h 613471"/>
                <a:gd name="connsiteX1010" fmla="*/ 489407 w 750200"/>
                <a:gd name="connsiteY1010" fmla="*/ 555316 h 613471"/>
                <a:gd name="connsiteX1011" fmla="*/ 493414 w 750200"/>
                <a:gd name="connsiteY1011" fmla="*/ 554283 h 613471"/>
                <a:gd name="connsiteX1012" fmla="*/ 494447 w 750200"/>
                <a:gd name="connsiteY1012" fmla="*/ 554153 h 613471"/>
                <a:gd name="connsiteX1013" fmla="*/ 495611 w 750200"/>
                <a:gd name="connsiteY1013" fmla="*/ 554412 h 613471"/>
                <a:gd name="connsiteX1014" fmla="*/ 498454 w 750200"/>
                <a:gd name="connsiteY1014" fmla="*/ 556350 h 613471"/>
                <a:gd name="connsiteX1015" fmla="*/ 498583 w 750200"/>
                <a:gd name="connsiteY1015" fmla="*/ 553895 h 613471"/>
                <a:gd name="connsiteX1016" fmla="*/ 499746 w 750200"/>
                <a:gd name="connsiteY1016" fmla="*/ 554153 h 613471"/>
                <a:gd name="connsiteX1017" fmla="*/ 502201 w 750200"/>
                <a:gd name="connsiteY1017" fmla="*/ 556997 h 613471"/>
                <a:gd name="connsiteX1018" fmla="*/ 503235 w 750200"/>
                <a:gd name="connsiteY1018" fmla="*/ 557513 h 613471"/>
                <a:gd name="connsiteX1019" fmla="*/ 504269 w 750200"/>
                <a:gd name="connsiteY1019" fmla="*/ 557255 h 613471"/>
                <a:gd name="connsiteX1020" fmla="*/ 504786 w 750200"/>
                <a:gd name="connsiteY1020" fmla="*/ 557384 h 613471"/>
                <a:gd name="connsiteX1021" fmla="*/ 505045 w 750200"/>
                <a:gd name="connsiteY1021" fmla="*/ 558935 h 613471"/>
                <a:gd name="connsiteX1022" fmla="*/ 505045 w 750200"/>
                <a:gd name="connsiteY1022" fmla="*/ 566301 h 613471"/>
                <a:gd name="connsiteX1023" fmla="*/ 505432 w 750200"/>
                <a:gd name="connsiteY1023" fmla="*/ 568240 h 613471"/>
                <a:gd name="connsiteX1024" fmla="*/ 506466 w 750200"/>
                <a:gd name="connsiteY1024" fmla="*/ 569661 h 613471"/>
                <a:gd name="connsiteX1025" fmla="*/ 508792 w 750200"/>
                <a:gd name="connsiteY1025" fmla="*/ 571341 h 613471"/>
                <a:gd name="connsiteX1026" fmla="*/ 513574 w 750200"/>
                <a:gd name="connsiteY1026" fmla="*/ 576511 h 613471"/>
                <a:gd name="connsiteX1027" fmla="*/ 514996 w 750200"/>
                <a:gd name="connsiteY1027" fmla="*/ 577286 h 613471"/>
                <a:gd name="connsiteX1028" fmla="*/ 515125 w 750200"/>
                <a:gd name="connsiteY1028" fmla="*/ 577803 h 613471"/>
                <a:gd name="connsiteX1029" fmla="*/ 516805 w 750200"/>
                <a:gd name="connsiteY1029" fmla="*/ 580388 h 613471"/>
                <a:gd name="connsiteX1030" fmla="*/ 517322 w 750200"/>
                <a:gd name="connsiteY1030" fmla="*/ 580775 h 613471"/>
                <a:gd name="connsiteX1031" fmla="*/ 519777 w 750200"/>
                <a:gd name="connsiteY1031" fmla="*/ 581939 h 613471"/>
                <a:gd name="connsiteX1032" fmla="*/ 521586 w 750200"/>
                <a:gd name="connsiteY1032" fmla="*/ 583102 h 613471"/>
                <a:gd name="connsiteX1033" fmla="*/ 526756 w 750200"/>
                <a:gd name="connsiteY1033" fmla="*/ 588142 h 613471"/>
                <a:gd name="connsiteX1034" fmla="*/ 527919 w 750200"/>
                <a:gd name="connsiteY1034" fmla="*/ 589046 h 613471"/>
                <a:gd name="connsiteX1035" fmla="*/ 529987 w 750200"/>
                <a:gd name="connsiteY1035" fmla="*/ 590080 h 613471"/>
                <a:gd name="connsiteX1036" fmla="*/ 530762 w 750200"/>
                <a:gd name="connsiteY1036" fmla="*/ 590856 h 613471"/>
                <a:gd name="connsiteX1037" fmla="*/ 531150 w 750200"/>
                <a:gd name="connsiteY1037" fmla="*/ 591760 h 613471"/>
                <a:gd name="connsiteX1038" fmla="*/ 533347 w 750200"/>
                <a:gd name="connsiteY1038" fmla="*/ 598997 h 613471"/>
                <a:gd name="connsiteX1039" fmla="*/ 534639 w 750200"/>
                <a:gd name="connsiteY1039" fmla="*/ 600031 h 613471"/>
                <a:gd name="connsiteX1040" fmla="*/ 536965 w 750200"/>
                <a:gd name="connsiteY1040" fmla="*/ 600419 h 613471"/>
                <a:gd name="connsiteX1041" fmla="*/ 539162 w 750200"/>
                <a:gd name="connsiteY1041" fmla="*/ 600031 h 613471"/>
                <a:gd name="connsiteX1042" fmla="*/ 541230 w 750200"/>
                <a:gd name="connsiteY1042" fmla="*/ 599256 h 613471"/>
                <a:gd name="connsiteX1043" fmla="*/ 543427 w 750200"/>
                <a:gd name="connsiteY1043" fmla="*/ 598997 h 613471"/>
                <a:gd name="connsiteX1044" fmla="*/ 545495 w 750200"/>
                <a:gd name="connsiteY1044" fmla="*/ 599773 h 613471"/>
                <a:gd name="connsiteX1045" fmla="*/ 547562 w 750200"/>
                <a:gd name="connsiteY1045" fmla="*/ 598610 h 613471"/>
                <a:gd name="connsiteX1046" fmla="*/ 550018 w 750200"/>
                <a:gd name="connsiteY1046" fmla="*/ 597576 h 613471"/>
                <a:gd name="connsiteX1047" fmla="*/ 552603 w 750200"/>
                <a:gd name="connsiteY1047" fmla="*/ 597059 h 613471"/>
                <a:gd name="connsiteX1048" fmla="*/ 560227 w 750200"/>
                <a:gd name="connsiteY1048" fmla="*/ 596283 h 613471"/>
                <a:gd name="connsiteX1049" fmla="*/ 560615 w 750200"/>
                <a:gd name="connsiteY1049" fmla="*/ 596413 h 613471"/>
                <a:gd name="connsiteX1050" fmla="*/ 561261 w 750200"/>
                <a:gd name="connsiteY1050" fmla="*/ 596542 h 613471"/>
                <a:gd name="connsiteX1051" fmla="*/ 564104 w 750200"/>
                <a:gd name="connsiteY1051" fmla="*/ 599256 h 613471"/>
                <a:gd name="connsiteX1052" fmla="*/ 565138 w 750200"/>
                <a:gd name="connsiteY1052" fmla="*/ 599773 h 613471"/>
                <a:gd name="connsiteX1053" fmla="*/ 570308 w 750200"/>
                <a:gd name="connsiteY1053" fmla="*/ 600936 h 613471"/>
                <a:gd name="connsiteX1054" fmla="*/ 575089 w 750200"/>
                <a:gd name="connsiteY1054" fmla="*/ 600419 h 613471"/>
                <a:gd name="connsiteX1055" fmla="*/ 579612 w 750200"/>
                <a:gd name="connsiteY1055" fmla="*/ 598739 h 613471"/>
                <a:gd name="connsiteX1056" fmla="*/ 586979 w 750200"/>
                <a:gd name="connsiteY1056" fmla="*/ 594991 h 613471"/>
                <a:gd name="connsiteX1057" fmla="*/ 588529 w 750200"/>
                <a:gd name="connsiteY1057" fmla="*/ 595120 h 613471"/>
                <a:gd name="connsiteX1058" fmla="*/ 590210 w 750200"/>
                <a:gd name="connsiteY1058" fmla="*/ 595767 h 613471"/>
                <a:gd name="connsiteX1059" fmla="*/ 594087 w 750200"/>
                <a:gd name="connsiteY1059" fmla="*/ 596413 h 613471"/>
                <a:gd name="connsiteX1060" fmla="*/ 596284 w 750200"/>
                <a:gd name="connsiteY1060" fmla="*/ 597834 h 613471"/>
                <a:gd name="connsiteX1061" fmla="*/ 597576 w 750200"/>
                <a:gd name="connsiteY1061" fmla="*/ 598351 h 613471"/>
                <a:gd name="connsiteX1062" fmla="*/ 598739 w 750200"/>
                <a:gd name="connsiteY1062" fmla="*/ 598351 h 613471"/>
                <a:gd name="connsiteX1063" fmla="*/ 601194 w 750200"/>
                <a:gd name="connsiteY1063" fmla="*/ 597576 h 613471"/>
                <a:gd name="connsiteX1064" fmla="*/ 608173 w 750200"/>
                <a:gd name="connsiteY1064" fmla="*/ 597834 h 613471"/>
                <a:gd name="connsiteX1065" fmla="*/ 609207 w 750200"/>
                <a:gd name="connsiteY1065" fmla="*/ 597188 h 613471"/>
                <a:gd name="connsiteX1066" fmla="*/ 609853 w 750200"/>
                <a:gd name="connsiteY1066" fmla="*/ 594991 h 613471"/>
                <a:gd name="connsiteX1067" fmla="*/ 611404 w 750200"/>
                <a:gd name="connsiteY1067" fmla="*/ 593957 h 613471"/>
                <a:gd name="connsiteX1068" fmla="*/ 616056 w 750200"/>
                <a:gd name="connsiteY1068" fmla="*/ 593311 h 613471"/>
                <a:gd name="connsiteX1069" fmla="*/ 616444 w 750200"/>
                <a:gd name="connsiteY1069" fmla="*/ 592794 h 613471"/>
                <a:gd name="connsiteX1070" fmla="*/ 617736 w 750200"/>
                <a:gd name="connsiteY1070" fmla="*/ 592019 h 613471"/>
                <a:gd name="connsiteX1071" fmla="*/ 619158 w 750200"/>
                <a:gd name="connsiteY1071" fmla="*/ 591760 h 613471"/>
                <a:gd name="connsiteX1072" fmla="*/ 619675 w 750200"/>
                <a:gd name="connsiteY1072" fmla="*/ 592923 h 613471"/>
                <a:gd name="connsiteX1073" fmla="*/ 619675 w 750200"/>
                <a:gd name="connsiteY1073" fmla="*/ 597317 h 613471"/>
                <a:gd name="connsiteX1074" fmla="*/ 621742 w 750200"/>
                <a:gd name="connsiteY1074" fmla="*/ 599514 h 613471"/>
                <a:gd name="connsiteX1075" fmla="*/ 626524 w 750200"/>
                <a:gd name="connsiteY1075" fmla="*/ 600290 h 613471"/>
                <a:gd name="connsiteX1076" fmla="*/ 631694 w 750200"/>
                <a:gd name="connsiteY1076" fmla="*/ 600677 h 613471"/>
                <a:gd name="connsiteX1077" fmla="*/ 635183 w 750200"/>
                <a:gd name="connsiteY1077" fmla="*/ 601453 h 613471"/>
                <a:gd name="connsiteX1078" fmla="*/ 637121 w 750200"/>
                <a:gd name="connsiteY1078" fmla="*/ 603391 h 613471"/>
                <a:gd name="connsiteX1079" fmla="*/ 638026 w 750200"/>
                <a:gd name="connsiteY1079" fmla="*/ 603908 h 613471"/>
                <a:gd name="connsiteX1080" fmla="*/ 645392 w 750200"/>
                <a:gd name="connsiteY1080" fmla="*/ 607010 h 613471"/>
                <a:gd name="connsiteX1081" fmla="*/ 653534 w 750200"/>
                <a:gd name="connsiteY1081" fmla="*/ 613472 h 613471"/>
                <a:gd name="connsiteX1082" fmla="*/ 656636 w 750200"/>
                <a:gd name="connsiteY1082" fmla="*/ 610112 h 613471"/>
                <a:gd name="connsiteX1083" fmla="*/ 660513 w 750200"/>
                <a:gd name="connsiteY1083" fmla="*/ 606751 h 613471"/>
                <a:gd name="connsiteX1084" fmla="*/ 679122 w 750200"/>
                <a:gd name="connsiteY1084" fmla="*/ 593957 h 613471"/>
                <a:gd name="connsiteX1085" fmla="*/ 687652 w 750200"/>
                <a:gd name="connsiteY1085" fmla="*/ 589563 h 613471"/>
                <a:gd name="connsiteX1086" fmla="*/ 689073 w 750200"/>
                <a:gd name="connsiteY1086" fmla="*/ 588400 h 613471"/>
                <a:gd name="connsiteX1087" fmla="*/ 690107 w 750200"/>
                <a:gd name="connsiteY1087" fmla="*/ 586979 h 613471"/>
                <a:gd name="connsiteX1088" fmla="*/ 690883 w 750200"/>
                <a:gd name="connsiteY1088" fmla="*/ 584653 h 613471"/>
                <a:gd name="connsiteX1089" fmla="*/ 691270 w 750200"/>
                <a:gd name="connsiteY1089" fmla="*/ 583231 h 613471"/>
                <a:gd name="connsiteX1090" fmla="*/ 691658 w 750200"/>
                <a:gd name="connsiteY1090" fmla="*/ 579612 h 613471"/>
                <a:gd name="connsiteX1091" fmla="*/ 692563 w 750200"/>
                <a:gd name="connsiteY1091" fmla="*/ 576382 h 613471"/>
                <a:gd name="connsiteX1092" fmla="*/ 692950 w 750200"/>
                <a:gd name="connsiteY1092" fmla="*/ 573021 h 613471"/>
                <a:gd name="connsiteX1093" fmla="*/ 693596 w 750200"/>
                <a:gd name="connsiteY1093" fmla="*/ 570695 h 613471"/>
                <a:gd name="connsiteX1094" fmla="*/ 694630 w 750200"/>
                <a:gd name="connsiteY1094" fmla="*/ 568240 h 613471"/>
                <a:gd name="connsiteX1095" fmla="*/ 701609 w 750200"/>
                <a:gd name="connsiteY1095" fmla="*/ 556092 h 613471"/>
                <a:gd name="connsiteX1096" fmla="*/ 702384 w 750200"/>
                <a:gd name="connsiteY1096" fmla="*/ 554024 h 613471"/>
                <a:gd name="connsiteX1097" fmla="*/ 702643 w 750200"/>
                <a:gd name="connsiteY1097" fmla="*/ 552861 h 613471"/>
                <a:gd name="connsiteX1098" fmla="*/ 702255 w 750200"/>
                <a:gd name="connsiteY1098" fmla="*/ 549630 h 613471"/>
                <a:gd name="connsiteX1099" fmla="*/ 702255 w 750200"/>
                <a:gd name="connsiteY1099" fmla="*/ 548467 h 613471"/>
                <a:gd name="connsiteX1100" fmla="*/ 702772 w 750200"/>
                <a:gd name="connsiteY1100" fmla="*/ 547175 h 613471"/>
                <a:gd name="connsiteX1101" fmla="*/ 703935 w 750200"/>
                <a:gd name="connsiteY1101" fmla="*/ 545495 h 613471"/>
                <a:gd name="connsiteX1102" fmla="*/ 707941 w 750200"/>
                <a:gd name="connsiteY1102" fmla="*/ 541359 h 613471"/>
                <a:gd name="connsiteX1103" fmla="*/ 709104 w 750200"/>
                <a:gd name="connsiteY1103" fmla="*/ 539421 h 613471"/>
                <a:gd name="connsiteX1104" fmla="*/ 710268 w 750200"/>
                <a:gd name="connsiteY1104" fmla="*/ 537999 h 613471"/>
                <a:gd name="connsiteX1105" fmla="*/ 712335 w 750200"/>
                <a:gd name="connsiteY1105" fmla="*/ 536448 h 613471"/>
                <a:gd name="connsiteX1106" fmla="*/ 713757 w 750200"/>
                <a:gd name="connsiteY1106" fmla="*/ 535802 h 613471"/>
                <a:gd name="connsiteX1107" fmla="*/ 715178 w 750200"/>
                <a:gd name="connsiteY1107" fmla="*/ 535415 h 613471"/>
                <a:gd name="connsiteX1108" fmla="*/ 719831 w 750200"/>
                <a:gd name="connsiteY1108" fmla="*/ 534639 h 613471"/>
                <a:gd name="connsiteX1109" fmla="*/ 721123 w 750200"/>
                <a:gd name="connsiteY1109" fmla="*/ 534122 h 613471"/>
                <a:gd name="connsiteX1110" fmla="*/ 722286 w 750200"/>
                <a:gd name="connsiteY1110" fmla="*/ 533218 h 613471"/>
                <a:gd name="connsiteX1111" fmla="*/ 723449 w 750200"/>
                <a:gd name="connsiteY1111" fmla="*/ 531796 h 613471"/>
                <a:gd name="connsiteX1112" fmla="*/ 726680 w 750200"/>
                <a:gd name="connsiteY1112" fmla="*/ 527402 h 613471"/>
                <a:gd name="connsiteX1113" fmla="*/ 727326 w 750200"/>
                <a:gd name="connsiteY1113" fmla="*/ 525980 h 613471"/>
                <a:gd name="connsiteX1114" fmla="*/ 727972 w 750200"/>
                <a:gd name="connsiteY1114" fmla="*/ 523913 h 613471"/>
                <a:gd name="connsiteX1115" fmla="*/ 728489 w 750200"/>
                <a:gd name="connsiteY1115" fmla="*/ 520940 h 613471"/>
                <a:gd name="connsiteX1116" fmla="*/ 729911 w 750200"/>
                <a:gd name="connsiteY1116" fmla="*/ 516159 h 613471"/>
                <a:gd name="connsiteX1117" fmla="*/ 730945 w 750200"/>
                <a:gd name="connsiteY1117" fmla="*/ 511506 h 613471"/>
                <a:gd name="connsiteX1118" fmla="*/ 731462 w 750200"/>
                <a:gd name="connsiteY1118" fmla="*/ 510343 h 613471"/>
                <a:gd name="connsiteX1119" fmla="*/ 732237 w 750200"/>
                <a:gd name="connsiteY1119" fmla="*/ 509051 h 613471"/>
                <a:gd name="connsiteX1120" fmla="*/ 740896 w 750200"/>
                <a:gd name="connsiteY1120" fmla="*/ 499358 h 613471"/>
                <a:gd name="connsiteX1121" fmla="*/ 748133 w 750200"/>
                <a:gd name="connsiteY1121" fmla="*/ 480361 h 613471"/>
                <a:gd name="connsiteX1122" fmla="*/ 750071 w 750200"/>
                <a:gd name="connsiteY1122" fmla="*/ 476484 h 613471"/>
                <a:gd name="connsiteX1123" fmla="*/ 750201 w 750200"/>
                <a:gd name="connsiteY1123" fmla="*/ 475192 h 61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Lst>
              <a:rect l="l" t="t" r="r" b="b"/>
              <a:pathLst>
                <a:path w="750200" h="613471">
                  <a:moveTo>
                    <a:pt x="750071" y="474158"/>
                  </a:moveTo>
                  <a:lnTo>
                    <a:pt x="748391" y="471444"/>
                  </a:lnTo>
                  <a:lnTo>
                    <a:pt x="746065" y="467567"/>
                  </a:lnTo>
                  <a:lnTo>
                    <a:pt x="743739" y="462268"/>
                  </a:lnTo>
                  <a:lnTo>
                    <a:pt x="743222" y="460330"/>
                  </a:lnTo>
                  <a:lnTo>
                    <a:pt x="742964" y="458520"/>
                  </a:lnTo>
                  <a:lnTo>
                    <a:pt x="743222" y="446114"/>
                  </a:lnTo>
                  <a:lnTo>
                    <a:pt x="742964" y="444693"/>
                  </a:lnTo>
                  <a:lnTo>
                    <a:pt x="742317" y="443142"/>
                  </a:lnTo>
                  <a:lnTo>
                    <a:pt x="738570" y="437843"/>
                  </a:lnTo>
                  <a:lnTo>
                    <a:pt x="737277" y="433320"/>
                  </a:lnTo>
                  <a:lnTo>
                    <a:pt x="734822" y="428538"/>
                  </a:lnTo>
                  <a:lnTo>
                    <a:pt x="733013" y="422981"/>
                  </a:lnTo>
                  <a:lnTo>
                    <a:pt x="731850" y="421948"/>
                  </a:lnTo>
                  <a:lnTo>
                    <a:pt x="731203" y="421560"/>
                  </a:lnTo>
                  <a:lnTo>
                    <a:pt x="730299" y="421431"/>
                  </a:lnTo>
                  <a:lnTo>
                    <a:pt x="729265" y="421560"/>
                  </a:lnTo>
                  <a:lnTo>
                    <a:pt x="727197" y="422206"/>
                  </a:lnTo>
                  <a:lnTo>
                    <a:pt x="725905" y="422206"/>
                  </a:lnTo>
                  <a:lnTo>
                    <a:pt x="724742" y="421689"/>
                  </a:lnTo>
                  <a:lnTo>
                    <a:pt x="723708" y="420526"/>
                  </a:lnTo>
                  <a:lnTo>
                    <a:pt x="722803" y="418587"/>
                  </a:lnTo>
                  <a:lnTo>
                    <a:pt x="722157" y="416261"/>
                  </a:lnTo>
                  <a:lnTo>
                    <a:pt x="721898" y="414581"/>
                  </a:lnTo>
                  <a:lnTo>
                    <a:pt x="721769" y="409670"/>
                  </a:lnTo>
                  <a:lnTo>
                    <a:pt x="721511" y="408507"/>
                  </a:lnTo>
                  <a:lnTo>
                    <a:pt x="720606" y="405535"/>
                  </a:lnTo>
                  <a:lnTo>
                    <a:pt x="720348" y="404242"/>
                  </a:lnTo>
                  <a:lnTo>
                    <a:pt x="719702" y="394938"/>
                  </a:lnTo>
                  <a:lnTo>
                    <a:pt x="720089" y="389897"/>
                  </a:lnTo>
                  <a:lnTo>
                    <a:pt x="720348" y="388605"/>
                  </a:lnTo>
                  <a:lnTo>
                    <a:pt x="720994" y="387442"/>
                  </a:lnTo>
                  <a:lnTo>
                    <a:pt x="721898" y="386537"/>
                  </a:lnTo>
                  <a:lnTo>
                    <a:pt x="728489" y="381627"/>
                  </a:lnTo>
                  <a:lnTo>
                    <a:pt x="729782" y="380334"/>
                  </a:lnTo>
                  <a:lnTo>
                    <a:pt x="731462" y="377879"/>
                  </a:lnTo>
                  <a:lnTo>
                    <a:pt x="732754" y="376457"/>
                  </a:lnTo>
                  <a:lnTo>
                    <a:pt x="733271" y="375423"/>
                  </a:lnTo>
                  <a:lnTo>
                    <a:pt x="734176" y="373097"/>
                  </a:lnTo>
                  <a:lnTo>
                    <a:pt x="734693" y="371805"/>
                  </a:lnTo>
                  <a:lnTo>
                    <a:pt x="735726" y="370771"/>
                  </a:lnTo>
                  <a:lnTo>
                    <a:pt x="736760" y="370125"/>
                  </a:lnTo>
                  <a:lnTo>
                    <a:pt x="737924" y="369479"/>
                  </a:lnTo>
                  <a:lnTo>
                    <a:pt x="738957" y="368703"/>
                  </a:lnTo>
                  <a:lnTo>
                    <a:pt x="739862" y="367669"/>
                  </a:lnTo>
                  <a:lnTo>
                    <a:pt x="740379" y="366377"/>
                  </a:lnTo>
                  <a:lnTo>
                    <a:pt x="740637" y="365214"/>
                  </a:lnTo>
                  <a:lnTo>
                    <a:pt x="740120" y="362759"/>
                  </a:lnTo>
                  <a:lnTo>
                    <a:pt x="735726" y="353454"/>
                  </a:lnTo>
                  <a:lnTo>
                    <a:pt x="734693" y="350481"/>
                  </a:lnTo>
                  <a:lnTo>
                    <a:pt x="734176" y="348284"/>
                  </a:lnTo>
                  <a:lnTo>
                    <a:pt x="734046" y="346863"/>
                  </a:lnTo>
                  <a:lnTo>
                    <a:pt x="733659" y="345053"/>
                  </a:lnTo>
                  <a:lnTo>
                    <a:pt x="731979" y="340530"/>
                  </a:lnTo>
                  <a:lnTo>
                    <a:pt x="731074" y="339109"/>
                  </a:lnTo>
                  <a:lnTo>
                    <a:pt x="729523" y="338333"/>
                  </a:lnTo>
                  <a:lnTo>
                    <a:pt x="726809" y="337687"/>
                  </a:lnTo>
                  <a:lnTo>
                    <a:pt x="724742" y="336266"/>
                  </a:lnTo>
                  <a:lnTo>
                    <a:pt x="723708" y="335878"/>
                  </a:lnTo>
                  <a:lnTo>
                    <a:pt x="722545" y="335878"/>
                  </a:lnTo>
                  <a:lnTo>
                    <a:pt x="721511" y="336137"/>
                  </a:lnTo>
                  <a:lnTo>
                    <a:pt x="720348" y="336007"/>
                  </a:lnTo>
                  <a:lnTo>
                    <a:pt x="716729" y="334973"/>
                  </a:lnTo>
                  <a:lnTo>
                    <a:pt x="715566" y="334973"/>
                  </a:lnTo>
                  <a:lnTo>
                    <a:pt x="714403" y="335361"/>
                  </a:lnTo>
                  <a:lnTo>
                    <a:pt x="713240" y="336007"/>
                  </a:lnTo>
                  <a:lnTo>
                    <a:pt x="712077" y="336266"/>
                  </a:lnTo>
                  <a:lnTo>
                    <a:pt x="710784" y="336137"/>
                  </a:lnTo>
                  <a:lnTo>
                    <a:pt x="706391" y="335103"/>
                  </a:lnTo>
                  <a:lnTo>
                    <a:pt x="704969" y="334586"/>
                  </a:lnTo>
                  <a:lnTo>
                    <a:pt x="701350" y="332259"/>
                  </a:lnTo>
                  <a:lnTo>
                    <a:pt x="700187" y="331872"/>
                  </a:lnTo>
                  <a:lnTo>
                    <a:pt x="699153" y="331742"/>
                  </a:lnTo>
                  <a:lnTo>
                    <a:pt x="698120" y="332001"/>
                  </a:lnTo>
                  <a:lnTo>
                    <a:pt x="696956" y="332518"/>
                  </a:lnTo>
                  <a:lnTo>
                    <a:pt x="693726" y="334844"/>
                  </a:lnTo>
                  <a:lnTo>
                    <a:pt x="692692" y="335361"/>
                  </a:lnTo>
                  <a:lnTo>
                    <a:pt x="691529" y="335361"/>
                  </a:lnTo>
                  <a:lnTo>
                    <a:pt x="690236" y="334586"/>
                  </a:lnTo>
                  <a:lnTo>
                    <a:pt x="684809" y="329287"/>
                  </a:lnTo>
                  <a:lnTo>
                    <a:pt x="683904" y="327995"/>
                  </a:lnTo>
                  <a:lnTo>
                    <a:pt x="684033" y="326573"/>
                  </a:lnTo>
                  <a:lnTo>
                    <a:pt x="684550" y="325410"/>
                  </a:lnTo>
                  <a:lnTo>
                    <a:pt x="684679" y="324376"/>
                  </a:lnTo>
                  <a:lnTo>
                    <a:pt x="683904" y="323859"/>
                  </a:lnTo>
                  <a:lnTo>
                    <a:pt x="573797" y="323213"/>
                  </a:lnTo>
                  <a:lnTo>
                    <a:pt x="569532" y="322308"/>
                  </a:lnTo>
                  <a:lnTo>
                    <a:pt x="568369" y="319982"/>
                  </a:lnTo>
                  <a:lnTo>
                    <a:pt x="568240" y="318431"/>
                  </a:lnTo>
                  <a:lnTo>
                    <a:pt x="569791" y="310419"/>
                  </a:lnTo>
                  <a:lnTo>
                    <a:pt x="569920" y="308739"/>
                  </a:lnTo>
                  <a:lnTo>
                    <a:pt x="569661" y="306930"/>
                  </a:lnTo>
                  <a:lnTo>
                    <a:pt x="568628" y="302407"/>
                  </a:lnTo>
                  <a:lnTo>
                    <a:pt x="568498" y="300856"/>
                  </a:lnTo>
                  <a:lnTo>
                    <a:pt x="568886" y="299563"/>
                  </a:lnTo>
                  <a:lnTo>
                    <a:pt x="569661" y="299046"/>
                  </a:lnTo>
                  <a:lnTo>
                    <a:pt x="570437" y="299176"/>
                  </a:lnTo>
                  <a:lnTo>
                    <a:pt x="571083" y="299434"/>
                  </a:lnTo>
                  <a:lnTo>
                    <a:pt x="571858" y="299563"/>
                  </a:lnTo>
                  <a:lnTo>
                    <a:pt x="572763" y="298788"/>
                  </a:lnTo>
                  <a:lnTo>
                    <a:pt x="573538" y="297366"/>
                  </a:lnTo>
                  <a:lnTo>
                    <a:pt x="574185" y="294782"/>
                  </a:lnTo>
                  <a:lnTo>
                    <a:pt x="574314" y="293231"/>
                  </a:lnTo>
                  <a:lnTo>
                    <a:pt x="573797" y="291938"/>
                  </a:lnTo>
                  <a:lnTo>
                    <a:pt x="573022" y="291422"/>
                  </a:lnTo>
                  <a:lnTo>
                    <a:pt x="571988" y="291034"/>
                  </a:lnTo>
                  <a:lnTo>
                    <a:pt x="571083" y="290775"/>
                  </a:lnTo>
                  <a:lnTo>
                    <a:pt x="570695" y="290388"/>
                  </a:lnTo>
                  <a:lnTo>
                    <a:pt x="570308" y="289612"/>
                  </a:lnTo>
                  <a:lnTo>
                    <a:pt x="570954" y="286252"/>
                  </a:lnTo>
                  <a:lnTo>
                    <a:pt x="571212" y="282117"/>
                  </a:lnTo>
                  <a:lnTo>
                    <a:pt x="572246" y="276430"/>
                  </a:lnTo>
                  <a:lnTo>
                    <a:pt x="572505" y="269581"/>
                  </a:lnTo>
                  <a:lnTo>
                    <a:pt x="573538" y="264541"/>
                  </a:lnTo>
                  <a:lnTo>
                    <a:pt x="573668" y="262344"/>
                  </a:lnTo>
                  <a:lnTo>
                    <a:pt x="573538" y="261052"/>
                  </a:lnTo>
                  <a:lnTo>
                    <a:pt x="572892" y="259372"/>
                  </a:lnTo>
                  <a:lnTo>
                    <a:pt x="572246" y="258079"/>
                  </a:lnTo>
                  <a:lnTo>
                    <a:pt x="571342" y="256916"/>
                  </a:lnTo>
                  <a:lnTo>
                    <a:pt x="569144" y="254849"/>
                  </a:lnTo>
                  <a:lnTo>
                    <a:pt x="568498" y="253815"/>
                  </a:lnTo>
                  <a:lnTo>
                    <a:pt x="563846" y="243605"/>
                  </a:lnTo>
                  <a:lnTo>
                    <a:pt x="563587" y="242184"/>
                  </a:lnTo>
                  <a:lnTo>
                    <a:pt x="563717" y="240633"/>
                  </a:lnTo>
                  <a:lnTo>
                    <a:pt x="564751" y="236885"/>
                  </a:lnTo>
                  <a:lnTo>
                    <a:pt x="564751" y="235334"/>
                  </a:lnTo>
                  <a:lnTo>
                    <a:pt x="564104" y="233913"/>
                  </a:lnTo>
                  <a:lnTo>
                    <a:pt x="563329" y="232879"/>
                  </a:lnTo>
                  <a:lnTo>
                    <a:pt x="562554" y="231457"/>
                  </a:lnTo>
                  <a:lnTo>
                    <a:pt x="562166" y="229519"/>
                  </a:lnTo>
                  <a:lnTo>
                    <a:pt x="562295" y="225900"/>
                  </a:lnTo>
                  <a:lnTo>
                    <a:pt x="562683" y="223703"/>
                  </a:lnTo>
                  <a:lnTo>
                    <a:pt x="563071" y="221894"/>
                  </a:lnTo>
                  <a:lnTo>
                    <a:pt x="564363" y="219180"/>
                  </a:lnTo>
                  <a:lnTo>
                    <a:pt x="566818" y="214915"/>
                  </a:lnTo>
                  <a:lnTo>
                    <a:pt x="567206" y="213882"/>
                  </a:lnTo>
                  <a:lnTo>
                    <a:pt x="567335" y="212589"/>
                  </a:lnTo>
                  <a:lnTo>
                    <a:pt x="566948" y="210263"/>
                  </a:lnTo>
                  <a:lnTo>
                    <a:pt x="566948" y="208583"/>
                  </a:lnTo>
                  <a:lnTo>
                    <a:pt x="567206" y="206644"/>
                  </a:lnTo>
                  <a:lnTo>
                    <a:pt x="568369" y="203026"/>
                  </a:lnTo>
                  <a:lnTo>
                    <a:pt x="568498" y="201734"/>
                  </a:lnTo>
                  <a:lnTo>
                    <a:pt x="568498" y="200441"/>
                  </a:lnTo>
                  <a:lnTo>
                    <a:pt x="567077" y="196176"/>
                  </a:lnTo>
                  <a:lnTo>
                    <a:pt x="566689" y="194755"/>
                  </a:lnTo>
                  <a:lnTo>
                    <a:pt x="566431" y="190878"/>
                  </a:lnTo>
                  <a:lnTo>
                    <a:pt x="566172" y="189327"/>
                  </a:lnTo>
                  <a:lnTo>
                    <a:pt x="565138" y="187776"/>
                  </a:lnTo>
                  <a:lnTo>
                    <a:pt x="564363" y="186742"/>
                  </a:lnTo>
                  <a:lnTo>
                    <a:pt x="563717" y="185838"/>
                  </a:lnTo>
                  <a:lnTo>
                    <a:pt x="564234" y="185062"/>
                  </a:lnTo>
                  <a:lnTo>
                    <a:pt x="565138" y="184675"/>
                  </a:lnTo>
                  <a:lnTo>
                    <a:pt x="567335" y="184029"/>
                  </a:lnTo>
                  <a:lnTo>
                    <a:pt x="568369" y="183641"/>
                  </a:lnTo>
                  <a:lnTo>
                    <a:pt x="569015" y="182736"/>
                  </a:lnTo>
                  <a:lnTo>
                    <a:pt x="570178" y="179376"/>
                  </a:lnTo>
                  <a:lnTo>
                    <a:pt x="570695" y="178601"/>
                  </a:lnTo>
                  <a:lnTo>
                    <a:pt x="571342" y="177955"/>
                  </a:lnTo>
                  <a:lnTo>
                    <a:pt x="572117" y="177308"/>
                  </a:lnTo>
                  <a:lnTo>
                    <a:pt x="572634" y="176275"/>
                  </a:lnTo>
                  <a:lnTo>
                    <a:pt x="572634" y="175241"/>
                  </a:lnTo>
                  <a:lnTo>
                    <a:pt x="571988" y="174207"/>
                  </a:lnTo>
                  <a:lnTo>
                    <a:pt x="571212" y="173561"/>
                  </a:lnTo>
                  <a:lnTo>
                    <a:pt x="570308" y="172010"/>
                  </a:lnTo>
                  <a:lnTo>
                    <a:pt x="569661" y="170588"/>
                  </a:lnTo>
                  <a:lnTo>
                    <a:pt x="568886" y="169554"/>
                  </a:lnTo>
                  <a:lnTo>
                    <a:pt x="568240" y="168262"/>
                  </a:lnTo>
                  <a:lnTo>
                    <a:pt x="565138" y="157277"/>
                  </a:lnTo>
                  <a:lnTo>
                    <a:pt x="565526" y="153142"/>
                  </a:lnTo>
                  <a:lnTo>
                    <a:pt x="565526" y="151462"/>
                  </a:lnTo>
                  <a:lnTo>
                    <a:pt x="564751" y="149394"/>
                  </a:lnTo>
                  <a:lnTo>
                    <a:pt x="563975" y="147843"/>
                  </a:lnTo>
                  <a:lnTo>
                    <a:pt x="562941" y="147068"/>
                  </a:lnTo>
                  <a:lnTo>
                    <a:pt x="560486" y="145646"/>
                  </a:lnTo>
                  <a:lnTo>
                    <a:pt x="559323" y="144612"/>
                  </a:lnTo>
                  <a:lnTo>
                    <a:pt x="558806" y="143449"/>
                  </a:lnTo>
                  <a:lnTo>
                    <a:pt x="558677" y="142028"/>
                  </a:lnTo>
                  <a:lnTo>
                    <a:pt x="559323" y="140348"/>
                  </a:lnTo>
                  <a:lnTo>
                    <a:pt x="560486" y="137634"/>
                  </a:lnTo>
                  <a:lnTo>
                    <a:pt x="560357" y="135954"/>
                  </a:lnTo>
                  <a:lnTo>
                    <a:pt x="560227" y="134661"/>
                  </a:lnTo>
                  <a:lnTo>
                    <a:pt x="560744" y="133628"/>
                  </a:lnTo>
                  <a:lnTo>
                    <a:pt x="561649" y="132981"/>
                  </a:lnTo>
                  <a:lnTo>
                    <a:pt x="562812" y="132723"/>
                  </a:lnTo>
                  <a:lnTo>
                    <a:pt x="565397" y="132594"/>
                  </a:lnTo>
                  <a:lnTo>
                    <a:pt x="566431" y="132335"/>
                  </a:lnTo>
                  <a:lnTo>
                    <a:pt x="567335" y="131689"/>
                  </a:lnTo>
                  <a:lnTo>
                    <a:pt x="567594" y="130526"/>
                  </a:lnTo>
                  <a:lnTo>
                    <a:pt x="567335" y="128846"/>
                  </a:lnTo>
                  <a:lnTo>
                    <a:pt x="564621" y="121480"/>
                  </a:lnTo>
                  <a:lnTo>
                    <a:pt x="564363" y="119929"/>
                  </a:lnTo>
                  <a:lnTo>
                    <a:pt x="564492" y="117990"/>
                  </a:lnTo>
                  <a:lnTo>
                    <a:pt x="564621" y="116439"/>
                  </a:lnTo>
                  <a:lnTo>
                    <a:pt x="567335" y="107264"/>
                  </a:lnTo>
                  <a:lnTo>
                    <a:pt x="572117" y="98347"/>
                  </a:lnTo>
                  <a:lnTo>
                    <a:pt x="572246" y="97184"/>
                  </a:lnTo>
                  <a:lnTo>
                    <a:pt x="572117" y="96150"/>
                  </a:lnTo>
                  <a:lnTo>
                    <a:pt x="571729" y="94987"/>
                  </a:lnTo>
                  <a:lnTo>
                    <a:pt x="570825" y="92790"/>
                  </a:lnTo>
                  <a:lnTo>
                    <a:pt x="569661" y="90980"/>
                  </a:lnTo>
                  <a:lnTo>
                    <a:pt x="566043" y="87879"/>
                  </a:lnTo>
                  <a:lnTo>
                    <a:pt x="562166" y="85423"/>
                  </a:lnTo>
                  <a:lnTo>
                    <a:pt x="558677" y="82580"/>
                  </a:lnTo>
                  <a:lnTo>
                    <a:pt x="559064" y="78703"/>
                  </a:lnTo>
                  <a:lnTo>
                    <a:pt x="558806" y="77540"/>
                  </a:lnTo>
                  <a:lnTo>
                    <a:pt x="557901" y="76506"/>
                  </a:lnTo>
                  <a:lnTo>
                    <a:pt x="556480" y="75731"/>
                  </a:lnTo>
                  <a:lnTo>
                    <a:pt x="550664" y="74826"/>
                  </a:lnTo>
                  <a:lnTo>
                    <a:pt x="548855" y="74180"/>
                  </a:lnTo>
                  <a:lnTo>
                    <a:pt x="547433" y="73922"/>
                  </a:lnTo>
                  <a:lnTo>
                    <a:pt x="545753" y="74309"/>
                  </a:lnTo>
                  <a:lnTo>
                    <a:pt x="544849" y="75214"/>
                  </a:lnTo>
                  <a:lnTo>
                    <a:pt x="543427" y="77282"/>
                  </a:lnTo>
                  <a:lnTo>
                    <a:pt x="542393" y="78316"/>
                  </a:lnTo>
                  <a:lnTo>
                    <a:pt x="541230" y="78962"/>
                  </a:lnTo>
                  <a:lnTo>
                    <a:pt x="540067" y="79220"/>
                  </a:lnTo>
                  <a:lnTo>
                    <a:pt x="536448" y="79091"/>
                  </a:lnTo>
                  <a:lnTo>
                    <a:pt x="535414" y="79479"/>
                  </a:lnTo>
                  <a:lnTo>
                    <a:pt x="534510" y="79996"/>
                  </a:lnTo>
                  <a:lnTo>
                    <a:pt x="533734" y="81029"/>
                  </a:lnTo>
                  <a:lnTo>
                    <a:pt x="533088" y="82063"/>
                  </a:lnTo>
                  <a:lnTo>
                    <a:pt x="532571" y="83226"/>
                  </a:lnTo>
                  <a:lnTo>
                    <a:pt x="532184" y="84389"/>
                  </a:lnTo>
                  <a:lnTo>
                    <a:pt x="531796" y="86845"/>
                  </a:lnTo>
                  <a:lnTo>
                    <a:pt x="531667" y="89042"/>
                  </a:lnTo>
                  <a:lnTo>
                    <a:pt x="531538" y="90205"/>
                  </a:lnTo>
                  <a:lnTo>
                    <a:pt x="531150" y="91239"/>
                  </a:lnTo>
                  <a:lnTo>
                    <a:pt x="530374" y="92144"/>
                  </a:lnTo>
                  <a:lnTo>
                    <a:pt x="529470" y="92919"/>
                  </a:lnTo>
                  <a:lnTo>
                    <a:pt x="528436" y="93565"/>
                  </a:lnTo>
                  <a:lnTo>
                    <a:pt x="527273" y="93824"/>
                  </a:lnTo>
                  <a:lnTo>
                    <a:pt x="525722" y="93824"/>
                  </a:lnTo>
                  <a:lnTo>
                    <a:pt x="523913" y="93307"/>
                  </a:lnTo>
                  <a:lnTo>
                    <a:pt x="521070" y="92144"/>
                  </a:lnTo>
                  <a:lnTo>
                    <a:pt x="519260" y="90593"/>
                  </a:lnTo>
                  <a:lnTo>
                    <a:pt x="518356" y="89300"/>
                  </a:lnTo>
                  <a:lnTo>
                    <a:pt x="517839" y="88267"/>
                  </a:lnTo>
                  <a:lnTo>
                    <a:pt x="517322" y="87362"/>
                  </a:lnTo>
                  <a:lnTo>
                    <a:pt x="516546" y="86845"/>
                  </a:lnTo>
                  <a:lnTo>
                    <a:pt x="515383" y="86199"/>
                  </a:lnTo>
                  <a:lnTo>
                    <a:pt x="508534" y="84389"/>
                  </a:lnTo>
                  <a:lnTo>
                    <a:pt x="507242" y="84260"/>
                  </a:lnTo>
                  <a:lnTo>
                    <a:pt x="506079" y="84389"/>
                  </a:lnTo>
                  <a:lnTo>
                    <a:pt x="504915" y="84260"/>
                  </a:lnTo>
                  <a:lnTo>
                    <a:pt x="503882" y="83873"/>
                  </a:lnTo>
                  <a:lnTo>
                    <a:pt x="502848" y="82580"/>
                  </a:lnTo>
                  <a:lnTo>
                    <a:pt x="502331" y="81417"/>
                  </a:lnTo>
                  <a:lnTo>
                    <a:pt x="501943" y="80254"/>
                  </a:lnTo>
                  <a:lnTo>
                    <a:pt x="501297" y="75602"/>
                  </a:lnTo>
                  <a:lnTo>
                    <a:pt x="500651" y="73405"/>
                  </a:lnTo>
                  <a:lnTo>
                    <a:pt x="498971" y="70045"/>
                  </a:lnTo>
                  <a:lnTo>
                    <a:pt x="498454" y="68881"/>
                  </a:lnTo>
                  <a:lnTo>
                    <a:pt x="498454" y="67848"/>
                  </a:lnTo>
                  <a:lnTo>
                    <a:pt x="498841" y="65651"/>
                  </a:lnTo>
                  <a:lnTo>
                    <a:pt x="498325" y="64617"/>
                  </a:lnTo>
                  <a:lnTo>
                    <a:pt x="497161" y="63712"/>
                  </a:lnTo>
                  <a:lnTo>
                    <a:pt x="494577" y="63066"/>
                  </a:lnTo>
                  <a:lnTo>
                    <a:pt x="492897" y="63066"/>
                  </a:lnTo>
                  <a:lnTo>
                    <a:pt x="489278" y="63583"/>
                  </a:lnTo>
                  <a:lnTo>
                    <a:pt x="488115" y="63583"/>
                  </a:lnTo>
                  <a:lnTo>
                    <a:pt x="487081" y="63454"/>
                  </a:lnTo>
                  <a:lnTo>
                    <a:pt x="485918" y="63066"/>
                  </a:lnTo>
                  <a:lnTo>
                    <a:pt x="485013" y="62420"/>
                  </a:lnTo>
                  <a:lnTo>
                    <a:pt x="484238" y="61386"/>
                  </a:lnTo>
                  <a:lnTo>
                    <a:pt x="483850" y="60352"/>
                  </a:lnTo>
                  <a:lnTo>
                    <a:pt x="483204" y="58155"/>
                  </a:lnTo>
                  <a:lnTo>
                    <a:pt x="481653" y="54020"/>
                  </a:lnTo>
                  <a:lnTo>
                    <a:pt x="480490" y="49755"/>
                  </a:lnTo>
                  <a:lnTo>
                    <a:pt x="479973" y="48721"/>
                  </a:lnTo>
                  <a:lnTo>
                    <a:pt x="478681" y="46524"/>
                  </a:lnTo>
                  <a:lnTo>
                    <a:pt x="478164" y="45361"/>
                  </a:lnTo>
                  <a:lnTo>
                    <a:pt x="478035" y="44327"/>
                  </a:lnTo>
                  <a:lnTo>
                    <a:pt x="477906" y="43293"/>
                  </a:lnTo>
                  <a:lnTo>
                    <a:pt x="477647" y="42259"/>
                  </a:lnTo>
                  <a:lnTo>
                    <a:pt x="477130" y="41226"/>
                  </a:lnTo>
                  <a:lnTo>
                    <a:pt x="476355" y="40192"/>
                  </a:lnTo>
                  <a:lnTo>
                    <a:pt x="474675" y="39158"/>
                  </a:lnTo>
                  <a:lnTo>
                    <a:pt x="472607" y="38382"/>
                  </a:lnTo>
                  <a:lnTo>
                    <a:pt x="468472" y="37478"/>
                  </a:lnTo>
                  <a:lnTo>
                    <a:pt x="466275" y="37478"/>
                  </a:lnTo>
                  <a:lnTo>
                    <a:pt x="464724" y="37865"/>
                  </a:lnTo>
                  <a:lnTo>
                    <a:pt x="463819" y="38253"/>
                  </a:lnTo>
                  <a:lnTo>
                    <a:pt x="463173" y="38512"/>
                  </a:lnTo>
                  <a:lnTo>
                    <a:pt x="462268" y="38770"/>
                  </a:lnTo>
                  <a:lnTo>
                    <a:pt x="461364" y="39029"/>
                  </a:lnTo>
                  <a:lnTo>
                    <a:pt x="460201" y="39158"/>
                  </a:lnTo>
                  <a:lnTo>
                    <a:pt x="459296" y="39029"/>
                  </a:lnTo>
                  <a:lnTo>
                    <a:pt x="458779" y="38253"/>
                  </a:lnTo>
                  <a:lnTo>
                    <a:pt x="458650" y="37348"/>
                  </a:lnTo>
                  <a:lnTo>
                    <a:pt x="458391" y="32955"/>
                  </a:lnTo>
                  <a:lnTo>
                    <a:pt x="458133" y="31921"/>
                  </a:lnTo>
                  <a:lnTo>
                    <a:pt x="457745" y="30887"/>
                  </a:lnTo>
                  <a:lnTo>
                    <a:pt x="456582" y="29594"/>
                  </a:lnTo>
                  <a:lnTo>
                    <a:pt x="454902" y="28173"/>
                  </a:lnTo>
                  <a:lnTo>
                    <a:pt x="451800" y="26234"/>
                  </a:lnTo>
                  <a:lnTo>
                    <a:pt x="450120" y="24942"/>
                  </a:lnTo>
                  <a:lnTo>
                    <a:pt x="448957" y="23650"/>
                  </a:lnTo>
                  <a:lnTo>
                    <a:pt x="445985" y="17576"/>
                  </a:lnTo>
                  <a:lnTo>
                    <a:pt x="445726" y="16542"/>
                  </a:lnTo>
                  <a:lnTo>
                    <a:pt x="445726" y="14345"/>
                  </a:lnTo>
                  <a:lnTo>
                    <a:pt x="445468" y="13311"/>
                  </a:lnTo>
                  <a:lnTo>
                    <a:pt x="444822" y="12277"/>
                  </a:lnTo>
                  <a:lnTo>
                    <a:pt x="439652" y="6720"/>
                  </a:lnTo>
                  <a:lnTo>
                    <a:pt x="438619" y="5945"/>
                  </a:lnTo>
                  <a:lnTo>
                    <a:pt x="437456" y="5299"/>
                  </a:lnTo>
                  <a:lnTo>
                    <a:pt x="436034" y="4652"/>
                  </a:lnTo>
                  <a:lnTo>
                    <a:pt x="430735" y="3102"/>
                  </a:lnTo>
                  <a:lnTo>
                    <a:pt x="429443" y="2455"/>
                  </a:lnTo>
                  <a:lnTo>
                    <a:pt x="428280" y="1680"/>
                  </a:lnTo>
                  <a:lnTo>
                    <a:pt x="420267" y="905"/>
                  </a:lnTo>
                  <a:lnTo>
                    <a:pt x="352420" y="0"/>
                  </a:lnTo>
                  <a:lnTo>
                    <a:pt x="350094" y="2972"/>
                  </a:lnTo>
                  <a:lnTo>
                    <a:pt x="347380" y="7496"/>
                  </a:lnTo>
                  <a:lnTo>
                    <a:pt x="346992" y="8529"/>
                  </a:lnTo>
                  <a:lnTo>
                    <a:pt x="346734" y="9693"/>
                  </a:lnTo>
                  <a:lnTo>
                    <a:pt x="346863" y="10726"/>
                  </a:lnTo>
                  <a:lnTo>
                    <a:pt x="348026" y="14991"/>
                  </a:lnTo>
                  <a:lnTo>
                    <a:pt x="348026" y="16025"/>
                  </a:lnTo>
                  <a:lnTo>
                    <a:pt x="347509" y="17059"/>
                  </a:lnTo>
                  <a:lnTo>
                    <a:pt x="346604" y="17834"/>
                  </a:lnTo>
                  <a:lnTo>
                    <a:pt x="344666" y="18093"/>
                  </a:lnTo>
                  <a:lnTo>
                    <a:pt x="343244" y="18093"/>
                  </a:lnTo>
                  <a:lnTo>
                    <a:pt x="341952" y="18222"/>
                  </a:lnTo>
                  <a:lnTo>
                    <a:pt x="338850" y="19514"/>
                  </a:lnTo>
                  <a:lnTo>
                    <a:pt x="334586" y="19902"/>
                  </a:lnTo>
                  <a:lnTo>
                    <a:pt x="333552" y="20160"/>
                  </a:lnTo>
                  <a:lnTo>
                    <a:pt x="332389" y="20677"/>
                  </a:lnTo>
                  <a:lnTo>
                    <a:pt x="331355" y="21324"/>
                  </a:lnTo>
                  <a:lnTo>
                    <a:pt x="330321" y="22487"/>
                  </a:lnTo>
                  <a:lnTo>
                    <a:pt x="330062" y="23520"/>
                  </a:lnTo>
                  <a:lnTo>
                    <a:pt x="330062" y="24684"/>
                  </a:lnTo>
                  <a:lnTo>
                    <a:pt x="331096" y="27785"/>
                  </a:lnTo>
                  <a:lnTo>
                    <a:pt x="331226" y="28948"/>
                  </a:lnTo>
                  <a:lnTo>
                    <a:pt x="330709" y="29853"/>
                  </a:lnTo>
                  <a:lnTo>
                    <a:pt x="329675" y="30628"/>
                  </a:lnTo>
                  <a:lnTo>
                    <a:pt x="325669" y="31533"/>
                  </a:lnTo>
                  <a:lnTo>
                    <a:pt x="321404" y="32955"/>
                  </a:lnTo>
                  <a:lnTo>
                    <a:pt x="315976" y="33472"/>
                  </a:lnTo>
                  <a:lnTo>
                    <a:pt x="314813" y="33730"/>
                  </a:lnTo>
                  <a:lnTo>
                    <a:pt x="313779" y="34118"/>
                  </a:lnTo>
                  <a:lnTo>
                    <a:pt x="312616" y="34893"/>
                  </a:lnTo>
                  <a:lnTo>
                    <a:pt x="311841" y="35927"/>
                  </a:lnTo>
                  <a:lnTo>
                    <a:pt x="309773" y="39675"/>
                  </a:lnTo>
                  <a:lnTo>
                    <a:pt x="308997" y="40838"/>
                  </a:lnTo>
                  <a:lnTo>
                    <a:pt x="304991" y="44973"/>
                  </a:lnTo>
                  <a:lnTo>
                    <a:pt x="304216" y="46136"/>
                  </a:lnTo>
                  <a:lnTo>
                    <a:pt x="303828" y="47300"/>
                  </a:lnTo>
                  <a:lnTo>
                    <a:pt x="303699" y="48333"/>
                  </a:lnTo>
                  <a:lnTo>
                    <a:pt x="303957" y="49496"/>
                  </a:lnTo>
                  <a:lnTo>
                    <a:pt x="304603" y="50530"/>
                  </a:lnTo>
                  <a:lnTo>
                    <a:pt x="305379" y="51564"/>
                  </a:lnTo>
                  <a:lnTo>
                    <a:pt x="306413" y="52340"/>
                  </a:lnTo>
                  <a:lnTo>
                    <a:pt x="308739" y="53761"/>
                  </a:lnTo>
                  <a:lnTo>
                    <a:pt x="309773" y="54666"/>
                  </a:lnTo>
                  <a:lnTo>
                    <a:pt x="310548" y="55441"/>
                  </a:lnTo>
                  <a:lnTo>
                    <a:pt x="311065" y="56475"/>
                  </a:lnTo>
                  <a:lnTo>
                    <a:pt x="311453" y="57509"/>
                  </a:lnTo>
                  <a:lnTo>
                    <a:pt x="311453" y="58543"/>
                  </a:lnTo>
                  <a:lnTo>
                    <a:pt x="311065" y="59577"/>
                  </a:lnTo>
                  <a:lnTo>
                    <a:pt x="309773" y="61774"/>
                  </a:lnTo>
                  <a:lnTo>
                    <a:pt x="309127" y="63971"/>
                  </a:lnTo>
                  <a:lnTo>
                    <a:pt x="308610" y="65004"/>
                  </a:lnTo>
                  <a:lnTo>
                    <a:pt x="307834" y="66038"/>
                  </a:lnTo>
                  <a:lnTo>
                    <a:pt x="306800" y="66943"/>
                  </a:lnTo>
                  <a:lnTo>
                    <a:pt x="305896" y="67977"/>
                  </a:lnTo>
                  <a:lnTo>
                    <a:pt x="303699" y="72112"/>
                  </a:lnTo>
                  <a:lnTo>
                    <a:pt x="303182" y="73017"/>
                  </a:lnTo>
                  <a:lnTo>
                    <a:pt x="302536" y="73663"/>
                  </a:lnTo>
                  <a:lnTo>
                    <a:pt x="301243" y="74439"/>
                  </a:lnTo>
                  <a:lnTo>
                    <a:pt x="299046" y="75214"/>
                  </a:lnTo>
                  <a:lnTo>
                    <a:pt x="296849" y="76119"/>
                  </a:lnTo>
                  <a:lnTo>
                    <a:pt x="295169" y="76635"/>
                  </a:lnTo>
                  <a:lnTo>
                    <a:pt x="293360" y="76377"/>
                  </a:lnTo>
                  <a:lnTo>
                    <a:pt x="292585" y="75472"/>
                  </a:lnTo>
                  <a:lnTo>
                    <a:pt x="292068" y="74568"/>
                  </a:lnTo>
                  <a:lnTo>
                    <a:pt x="291422" y="73792"/>
                  </a:lnTo>
                  <a:lnTo>
                    <a:pt x="290388" y="73405"/>
                  </a:lnTo>
                  <a:lnTo>
                    <a:pt x="289483" y="73792"/>
                  </a:lnTo>
                  <a:lnTo>
                    <a:pt x="288578" y="74568"/>
                  </a:lnTo>
                  <a:lnTo>
                    <a:pt x="288320" y="75602"/>
                  </a:lnTo>
                  <a:lnTo>
                    <a:pt x="288191" y="76635"/>
                  </a:lnTo>
                  <a:lnTo>
                    <a:pt x="288966" y="79996"/>
                  </a:lnTo>
                  <a:lnTo>
                    <a:pt x="289095" y="81159"/>
                  </a:lnTo>
                  <a:lnTo>
                    <a:pt x="288708" y="83226"/>
                  </a:lnTo>
                  <a:lnTo>
                    <a:pt x="288708" y="84260"/>
                  </a:lnTo>
                  <a:lnTo>
                    <a:pt x="289095" y="85423"/>
                  </a:lnTo>
                  <a:lnTo>
                    <a:pt x="289742" y="86457"/>
                  </a:lnTo>
                  <a:lnTo>
                    <a:pt x="290129" y="87620"/>
                  </a:lnTo>
                  <a:lnTo>
                    <a:pt x="290000" y="88654"/>
                  </a:lnTo>
                  <a:lnTo>
                    <a:pt x="289095" y="90851"/>
                  </a:lnTo>
                  <a:lnTo>
                    <a:pt x="288708" y="91885"/>
                  </a:lnTo>
                  <a:lnTo>
                    <a:pt x="288578" y="93048"/>
                  </a:lnTo>
                  <a:lnTo>
                    <a:pt x="288708" y="94211"/>
                  </a:lnTo>
                  <a:lnTo>
                    <a:pt x="290517" y="100802"/>
                  </a:lnTo>
                  <a:lnTo>
                    <a:pt x="290517" y="101965"/>
                  </a:lnTo>
                  <a:lnTo>
                    <a:pt x="290259" y="102870"/>
                  </a:lnTo>
                  <a:lnTo>
                    <a:pt x="289225" y="103258"/>
                  </a:lnTo>
                  <a:lnTo>
                    <a:pt x="287803" y="102611"/>
                  </a:lnTo>
                  <a:lnTo>
                    <a:pt x="285477" y="100931"/>
                  </a:lnTo>
                  <a:lnTo>
                    <a:pt x="284185" y="100414"/>
                  </a:lnTo>
                  <a:lnTo>
                    <a:pt x="282892" y="100673"/>
                  </a:lnTo>
                  <a:lnTo>
                    <a:pt x="279920" y="102224"/>
                  </a:lnTo>
                  <a:lnTo>
                    <a:pt x="278628" y="102224"/>
                  </a:lnTo>
                  <a:lnTo>
                    <a:pt x="275914" y="101061"/>
                  </a:lnTo>
                  <a:lnTo>
                    <a:pt x="273975" y="100673"/>
                  </a:lnTo>
                  <a:lnTo>
                    <a:pt x="270486" y="101061"/>
                  </a:lnTo>
                  <a:lnTo>
                    <a:pt x="264283" y="100414"/>
                  </a:lnTo>
                  <a:lnTo>
                    <a:pt x="263119" y="100673"/>
                  </a:lnTo>
                  <a:lnTo>
                    <a:pt x="262086" y="101061"/>
                  </a:lnTo>
                  <a:lnTo>
                    <a:pt x="260922" y="101836"/>
                  </a:lnTo>
                  <a:lnTo>
                    <a:pt x="259113" y="103774"/>
                  </a:lnTo>
                  <a:lnTo>
                    <a:pt x="258079" y="104421"/>
                  </a:lnTo>
                  <a:lnTo>
                    <a:pt x="256916" y="104421"/>
                  </a:lnTo>
                  <a:lnTo>
                    <a:pt x="255753" y="104033"/>
                  </a:lnTo>
                  <a:lnTo>
                    <a:pt x="253427" y="102482"/>
                  </a:lnTo>
                  <a:lnTo>
                    <a:pt x="252135" y="102353"/>
                  </a:lnTo>
                  <a:lnTo>
                    <a:pt x="250713" y="102611"/>
                  </a:lnTo>
                  <a:lnTo>
                    <a:pt x="248645" y="103516"/>
                  </a:lnTo>
                  <a:lnTo>
                    <a:pt x="246448" y="105067"/>
                  </a:lnTo>
                  <a:lnTo>
                    <a:pt x="245027" y="106230"/>
                  </a:lnTo>
                  <a:lnTo>
                    <a:pt x="243347" y="108685"/>
                  </a:lnTo>
                  <a:lnTo>
                    <a:pt x="242442" y="109461"/>
                  </a:lnTo>
                  <a:lnTo>
                    <a:pt x="241021" y="110107"/>
                  </a:lnTo>
                  <a:lnTo>
                    <a:pt x="239082" y="110365"/>
                  </a:lnTo>
                  <a:lnTo>
                    <a:pt x="229131" y="109719"/>
                  </a:lnTo>
                  <a:lnTo>
                    <a:pt x="227968" y="109461"/>
                  </a:lnTo>
                  <a:lnTo>
                    <a:pt x="226934" y="109073"/>
                  </a:lnTo>
                  <a:lnTo>
                    <a:pt x="225900" y="108427"/>
                  </a:lnTo>
                  <a:lnTo>
                    <a:pt x="224349" y="107005"/>
                  </a:lnTo>
                  <a:lnTo>
                    <a:pt x="223574" y="106359"/>
                  </a:lnTo>
                  <a:lnTo>
                    <a:pt x="222411" y="105972"/>
                  </a:lnTo>
                  <a:lnTo>
                    <a:pt x="221119" y="105842"/>
                  </a:lnTo>
                  <a:lnTo>
                    <a:pt x="219697" y="106101"/>
                  </a:lnTo>
                  <a:lnTo>
                    <a:pt x="212848" y="109978"/>
                  </a:lnTo>
                  <a:lnTo>
                    <a:pt x="210263" y="111916"/>
                  </a:lnTo>
                  <a:lnTo>
                    <a:pt x="208195" y="113855"/>
                  </a:lnTo>
                  <a:lnTo>
                    <a:pt x="207420" y="114889"/>
                  </a:lnTo>
                  <a:lnTo>
                    <a:pt x="206903" y="116052"/>
                  </a:lnTo>
                  <a:lnTo>
                    <a:pt x="206257" y="117086"/>
                  </a:lnTo>
                  <a:lnTo>
                    <a:pt x="204447" y="119283"/>
                  </a:lnTo>
                  <a:lnTo>
                    <a:pt x="203931" y="120446"/>
                  </a:lnTo>
                  <a:lnTo>
                    <a:pt x="203801" y="121738"/>
                  </a:lnTo>
                  <a:lnTo>
                    <a:pt x="204060" y="122901"/>
                  </a:lnTo>
                  <a:lnTo>
                    <a:pt x="205998" y="128329"/>
                  </a:lnTo>
                  <a:lnTo>
                    <a:pt x="206257" y="129492"/>
                  </a:lnTo>
                  <a:lnTo>
                    <a:pt x="206257" y="130655"/>
                  </a:lnTo>
                  <a:lnTo>
                    <a:pt x="205869" y="131689"/>
                  </a:lnTo>
                  <a:lnTo>
                    <a:pt x="205223" y="132852"/>
                  </a:lnTo>
                  <a:lnTo>
                    <a:pt x="204447" y="133886"/>
                  </a:lnTo>
                  <a:lnTo>
                    <a:pt x="201087" y="136600"/>
                  </a:lnTo>
                  <a:lnTo>
                    <a:pt x="200312" y="137504"/>
                  </a:lnTo>
                  <a:lnTo>
                    <a:pt x="199666" y="138668"/>
                  </a:lnTo>
                  <a:lnTo>
                    <a:pt x="199407" y="140994"/>
                  </a:lnTo>
                  <a:lnTo>
                    <a:pt x="199020" y="142028"/>
                  </a:lnTo>
                  <a:lnTo>
                    <a:pt x="198244" y="142803"/>
                  </a:lnTo>
                  <a:lnTo>
                    <a:pt x="196435" y="143966"/>
                  </a:lnTo>
                  <a:lnTo>
                    <a:pt x="195789" y="144354"/>
                  </a:lnTo>
                  <a:lnTo>
                    <a:pt x="195143" y="145129"/>
                  </a:lnTo>
                  <a:lnTo>
                    <a:pt x="193592" y="148360"/>
                  </a:lnTo>
                  <a:lnTo>
                    <a:pt x="192816" y="149523"/>
                  </a:lnTo>
                  <a:lnTo>
                    <a:pt x="192041" y="150557"/>
                  </a:lnTo>
                  <a:lnTo>
                    <a:pt x="191007" y="151591"/>
                  </a:lnTo>
                  <a:lnTo>
                    <a:pt x="188810" y="153400"/>
                  </a:lnTo>
                  <a:lnTo>
                    <a:pt x="187647" y="154046"/>
                  </a:lnTo>
                  <a:lnTo>
                    <a:pt x="186355" y="154434"/>
                  </a:lnTo>
                  <a:lnTo>
                    <a:pt x="184546" y="154434"/>
                  </a:lnTo>
                  <a:lnTo>
                    <a:pt x="183124" y="154046"/>
                  </a:lnTo>
                  <a:lnTo>
                    <a:pt x="181832" y="153400"/>
                  </a:lnTo>
                  <a:lnTo>
                    <a:pt x="180668" y="152366"/>
                  </a:lnTo>
                  <a:lnTo>
                    <a:pt x="179505" y="151332"/>
                  </a:lnTo>
                  <a:lnTo>
                    <a:pt x="178601" y="150169"/>
                  </a:lnTo>
                  <a:lnTo>
                    <a:pt x="177955" y="148877"/>
                  </a:lnTo>
                  <a:lnTo>
                    <a:pt x="177567" y="147843"/>
                  </a:lnTo>
                  <a:lnTo>
                    <a:pt x="177308" y="146680"/>
                  </a:lnTo>
                  <a:lnTo>
                    <a:pt x="177308" y="145517"/>
                  </a:lnTo>
                  <a:lnTo>
                    <a:pt x="177438" y="143320"/>
                  </a:lnTo>
                  <a:lnTo>
                    <a:pt x="177308" y="142286"/>
                  </a:lnTo>
                  <a:lnTo>
                    <a:pt x="176533" y="141381"/>
                  </a:lnTo>
                  <a:lnTo>
                    <a:pt x="175628" y="140477"/>
                  </a:lnTo>
                  <a:lnTo>
                    <a:pt x="174982" y="139443"/>
                  </a:lnTo>
                  <a:lnTo>
                    <a:pt x="174724" y="138280"/>
                  </a:lnTo>
                  <a:lnTo>
                    <a:pt x="174724" y="136083"/>
                  </a:lnTo>
                  <a:lnTo>
                    <a:pt x="174336" y="135178"/>
                  </a:lnTo>
                  <a:lnTo>
                    <a:pt x="173302" y="134791"/>
                  </a:lnTo>
                  <a:lnTo>
                    <a:pt x="172010" y="135178"/>
                  </a:lnTo>
                  <a:lnTo>
                    <a:pt x="170201" y="136471"/>
                  </a:lnTo>
                  <a:lnTo>
                    <a:pt x="168908" y="137634"/>
                  </a:lnTo>
                  <a:lnTo>
                    <a:pt x="166970" y="138926"/>
                  </a:lnTo>
                  <a:lnTo>
                    <a:pt x="159991" y="142545"/>
                  </a:lnTo>
                  <a:lnTo>
                    <a:pt x="157794" y="144225"/>
                  </a:lnTo>
                  <a:lnTo>
                    <a:pt x="156243" y="145646"/>
                  </a:lnTo>
                  <a:lnTo>
                    <a:pt x="155339" y="146680"/>
                  </a:lnTo>
                  <a:lnTo>
                    <a:pt x="154434" y="147455"/>
                  </a:lnTo>
                  <a:lnTo>
                    <a:pt x="151074" y="149523"/>
                  </a:lnTo>
                  <a:lnTo>
                    <a:pt x="150169" y="150557"/>
                  </a:lnTo>
                  <a:lnTo>
                    <a:pt x="149523" y="151462"/>
                  </a:lnTo>
                  <a:lnTo>
                    <a:pt x="149135" y="152496"/>
                  </a:lnTo>
                  <a:lnTo>
                    <a:pt x="149006" y="154693"/>
                  </a:lnTo>
                  <a:lnTo>
                    <a:pt x="148619" y="155726"/>
                  </a:lnTo>
                  <a:lnTo>
                    <a:pt x="147714" y="156502"/>
                  </a:lnTo>
                  <a:lnTo>
                    <a:pt x="146422" y="156760"/>
                  </a:lnTo>
                  <a:lnTo>
                    <a:pt x="144354" y="156373"/>
                  </a:lnTo>
                  <a:lnTo>
                    <a:pt x="143449" y="155468"/>
                  </a:lnTo>
                  <a:lnTo>
                    <a:pt x="142674" y="154563"/>
                  </a:lnTo>
                  <a:lnTo>
                    <a:pt x="142286" y="153917"/>
                  </a:lnTo>
                  <a:lnTo>
                    <a:pt x="141640" y="153142"/>
                  </a:lnTo>
                  <a:lnTo>
                    <a:pt x="140735" y="152496"/>
                  </a:lnTo>
                  <a:lnTo>
                    <a:pt x="139701" y="151979"/>
                  </a:lnTo>
                  <a:lnTo>
                    <a:pt x="138538" y="151720"/>
                  </a:lnTo>
                  <a:lnTo>
                    <a:pt x="137246" y="151720"/>
                  </a:lnTo>
                  <a:lnTo>
                    <a:pt x="135695" y="152108"/>
                  </a:lnTo>
                  <a:lnTo>
                    <a:pt x="128200" y="155856"/>
                  </a:lnTo>
                  <a:lnTo>
                    <a:pt x="126778" y="157148"/>
                  </a:lnTo>
                  <a:lnTo>
                    <a:pt x="125873" y="158311"/>
                  </a:lnTo>
                  <a:lnTo>
                    <a:pt x="125486" y="159345"/>
                  </a:lnTo>
                  <a:lnTo>
                    <a:pt x="124840" y="162963"/>
                  </a:lnTo>
                  <a:lnTo>
                    <a:pt x="124452" y="163868"/>
                  </a:lnTo>
                  <a:lnTo>
                    <a:pt x="123547" y="164902"/>
                  </a:lnTo>
                  <a:lnTo>
                    <a:pt x="122126" y="165807"/>
                  </a:lnTo>
                  <a:lnTo>
                    <a:pt x="119670" y="166970"/>
                  </a:lnTo>
                  <a:lnTo>
                    <a:pt x="118119" y="168004"/>
                  </a:lnTo>
                  <a:lnTo>
                    <a:pt x="116698" y="168650"/>
                  </a:lnTo>
                  <a:lnTo>
                    <a:pt x="115406" y="168908"/>
                  </a:lnTo>
                  <a:lnTo>
                    <a:pt x="113725" y="168521"/>
                  </a:lnTo>
                  <a:lnTo>
                    <a:pt x="112821" y="167616"/>
                  </a:lnTo>
                  <a:lnTo>
                    <a:pt x="111658" y="165548"/>
                  </a:lnTo>
                  <a:lnTo>
                    <a:pt x="110882" y="164773"/>
                  </a:lnTo>
                  <a:lnTo>
                    <a:pt x="108685" y="163610"/>
                  </a:lnTo>
                  <a:lnTo>
                    <a:pt x="107781" y="162963"/>
                  </a:lnTo>
                  <a:lnTo>
                    <a:pt x="107264" y="162188"/>
                  </a:lnTo>
                  <a:lnTo>
                    <a:pt x="107005" y="161671"/>
                  </a:lnTo>
                  <a:lnTo>
                    <a:pt x="106876" y="161283"/>
                  </a:lnTo>
                  <a:lnTo>
                    <a:pt x="106488" y="160896"/>
                  </a:lnTo>
                  <a:lnTo>
                    <a:pt x="103258" y="159733"/>
                  </a:lnTo>
                  <a:lnTo>
                    <a:pt x="102224" y="158828"/>
                  </a:lnTo>
                  <a:lnTo>
                    <a:pt x="99898" y="155597"/>
                  </a:lnTo>
                  <a:lnTo>
                    <a:pt x="97701" y="153271"/>
                  </a:lnTo>
                  <a:lnTo>
                    <a:pt x="96408" y="152108"/>
                  </a:lnTo>
                  <a:lnTo>
                    <a:pt x="95116" y="151462"/>
                  </a:lnTo>
                  <a:lnTo>
                    <a:pt x="93953" y="151074"/>
                  </a:lnTo>
                  <a:lnTo>
                    <a:pt x="90851" y="150557"/>
                  </a:lnTo>
                  <a:lnTo>
                    <a:pt x="88913" y="150686"/>
                  </a:lnTo>
                  <a:lnTo>
                    <a:pt x="77799" y="152625"/>
                  </a:lnTo>
                  <a:lnTo>
                    <a:pt x="72758" y="153013"/>
                  </a:lnTo>
                  <a:lnTo>
                    <a:pt x="67589" y="152496"/>
                  </a:lnTo>
                  <a:lnTo>
                    <a:pt x="64746" y="151979"/>
                  </a:lnTo>
                  <a:lnTo>
                    <a:pt x="62420" y="151203"/>
                  </a:lnTo>
                  <a:lnTo>
                    <a:pt x="61127" y="151203"/>
                  </a:lnTo>
                  <a:lnTo>
                    <a:pt x="59447" y="151462"/>
                  </a:lnTo>
                  <a:lnTo>
                    <a:pt x="56992" y="152108"/>
                  </a:lnTo>
                  <a:lnTo>
                    <a:pt x="53890" y="151591"/>
                  </a:lnTo>
                  <a:lnTo>
                    <a:pt x="51693" y="151591"/>
                  </a:lnTo>
                  <a:lnTo>
                    <a:pt x="50660" y="151332"/>
                  </a:lnTo>
                  <a:lnTo>
                    <a:pt x="48463" y="150686"/>
                  </a:lnTo>
                  <a:lnTo>
                    <a:pt x="47429" y="150686"/>
                  </a:lnTo>
                  <a:lnTo>
                    <a:pt x="46524" y="151203"/>
                  </a:lnTo>
                  <a:lnTo>
                    <a:pt x="46007" y="152625"/>
                  </a:lnTo>
                  <a:lnTo>
                    <a:pt x="46007" y="153917"/>
                  </a:lnTo>
                  <a:lnTo>
                    <a:pt x="47170" y="157923"/>
                  </a:lnTo>
                  <a:lnTo>
                    <a:pt x="47299" y="159087"/>
                  </a:lnTo>
                  <a:lnTo>
                    <a:pt x="47041" y="161283"/>
                  </a:lnTo>
                  <a:lnTo>
                    <a:pt x="46783" y="162576"/>
                  </a:lnTo>
                  <a:lnTo>
                    <a:pt x="45749" y="163997"/>
                  </a:lnTo>
                  <a:lnTo>
                    <a:pt x="38124" y="172010"/>
                  </a:lnTo>
                  <a:lnTo>
                    <a:pt x="36315" y="174853"/>
                  </a:lnTo>
                  <a:lnTo>
                    <a:pt x="35022" y="176016"/>
                  </a:lnTo>
                  <a:lnTo>
                    <a:pt x="32179" y="177050"/>
                  </a:lnTo>
                  <a:lnTo>
                    <a:pt x="26105" y="178730"/>
                  </a:lnTo>
                  <a:lnTo>
                    <a:pt x="24942" y="179118"/>
                  </a:lnTo>
                  <a:lnTo>
                    <a:pt x="21194" y="181832"/>
                  </a:lnTo>
                  <a:lnTo>
                    <a:pt x="14474" y="188293"/>
                  </a:lnTo>
                  <a:lnTo>
                    <a:pt x="12923" y="188293"/>
                  </a:lnTo>
                  <a:lnTo>
                    <a:pt x="10339" y="188035"/>
                  </a:lnTo>
                  <a:lnTo>
                    <a:pt x="9305" y="188293"/>
                  </a:lnTo>
                  <a:lnTo>
                    <a:pt x="8529" y="189456"/>
                  </a:lnTo>
                  <a:lnTo>
                    <a:pt x="8012" y="190490"/>
                  </a:lnTo>
                  <a:lnTo>
                    <a:pt x="6849" y="192170"/>
                  </a:lnTo>
                  <a:lnTo>
                    <a:pt x="5816" y="193204"/>
                  </a:lnTo>
                  <a:lnTo>
                    <a:pt x="0" y="197857"/>
                  </a:lnTo>
                  <a:lnTo>
                    <a:pt x="19514" y="206257"/>
                  </a:lnTo>
                  <a:lnTo>
                    <a:pt x="20160" y="205481"/>
                  </a:lnTo>
                  <a:lnTo>
                    <a:pt x="21324" y="205094"/>
                  </a:lnTo>
                  <a:lnTo>
                    <a:pt x="33988" y="202767"/>
                  </a:lnTo>
                  <a:lnTo>
                    <a:pt x="40450" y="203284"/>
                  </a:lnTo>
                  <a:lnTo>
                    <a:pt x="42647" y="203026"/>
                  </a:lnTo>
                  <a:lnTo>
                    <a:pt x="44715" y="202380"/>
                  </a:lnTo>
                  <a:lnTo>
                    <a:pt x="49109" y="199795"/>
                  </a:lnTo>
                  <a:lnTo>
                    <a:pt x="50918" y="199149"/>
                  </a:lnTo>
                  <a:lnTo>
                    <a:pt x="61386" y="197469"/>
                  </a:lnTo>
                  <a:lnTo>
                    <a:pt x="63324" y="196823"/>
                  </a:lnTo>
                  <a:lnTo>
                    <a:pt x="66685" y="194626"/>
                  </a:lnTo>
                  <a:lnTo>
                    <a:pt x="68494" y="193850"/>
                  </a:lnTo>
                  <a:lnTo>
                    <a:pt x="74438" y="193204"/>
                  </a:lnTo>
                  <a:lnTo>
                    <a:pt x="74826" y="193463"/>
                  </a:lnTo>
                  <a:lnTo>
                    <a:pt x="75214" y="193850"/>
                  </a:lnTo>
                  <a:lnTo>
                    <a:pt x="75731" y="194367"/>
                  </a:lnTo>
                  <a:lnTo>
                    <a:pt x="76248" y="194367"/>
                  </a:lnTo>
                  <a:lnTo>
                    <a:pt x="76765" y="193980"/>
                  </a:lnTo>
                  <a:lnTo>
                    <a:pt x="77540" y="192687"/>
                  </a:lnTo>
                  <a:lnTo>
                    <a:pt x="78057" y="192429"/>
                  </a:lnTo>
                  <a:lnTo>
                    <a:pt x="79608" y="192041"/>
                  </a:lnTo>
                  <a:lnTo>
                    <a:pt x="80125" y="192170"/>
                  </a:lnTo>
                  <a:lnTo>
                    <a:pt x="81546" y="192687"/>
                  </a:lnTo>
                  <a:lnTo>
                    <a:pt x="84390" y="194238"/>
                  </a:lnTo>
                  <a:lnTo>
                    <a:pt x="85811" y="194626"/>
                  </a:lnTo>
                  <a:lnTo>
                    <a:pt x="87879" y="194238"/>
                  </a:lnTo>
                  <a:lnTo>
                    <a:pt x="92660" y="191266"/>
                  </a:lnTo>
                  <a:lnTo>
                    <a:pt x="94599" y="190619"/>
                  </a:lnTo>
                  <a:lnTo>
                    <a:pt x="96537" y="190619"/>
                  </a:lnTo>
                  <a:lnTo>
                    <a:pt x="97959" y="190749"/>
                  </a:lnTo>
                  <a:lnTo>
                    <a:pt x="102353" y="191783"/>
                  </a:lnTo>
                  <a:lnTo>
                    <a:pt x="103645" y="191783"/>
                  </a:lnTo>
                  <a:lnTo>
                    <a:pt x="104938" y="191136"/>
                  </a:lnTo>
                  <a:lnTo>
                    <a:pt x="106747" y="189327"/>
                  </a:lnTo>
                  <a:lnTo>
                    <a:pt x="107005" y="189973"/>
                  </a:lnTo>
                  <a:lnTo>
                    <a:pt x="107393" y="191007"/>
                  </a:lnTo>
                  <a:lnTo>
                    <a:pt x="107910" y="191783"/>
                  </a:lnTo>
                  <a:lnTo>
                    <a:pt x="108556" y="192300"/>
                  </a:lnTo>
                  <a:lnTo>
                    <a:pt x="109719" y="192041"/>
                  </a:lnTo>
                  <a:lnTo>
                    <a:pt x="109978" y="191136"/>
                  </a:lnTo>
                  <a:lnTo>
                    <a:pt x="109978" y="189973"/>
                  </a:lnTo>
                  <a:lnTo>
                    <a:pt x="110107" y="189198"/>
                  </a:lnTo>
                  <a:lnTo>
                    <a:pt x="110882" y="187001"/>
                  </a:lnTo>
                  <a:lnTo>
                    <a:pt x="111529" y="186484"/>
                  </a:lnTo>
                  <a:lnTo>
                    <a:pt x="112304" y="188035"/>
                  </a:lnTo>
                  <a:lnTo>
                    <a:pt x="112433" y="189069"/>
                  </a:lnTo>
                  <a:lnTo>
                    <a:pt x="112821" y="189844"/>
                  </a:lnTo>
                  <a:lnTo>
                    <a:pt x="113338" y="190361"/>
                  </a:lnTo>
                  <a:lnTo>
                    <a:pt x="114242" y="190749"/>
                  </a:lnTo>
                  <a:lnTo>
                    <a:pt x="118378" y="189069"/>
                  </a:lnTo>
                  <a:lnTo>
                    <a:pt x="119929" y="189069"/>
                  </a:lnTo>
                  <a:lnTo>
                    <a:pt x="119541" y="191524"/>
                  </a:lnTo>
                  <a:lnTo>
                    <a:pt x="119153" y="192816"/>
                  </a:lnTo>
                  <a:lnTo>
                    <a:pt x="119670" y="193204"/>
                  </a:lnTo>
                  <a:lnTo>
                    <a:pt x="120446" y="193075"/>
                  </a:lnTo>
                  <a:lnTo>
                    <a:pt x="121350" y="193204"/>
                  </a:lnTo>
                  <a:lnTo>
                    <a:pt x="121609" y="193075"/>
                  </a:lnTo>
                  <a:lnTo>
                    <a:pt x="122772" y="192687"/>
                  </a:lnTo>
                  <a:lnTo>
                    <a:pt x="123289" y="192687"/>
                  </a:lnTo>
                  <a:lnTo>
                    <a:pt x="123935" y="192946"/>
                  </a:lnTo>
                  <a:lnTo>
                    <a:pt x="124969" y="194109"/>
                  </a:lnTo>
                  <a:lnTo>
                    <a:pt x="125486" y="194626"/>
                  </a:lnTo>
                  <a:lnTo>
                    <a:pt x="128717" y="196693"/>
                  </a:lnTo>
                  <a:lnTo>
                    <a:pt x="130267" y="197469"/>
                  </a:lnTo>
                  <a:lnTo>
                    <a:pt x="132206" y="197857"/>
                  </a:lnTo>
                  <a:lnTo>
                    <a:pt x="133498" y="197727"/>
                  </a:lnTo>
                  <a:lnTo>
                    <a:pt x="134015" y="197340"/>
                  </a:lnTo>
                  <a:lnTo>
                    <a:pt x="134144" y="196564"/>
                  </a:lnTo>
                  <a:lnTo>
                    <a:pt x="134791" y="195789"/>
                  </a:lnTo>
                  <a:lnTo>
                    <a:pt x="134920" y="195530"/>
                  </a:lnTo>
                  <a:lnTo>
                    <a:pt x="134920" y="194367"/>
                  </a:lnTo>
                  <a:lnTo>
                    <a:pt x="135178" y="193980"/>
                  </a:lnTo>
                  <a:lnTo>
                    <a:pt x="135695" y="193721"/>
                  </a:lnTo>
                  <a:lnTo>
                    <a:pt x="136988" y="193463"/>
                  </a:lnTo>
                  <a:lnTo>
                    <a:pt x="137505" y="193204"/>
                  </a:lnTo>
                  <a:lnTo>
                    <a:pt x="138668" y="191912"/>
                  </a:lnTo>
                  <a:lnTo>
                    <a:pt x="139701" y="190361"/>
                  </a:lnTo>
                  <a:lnTo>
                    <a:pt x="140218" y="189327"/>
                  </a:lnTo>
                  <a:lnTo>
                    <a:pt x="140606" y="187647"/>
                  </a:lnTo>
                  <a:lnTo>
                    <a:pt x="141252" y="186613"/>
                  </a:lnTo>
                  <a:lnTo>
                    <a:pt x="146163" y="182607"/>
                  </a:lnTo>
                  <a:lnTo>
                    <a:pt x="147585" y="180927"/>
                  </a:lnTo>
                  <a:lnTo>
                    <a:pt x="148619" y="180798"/>
                  </a:lnTo>
                  <a:lnTo>
                    <a:pt x="151462" y="180798"/>
                  </a:lnTo>
                  <a:lnTo>
                    <a:pt x="153400" y="181573"/>
                  </a:lnTo>
                  <a:lnTo>
                    <a:pt x="156373" y="184158"/>
                  </a:lnTo>
                  <a:lnTo>
                    <a:pt x="157923" y="187518"/>
                  </a:lnTo>
                  <a:lnTo>
                    <a:pt x="158053" y="187776"/>
                  </a:lnTo>
                  <a:lnTo>
                    <a:pt x="159603" y="192687"/>
                  </a:lnTo>
                  <a:lnTo>
                    <a:pt x="160637" y="193850"/>
                  </a:lnTo>
                  <a:lnTo>
                    <a:pt x="162059" y="195143"/>
                  </a:lnTo>
                  <a:lnTo>
                    <a:pt x="163351" y="196564"/>
                  </a:lnTo>
                  <a:lnTo>
                    <a:pt x="163997" y="198244"/>
                  </a:lnTo>
                  <a:lnTo>
                    <a:pt x="163480" y="200700"/>
                  </a:lnTo>
                  <a:lnTo>
                    <a:pt x="161154" y="205094"/>
                  </a:lnTo>
                  <a:lnTo>
                    <a:pt x="160250" y="207420"/>
                  </a:lnTo>
                  <a:lnTo>
                    <a:pt x="159862" y="211814"/>
                  </a:lnTo>
                  <a:lnTo>
                    <a:pt x="160379" y="216208"/>
                  </a:lnTo>
                  <a:lnTo>
                    <a:pt x="161283" y="220343"/>
                  </a:lnTo>
                  <a:lnTo>
                    <a:pt x="163222" y="226029"/>
                  </a:lnTo>
                  <a:lnTo>
                    <a:pt x="163739" y="228226"/>
                  </a:lnTo>
                  <a:lnTo>
                    <a:pt x="163997" y="233008"/>
                  </a:lnTo>
                  <a:lnTo>
                    <a:pt x="164256" y="234042"/>
                  </a:lnTo>
                  <a:lnTo>
                    <a:pt x="165290" y="236627"/>
                  </a:lnTo>
                  <a:lnTo>
                    <a:pt x="165548" y="237660"/>
                  </a:lnTo>
                  <a:lnTo>
                    <a:pt x="165160" y="238694"/>
                  </a:lnTo>
                  <a:lnTo>
                    <a:pt x="163351" y="241537"/>
                  </a:lnTo>
                  <a:lnTo>
                    <a:pt x="162188" y="246836"/>
                  </a:lnTo>
                  <a:lnTo>
                    <a:pt x="160896" y="249292"/>
                  </a:lnTo>
                  <a:lnTo>
                    <a:pt x="156890" y="251230"/>
                  </a:lnTo>
                  <a:lnTo>
                    <a:pt x="155339" y="253298"/>
                  </a:lnTo>
                  <a:lnTo>
                    <a:pt x="154176" y="255753"/>
                  </a:lnTo>
                  <a:lnTo>
                    <a:pt x="153788" y="257692"/>
                  </a:lnTo>
                  <a:lnTo>
                    <a:pt x="153788" y="257821"/>
                  </a:lnTo>
                  <a:lnTo>
                    <a:pt x="153917" y="258596"/>
                  </a:lnTo>
                  <a:lnTo>
                    <a:pt x="154046" y="258984"/>
                  </a:lnTo>
                  <a:lnTo>
                    <a:pt x="154563" y="259372"/>
                  </a:lnTo>
                  <a:lnTo>
                    <a:pt x="151979" y="263895"/>
                  </a:lnTo>
                  <a:lnTo>
                    <a:pt x="150428" y="265446"/>
                  </a:lnTo>
                  <a:lnTo>
                    <a:pt x="147843" y="265963"/>
                  </a:lnTo>
                  <a:lnTo>
                    <a:pt x="147843" y="266738"/>
                  </a:lnTo>
                  <a:lnTo>
                    <a:pt x="149135" y="268547"/>
                  </a:lnTo>
                  <a:lnTo>
                    <a:pt x="149394" y="269323"/>
                  </a:lnTo>
                  <a:lnTo>
                    <a:pt x="149265" y="269840"/>
                  </a:lnTo>
                  <a:lnTo>
                    <a:pt x="148748" y="270874"/>
                  </a:lnTo>
                  <a:lnTo>
                    <a:pt x="148619" y="271520"/>
                  </a:lnTo>
                  <a:lnTo>
                    <a:pt x="148748" y="272424"/>
                  </a:lnTo>
                  <a:lnTo>
                    <a:pt x="149006" y="273587"/>
                  </a:lnTo>
                  <a:lnTo>
                    <a:pt x="149265" y="274492"/>
                  </a:lnTo>
                  <a:lnTo>
                    <a:pt x="149782" y="274880"/>
                  </a:lnTo>
                  <a:lnTo>
                    <a:pt x="150040" y="276043"/>
                  </a:lnTo>
                  <a:lnTo>
                    <a:pt x="149394" y="281341"/>
                  </a:lnTo>
                  <a:lnTo>
                    <a:pt x="149394" y="283022"/>
                  </a:lnTo>
                  <a:lnTo>
                    <a:pt x="151203" y="285089"/>
                  </a:lnTo>
                  <a:lnTo>
                    <a:pt x="153013" y="286252"/>
                  </a:lnTo>
                  <a:lnTo>
                    <a:pt x="154563" y="287803"/>
                  </a:lnTo>
                  <a:lnTo>
                    <a:pt x="155209" y="290775"/>
                  </a:lnTo>
                  <a:lnTo>
                    <a:pt x="155080" y="292714"/>
                  </a:lnTo>
                  <a:lnTo>
                    <a:pt x="154305" y="296849"/>
                  </a:lnTo>
                  <a:lnTo>
                    <a:pt x="152625" y="301760"/>
                  </a:lnTo>
                  <a:lnTo>
                    <a:pt x="153142" y="303182"/>
                  </a:lnTo>
                  <a:lnTo>
                    <a:pt x="157406" y="304345"/>
                  </a:lnTo>
                  <a:lnTo>
                    <a:pt x="159345" y="305637"/>
                  </a:lnTo>
                  <a:lnTo>
                    <a:pt x="160896" y="307317"/>
                  </a:lnTo>
                  <a:lnTo>
                    <a:pt x="161800" y="308997"/>
                  </a:lnTo>
                  <a:lnTo>
                    <a:pt x="162447" y="318173"/>
                  </a:lnTo>
                  <a:lnTo>
                    <a:pt x="162834" y="318819"/>
                  </a:lnTo>
                  <a:lnTo>
                    <a:pt x="163351" y="319465"/>
                  </a:lnTo>
                  <a:lnTo>
                    <a:pt x="163868" y="320241"/>
                  </a:lnTo>
                  <a:lnTo>
                    <a:pt x="163997" y="321533"/>
                  </a:lnTo>
                  <a:lnTo>
                    <a:pt x="163480" y="322567"/>
                  </a:lnTo>
                  <a:lnTo>
                    <a:pt x="162834" y="323213"/>
                  </a:lnTo>
                  <a:lnTo>
                    <a:pt x="161930" y="323730"/>
                  </a:lnTo>
                  <a:lnTo>
                    <a:pt x="161025" y="324505"/>
                  </a:lnTo>
                  <a:lnTo>
                    <a:pt x="159345" y="327090"/>
                  </a:lnTo>
                  <a:lnTo>
                    <a:pt x="159345" y="329029"/>
                  </a:lnTo>
                  <a:lnTo>
                    <a:pt x="159862" y="330838"/>
                  </a:lnTo>
                  <a:lnTo>
                    <a:pt x="160250" y="333164"/>
                  </a:lnTo>
                  <a:lnTo>
                    <a:pt x="159474" y="335103"/>
                  </a:lnTo>
                  <a:lnTo>
                    <a:pt x="155339" y="338333"/>
                  </a:lnTo>
                  <a:lnTo>
                    <a:pt x="153788" y="340143"/>
                  </a:lnTo>
                  <a:lnTo>
                    <a:pt x="153400" y="342857"/>
                  </a:lnTo>
                  <a:lnTo>
                    <a:pt x="154693" y="344537"/>
                  </a:lnTo>
                  <a:lnTo>
                    <a:pt x="156502" y="345829"/>
                  </a:lnTo>
                  <a:lnTo>
                    <a:pt x="157406" y="347250"/>
                  </a:lnTo>
                  <a:lnTo>
                    <a:pt x="156760" y="348930"/>
                  </a:lnTo>
                  <a:lnTo>
                    <a:pt x="155468" y="349706"/>
                  </a:lnTo>
                  <a:lnTo>
                    <a:pt x="154434" y="350998"/>
                  </a:lnTo>
                  <a:lnTo>
                    <a:pt x="154563" y="353583"/>
                  </a:lnTo>
                  <a:lnTo>
                    <a:pt x="155856" y="355651"/>
                  </a:lnTo>
                  <a:lnTo>
                    <a:pt x="158053" y="357201"/>
                  </a:lnTo>
                  <a:lnTo>
                    <a:pt x="160120" y="358364"/>
                  </a:lnTo>
                  <a:lnTo>
                    <a:pt x="161025" y="359011"/>
                  </a:lnTo>
                  <a:lnTo>
                    <a:pt x="160637" y="360432"/>
                  </a:lnTo>
                  <a:lnTo>
                    <a:pt x="158828" y="362629"/>
                  </a:lnTo>
                  <a:lnTo>
                    <a:pt x="158053" y="363922"/>
                  </a:lnTo>
                  <a:lnTo>
                    <a:pt x="158053" y="364956"/>
                  </a:lnTo>
                  <a:lnTo>
                    <a:pt x="158182" y="365860"/>
                  </a:lnTo>
                  <a:lnTo>
                    <a:pt x="161800" y="375165"/>
                  </a:lnTo>
                  <a:lnTo>
                    <a:pt x="164644" y="378267"/>
                  </a:lnTo>
                  <a:lnTo>
                    <a:pt x="168391" y="377233"/>
                  </a:lnTo>
                  <a:lnTo>
                    <a:pt x="170976" y="378654"/>
                  </a:lnTo>
                  <a:lnTo>
                    <a:pt x="172139" y="379688"/>
                  </a:lnTo>
                  <a:lnTo>
                    <a:pt x="172914" y="380980"/>
                  </a:lnTo>
                  <a:lnTo>
                    <a:pt x="172914" y="382144"/>
                  </a:lnTo>
                  <a:lnTo>
                    <a:pt x="172010" y="384082"/>
                  </a:lnTo>
                  <a:lnTo>
                    <a:pt x="172010" y="385504"/>
                  </a:lnTo>
                  <a:lnTo>
                    <a:pt x="172527" y="386925"/>
                  </a:lnTo>
                  <a:lnTo>
                    <a:pt x="173044" y="387184"/>
                  </a:lnTo>
                  <a:lnTo>
                    <a:pt x="173819" y="387313"/>
                  </a:lnTo>
                  <a:lnTo>
                    <a:pt x="175111" y="387701"/>
                  </a:lnTo>
                  <a:lnTo>
                    <a:pt x="177308" y="389251"/>
                  </a:lnTo>
                  <a:lnTo>
                    <a:pt x="178084" y="390285"/>
                  </a:lnTo>
                  <a:lnTo>
                    <a:pt x="175499" y="391061"/>
                  </a:lnTo>
                  <a:lnTo>
                    <a:pt x="175241" y="392094"/>
                  </a:lnTo>
                  <a:lnTo>
                    <a:pt x="175758" y="394808"/>
                  </a:lnTo>
                  <a:lnTo>
                    <a:pt x="175499" y="395842"/>
                  </a:lnTo>
                  <a:lnTo>
                    <a:pt x="174594" y="397522"/>
                  </a:lnTo>
                  <a:lnTo>
                    <a:pt x="174336" y="398556"/>
                  </a:lnTo>
                  <a:lnTo>
                    <a:pt x="174336" y="402433"/>
                  </a:lnTo>
                  <a:lnTo>
                    <a:pt x="174982" y="403984"/>
                  </a:lnTo>
                  <a:lnTo>
                    <a:pt x="176404" y="405664"/>
                  </a:lnTo>
                  <a:lnTo>
                    <a:pt x="178342" y="407086"/>
                  </a:lnTo>
                  <a:lnTo>
                    <a:pt x="179764" y="407344"/>
                  </a:lnTo>
                  <a:lnTo>
                    <a:pt x="180668" y="406439"/>
                  </a:lnTo>
                  <a:lnTo>
                    <a:pt x="181185" y="401141"/>
                  </a:lnTo>
                  <a:lnTo>
                    <a:pt x="181573" y="399719"/>
                  </a:lnTo>
                  <a:lnTo>
                    <a:pt x="182348" y="398815"/>
                  </a:lnTo>
                  <a:lnTo>
                    <a:pt x="183899" y="398427"/>
                  </a:lnTo>
                  <a:lnTo>
                    <a:pt x="184158" y="399461"/>
                  </a:lnTo>
                  <a:lnTo>
                    <a:pt x="183770" y="401916"/>
                  </a:lnTo>
                  <a:lnTo>
                    <a:pt x="185321" y="403338"/>
                  </a:lnTo>
                  <a:lnTo>
                    <a:pt x="187259" y="404242"/>
                  </a:lnTo>
                  <a:lnTo>
                    <a:pt x="188939" y="405276"/>
                  </a:lnTo>
                  <a:lnTo>
                    <a:pt x="189973" y="408766"/>
                  </a:lnTo>
                  <a:lnTo>
                    <a:pt x="191395" y="411092"/>
                  </a:lnTo>
                  <a:lnTo>
                    <a:pt x="191912" y="412384"/>
                  </a:lnTo>
                  <a:lnTo>
                    <a:pt x="191912" y="413418"/>
                  </a:lnTo>
                  <a:lnTo>
                    <a:pt x="191783" y="415615"/>
                  </a:lnTo>
                  <a:lnTo>
                    <a:pt x="191912" y="416649"/>
                  </a:lnTo>
                  <a:lnTo>
                    <a:pt x="192429" y="418975"/>
                  </a:lnTo>
                  <a:lnTo>
                    <a:pt x="192946" y="420009"/>
                  </a:lnTo>
                  <a:lnTo>
                    <a:pt x="194109" y="420526"/>
                  </a:lnTo>
                  <a:lnTo>
                    <a:pt x="194367" y="420526"/>
                  </a:lnTo>
                  <a:lnTo>
                    <a:pt x="195530" y="421043"/>
                  </a:lnTo>
                  <a:lnTo>
                    <a:pt x="196176" y="422206"/>
                  </a:lnTo>
                  <a:lnTo>
                    <a:pt x="196306" y="423498"/>
                  </a:lnTo>
                  <a:lnTo>
                    <a:pt x="195918" y="424532"/>
                  </a:lnTo>
                  <a:lnTo>
                    <a:pt x="194367" y="426600"/>
                  </a:lnTo>
                  <a:lnTo>
                    <a:pt x="194238" y="428668"/>
                  </a:lnTo>
                  <a:lnTo>
                    <a:pt x="195013" y="430348"/>
                  </a:lnTo>
                  <a:lnTo>
                    <a:pt x="196306" y="431640"/>
                  </a:lnTo>
                  <a:lnTo>
                    <a:pt x="197727" y="432545"/>
                  </a:lnTo>
                  <a:lnTo>
                    <a:pt x="199407" y="432932"/>
                  </a:lnTo>
                  <a:lnTo>
                    <a:pt x="203931" y="433191"/>
                  </a:lnTo>
                  <a:lnTo>
                    <a:pt x="206257" y="433578"/>
                  </a:lnTo>
                  <a:lnTo>
                    <a:pt x="208454" y="434354"/>
                  </a:lnTo>
                  <a:lnTo>
                    <a:pt x="210780" y="434742"/>
                  </a:lnTo>
                  <a:lnTo>
                    <a:pt x="213106" y="433837"/>
                  </a:lnTo>
                  <a:lnTo>
                    <a:pt x="214398" y="434483"/>
                  </a:lnTo>
                  <a:lnTo>
                    <a:pt x="216337" y="434871"/>
                  </a:lnTo>
                  <a:lnTo>
                    <a:pt x="218146" y="435646"/>
                  </a:lnTo>
                  <a:lnTo>
                    <a:pt x="218922" y="437197"/>
                  </a:lnTo>
                  <a:lnTo>
                    <a:pt x="219439" y="439394"/>
                  </a:lnTo>
                  <a:lnTo>
                    <a:pt x="220731" y="441462"/>
                  </a:lnTo>
                  <a:lnTo>
                    <a:pt x="224091" y="445080"/>
                  </a:lnTo>
                  <a:lnTo>
                    <a:pt x="223316" y="446631"/>
                  </a:lnTo>
                  <a:lnTo>
                    <a:pt x="223833" y="447794"/>
                  </a:lnTo>
                  <a:lnTo>
                    <a:pt x="224996" y="448311"/>
                  </a:lnTo>
                  <a:lnTo>
                    <a:pt x="226288" y="448053"/>
                  </a:lnTo>
                  <a:lnTo>
                    <a:pt x="226676" y="447148"/>
                  </a:lnTo>
                  <a:lnTo>
                    <a:pt x="226934" y="444176"/>
                  </a:lnTo>
                  <a:lnTo>
                    <a:pt x="227451" y="443659"/>
                  </a:lnTo>
                  <a:lnTo>
                    <a:pt x="229131" y="443400"/>
                  </a:lnTo>
                  <a:lnTo>
                    <a:pt x="229519" y="444046"/>
                  </a:lnTo>
                  <a:lnTo>
                    <a:pt x="230036" y="445856"/>
                  </a:lnTo>
                  <a:lnTo>
                    <a:pt x="230036" y="446760"/>
                  </a:lnTo>
                  <a:lnTo>
                    <a:pt x="229260" y="448053"/>
                  </a:lnTo>
                  <a:lnTo>
                    <a:pt x="229260" y="448828"/>
                  </a:lnTo>
                  <a:lnTo>
                    <a:pt x="229648" y="449345"/>
                  </a:lnTo>
                  <a:lnTo>
                    <a:pt x="230553" y="450250"/>
                  </a:lnTo>
                  <a:lnTo>
                    <a:pt x="230682" y="450637"/>
                  </a:lnTo>
                  <a:lnTo>
                    <a:pt x="231845" y="451800"/>
                  </a:lnTo>
                  <a:lnTo>
                    <a:pt x="234430" y="453222"/>
                  </a:lnTo>
                  <a:lnTo>
                    <a:pt x="239470" y="455548"/>
                  </a:lnTo>
                  <a:lnTo>
                    <a:pt x="240762" y="455677"/>
                  </a:lnTo>
                  <a:lnTo>
                    <a:pt x="243605" y="455807"/>
                  </a:lnTo>
                  <a:lnTo>
                    <a:pt x="244251" y="455936"/>
                  </a:lnTo>
                  <a:lnTo>
                    <a:pt x="246061" y="457357"/>
                  </a:lnTo>
                  <a:lnTo>
                    <a:pt x="248258" y="458520"/>
                  </a:lnTo>
                  <a:lnTo>
                    <a:pt x="248387" y="458133"/>
                  </a:lnTo>
                  <a:lnTo>
                    <a:pt x="248387" y="457874"/>
                  </a:lnTo>
                  <a:lnTo>
                    <a:pt x="248516" y="457745"/>
                  </a:lnTo>
                  <a:lnTo>
                    <a:pt x="250067" y="458004"/>
                  </a:lnTo>
                  <a:lnTo>
                    <a:pt x="250584" y="458133"/>
                  </a:lnTo>
                  <a:lnTo>
                    <a:pt x="252393" y="459554"/>
                  </a:lnTo>
                  <a:lnTo>
                    <a:pt x="252781" y="460459"/>
                  </a:lnTo>
                  <a:lnTo>
                    <a:pt x="252910" y="461751"/>
                  </a:lnTo>
                  <a:lnTo>
                    <a:pt x="252781" y="464078"/>
                  </a:lnTo>
                  <a:lnTo>
                    <a:pt x="252264" y="466533"/>
                  </a:lnTo>
                  <a:lnTo>
                    <a:pt x="250325" y="470798"/>
                  </a:lnTo>
                  <a:lnTo>
                    <a:pt x="250584" y="472736"/>
                  </a:lnTo>
                  <a:lnTo>
                    <a:pt x="251230" y="473124"/>
                  </a:lnTo>
                  <a:lnTo>
                    <a:pt x="253556" y="474029"/>
                  </a:lnTo>
                  <a:lnTo>
                    <a:pt x="254590" y="474545"/>
                  </a:lnTo>
                  <a:lnTo>
                    <a:pt x="255495" y="475579"/>
                  </a:lnTo>
                  <a:lnTo>
                    <a:pt x="256787" y="477905"/>
                  </a:lnTo>
                  <a:lnTo>
                    <a:pt x="257562" y="479069"/>
                  </a:lnTo>
                  <a:lnTo>
                    <a:pt x="258984" y="480490"/>
                  </a:lnTo>
                  <a:lnTo>
                    <a:pt x="260664" y="481783"/>
                  </a:lnTo>
                  <a:lnTo>
                    <a:pt x="262732" y="482816"/>
                  </a:lnTo>
                  <a:lnTo>
                    <a:pt x="265187" y="483075"/>
                  </a:lnTo>
                  <a:lnTo>
                    <a:pt x="269581" y="482300"/>
                  </a:lnTo>
                  <a:lnTo>
                    <a:pt x="271132" y="482687"/>
                  </a:lnTo>
                  <a:lnTo>
                    <a:pt x="272295" y="486176"/>
                  </a:lnTo>
                  <a:lnTo>
                    <a:pt x="273200" y="486435"/>
                  </a:lnTo>
                  <a:lnTo>
                    <a:pt x="274234" y="486176"/>
                  </a:lnTo>
                  <a:lnTo>
                    <a:pt x="274750" y="485918"/>
                  </a:lnTo>
                  <a:lnTo>
                    <a:pt x="275526" y="485530"/>
                  </a:lnTo>
                  <a:lnTo>
                    <a:pt x="276689" y="484238"/>
                  </a:lnTo>
                  <a:lnTo>
                    <a:pt x="277723" y="483850"/>
                  </a:lnTo>
                  <a:lnTo>
                    <a:pt x="279920" y="483592"/>
                  </a:lnTo>
                  <a:lnTo>
                    <a:pt x="281858" y="484109"/>
                  </a:lnTo>
                  <a:lnTo>
                    <a:pt x="283409" y="485143"/>
                  </a:lnTo>
                  <a:lnTo>
                    <a:pt x="286382" y="488374"/>
                  </a:lnTo>
                  <a:lnTo>
                    <a:pt x="287545" y="488761"/>
                  </a:lnTo>
                  <a:lnTo>
                    <a:pt x="288578" y="487727"/>
                  </a:lnTo>
                  <a:lnTo>
                    <a:pt x="290129" y="485401"/>
                  </a:lnTo>
                  <a:lnTo>
                    <a:pt x="291809" y="487210"/>
                  </a:lnTo>
                  <a:lnTo>
                    <a:pt x="298271" y="487469"/>
                  </a:lnTo>
                  <a:lnTo>
                    <a:pt x="300597" y="490571"/>
                  </a:lnTo>
                  <a:lnTo>
                    <a:pt x="302536" y="490312"/>
                  </a:lnTo>
                  <a:lnTo>
                    <a:pt x="306025" y="489020"/>
                  </a:lnTo>
                  <a:lnTo>
                    <a:pt x="307317" y="489537"/>
                  </a:lnTo>
                  <a:lnTo>
                    <a:pt x="308351" y="490441"/>
                  </a:lnTo>
                  <a:lnTo>
                    <a:pt x="309514" y="491346"/>
                  </a:lnTo>
                  <a:lnTo>
                    <a:pt x="311453" y="491346"/>
                  </a:lnTo>
                  <a:lnTo>
                    <a:pt x="312745" y="490183"/>
                  </a:lnTo>
                  <a:lnTo>
                    <a:pt x="313521" y="489278"/>
                  </a:lnTo>
                  <a:lnTo>
                    <a:pt x="314037" y="488244"/>
                  </a:lnTo>
                  <a:lnTo>
                    <a:pt x="317656" y="483721"/>
                  </a:lnTo>
                  <a:lnTo>
                    <a:pt x="317656" y="483075"/>
                  </a:lnTo>
                  <a:lnTo>
                    <a:pt x="319595" y="482816"/>
                  </a:lnTo>
                  <a:lnTo>
                    <a:pt x="322825" y="481783"/>
                  </a:lnTo>
                  <a:lnTo>
                    <a:pt x="324247" y="481524"/>
                  </a:lnTo>
                  <a:lnTo>
                    <a:pt x="339626" y="483850"/>
                  </a:lnTo>
                  <a:lnTo>
                    <a:pt x="340013" y="484109"/>
                  </a:lnTo>
                  <a:lnTo>
                    <a:pt x="345829" y="487081"/>
                  </a:lnTo>
                  <a:lnTo>
                    <a:pt x="350223" y="490829"/>
                  </a:lnTo>
                  <a:lnTo>
                    <a:pt x="352032" y="491734"/>
                  </a:lnTo>
                  <a:lnTo>
                    <a:pt x="354358" y="491992"/>
                  </a:lnTo>
                  <a:lnTo>
                    <a:pt x="355780" y="492121"/>
                  </a:lnTo>
                  <a:lnTo>
                    <a:pt x="356943" y="492250"/>
                  </a:lnTo>
                  <a:lnTo>
                    <a:pt x="358106" y="492767"/>
                  </a:lnTo>
                  <a:lnTo>
                    <a:pt x="359140" y="493543"/>
                  </a:lnTo>
                  <a:lnTo>
                    <a:pt x="359915" y="494706"/>
                  </a:lnTo>
                  <a:lnTo>
                    <a:pt x="360045" y="495869"/>
                  </a:lnTo>
                  <a:lnTo>
                    <a:pt x="360174" y="496903"/>
                  </a:lnTo>
                  <a:lnTo>
                    <a:pt x="360562" y="497937"/>
                  </a:lnTo>
                  <a:lnTo>
                    <a:pt x="361466" y="498712"/>
                  </a:lnTo>
                  <a:lnTo>
                    <a:pt x="362371" y="498971"/>
                  </a:lnTo>
                  <a:lnTo>
                    <a:pt x="363146" y="499488"/>
                  </a:lnTo>
                  <a:lnTo>
                    <a:pt x="363534" y="500651"/>
                  </a:lnTo>
                  <a:lnTo>
                    <a:pt x="363922" y="501426"/>
                  </a:lnTo>
                  <a:lnTo>
                    <a:pt x="367928" y="504398"/>
                  </a:lnTo>
                  <a:lnTo>
                    <a:pt x="370383" y="505045"/>
                  </a:lnTo>
                  <a:lnTo>
                    <a:pt x="371546" y="505561"/>
                  </a:lnTo>
                  <a:lnTo>
                    <a:pt x="374648" y="507888"/>
                  </a:lnTo>
                  <a:lnTo>
                    <a:pt x="376070" y="508534"/>
                  </a:lnTo>
                  <a:lnTo>
                    <a:pt x="383565" y="508405"/>
                  </a:lnTo>
                  <a:lnTo>
                    <a:pt x="384857" y="508146"/>
                  </a:lnTo>
                  <a:lnTo>
                    <a:pt x="385245" y="507371"/>
                  </a:lnTo>
                  <a:lnTo>
                    <a:pt x="386279" y="506337"/>
                  </a:lnTo>
                  <a:lnTo>
                    <a:pt x="388476" y="504786"/>
                  </a:lnTo>
                  <a:lnTo>
                    <a:pt x="388993" y="504657"/>
                  </a:lnTo>
                  <a:lnTo>
                    <a:pt x="390156" y="504786"/>
                  </a:lnTo>
                  <a:lnTo>
                    <a:pt x="390673" y="504786"/>
                  </a:lnTo>
                  <a:lnTo>
                    <a:pt x="391190" y="504269"/>
                  </a:lnTo>
                  <a:lnTo>
                    <a:pt x="391707" y="503106"/>
                  </a:lnTo>
                  <a:lnTo>
                    <a:pt x="392224" y="502589"/>
                  </a:lnTo>
                  <a:lnTo>
                    <a:pt x="395196" y="501297"/>
                  </a:lnTo>
                  <a:lnTo>
                    <a:pt x="395455" y="501038"/>
                  </a:lnTo>
                  <a:lnTo>
                    <a:pt x="396618" y="501297"/>
                  </a:lnTo>
                  <a:lnTo>
                    <a:pt x="398815" y="502331"/>
                  </a:lnTo>
                  <a:lnTo>
                    <a:pt x="402045" y="503106"/>
                  </a:lnTo>
                  <a:lnTo>
                    <a:pt x="403079" y="504528"/>
                  </a:lnTo>
                  <a:lnTo>
                    <a:pt x="403855" y="508534"/>
                  </a:lnTo>
                  <a:lnTo>
                    <a:pt x="404372" y="509180"/>
                  </a:lnTo>
                  <a:lnTo>
                    <a:pt x="405018" y="509697"/>
                  </a:lnTo>
                  <a:lnTo>
                    <a:pt x="405406" y="510343"/>
                  </a:lnTo>
                  <a:lnTo>
                    <a:pt x="404630" y="511635"/>
                  </a:lnTo>
                  <a:lnTo>
                    <a:pt x="404501" y="512282"/>
                  </a:lnTo>
                  <a:lnTo>
                    <a:pt x="404630" y="512928"/>
                  </a:lnTo>
                  <a:lnTo>
                    <a:pt x="404889" y="513316"/>
                  </a:lnTo>
                  <a:lnTo>
                    <a:pt x="407344" y="515383"/>
                  </a:lnTo>
                  <a:lnTo>
                    <a:pt x="408507" y="516805"/>
                  </a:lnTo>
                  <a:lnTo>
                    <a:pt x="409024" y="517839"/>
                  </a:lnTo>
                  <a:lnTo>
                    <a:pt x="409283" y="520294"/>
                  </a:lnTo>
                  <a:lnTo>
                    <a:pt x="410187" y="522362"/>
                  </a:lnTo>
                  <a:lnTo>
                    <a:pt x="411350" y="523913"/>
                  </a:lnTo>
                  <a:lnTo>
                    <a:pt x="412772" y="524946"/>
                  </a:lnTo>
                  <a:lnTo>
                    <a:pt x="413806" y="525334"/>
                  </a:lnTo>
                  <a:lnTo>
                    <a:pt x="414840" y="525464"/>
                  </a:lnTo>
                  <a:lnTo>
                    <a:pt x="415744" y="525205"/>
                  </a:lnTo>
                  <a:lnTo>
                    <a:pt x="416649" y="524559"/>
                  </a:lnTo>
                  <a:lnTo>
                    <a:pt x="417683" y="524171"/>
                  </a:lnTo>
                  <a:lnTo>
                    <a:pt x="418200" y="524946"/>
                  </a:lnTo>
                  <a:lnTo>
                    <a:pt x="418587" y="525980"/>
                  </a:lnTo>
                  <a:lnTo>
                    <a:pt x="424145" y="533218"/>
                  </a:lnTo>
                  <a:lnTo>
                    <a:pt x="424532" y="533993"/>
                  </a:lnTo>
                  <a:lnTo>
                    <a:pt x="425049" y="534510"/>
                  </a:lnTo>
                  <a:lnTo>
                    <a:pt x="426212" y="534639"/>
                  </a:lnTo>
                  <a:lnTo>
                    <a:pt x="427246" y="534768"/>
                  </a:lnTo>
                  <a:lnTo>
                    <a:pt x="428151" y="535027"/>
                  </a:lnTo>
                  <a:lnTo>
                    <a:pt x="428668" y="535544"/>
                  </a:lnTo>
                  <a:lnTo>
                    <a:pt x="428797" y="536448"/>
                  </a:lnTo>
                  <a:lnTo>
                    <a:pt x="429314" y="538258"/>
                  </a:lnTo>
                  <a:lnTo>
                    <a:pt x="430735" y="539808"/>
                  </a:lnTo>
                  <a:lnTo>
                    <a:pt x="432545" y="541101"/>
                  </a:lnTo>
                  <a:lnTo>
                    <a:pt x="434612" y="542135"/>
                  </a:lnTo>
                  <a:lnTo>
                    <a:pt x="434871" y="539938"/>
                  </a:lnTo>
                  <a:lnTo>
                    <a:pt x="436034" y="539421"/>
                  </a:lnTo>
                  <a:lnTo>
                    <a:pt x="437714" y="539421"/>
                  </a:lnTo>
                  <a:lnTo>
                    <a:pt x="439782" y="539162"/>
                  </a:lnTo>
                  <a:lnTo>
                    <a:pt x="441203" y="538258"/>
                  </a:lnTo>
                  <a:lnTo>
                    <a:pt x="442237" y="537353"/>
                  </a:lnTo>
                  <a:lnTo>
                    <a:pt x="443659" y="537224"/>
                  </a:lnTo>
                  <a:lnTo>
                    <a:pt x="445597" y="538387"/>
                  </a:lnTo>
                  <a:lnTo>
                    <a:pt x="446631" y="539291"/>
                  </a:lnTo>
                  <a:lnTo>
                    <a:pt x="447406" y="540196"/>
                  </a:lnTo>
                  <a:lnTo>
                    <a:pt x="447794" y="541230"/>
                  </a:lnTo>
                  <a:lnTo>
                    <a:pt x="448053" y="543815"/>
                  </a:lnTo>
                  <a:lnTo>
                    <a:pt x="448440" y="544332"/>
                  </a:lnTo>
                  <a:lnTo>
                    <a:pt x="457745" y="548338"/>
                  </a:lnTo>
                  <a:lnTo>
                    <a:pt x="464336" y="548079"/>
                  </a:lnTo>
                  <a:lnTo>
                    <a:pt x="466533" y="548467"/>
                  </a:lnTo>
                  <a:lnTo>
                    <a:pt x="468084" y="549501"/>
                  </a:lnTo>
                  <a:lnTo>
                    <a:pt x="470927" y="552990"/>
                  </a:lnTo>
                  <a:lnTo>
                    <a:pt x="471186" y="553507"/>
                  </a:lnTo>
                  <a:lnTo>
                    <a:pt x="471315" y="554670"/>
                  </a:lnTo>
                  <a:lnTo>
                    <a:pt x="471702" y="554800"/>
                  </a:lnTo>
                  <a:lnTo>
                    <a:pt x="473253" y="554670"/>
                  </a:lnTo>
                  <a:lnTo>
                    <a:pt x="473512" y="554800"/>
                  </a:lnTo>
                  <a:lnTo>
                    <a:pt x="475450" y="555963"/>
                  </a:lnTo>
                  <a:lnTo>
                    <a:pt x="476226" y="556221"/>
                  </a:lnTo>
                  <a:lnTo>
                    <a:pt x="481266" y="556867"/>
                  </a:lnTo>
                  <a:lnTo>
                    <a:pt x="482687" y="556738"/>
                  </a:lnTo>
                  <a:lnTo>
                    <a:pt x="483850" y="555575"/>
                  </a:lnTo>
                  <a:lnTo>
                    <a:pt x="486047" y="556479"/>
                  </a:lnTo>
                  <a:lnTo>
                    <a:pt x="487857" y="556092"/>
                  </a:lnTo>
                  <a:lnTo>
                    <a:pt x="489407" y="555316"/>
                  </a:lnTo>
                  <a:lnTo>
                    <a:pt x="493414" y="554283"/>
                  </a:lnTo>
                  <a:lnTo>
                    <a:pt x="494447" y="554153"/>
                  </a:lnTo>
                  <a:lnTo>
                    <a:pt x="495611" y="554412"/>
                  </a:lnTo>
                  <a:lnTo>
                    <a:pt x="498454" y="556350"/>
                  </a:lnTo>
                  <a:lnTo>
                    <a:pt x="498583" y="553895"/>
                  </a:lnTo>
                  <a:lnTo>
                    <a:pt x="499746" y="554153"/>
                  </a:lnTo>
                  <a:lnTo>
                    <a:pt x="502201" y="556997"/>
                  </a:lnTo>
                  <a:lnTo>
                    <a:pt x="503235" y="557513"/>
                  </a:lnTo>
                  <a:lnTo>
                    <a:pt x="504269" y="557255"/>
                  </a:lnTo>
                  <a:lnTo>
                    <a:pt x="504786" y="557384"/>
                  </a:lnTo>
                  <a:lnTo>
                    <a:pt x="505045" y="558935"/>
                  </a:lnTo>
                  <a:lnTo>
                    <a:pt x="505045" y="566301"/>
                  </a:lnTo>
                  <a:lnTo>
                    <a:pt x="505432" y="568240"/>
                  </a:lnTo>
                  <a:lnTo>
                    <a:pt x="506466" y="569661"/>
                  </a:lnTo>
                  <a:lnTo>
                    <a:pt x="508792" y="571341"/>
                  </a:lnTo>
                  <a:lnTo>
                    <a:pt x="513574" y="576511"/>
                  </a:lnTo>
                  <a:lnTo>
                    <a:pt x="514996" y="577286"/>
                  </a:lnTo>
                  <a:lnTo>
                    <a:pt x="515125" y="577803"/>
                  </a:lnTo>
                  <a:lnTo>
                    <a:pt x="516805" y="580388"/>
                  </a:lnTo>
                  <a:lnTo>
                    <a:pt x="517322" y="580775"/>
                  </a:lnTo>
                  <a:lnTo>
                    <a:pt x="519777" y="581939"/>
                  </a:lnTo>
                  <a:lnTo>
                    <a:pt x="521586" y="583102"/>
                  </a:lnTo>
                  <a:lnTo>
                    <a:pt x="526756" y="588142"/>
                  </a:lnTo>
                  <a:lnTo>
                    <a:pt x="527919" y="589046"/>
                  </a:lnTo>
                  <a:lnTo>
                    <a:pt x="529987" y="590080"/>
                  </a:lnTo>
                  <a:lnTo>
                    <a:pt x="530762" y="590856"/>
                  </a:lnTo>
                  <a:lnTo>
                    <a:pt x="531150" y="591760"/>
                  </a:lnTo>
                  <a:lnTo>
                    <a:pt x="533347" y="598997"/>
                  </a:lnTo>
                  <a:lnTo>
                    <a:pt x="534639" y="600031"/>
                  </a:lnTo>
                  <a:lnTo>
                    <a:pt x="536965" y="600419"/>
                  </a:lnTo>
                  <a:lnTo>
                    <a:pt x="539162" y="600031"/>
                  </a:lnTo>
                  <a:lnTo>
                    <a:pt x="541230" y="599256"/>
                  </a:lnTo>
                  <a:lnTo>
                    <a:pt x="543427" y="598997"/>
                  </a:lnTo>
                  <a:lnTo>
                    <a:pt x="545495" y="599773"/>
                  </a:lnTo>
                  <a:lnTo>
                    <a:pt x="547562" y="598610"/>
                  </a:lnTo>
                  <a:lnTo>
                    <a:pt x="550018" y="597576"/>
                  </a:lnTo>
                  <a:lnTo>
                    <a:pt x="552603" y="597059"/>
                  </a:lnTo>
                  <a:lnTo>
                    <a:pt x="560227" y="596283"/>
                  </a:lnTo>
                  <a:lnTo>
                    <a:pt x="560615" y="596413"/>
                  </a:lnTo>
                  <a:lnTo>
                    <a:pt x="561261" y="596542"/>
                  </a:lnTo>
                  <a:lnTo>
                    <a:pt x="564104" y="599256"/>
                  </a:lnTo>
                  <a:lnTo>
                    <a:pt x="565138" y="599773"/>
                  </a:lnTo>
                  <a:lnTo>
                    <a:pt x="570308" y="600936"/>
                  </a:lnTo>
                  <a:lnTo>
                    <a:pt x="575089" y="600419"/>
                  </a:lnTo>
                  <a:lnTo>
                    <a:pt x="579612" y="598739"/>
                  </a:lnTo>
                  <a:lnTo>
                    <a:pt x="586979" y="594991"/>
                  </a:lnTo>
                  <a:lnTo>
                    <a:pt x="588529" y="595120"/>
                  </a:lnTo>
                  <a:lnTo>
                    <a:pt x="590210" y="595767"/>
                  </a:lnTo>
                  <a:lnTo>
                    <a:pt x="594087" y="596413"/>
                  </a:lnTo>
                  <a:lnTo>
                    <a:pt x="596284" y="597834"/>
                  </a:lnTo>
                  <a:lnTo>
                    <a:pt x="597576" y="598351"/>
                  </a:lnTo>
                  <a:lnTo>
                    <a:pt x="598739" y="598351"/>
                  </a:lnTo>
                  <a:lnTo>
                    <a:pt x="601194" y="597576"/>
                  </a:lnTo>
                  <a:lnTo>
                    <a:pt x="608173" y="597834"/>
                  </a:lnTo>
                  <a:lnTo>
                    <a:pt x="609207" y="597188"/>
                  </a:lnTo>
                  <a:lnTo>
                    <a:pt x="609853" y="594991"/>
                  </a:lnTo>
                  <a:lnTo>
                    <a:pt x="611404" y="593957"/>
                  </a:lnTo>
                  <a:lnTo>
                    <a:pt x="616056" y="593311"/>
                  </a:lnTo>
                  <a:lnTo>
                    <a:pt x="616444" y="592794"/>
                  </a:lnTo>
                  <a:lnTo>
                    <a:pt x="617736" y="592019"/>
                  </a:lnTo>
                  <a:lnTo>
                    <a:pt x="619158" y="591760"/>
                  </a:lnTo>
                  <a:lnTo>
                    <a:pt x="619675" y="592923"/>
                  </a:lnTo>
                  <a:lnTo>
                    <a:pt x="619675" y="597317"/>
                  </a:lnTo>
                  <a:lnTo>
                    <a:pt x="621742" y="599514"/>
                  </a:lnTo>
                  <a:lnTo>
                    <a:pt x="626524" y="600290"/>
                  </a:lnTo>
                  <a:lnTo>
                    <a:pt x="631694" y="600677"/>
                  </a:lnTo>
                  <a:lnTo>
                    <a:pt x="635183" y="601453"/>
                  </a:lnTo>
                  <a:lnTo>
                    <a:pt x="637121" y="603391"/>
                  </a:lnTo>
                  <a:lnTo>
                    <a:pt x="638026" y="603908"/>
                  </a:lnTo>
                  <a:lnTo>
                    <a:pt x="645392" y="607010"/>
                  </a:lnTo>
                  <a:lnTo>
                    <a:pt x="653534" y="613472"/>
                  </a:lnTo>
                  <a:lnTo>
                    <a:pt x="656636" y="610112"/>
                  </a:lnTo>
                  <a:lnTo>
                    <a:pt x="660513" y="606751"/>
                  </a:lnTo>
                  <a:lnTo>
                    <a:pt x="679122" y="593957"/>
                  </a:lnTo>
                  <a:lnTo>
                    <a:pt x="687652" y="589563"/>
                  </a:lnTo>
                  <a:lnTo>
                    <a:pt x="689073" y="588400"/>
                  </a:lnTo>
                  <a:lnTo>
                    <a:pt x="690107" y="586979"/>
                  </a:lnTo>
                  <a:lnTo>
                    <a:pt x="690883" y="584653"/>
                  </a:lnTo>
                  <a:lnTo>
                    <a:pt x="691270" y="583231"/>
                  </a:lnTo>
                  <a:lnTo>
                    <a:pt x="691658" y="579612"/>
                  </a:lnTo>
                  <a:lnTo>
                    <a:pt x="692563" y="576382"/>
                  </a:lnTo>
                  <a:lnTo>
                    <a:pt x="692950" y="573021"/>
                  </a:lnTo>
                  <a:lnTo>
                    <a:pt x="693596" y="570695"/>
                  </a:lnTo>
                  <a:lnTo>
                    <a:pt x="694630" y="568240"/>
                  </a:lnTo>
                  <a:lnTo>
                    <a:pt x="701609" y="556092"/>
                  </a:lnTo>
                  <a:lnTo>
                    <a:pt x="702384" y="554024"/>
                  </a:lnTo>
                  <a:lnTo>
                    <a:pt x="702643" y="552861"/>
                  </a:lnTo>
                  <a:lnTo>
                    <a:pt x="702255" y="549630"/>
                  </a:lnTo>
                  <a:lnTo>
                    <a:pt x="702255" y="548467"/>
                  </a:lnTo>
                  <a:lnTo>
                    <a:pt x="702772" y="547175"/>
                  </a:lnTo>
                  <a:lnTo>
                    <a:pt x="703935" y="545495"/>
                  </a:lnTo>
                  <a:lnTo>
                    <a:pt x="707941" y="541359"/>
                  </a:lnTo>
                  <a:lnTo>
                    <a:pt x="709104" y="539421"/>
                  </a:lnTo>
                  <a:lnTo>
                    <a:pt x="710268" y="537999"/>
                  </a:lnTo>
                  <a:lnTo>
                    <a:pt x="712335" y="536448"/>
                  </a:lnTo>
                  <a:lnTo>
                    <a:pt x="713757" y="535802"/>
                  </a:lnTo>
                  <a:lnTo>
                    <a:pt x="715178" y="535415"/>
                  </a:lnTo>
                  <a:lnTo>
                    <a:pt x="719831" y="534639"/>
                  </a:lnTo>
                  <a:lnTo>
                    <a:pt x="721123" y="534122"/>
                  </a:lnTo>
                  <a:lnTo>
                    <a:pt x="722286" y="533218"/>
                  </a:lnTo>
                  <a:lnTo>
                    <a:pt x="723449" y="531796"/>
                  </a:lnTo>
                  <a:lnTo>
                    <a:pt x="726680" y="527402"/>
                  </a:lnTo>
                  <a:lnTo>
                    <a:pt x="727326" y="525980"/>
                  </a:lnTo>
                  <a:lnTo>
                    <a:pt x="727972" y="523913"/>
                  </a:lnTo>
                  <a:lnTo>
                    <a:pt x="728489" y="520940"/>
                  </a:lnTo>
                  <a:lnTo>
                    <a:pt x="729911" y="516159"/>
                  </a:lnTo>
                  <a:lnTo>
                    <a:pt x="730945" y="511506"/>
                  </a:lnTo>
                  <a:lnTo>
                    <a:pt x="731462" y="510343"/>
                  </a:lnTo>
                  <a:lnTo>
                    <a:pt x="732237" y="509051"/>
                  </a:lnTo>
                  <a:lnTo>
                    <a:pt x="740896" y="499358"/>
                  </a:lnTo>
                  <a:lnTo>
                    <a:pt x="748133" y="480361"/>
                  </a:lnTo>
                  <a:lnTo>
                    <a:pt x="750071" y="476484"/>
                  </a:lnTo>
                  <a:lnTo>
                    <a:pt x="750201" y="475192"/>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9" name="Graphic 2">
              <a:extLst>
                <a:ext uri="{FF2B5EF4-FFF2-40B4-BE49-F238E27FC236}">
                  <a16:creationId xmlns:a16="http://schemas.microsoft.com/office/drawing/2014/main" id="{59BC245D-7A01-AD3C-0DCB-A4ECE8F96D1A}"/>
                </a:ext>
              </a:extLst>
            </p:cNvPr>
            <p:cNvSpPr/>
            <p:nvPr/>
          </p:nvSpPr>
          <p:spPr>
            <a:xfrm>
              <a:off x="5437167" y="4794351"/>
              <a:ext cx="846996" cy="824638"/>
            </a:xfrm>
            <a:custGeom>
              <a:avLst/>
              <a:gdLst>
                <a:gd name="connsiteX0" fmla="*/ 824768 w 846996"/>
                <a:gd name="connsiteY0" fmla="*/ 199537 h 824638"/>
                <a:gd name="connsiteX1" fmla="*/ 825027 w 846996"/>
                <a:gd name="connsiteY1" fmla="*/ 200054 h 824638"/>
                <a:gd name="connsiteX2" fmla="*/ 825544 w 846996"/>
                <a:gd name="connsiteY2" fmla="*/ 200183 h 824638"/>
                <a:gd name="connsiteX3" fmla="*/ 826061 w 846996"/>
                <a:gd name="connsiteY3" fmla="*/ 199795 h 824638"/>
                <a:gd name="connsiteX4" fmla="*/ 827870 w 846996"/>
                <a:gd name="connsiteY4" fmla="*/ 197340 h 824638"/>
                <a:gd name="connsiteX5" fmla="*/ 828258 w 846996"/>
                <a:gd name="connsiteY5" fmla="*/ 196952 h 824638"/>
                <a:gd name="connsiteX6" fmla="*/ 829421 w 846996"/>
                <a:gd name="connsiteY6" fmla="*/ 196435 h 824638"/>
                <a:gd name="connsiteX7" fmla="*/ 829938 w 846996"/>
                <a:gd name="connsiteY7" fmla="*/ 196176 h 824638"/>
                <a:gd name="connsiteX8" fmla="*/ 831230 w 846996"/>
                <a:gd name="connsiteY8" fmla="*/ 195789 h 824638"/>
                <a:gd name="connsiteX9" fmla="*/ 832264 w 846996"/>
                <a:gd name="connsiteY9" fmla="*/ 195013 h 824638"/>
                <a:gd name="connsiteX10" fmla="*/ 833298 w 846996"/>
                <a:gd name="connsiteY10" fmla="*/ 193463 h 824638"/>
                <a:gd name="connsiteX11" fmla="*/ 836658 w 846996"/>
                <a:gd name="connsiteY11" fmla="*/ 187001 h 824638"/>
                <a:gd name="connsiteX12" fmla="*/ 837045 w 846996"/>
                <a:gd name="connsiteY12" fmla="*/ 186484 h 824638"/>
                <a:gd name="connsiteX13" fmla="*/ 837821 w 846996"/>
                <a:gd name="connsiteY13" fmla="*/ 185580 h 824638"/>
                <a:gd name="connsiteX14" fmla="*/ 838338 w 846996"/>
                <a:gd name="connsiteY14" fmla="*/ 185321 h 824638"/>
                <a:gd name="connsiteX15" fmla="*/ 838855 w 846996"/>
                <a:gd name="connsiteY15" fmla="*/ 185062 h 824638"/>
                <a:gd name="connsiteX16" fmla="*/ 839501 w 846996"/>
                <a:gd name="connsiteY16" fmla="*/ 184804 h 824638"/>
                <a:gd name="connsiteX17" fmla="*/ 840147 w 846996"/>
                <a:gd name="connsiteY17" fmla="*/ 184804 h 824638"/>
                <a:gd name="connsiteX18" fmla="*/ 840793 w 846996"/>
                <a:gd name="connsiteY18" fmla="*/ 184933 h 824638"/>
                <a:gd name="connsiteX19" fmla="*/ 841440 w 846996"/>
                <a:gd name="connsiteY19" fmla="*/ 185192 h 824638"/>
                <a:gd name="connsiteX20" fmla="*/ 842473 w 846996"/>
                <a:gd name="connsiteY20" fmla="*/ 185708 h 824638"/>
                <a:gd name="connsiteX21" fmla="*/ 842990 w 846996"/>
                <a:gd name="connsiteY21" fmla="*/ 185967 h 824638"/>
                <a:gd name="connsiteX22" fmla="*/ 843766 w 846996"/>
                <a:gd name="connsiteY22" fmla="*/ 186096 h 824638"/>
                <a:gd name="connsiteX23" fmla="*/ 844412 w 846996"/>
                <a:gd name="connsiteY23" fmla="*/ 186096 h 824638"/>
                <a:gd name="connsiteX24" fmla="*/ 845187 w 846996"/>
                <a:gd name="connsiteY24" fmla="*/ 185967 h 824638"/>
                <a:gd name="connsiteX25" fmla="*/ 846480 w 846996"/>
                <a:gd name="connsiteY25" fmla="*/ 185062 h 824638"/>
                <a:gd name="connsiteX26" fmla="*/ 846996 w 846996"/>
                <a:gd name="connsiteY26" fmla="*/ 183512 h 824638"/>
                <a:gd name="connsiteX27" fmla="*/ 844800 w 846996"/>
                <a:gd name="connsiteY27" fmla="*/ 179506 h 824638"/>
                <a:gd name="connsiteX28" fmla="*/ 844670 w 846996"/>
                <a:gd name="connsiteY28" fmla="*/ 178601 h 824638"/>
                <a:gd name="connsiteX29" fmla="*/ 844670 w 846996"/>
                <a:gd name="connsiteY29" fmla="*/ 177567 h 824638"/>
                <a:gd name="connsiteX30" fmla="*/ 844929 w 846996"/>
                <a:gd name="connsiteY30" fmla="*/ 177050 h 824638"/>
                <a:gd name="connsiteX31" fmla="*/ 845833 w 846996"/>
                <a:gd name="connsiteY31" fmla="*/ 176145 h 824638"/>
                <a:gd name="connsiteX32" fmla="*/ 846092 w 846996"/>
                <a:gd name="connsiteY32" fmla="*/ 175758 h 824638"/>
                <a:gd name="connsiteX33" fmla="*/ 845963 w 846996"/>
                <a:gd name="connsiteY33" fmla="*/ 175370 h 824638"/>
                <a:gd name="connsiteX34" fmla="*/ 842990 w 846996"/>
                <a:gd name="connsiteY34" fmla="*/ 173302 h 824638"/>
                <a:gd name="connsiteX35" fmla="*/ 842473 w 846996"/>
                <a:gd name="connsiteY35" fmla="*/ 172139 h 824638"/>
                <a:gd name="connsiteX36" fmla="*/ 841310 w 846996"/>
                <a:gd name="connsiteY36" fmla="*/ 169038 h 824638"/>
                <a:gd name="connsiteX37" fmla="*/ 840793 w 846996"/>
                <a:gd name="connsiteY37" fmla="*/ 168391 h 824638"/>
                <a:gd name="connsiteX38" fmla="*/ 839759 w 846996"/>
                <a:gd name="connsiteY38" fmla="*/ 168521 h 824638"/>
                <a:gd name="connsiteX39" fmla="*/ 839243 w 846996"/>
                <a:gd name="connsiteY39" fmla="*/ 169684 h 824638"/>
                <a:gd name="connsiteX40" fmla="*/ 838855 w 846996"/>
                <a:gd name="connsiteY40" fmla="*/ 171105 h 824638"/>
                <a:gd name="connsiteX41" fmla="*/ 838209 w 846996"/>
                <a:gd name="connsiteY41" fmla="*/ 171622 h 824638"/>
                <a:gd name="connsiteX42" fmla="*/ 834461 w 846996"/>
                <a:gd name="connsiteY42" fmla="*/ 171364 h 824638"/>
                <a:gd name="connsiteX43" fmla="*/ 832522 w 846996"/>
                <a:gd name="connsiteY43" fmla="*/ 170976 h 824638"/>
                <a:gd name="connsiteX44" fmla="*/ 831230 w 846996"/>
                <a:gd name="connsiteY44" fmla="*/ 169942 h 824638"/>
                <a:gd name="connsiteX45" fmla="*/ 830455 w 846996"/>
                <a:gd name="connsiteY45" fmla="*/ 168779 h 824638"/>
                <a:gd name="connsiteX46" fmla="*/ 829938 w 846996"/>
                <a:gd name="connsiteY46" fmla="*/ 167616 h 824638"/>
                <a:gd name="connsiteX47" fmla="*/ 829292 w 846996"/>
                <a:gd name="connsiteY47" fmla="*/ 166582 h 824638"/>
                <a:gd name="connsiteX48" fmla="*/ 828387 w 846996"/>
                <a:gd name="connsiteY48" fmla="*/ 165807 h 824638"/>
                <a:gd name="connsiteX49" fmla="*/ 827353 w 846996"/>
                <a:gd name="connsiteY49" fmla="*/ 165936 h 824638"/>
                <a:gd name="connsiteX50" fmla="*/ 823476 w 846996"/>
                <a:gd name="connsiteY50" fmla="*/ 167487 h 824638"/>
                <a:gd name="connsiteX51" fmla="*/ 822055 w 846996"/>
                <a:gd name="connsiteY51" fmla="*/ 167875 h 824638"/>
                <a:gd name="connsiteX52" fmla="*/ 821537 w 846996"/>
                <a:gd name="connsiteY52" fmla="*/ 168521 h 824638"/>
                <a:gd name="connsiteX53" fmla="*/ 821150 w 846996"/>
                <a:gd name="connsiteY53" fmla="*/ 168521 h 824638"/>
                <a:gd name="connsiteX54" fmla="*/ 819858 w 846996"/>
                <a:gd name="connsiteY54" fmla="*/ 167099 h 824638"/>
                <a:gd name="connsiteX55" fmla="*/ 818694 w 846996"/>
                <a:gd name="connsiteY55" fmla="*/ 166065 h 824638"/>
                <a:gd name="connsiteX56" fmla="*/ 817660 w 846996"/>
                <a:gd name="connsiteY56" fmla="*/ 165936 h 824638"/>
                <a:gd name="connsiteX57" fmla="*/ 814688 w 846996"/>
                <a:gd name="connsiteY57" fmla="*/ 167099 h 824638"/>
                <a:gd name="connsiteX58" fmla="*/ 812233 w 846996"/>
                <a:gd name="connsiteY58" fmla="*/ 169038 h 824638"/>
                <a:gd name="connsiteX59" fmla="*/ 810682 w 846996"/>
                <a:gd name="connsiteY59" fmla="*/ 169554 h 824638"/>
                <a:gd name="connsiteX60" fmla="*/ 809648 w 846996"/>
                <a:gd name="connsiteY60" fmla="*/ 169425 h 824638"/>
                <a:gd name="connsiteX61" fmla="*/ 808743 w 846996"/>
                <a:gd name="connsiteY61" fmla="*/ 169296 h 824638"/>
                <a:gd name="connsiteX62" fmla="*/ 806159 w 846996"/>
                <a:gd name="connsiteY62" fmla="*/ 169038 h 824638"/>
                <a:gd name="connsiteX63" fmla="*/ 804091 w 846996"/>
                <a:gd name="connsiteY63" fmla="*/ 168521 h 824638"/>
                <a:gd name="connsiteX64" fmla="*/ 802928 w 846996"/>
                <a:gd name="connsiteY64" fmla="*/ 168391 h 824638"/>
                <a:gd name="connsiteX65" fmla="*/ 802540 w 846996"/>
                <a:gd name="connsiteY65" fmla="*/ 167616 h 824638"/>
                <a:gd name="connsiteX66" fmla="*/ 802282 w 846996"/>
                <a:gd name="connsiteY66" fmla="*/ 166195 h 824638"/>
                <a:gd name="connsiteX67" fmla="*/ 801765 w 846996"/>
                <a:gd name="connsiteY67" fmla="*/ 165031 h 824638"/>
                <a:gd name="connsiteX68" fmla="*/ 800473 w 846996"/>
                <a:gd name="connsiteY68" fmla="*/ 165031 h 824638"/>
                <a:gd name="connsiteX69" fmla="*/ 799439 w 846996"/>
                <a:gd name="connsiteY69" fmla="*/ 166582 h 824638"/>
                <a:gd name="connsiteX70" fmla="*/ 799439 w 846996"/>
                <a:gd name="connsiteY70" fmla="*/ 168521 h 824638"/>
                <a:gd name="connsiteX71" fmla="*/ 799309 w 846996"/>
                <a:gd name="connsiteY71" fmla="*/ 169942 h 824638"/>
                <a:gd name="connsiteX72" fmla="*/ 797500 w 846996"/>
                <a:gd name="connsiteY72" fmla="*/ 169942 h 824638"/>
                <a:gd name="connsiteX73" fmla="*/ 795949 w 846996"/>
                <a:gd name="connsiteY73" fmla="*/ 169167 h 824638"/>
                <a:gd name="connsiteX74" fmla="*/ 793494 w 846996"/>
                <a:gd name="connsiteY74" fmla="*/ 166711 h 824638"/>
                <a:gd name="connsiteX75" fmla="*/ 791555 w 846996"/>
                <a:gd name="connsiteY75" fmla="*/ 165807 h 824638"/>
                <a:gd name="connsiteX76" fmla="*/ 780700 w 846996"/>
                <a:gd name="connsiteY76" fmla="*/ 164514 h 824638"/>
                <a:gd name="connsiteX77" fmla="*/ 779278 w 846996"/>
                <a:gd name="connsiteY77" fmla="*/ 164773 h 824638"/>
                <a:gd name="connsiteX78" fmla="*/ 777727 w 846996"/>
                <a:gd name="connsiteY78" fmla="*/ 165807 h 824638"/>
                <a:gd name="connsiteX79" fmla="*/ 776435 w 846996"/>
                <a:gd name="connsiteY79" fmla="*/ 163868 h 824638"/>
                <a:gd name="connsiteX80" fmla="*/ 773333 w 846996"/>
                <a:gd name="connsiteY80" fmla="*/ 162834 h 824638"/>
                <a:gd name="connsiteX81" fmla="*/ 767001 w 846996"/>
                <a:gd name="connsiteY81" fmla="*/ 162447 h 824638"/>
                <a:gd name="connsiteX82" fmla="*/ 766355 w 846996"/>
                <a:gd name="connsiteY82" fmla="*/ 162188 h 824638"/>
                <a:gd name="connsiteX83" fmla="*/ 764287 w 846996"/>
                <a:gd name="connsiteY83" fmla="*/ 160508 h 824638"/>
                <a:gd name="connsiteX84" fmla="*/ 762995 w 846996"/>
                <a:gd name="connsiteY84" fmla="*/ 160121 h 824638"/>
                <a:gd name="connsiteX85" fmla="*/ 761315 w 846996"/>
                <a:gd name="connsiteY85" fmla="*/ 159991 h 824638"/>
                <a:gd name="connsiteX86" fmla="*/ 759764 w 846996"/>
                <a:gd name="connsiteY86" fmla="*/ 160121 h 824638"/>
                <a:gd name="connsiteX87" fmla="*/ 758342 w 846996"/>
                <a:gd name="connsiteY87" fmla="*/ 160767 h 824638"/>
                <a:gd name="connsiteX88" fmla="*/ 757050 w 846996"/>
                <a:gd name="connsiteY88" fmla="*/ 161671 h 824638"/>
                <a:gd name="connsiteX89" fmla="*/ 752656 w 846996"/>
                <a:gd name="connsiteY89" fmla="*/ 158311 h 824638"/>
                <a:gd name="connsiteX90" fmla="*/ 749296 w 846996"/>
                <a:gd name="connsiteY90" fmla="*/ 157148 h 824638"/>
                <a:gd name="connsiteX91" fmla="*/ 748262 w 846996"/>
                <a:gd name="connsiteY91" fmla="*/ 156760 h 824638"/>
                <a:gd name="connsiteX92" fmla="*/ 747874 w 846996"/>
                <a:gd name="connsiteY92" fmla="*/ 155985 h 824638"/>
                <a:gd name="connsiteX93" fmla="*/ 746065 w 846996"/>
                <a:gd name="connsiteY93" fmla="*/ 152625 h 824638"/>
                <a:gd name="connsiteX94" fmla="*/ 742447 w 846996"/>
                <a:gd name="connsiteY94" fmla="*/ 147585 h 824638"/>
                <a:gd name="connsiteX95" fmla="*/ 740896 w 846996"/>
                <a:gd name="connsiteY95" fmla="*/ 144354 h 824638"/>
                <a:gd name="connsiteX96" fmla="*/ 740250 w 846996"/>
                <a:gd name="connsiteY96" fmla="*/ 143449 h 824638"/>
                <a:gd name="connsiteX97" fmla="*/ 739216 w 846996"/>
                <a:gd name="connsiteY97" fmla="*/ 142545 h 824638"/>
                <a:gd name="connsiteX98" fmla="*/ 736243 w 846996"/>
                <a:gd name="connsiteY98" fmla="*/ 140994 h 824638"/>
                <a:gd name="connsiteX99" fmla="*/ 735210 w 846996"/>
                <a:gd name="connsiteY99" fmla="*/ 140089 h 824638"/>
                <a:gd name="connsiteX100" fmla="*/ 734047 w 846996"/>
                <a:gd name="connsiteY100" fmla="*/ 137505 h 824638"/>
                <a:gd name="connsiteX101" fmla="*/ 731979 w 846996"/>
                <a:gd name="connsiteY101" fmla="*/ 130268 h 824638"/>
                <a:gd name="connsiteX102" fmla="*/ 730040 w 846996"/>
                <a:gd name="connsiteY102" fmla="*/ 127683 h 824638"/>
                <a:gd name="connsiteX103" fmla="*/ 728748 w 846996"/>
                <a:gd name="connsiteY103" fmla="*/ 128329 h 824638"/>
                <a:gd name="connsiteX104" fmla="*/ 727843 w 846996"/>
                <a:gd name="connsiteY104" fmla="*/ 127683 h 824638"/>
                <a:gd name="connsiteX105" fmla="*/ 727068 w 846996"/>
                <a:gd name="connsiteY105" fmla="*/ 126649 h 824638"/>
                <a:gd name="connsiteX106" fmla="*/ 725905 w 846996"/>
                <a:gd name="connsiteY106" fmla="*/ 126132 h 824638"/>
                <a:gd name="connsiteX107" fmla="*/ 725129 w 846996"/>
                <a:gd name="connsiteY107" fmla="*/ 126520 h 824638"/>
                <a:gd name="connsiteX108" fmla="*/ 724354 w 846996"/>
                <a:gd name="connsiteY108" fmla="*/ 127295 h 824638"/>
                <a:gd name="connsiteX109" fmla="*/ 723320 w 846996"/>
                <a:gd name="connsiteY109" fmla="*/ 127683 h 824638"/>
                <a:gd name="connsiteX110" fmla="*/ 721899 w 846996"/>
                <a:gd name="connsiteY110" fmla="*/ 126778 h 824638"/>
                <a:gd name="connsiteX111" fmla="*/ 721769 w 846996"/>
                <a:gd name="connsiteY111" fmla="*/ 125744 h 824638"/>
                <a:gd name="connsiteX112" fmla="*/ 721769 w 846996"/>
                <a:gd name="connsiteY112" fmla="*/ 124064 h 824638"/>
                <a:gd name="connsiteX113" fmla="*/ 721640 w 846996"/>
                <a:gd name="connsiteY113" fmla="*/ 122514 h 824638"/>
                <a:gd name="connsiteX114" fmla="*/ 720865 w 846996"/>
                <a:gd name="connsiteY114" fmla="*/ 121867 h 824638"/>
                <a:gd name="connsiteX115" fmla="*/ 719314 w 846996"/>
                <a:gd name="connsiteY115" fmla="*/ 121479 h 824638"/>
                <a:gd name="connsiteX116" fmla="*/ 719314 w 846996"/>
                <a:gd name="connsiteY116" fmla="*/ 120446 h 824638"/>
                <a:gd name="connsiteX117" fmla="*/ 720477 w 846996"/>
                <a:gd name="connsiteY117" fmla="*/ 118507 h 824638"/>
                <a:gd name="connsiteX118" fmla="*/ 720477 w 846996"/>
                <a:gd name="connsiteY118" fmla="*/ 116181 h 824638"/>
                <a:gd name="connsiteX119" fmla="*/ 719960 w 846996"/>
                <a:gd name="connsiteY119" fmla="*/ 114501 h 824638"/>
                <a:gd name="connsiteX120" fmla="*/ 716858 w 846996"/>
                <a:gd name="connsiteY120" fmla="*/ 111141 h 824638"/>
                <a:gd name="connsiteX121" fmla="*/ 713628 w 846996"/>
                <a:gd name="connsiteY121" fmla="*/ 106876 h 824638"/>
                <a:gd name="connsiteX122" fmla="*/ 711689 w 846996"/>
                <a:gd name="connsiteY122" fmla="*/ 105455 h 824638"/>
                <a:gd name="connsiteX123" fmla="*/ 709492 w 846996"/>
                <a:gd name="connsiteY123" fmla="*/ 106230 h 824638"/>
                <a:gd name="connsiteX124" fmla="*/ 706390 w 846996"/>
                <a:gd name="connsiteY124" fmla="*/ 103646 h 824638"/>
                <a:gd name="connsiteX125" fmla="*/ 702384 w 846996"/>
                <a:gd name="connsiteY125" fmla="*/ 95891 h 824638"/>
                <a:gd name="connsiteX126" fmla="*/ 699929 w 846996"/>
                <a:gd name="connsiteY126" fmla="*/ 92144 h 824638"/>
                <a:gd name="connsiteX127" fmla="*/ 699541 w 846996"/>
                <a:gd name="connsiteY127" fmla="*/ 91239 h 824638"/>
                <a:gd name="connsiteX128" fmla="*/ 699412 w 846996"/>
                <a:gd name="connsiteY128" fmla="*/ 90463 h 824638"/>
                <a:gd name="connsiteX129" fmla="*/ 699153 w 846996"/>
                <a:gd name="connsiteY129" fmla="*/ 89946 h 824638"/>
                <a:gd name="connsiteX130" fmla="*/ 696698 w 846996"/>
                <a:gd name="connsiteY130" fmla="*/ 89300 h 824638"/>
                <a:gd name="connsiteX131" fmla="*/ 694759 w 846996"/>
                <a:gd name="connsiteY131" fmla="*/ 87620 h 824638"/>
                <a:gd name="connsiteX132" fmla="*/ 691787 w 846996"/>
                <a:gd name="connsiteY132" fmla="*/ 86716 h 824638"/>
                <a:gd name="connsiteX133" fmla="*/ 689202 w 846996"/>
                <a:gd name="connsiteY133" fmla="*/ 84002 h 824638"/>
                <a:gd name="connsiteX134" fmla="*/ 687522 w 846996"/>
                <a:gd name="connsiteY134" fmla="*/ 83097 h 824638"/>
                <a:gd name="connsiteX135" fmla="*/ 686488 w 846996"/>
                <a:gd name="connsiteY135" fmla="*/ 83226 h 824638"/>
                <a:gd name="connsiteX136" fmla="*/ 685455 w 846996"/>
                <a:gd name="connsiteY136" fmla="*/ 83743 h 824638"/>
                <a:gd name="connsiteX137" fmla="*/ 684550 w 846996"/>
                <a:gd name="connsiteY137" fmla="*/ 84002 h 824638"/>
                <a:gd name="connsiteX138" fmla="*/ 683516 w 846996"/>
                <a:gd name="connsiteY138" fmla="*/ 83485 h 824638"/>
                <a:gd name="connsiteX139" fmla="*/ 679768 w 846996"/>
                <a:gd name="connsiteY139" fmla="*/ 79350 h 824638"/>
                <a:gd name="connsiteX140" fmla="*/ 678864 w 846996"/>
                <a:gd name="connsiteY140" fmla="*/ 78703 h 824638"/>
                <a:gd name="connsiteX141" fmla="*/ 677054 w 846996"/>
                <a:gd name="connsiteY141" fmla="*/ 77799 h 824638"/>
                <a:gd name="connsiteX142" fmla="*/ 676537 w 846996"/>
                <a:gd name="connsiteY142" fmla="*/ 77282 h 824638"/>
                <a:gd name="connsiteX143" fmla="*/ 676667 w 846996"/>
                <a:gd name="connsiteY143" fmla="*/ 76635 h 824638"/>
                <a:gd name="connsiteX144" fmla="*/ 677054 w 846996"/>
                <a:gd name="connsiteY144" fmla="*/ 75602 h 824638"/>
                <a:gd name="connsiteX145" fmla="*/ 677442 w 846996"/>
                <a:gd name="connsiteY145" fmla="*/ 74309 h 824638"/>
                <a:gd name="connsiteX146" fmla="*/ 677184 w 846996"/>
                <a:gd name="connsiteY146" fmla="*/ 73146 h 824638"/>
                <a:gd name="connsiteX147" fmla="*/ 675374 w 846996"/>
                <a:gd name="connsiteY147" fmla="*/ 72113 h 824638"/>
                <a:gd name="connsiteX148" fmla="*/ 673436 w 846996"/>
                <a:gd name="connsiteY148" fmla="*/ 72241 h 824638"/>
                <a:gd name="connsiteX149" fmla="*/ 671885 w 846996"/>
                <a:gd name="connsiteY149" fmla="*/ 71595 h 824638"/>
                <a:gd name="connsiteX150" fmla="*/ 671368 w 846996"/>
                <a:gd name="connsiteY150" fmla="*/ 68623 h 824638"/>
                <a:gd name="connsiteX151" fmla="*/ 670593 w 846996"/>
                <a:gd name="connsiteY151" fmla="*/ 66555 h 824638"/>
                <a:gd name="connsiteX152" fmla="*/ 669042 w 846996"/>
                <a:gd name="connsiteY152" fmla="*/ 67202 h 824638"/>
                <a:gd name="connsiteX153" fmla="*/ 666199 w 846996"/>
                <a:gd name="connsiteY153" fmla="*/ 69915 h 824638"/>
                <a:gd name="connsiteX154" fmla="*/ 665294 w 846996"/>
                <a:gd name="connsiteY154" fmla="*/ 69011 h 824638"/>
                <a:gd name="connsiteX155" fmla="*/ 665036 w 846996"/>
                <a:gd name="connsiteY155" fmla="*/ 68106 h 824638"/>
                <a:gd name="connsiteX156" fmla="*/ 664907 w 846996"/>
                <a:gd name="connsiteY156" fmla="*/ 67072 h 824638"/>
                <a:gd name="connsiteX157" fmla="*/ 664389 w 846996"/>
                <a:gd name="connsiteY157" fmla="*/ 66167 h 824638"/>
                <a:gd name="connsiteX158" fmla="*/ 663226 w 846996"/>
                <a:gd name="connsiteY158" fmla="*/ 65521 h 824638"/>
                <a:gd name="connsiteX159" fmla="*/ 662193 w 846996"/>
                <a:gd name="connsiteY159" fmla="*/ 65392 h 824638"/>
                <a:gd name="connsiteX160" fmla="*/ 661288 w 846996"/>
                <a:gd name="connsiteY160" fmla="*/ 65134 h 824638"/>
                <a:gd name="connsiteX161" fmla="*/ 660383 w 846996"/>
                <a:gd name="connsiteY161" fmla="*/ 64100 h 824638"/>
                <a:gd name="connsiteX162" fmla="*/ 659349 w 846996"/>
                <a:gd name="connsiteY162" fmla="*/ 61645 h 824638"/>
                <a:gd name="connsiteX163" fmla="*/ 658962 w 846996"/>
                <a:gd name="connsiteY163" fmla="*/ 59835 h 824638"/>
                <a:gd name="connsiteX164" fmla="*/ 657799 w 846996"/>
                <a:gd name="connsiteY164" fmla="*/ 58672 h 824638"/>
                <a:gd name="connsiteX165" fmla="*/ 654826 w 846996"/>
                <a:gd name="connsiteY165" fmla="*/ 58414 h 824638"/>
                <a:gd name="connsiteX166" fmla="*/ 652759 w 846996"/>
                <a:gd name="connsiteY166" fmla="*/ 58930 h 824638"/>
                <a:gd name="connsiteX167" fmla="*/ 650691 w 846996"/>
                <a:gd name="connsiteY167" fmla="*/ 59706 h 824638"/>
                <a:gd name="connsiteX168" fmla="*/ 648752 w 846996"/>
                <a:gd name="connsiteY168" fmla="*/ 59835 h 824638"/>
                <a:gd name="connsiteX169" fmla="*/ 647072 w 846996"/>
                <a:gd name="connsiteY169" fmla="*/ 58414 h 824638"/>
                <a:gd name="connsiteX170" fmla="*/ 647202 w 846996"/>
                <a:gd name="connsiteY170" fmla="*/ 57380 h 824638"/>
                <a:gd name="connsiteX171" fmla="*/ 647848 w 846996"/>
                <a:gd name="connsiteY171" fmla="*/ 54666 h 824638"/>
                <a:gd name="connsiteX172" fmla="*/ 647460 w 846996"/>
                <a:gd name="connsiteY172" fmla="*/ 54149 h 824638"/>
                <a:gd name="connsiteX173" fmla="*/ 643971 w 846996"/>
                <a:gd name="connsiteY173" fmla="*/ 55829 h 824638"/>
                <a:gd name="connsiteX174" fmla="*/ 643454 w 846996"/>
                <a:gd name="connsiteY174" fmla="*/ 55441 h 824638"/>
                <a:gd name="connsiteX175" fmla="*/ 643325 w 846996"/>
                <a:gd name="connsiteY175" fmla="*/ 53632 h 824638"/>
                <a:gd name="connsiteX176" fmla="*/ 642937 w 846996"/>
                <a:gd name="connsiteY176" fmla="*/ 51564 h 824638"/>
                <a:gd name="connsiteX177" fmla="*/ 642161 w 846996"/>
                <a:gd name="connsiteY177" fmla="*/ 50143 h 824638"/>
                <a:gd name="connsiteX178" fmla="*/ 640869 w 846996"/>
                <a:gd name="connsiteY178" fmla="*/ 50530 h 824638"/>
                <a:gd name="connsiteX179" fmla="*/ 639964 w 846996"/>
                <a:gd name="connsiteY179" fmla="*/ 51823 h 824638"/>
                <a:gd name="connsiteX180" fmla="*/ 639447 w 846996"/>
                <a:gd name="connsiteY180" fmla="*/ 52598 h 824638"/>
                <a:gd name="connsiteX181" fmla="*/ 638931 w 846996"/>
                <a:gd name="connsiteY181" fmla="*/ 52598 h 824638"/>
                <a:gd name="connsiteX182" fmla="*/ 637509 w 846996"/>
                <a:gd name="connsiteY182" fmla="*/ 51693 h 824638"/>
                <a:gd name="connsiteX183" fmla="*/ 636992 w 846996"/>
                <a:gd name="connsiteY183" fmla="*/ 50789 h 824638"/>
                <a:gd name="connsiteX184" fmla="*/ 636992 w 846996"/>
                <a:gd name="connsiteY184" fmla="*/ 49755 h 824638"/>
                <a:gd name="connsiteX185" fmla="*/ 636733 w 846996"/>
                <a:gd name="connsiteY185" fmla="*/ 48850 h 824638"/>
                <a:gd name="connsiteX186" fmla="*/ 635441 w 846996"/>
                <a:gd name="connsiteY186" fmla="*/ 48463 h 824638"/>
                <a:gd name="connsiteX187" fmla="*/ 634278 w 846996"/>
                <a:gd name="connsiteY187" fmla="*/ 48850 h 824638"/>
                <a:gd name="connsiteX188" fmla="*/ 633503 w 846996"/>
                <a:gd name="connsiteY188" fmla="*/ 49884 h 824638"/>
                <a:gd name="connsiteX189" fmla="*/ 632081 w 846996"/>
                <a:gd name="connsiteY189" fmla="*/ 52210 h 824638"/>
                <a:gd name="connsiteX190" fmla="*/ 630918 w 846996"/>
                <a:gd name="connsiteY190" fmla="*/ 52598 h 824638"/>
                <a:gd name="connsiteX191" fmla="*/ 630013 w 846996"/>
                <a:gd name="connsiteY191" fmla="*/ 51823 h 824638"/>
                <a:gd name="connsiteX192" fmla="*/ 629238 w 846996"/>
                <a:gd name="connsiteY192" fmla="*/ 50660 h 824638"/>
                <a:gd name="connsiteX193" fmla="*/ 628333 w 846996"/>
                <a:gd name="connsiteY193" fmla="*/ 50143 h 824638"/>
                <a:gd name="connsiteX194" fmla="*/ 626266 w 846996"/>
                <a:gd name="connsiteY194" fmla="*/ 50013 h 824638"/>
                <a:gd name="connsiteX195" fmla="*/ 624327 w 846996"/>
                <a:gd name="connsiteY195" fmla="*/ 50143 h 824638"/>
                <a:gd name="connsiteX196" fmla="*/ 623552 w 846996"/>
                <a:gd name="connsiteY196" fmla="*/ 51306 h 824638"/>
                <a:gd name="connsiteX197" fmla="*/ 624327 w 846996"/>
                <a:gd name="connsiteY197" fmla="*/ 54149 h 824638"/>
                <a:gd name="connsiteX198" fmla="*/ 620967 w 846996"/>
                <a:gd name="connsiteY198" fmla="*/ 54149 h 824638"/>
                <a:gd name="connsiteX199" fmla="*/ 619029 w 846996"/>
                <a:gd name="connsiteY199" fmla="*/ 53891 h 824638"/>
                <a:gd name="connsiteX200" fmla="*/ 616444 w 846996"/>
                <a:gd name="connsiteY200" fmla="*/ 52856 h 824638"/>
                <a:gd name="connsiteX201" fmla="*/ 616056 w 846996"/>
                <a:gd name="connsiteY201" fmla="*/ 52340 h 824638"/>
                <a:gd name="connsiteX202" fmla="*/ 617090 w 846996"/>
                <a:gd name="connsiteY202" fmla="*/ 50401 h 824638"/>
                <a:gd name="connsiteX203" fmla="*/ 616961 w 846996"/>
                <a:gd name="connsiteY203" fmla="*/ 49497 h 824638"/>
                <a:gd name="connsiteX204" fmla="*/ 616315 w 846996"/>
                <a:gd name="connsiteY204" fmla="*/ 48850 h 824638"/>
                <a:gd name="connsiteX205" fmla="*/ 615539 w 846996"/>
                <a:gd name="connsiteY205" fmla="*/ 48463 h 824638"/>
                <a:gd name="connsiteX206" fmla="*/ 614764 w 846996"/>
                <a:gd name="connsiteY206" fmla="*/ 52340 h 824638"/>
                <a:gd name="connsiteX207" fmla="*/ 613859 w 846996"/>
                <a:gd name="connsiteY207" fmla="*/ 53761 h 824638"/>
                <a:gd name="connsiteX208" fmla="*/ 612308 w 846996"/>
                <a:gd name="connsiteY208" fmla="*/ 52986 h 824638"/>
                <a:gd name="connsiteX209" fmla="*/ 611145 w 846996"/>
                <a:gd name="connsiteY209" fmla="*/ 51047 h 824638"/>
                <a:gd name="connsiteX210" fmla="*/ 610628 w 846996"/>
                <a:gd name="connsiteY210" fmla="*/ 47170 h 824638"/>
                <a:gd name="connsiteX211" fmla="*/ 609724 w 846996"/>
                <a:gd name="connsiteY211" fmla="*/ 45232 h 824638"/>
                <a:gd name="connsiteX212" fmla="*/ 608948 w 846996"/>
                <a:gd name="connsiteY212" fmla="*/ 46266 h 824638"/>
                <a:gd name="connsiteX213" fmla="*/ 607785 w 846996"/>
                <a:gd name="connsiteY213" fmla="*/ 47041 h 824638"/>
                <a:gd name="connsiteX214" fmla="*/ 606622 w 846996"/>
                <a:gd name="connsiteY214" fmla="*/ 47300 h 824638"/>
                <a:gd name="connsiteX215" fmla="*/ 605330 w 846996"/>
                <a:gd name="connsiteY215" fmla="*/ 46782 h 824638"/>
                <a:gd name="connsiteX216" fmla="*/ 608044 w 846996"/>
                <a:gd name="connsiteY216" fmla="*/ 44844 h 824638"/>
                <a:gd name="connsiteX217" fmla="*/ 605718 w 846996"/>
                <a:gd name="connsiteY217" fmla="*/ 42260 h 824638"/>
                <a:gd name="connsiteX218" fmla="*/ 599385 w 846996"/>
                <a:gd name="connsiteY218" fmla="*/ 38641 h 824638"/>
                <a:gd name="connsiteX219" fmla="*/ 600936 w 846996"/>
                <a:gd name="connsiteY219" fmla="*/ 37995 h 824638"/>
                <a:gd name="connsiteX220" fmla="*/ 602487 w 846996"/>
                <a:gd name="connsiteY220" fmla="*/ 37736 h 824638"/>
                <a:gd name="connsiteX221" fmla="*/ 605976 w 846996"/>
                <a:gd name="connsiteY221" fmla="*/ 37865 h 824638"/>
                <a:gd name="connsiteX222" fmla="*/ 604425 w 846996"/>
                <a:gd name="connsiteY222" fmla="*/ 35539 h 824638"/>
                <a:gd name="connsiteX223" fmla="*/ 599773 w 846996"/>
                <a:gd name="connsiteY223" fmla="*/ 34506 h 824638"/>
                <a:gd name="connsiteX224" fmla="*/ 598739 w 846996"/>
                <a:gd name="connsiteY224" fmla="*/ 32438 h 824638"/>
                <a:gd name="connsiteX225" fmla="*/ 598739 w 846996"/>
                <a:gd name="connsiteY225" fmla="*/ 31016 h 824638"/>
                <a:gd name="connsiteX226" fmla="*/ 598610 w 846996"/>
                <a:gd name="connsiteY226" fmla="*/ 30758 h 824638"/>
                <a:gd name="connsiteX227" fmla="*/ 598222 w 846996"/>
                <a:gd name="connsiteY227" fmla="*/ 31145 h 824638"/>
                <a:gd name="connsiteX228" fmla="*/ 590210 w 846996"/>
                <a:gd name="connsiteY228" fmla="*/ 31145 h 824638"/>
                <a:gd name="connsiteX229" fmla="*/ 588788 w 846996"/>
                <a:gd name="connsiteY229" fmla="*/ 30887 h 824638"/>
                <a:gd name="connsiteX230" fmla="*/ 588659 w 846996"/>
                <a:gd name="connsiteY230" fmla="*/ 29982 h 824638"/>
                <a:gd name="connsiteX231" fmla="*/ 589176 w 846996"/>
                <a:gd name="connsiteY231" fmla="*/ 27527 h 824638"/>
                <a:gd name="connsiteX232" fmla="*/ 588142 w 846996"/>
                <a:gd name="connsiteY232" fmla="*/ 26493 h 824638"/>
                <a:gd name="connsiteX233" fmla="*/ 585945 w 846996"/>
                <a:gd name="connsiteY233" fmla="*/ 26881 h 824638"/>
                <a:gd name="connsiteX234" fmla="*/ 583619 w 846996"/>
                <a:gd name="connsiteY234" fmla="*/ 26751 h 824638"/>
                <a:gd name="connsiteX235" fmla="*/ 582585 w 846996"/>
                <a:gd name="connsiteY235" fmla="*/ 24296 h 824638"/>
                <a:gd name="connsiteX236" fmla="*/ 581551 w 846996"/>
                <a:gd name="connsiteY236" fmla="*/ 23521 h 824638"/>
                <a:gd name="connsiteX237" fmla="*/ 579225 w 846996"/>
                <a:gd name="connsiteY237" fmla="*/ 25588 h 824638"/>
                <a:gd name="connsiteX238" fmla="*/ 575865 w 846996"/>
                <a:gd name="connsiteY238" fmla="*/ 29595 h 824638"/>
                <a:gd name="connsiteX239" fmla="*/ 574185 w 846996"/>
                <a:gd name="connsiteY239" fmla="*/ 28949 h 824638"/>
                <a:gd name="connsiteX240" fmla="*/ 572892 w 846996"/>
                <a:gd name="connsiteY240" fmla="*/ 26881 h 824638"/>
                <a:gd name="connsiteX241" fmla="*/ 571988 w 846996"/>
                <a:gd name="connsiteY241" fmla="*/ 24813 h 824638"/>
                <a:gd name="connsiteX242" fmla="*/ 571858 w 846996"/>
                <a:gd name="connsiteY242" fmla="*/ 23908 h 824638"/>
                <a:gd name="connsiteX243" fmla="*/ 574314 w 846996"/>
                <a:gd name="connsiteY243" fmla="*/ 23391 h 824638"/>
                <a:gd name="connsiteX244" fmla="*/ 574831 w 846996"/>
                <a:gd name="connsiteY244" fmla="*/ 22358 h 824638"/>
                <a:gd name="connsiteX245" fmla="*/ 573797 w 846996"/>
                <a:gd name="connsiteY245" fmla="*/ 21194 h 824638"/>
                <a:gd name="connsiteX246" fmla="*/ 571471 w 846996"/>
                <a:gd name="connsiteY246" fmla="*/ 20548 h 824638"/>
                <a:gd name="connsiteX247" fmla="*/ 568886 w 846996"/>
                <a:gd name="connsiteY247" fmla="*/ 20807 h 824638"/>
                <a:gd name="connsiteX248" fmla="*/ 567594 w 846996"/>
                <a:gd name="connsiteY248" fmla="*/ 21840 h 824638"/>
                <a:gd name="connsiteX249" fmla="*/ 567723 w 846996"/>
                <a:gd name="connsiteY249" fmla="*/ 23779 h 824638"/>
                <a:gd name="connsiteX250" fmla="*/ 568628 w 846996"/>
                <a:gd name="connsiteY250" fmla="*/ 26364 h 824638"/>
                <a:gd name="connsiteX251" fmla="*/ 567077 w 846996"/>
                <a:gd name="connsiteY251" fmla="*/ 26881 h 824638"/>
                <a:gd name="connsiteX252" fmla="*/ 566301 w 846996"/>
                <a:gd name="connsiteY252" fmla="*/ 26364 h 824638"/>
                <a:gd name="connsiteX253" fmla="*/ 565784 w 846996"/>
                <a:gd name="connsiteY253" fmla="*/ 25459 h 824638"/>
                <a:gd name="connsiteX254" fmla="*/ 564880 w 846996"/>
                <a:gd name="connsiteY254" fmla="*/ 24684 h 824638"/>
                <a:gd name="connsiteX255" fmla="*/ 563717 w 846996"/>
                <a:gd name="connsiteY255" fmla="*/ 24684 h 824638"/>
                <a:gd name="connsiteX256" fmla="*/ 562037 w 846996"/>
                <a:gd name="connsiteY256" fmla="*/ 24813 h 824638"/>
                <a:gd name="connsiteX257" fmla="*/ 560486 w 846996"/>
                <a:gd name="connsiteY257" fmla="*/ 25330 h 824638"/>
                <a:gd name="connsiteX258" fmla="*/ 559710 w 846996"/>
                <a:gd name="connsiteY258" fmla="*/ 25847 h 824638"/>
                <a:gd name="connsiteX259" fmla="*/ 559581 w 846996"/>
                <a:gd name="connsiteY259" fmla="*/ 24813 h 824638"/>
                <a:gd name="connsiteX260" fmla="*/ 558547 w 846996"/>
                <a:gd name="connsiteY260" fmla="*/ 22099 h 824638"/>
                <a:gd name="connsiteX261" fmla="*/ 558418 w 846996"/>
                <a:gd name="connsiteY261" fmla="*/ 20936 h 824638"/>
                <a:gd name="connsiteX262" fmla="*/ 558030 w 846996"/>
                <a:gd name="connsiteY262" fmla="*/ 20419 h 824638"/>
                <a:gd name="connsiteX263" fmla="*/ 557255 w 846996"/>
                <a:gd name="connsiteY263" fmla="*/ 20031 h 824638"/>
                <a:gd name="connsiteX264" fmla="*/ 556480 w 846996"/>
                <a:gd name="connsiteY264" fmla="*/ 20031 h 824638"/>
                <a:gd name="connsiteX265" fmla="*/ 556221 w 846996"/>
                <a:gd name="connsiteY265" fmla="*/ 20936 h 824638"/>
                <a:gd name="connsiteX266" fmla="*/ 556350 w 846996"/>
                <a:gd name="connsiteY266" fmla="*/ 21582 h 824638"/>
                <a:gd name="connsiteX267" fmla="*/ 556480 w 846996"/>
                <a:gd name="connsiteY267" fmla="*/ 22099 h 824638"/>
                <a:gd name="connsiteX268" fmla="*/ 556609 w 846996"/>
                <a:gd name="connsiteY268" fmla="*/ 22745 h 824638"/>
                <a:gd name="connsiteX269" fmla="*/ 556221 w 846996"/>
                <a:gd name="connsiteY269" fmla="*/ 23908 h 824638"/>
                <a:gd name="connsiteX270" fmla="*/ 555058 w 846996"/>
                <a:gd name="connsiteY270" fmla="*/ 22745 h 824638"/>
                <a:gd name="connsiteX271" fmla="*/ 554024 w 846996"/>
                <a:gd name="connsiteY271" fmla="*/ 20160 h 824638"/>
                <a:gd name="connsiteX272" fmla="*/ 553120 w 846996"/>
                <a:gd name="connsiteY272" fmla="*/ 18868 h 824638"/>
                <a:gd name="connsiteX273" fmla="*/ 552861 w 846996"/>
                <a:gd name="connsiteY273" fmla="*/ 18222 h 824638"/>
                <a:gd name="connsiteX274" fmla="*/ 552990 w 846996"/>
                <a:gd name="connsiteY274" fmla="*/ 17705 h 824638"/>
                <a:gd name="connsiteX275" fmla="*/ 552732 w 846996"/>
                <a:gd name="connsiteY275" fmla="*/ 17317 h 824638"/>
                <a:gd name="connsiteX276" fmla="*/ 551827 w 846996"/>
                <a:gd name="connsiteY276" fmla="*/ 17317 h 824638"/>
                <a:gd name="connsiteX277" fmla="*/ 550922 w 846996"/>
                <a:gd name="connsiteY277" fmla="*/ 17834 h 824638"/>
                <a:gd name="connsiteX278" fmla="*/ 550276 w 846996"/>
                <a:gd name="connsiteY278" fmla="*/ 18868 h 824638"/>
                <a:gd name="connsiteX279" fmla="*/ 549759 w 846996"/>
                <a:gd name="connsiteY279" fmla="*/ 20031 h 824638"/>
                <a:gd name="connsiteX280" fmla="*/ 549501 w 846996"/>
                <a:gd name="connsiteY280" fmla="*/ 20936 h 824638"/>
                <a:gd name="connsiteX281" fmla="*/ 548725 w 846996"/>
                <a:gd name="connsiteY281" fmla="*/ 22228 h 824638"/>
                <a:gd name="connsiteX282" fmla="*/ 546916 w 846996"/>
                <a:gd name="connsiteY282" fmla="*/ 22228 h 824638"/>
                <a:gd name="connsiteX283" fmla="*/ 544073 w 846996"/>
                <a:gd name="connsiteY283" fmla="*/ 21323 h 824638"/>
                <a:gd name="connsiteX284" fmla="*/ 543685 w 846996"/>
                <a:gd name="connsiteY284" fmla="*/ 21065 h 824638"/>
                <a:gd name="connsiteX285" fmla="*/ 542910 w 846996"/>
                <a:gd name="connsiteY285" fmla="*/ 20031 h 824638"/>
                <a:gd name="connsiteX286" fmla="*/ 542522 w 846996"/>
                <a:gd name="connsiteY286" fmla="*/ 19773 h 824638"/>
                <a:gd name="connsiteX287" fmla="*/ 541747 w 846996"/>
                <a:gd name="connsiteY287" fmla="*/ 19902 h 824638"/>
                <a:gd name="connsiteX288" fmla="*/ 540067 w 846996"/>
                <a:gd name="connsiteY288" fmla="*/ 20548 h 824638"/>
                <a:gd name="connsiteX289" fmla="*/ 538387 w 846996"/>
                <a:gd name="connsiteY289" fmla="*/ 20936 h 824638"/>
                <a:gd name="connsiteX290" fmla="*/ 535544 w 846996"/>
                <a:gd name="connsiteY290" fmla="*/ 21970 h 824638"/>
                <a:gd name="connsiteX291" fmla="*/ 534122 w 846996"/>
                <a:gd name="connsiteY291" fmla="*/ 22228 h 824638"/>
                <a:gd name="connsiteX292" fmla="*/ 532442 w 846996"/>
                <a:gd name="connsiteY292" fmla="*/ 22228 h 824638"/>
                <a:gd name="connsiteX293" fmla="*/ 529987 w 846996"/>
                <a:gd name="connsiteY293" fmla="*/ 21582 h 824638"/>
                <a:gd name="connsiteX294" fmla="*/ 528694 w 846996"/>
                <a:gd name="connsiteY294" fmla="*/ 21323 h 824638"/>
                <a:gd name="connsiteX295" fmla="*/ 528177 w 846996"/>
                <a:gd name="connsiteY295" fmla="*/ 22099 h 824638"/>
                <a:gd name="connsiteX296" fmla="*/ 527014 w 846996"/>
                <a:gd name="connsiteY296" fmla="*/ 23650 h 824638"/>
                <a:gd name="connsiteX297" fmla="*/ 525851 w 846996"/>
                <a:gd name="connsiteY297" fmla="*/ 24167 h 824638"/>
                <a:gd name="connsiteX298" fmla="*/ 525334 w 846996"/>
                <a:gd name="connsiteY298" fmla="*/ 22616 h 824638"/>
                <a:gd name="connsiteX299" fmla="*/ 524947 w 846996"/>
                <a:gd name="connsiteY299" fmla="*/ 20677 h 824638"/>
                <a:gd name="connsiteX300" fmla="*/ 523913 w 846996"/>
                <a:gd name="connsiteY300" fmla="*/ 19773 h 824638"/>
                <a:gd name="connsiteX301" fmla="*/ 522620 w 846996"/>
                <a:gd name="connsiteY301" fmla="*/ 20031 h 824638"/>
                <a:gd name="connsiteX302" fmla="*/ 521716 w 846996"/>
                <a:gd name="connsiteY302" fmla="*/ 21323 h 824638"/>
                <a:gd name="connsiteX303" fmla="*/ 518356 w 846996"/>
                <a:gd name="connsiteY303" fmla="*/ 18093 h 824638"/>
                <a:gd name="connsiteX304" fmla="*/ 516676 w 846996"/>
                <a:gd name="connsiteY304" fmla="*/ 16930 h 824638"/>
                <a:gd name="connsiteX305" fmla="*/ 513962 w 846996"/>
                <a:gd name="connsiteY305" fmla="*/ 16413 h 824638"/>
                <a:gd name="connsiteX306" fmla="*/ 512152 w 846996"/>
                <a:gd name="connsiteY306" fmla="*/ 15379 h 824638"/>
                <a:gd name="connsiteX307" fmla="*/ 511377 w 846996"/>
                <a:gd name="connsiteY307" fmla="*/ 13053 h 824638"/>
                <a:gd name="connsiteX308" fmla="*/ 510214 w 846996"/>
                <a:gd name="connsiteY308" fmla="*/ 10985 h 824638"/>
                <a:gd name="connsiteX309" fmla="*/ 507758 w 846996"/>
                <a:gd name="connsiteY309" fmla="*/ 10727 h 824638"/>
                <a:gd name="connsiteX310" fmla="*/ 506337 w 846996"/>
                <a:gd name="connsiteY310" fmla="*/ 11760 h 824638"/>
                <a:gd name="connsiteX311" fmla="*/ 505045 w 846996"/>
                <a:gd name="connsiteY311" fmla="*/ 13440 h 824638"/>
                <a:gd name="connsiteX312" fmla="*/ 503623 w 846996"/>
                <a:gd name="connsiteY312" fmla="*/ 14991 h 824638"/>
                <a:gd name="connsiteX313" fmla="*/ 501555 w 846996"/>
                <a:gd name="connsiteY313" fmla="*/ 15637 h 824638"/>
                <a:gd name="connsiteX314" fmla="*/ 500134 w 846996"/>
                <a:gd name="connsiteY314" fmla="*/ 14345 h 824638"/>
                <a:gd name="connsiteX315" fmla="*/ 500005 w 846996"/>
                <a:gd name="connsiteY315" fmla="*/ 11890 h 824638"/>
                <a:gd name="connsiteX316" fmla="*/ 499617 w 846996"/>
                <a:gd name="connsiteY316" fmla="*/ 10985 h 824638"/>
                <a:gd name="connsiteX317" fmla="*/ 497549 w 846996"/>
                <a:gd name="connsiteY317" fmla="*/ 13957 h 824638"/>
                <a:gd name="connsiteX318" fmla="*/ 497032 w 846996"/>
                <a:gd name="connsiteY318" fmla="*/ 15120 h 824638"/>
                <a:gd name="connsiteX319" fmla="*/ 496774 w 846996"/>
                <a:gd name="connsiteY319" fmla="*/ 16413 h 824638"/>
                <a:gd name="connsiteX320" fmla="*/ 496257 w 846996"/>
                <a:gd name="connsiteY320" fmla="*/ 17447 h 824638"/>
                <a:gd name="connsiteX321" fmla="*/ 495352 w 846996"/>
                <a:gd name="connsiteY321" fmla="*/ 18222 h 824638"/>
                <a:gd name="connsiteX322" fmla="*/ 494318 w 846996"/>
                <a:gd name="connsiteY322" fmla="*/ 17964 h 824638"/>
                <a:gd name="connsiteX323" fmla="*/ 493543 w 846996"/>
                <a:gd name="connsiteY323" fmla="*/ 17188 h 824638"/>
                <a:gd name="connsiteX324" fmla="*/ 493284 w 846996"/>
                <a:gd name="connsiteY324" fmla="*/ 16025 h 824638"/>
                <a:gd name="connsiteX325" fmla="*/ 493414 w 846996"/>
                <a:gd name="connsiteY325" fmla="*/ 15249 h 824638"/>
                <a:gd name="connsiteX326" fmla="*/ 494706 w 846996"/>
                <a:gd name="connsiteY326" fmla="*/ 13440 h 824638"/>
                <a:gd name="connsiteX327" fmla="*/ 495352 w 846996"/>
                <a:gd name="connsiteY327" fmla="*/ 11502 h 824638"/>
                <a:gd name="connsiteX328" fmla="*/ 495094 w 846996"/>
                <a:gd name="connsiteY328" fmla="*/ 9564 h 824638"/>
                <a:gd name="connsiteX329" fmla="*/ 493801 w 846996"/>
                <a:gd name="connsiteY329" fmla="*/ 8271 h 824638"/>
                <a:gd name="connsiteX330" fmla="*/ 493414 w 846996"/>
                <a:gd name="connsiteY330" fmla="*/ 8529 h 824638"/>
                <a:gd name="connsiteX331" fmla="*/ 492509 w 846996"/>
                <a:gd name="connsiteY331" fmla="*/ 9047 h 824638"/>
                <a:gd name="connsiteX332" fmla="*/ 491475 w 846996"/>
                <a:gd name="connsiteY332" fmla="*/ 8917 h 824638"/>
                <a:gd name="connsiteX333" fmla="*/ 490958 w 846996"/>
                <a:gd name="connsiteY333" fmla="*/ 7366 h 824638"/>
                <a:gd name="connsiteX334" fmla="*/ 491087 w 846996"/>
                <a:gd name="connsiteY334" fmla="*/ 6333 h 824638"/>
                <a:gd name="connsiteX335" fmla="*/ 491734 w 846996"/>
                <a:gd name="connsiteY335" fmla="*/ 5040 h 824638"/>
                <a:gd name="connsiteX336" fmla="*/ 493414 w 846996"/>
                <a:gd name="connsiteY336" fmla="*/ 2973 h 824638"/>
                <a:gd name="connsiteX337" fmla="*/ 493414 w 846996"/>
                <a:gd name="connsiteY337" fmla="*/ 1938 h 824638"/>
                <a:gd name="connsiteX338" fmla="*/ 491734 w 846996"/>
                <a:gd name="connsiteY338" fmla="*/ 1422 h 824638"/>
                <a:gd name="connsiteX339" fmla="*/ 489666 w 846996"/>
                <a:gd name="connsiteY339" fmla="*/ 1680 h 824638"/>
                <a:gd name="connsiteX340" fmla="*/ 487986 w 846996"/>
                <a:gd name="connsiteY340" fmla="*/ 3360 h 824638"/>
                <a:gd name="connsiteX341" fmla="*/ 487210 w 846996"/>
                <a:gd name="connsiteY341" fmla="*/ 5686 h 824638"/>
                <a:gd name="connsiteX342" fmla="*/ 486952 w 846996"/>
                <a:gd name="connsiteY342" fmla="*/ 7754 h 824638"/>
                <a:gd name="connsiteX343" fmla="*/ 486176 w 846996"/>
                <a:gd name="connsiteY343" fmla="*/ 9434 h 824638"/>
                <a:gd name="connsiteX344" fmla="*/ 484238 w 846996"/>
                <a:gd name="connsiteY344" fmla="*/ 10727 h 824638"/>
                <a:gd name="connsiteX345" fmla="*/ 481912 w 846996"/>
                <a:gd name="connsiteY345" fmla="*/ 10985 h 824638"/>
                <a:gd name="connsiteX346" fmla="*/ 480361 w 846996"/>
                <a:gd name="connsiteY346" fmla="*/ 10210 h 824638"/>
                <a:gd name="connsiteX347" fmla="*/ 477647 w 846996"/>
                <a:gd name="connsiteY347" fmla="*/ 7366 h 824638"/>
                <a:gd name="connsiteX348" fmla="*/ 476742 w 846996"/>
                <a:gd name="connsiteY348" fmla="*/ 10856 h 824638"/>
                <a:gd name="connsiteX349" fmla="*/ 475967 w 846996"/>
                <a:gd name="connsiteY349" fmla="*/ 12406 h 824638"/>
                <a:gd name="connsiteX350" fmla="*/ 474804 w 846996"/>
                <a:gd name="connsiteY350" fmla="*/ 13182 h 824638"/>
                <a:gd name="connsiteX351" fmla="*/ 473899 w 846996"/>
                <a:gd name="connsiteY351" fmla="*/ 12923 h 824638"/>
                <a:gd name="connsiteX352" fmla="*/ 471832 w 846996"/>
                <a:gd name="connsiteY352" fmla="*/ 11114 h 824638"/>
                <a:gd name="connsiteX353" fmla="*/ 470410 w 846996"/>
                <a:gd name="connsiteY353" fmla="*/ 10727 h 824638"/>
                <a:gd name="connsiteX354" fmla="*/ 467696 w 846996"/>
                <a:gd name="connsiteY354" fmla="*/ 11631 h 824638"/>
                <a:gd name="connsiteX355" fmla="*/ 462656 w 846996"/>
                <a:gd name="connsiteY355" fmla="*/ 15120 h 824638"/>
                <a:gd name="connsiteX356" fmla="*/ 460071 w 846996"/>
                <a:gd name="connsiteY356" fmla="*/ 14862 h 824638"/>
                <a:gd name="connsiteX357" fmla="*/ 462785 w 846996"/>
                <a:gd name="connsiteY357" fmla="*/ 9305 h 824638"/>
                <a:gd name="connsiteX358" fmla="*/ 463948 w 846996"/>
                <a:gd name="connsiteY358" fmla="*/ 5686 h 824638"/>
                <a:gd name="connsiteX359" fmla="*/ 463302 w 846996"/>
                <a:gd name="connsiteY359" fmla="*/ 4136 h 824638"/>
                <a:gd name="connsiteX360" fmla="*/ 460459 w 846996"/>
                <a:gd name="connsiteY360" fmla="*/ 3877 h 824638"/>
                <a:gd name="connsiteX361" fmla="*/ 458391 w 846996"/>
                <a:gd name="connsiteY361" fmla="*/ 2973 h 824638"/>
                <a:gd name="connsiteX362" fmla="*/ 454127 w 846996"/>
                <a:gd name="connsiteY362" fmla="*/ 0 h 824638"/>
                <a:gd name="connsiteX363" fmla="*/ 452188 w 846996"/>
                <a:gd name="connsiteY363" fmla="*/ 3877 h 824638"/>
                <a:gd name="connsiteX364" fmla="*/ 450637 w 846996"/>
                <a:gd name="connsiteY364" fmla="*/ 5816 h 824638"/>
                <a:gd name="connsiteX365" fmla="*/ 448699 w 846996"/>
                <a:gd name="connsiteY365" fmla="*/ 6720 h 824638"/>
                <a:gd name="connsiteX366" fmla="*/ 447665 w 846996"/>
                <a:gd name="connsiteY366" fmla="*/ 6849 h 824638"/>
                <a:gd name="connsiteX367" fmla="*/ 445985 w 846996"/>
                <a:gd name="connsiteY367" fmla="*/ 8012 h 824638"/>
                <a:gd name="connsiteX368" fmla="*/ 445080 w 846996"/>
                <a:gd name="connsiteY368" fmla="*/ 8271 h 824638"/>
                <a:gd name="connsiteX369" fmla="*/ 444434 w 846996"/>
                <a:gd name="connsiteY369" fmla="*/ 7625 h 824638"/>
                <a:gd name="connsiteX370" fmla="*/ 443659 w 846996"/>
                <a:gd name="connsiteY370" fmla="*/ 6462 h 824638"/>
                <a:gd name="connsiteX371" fmla="*/ 442883 w 846996"/>
                <a:gd name="connsiteY371" fmla="*/ 5299 h 824638"/>
                <a:gd name="connsiteX372" fmla="*/ 441720 w 846996"/>
                <a:gd name="connsiteY372" fmla="*/ 5040 h 824638"/>
                <a:gd name="connsiteX373" fmla="*/ 440169 w 846996"/>
                <a:gd name="connsiteY373" fmla="*/ 6591 h 824638"/>
                <a:gd name="connsiteX374" fmla="*/ 440040 w 846996"/>
                <a:gd name="connsiteY374" fmla="*/ 9305 h 824638"/>
                <a:gd name="connsiteX375" fmla="*/ 440428 w 846996"/>
                <a:gd name="connsiteY375" fmla="*/ 12148 h 824638"/>
                <a:gd name="connsiteX376" fmla="*/ 439911 w 846996"/>
                <a:gd name="connsiteY376" fmla="*/ 14345 h 824638"/>
                <a:gd name="connsiteX377" fmla="*/ 438231 w 846996"/>
                <a:gd name="connsiteY377" fmla="*/ 14862 h 824638"/>
                <a:gd name="connsiteX378" fmla="*/ 433191 w 846996"/>
                <a:gd name="connsiteY378" fmla="*/ 12665 h 824638"/>
                <a:gd name="connsiteX379" fmla="*/ 430735 w 846996"/>
                <a:gd name="connsiteY379" fmla="*/ 12406 h 824638"/>
                <a:gd name="connsiteX380" fmla="*/ 428797 w 846996"/>
                <a:gd name="connsiteY380" fmla="*/ 13440 h 824638"/>
                <a:gd name="connsiteX381" fmla="*/ 426083 w 846996"/>
                <a:gd name="connsiteY381" fmla="*/ 16671 h 824638"/>
                <a:gd name="connsiteX382" fmla="*/ 423757 w 846996"/>
                <a:gd name="connsiteY382" fmla="*/ 17317 h 824638"/>
                <a:gd name="connsiteX383" fmla="*/ 423498 w 846996"/>
                <a:gd name="connsiteY383" fmla="*/ 13828 h 824638"/>
                <a:gd name="connsiteX384" fmla="*/ 422852 w 846996"/>
                <a:gd name="connsiteY384" fmla="*/ 11243 h 824638"/>
                <a:gd name="connsiteX385" fmla="*/ 421172 w 846996"/>
                <a:gd name="connsiteY385" fmla="*/ 9822 h 824638"/>
                <a:gd name="connsiteX386" fmla="*/ 420138 w 846996"/>
                <a:gd name="connsiteY386" fmla="*/ 9951 h 824638"/>
                <a:gd name="connsiteX387" fmla="*/ 419492 w 846996"/>
                <a:gd name="connsiteY387" fmla="*/ 10468 h 824638"/>
                <a:gd name="connsiteX388" fmla="*/ 418329 w 846996"/>
                <a:gd name="connsiteY388" fmla="*/ 11502 h 824638"/>
                <a:gd name="connsiteX389" fmla="*/ 415873 w 846996"/>
                <a:gd name="connsiteY389" fmla="*/ 12923 h 824638"/>
                <a:gd name="connsiteX390" fmla="*/ 414840 w 846996"/>
                <a:gd name="connsiteY390" fmla="*/ 13182 h 824638"/>
                <a:gd name="connsiteX391" fmla="*/ 413547 w 846996"/>
                <a:gd name="connsiteY391" fmla="*/ 13182 h 824638"/>
                <a:gd name="connsiteX392" fmla="*/ 412384 w 846996"/>
                <a:gd name="connsiteY392" fmla="*/ 12923 h 824638"/>
                <a:gd name="connsiteX393" fmla="*/ 411996 w 846996"/>
                <a:gd name="connsiteY393" fmla="*/ 12277 h 824638"/>
                <a:gd name="connsiteX394" fmla="*/ 411738 w 846996"/>
                <a:gd name="connsiteY394" fmla="*/ 11373 h 824638"/>
                <a:gd name="connsiteX395" fmla="*/ 411221 w 846996"/>
                <a:gd name="connsiteY395" fmla="*/ 10339 h 824638"/>
                <a:gd name="connsiteX396" fmla="*/ 410316 w 846996"/>
                <a:gd name="connsiteY396" fmla="*/ 9434 h 824638"/>
                <a:gd name="connsiteX397" fmla="*/ 409541 w 846996"/>
                <a:gd name="connsiteY397" fmla="*/ 9175 h 824638"/>
                <a:gd name="connsiteX398" fmla="*/ 407215 w 846996"/>
                <a:gd name="connsiteY398" fmla="*/ 9822 h 824638"/>
                <a:gd name="connsiteX399" fmla="*/ 406310 w 846996"/>
                <a:gd name="connsiteY399" fmla="*/ 10339 h 824638"/>
                <a:gd name="connsiteX400" fmla="*/ 405535 w 846996"/>
                <a:gd name="connsiteY400" fmla="*/ 10856 h 824638"/>
                <a:gd name="connsiteX401" fmla="*/ 404759 w 846996"/>
                <a:gd name="connsiteY401" fmla="*/ 11373 h 824638"/>
                <a:gd name="connsiteX402" fmla="*/ 403725 w 846996"/>
                <a:gd name="connsiteY402" fmla="*/ 11502 h 824638"/>
                <a:gd name="connsiteX403" fmla="*/ 403596 w 846996"/>
                <a:gd name="connsiteY403" fmla="*/ 10985 h 824638"/>
                <a:gd name="connsiteX404" fmla="*/ 402821 w 846996"/>
                <a:gd name="connsiteY404" fmla="*/ 10339 h 824638"/>
                <a:gd name="connsiteX405" fmla="*/ 401787 w 846996"/>
                <a:gd name="connsiteY405" fmla="*/ 8271 h 824638"/>
                <a:gd name="connsiteX406" fmla="*/ 400624 w 846996"/>
                <a:gd name="connsiteY406" fmla="*/ 6462 h 824638"/>
                <a:gd name="connsiteX407" fmla="*/ 399202 w 846996"/>
                <a:gd name="connsiteY407" fmla="*/ 5816 h 824638"/>
                <a:gd name="connsiteX408" fmla="*/ 398298 w 846996"/>
                <a:gd name="connsiteY408" fmla="*/ 6591 h 824638"/>
                <a:gd name="connsiteX409" fmla="*/ 397393 w 846996"/>
                <a:gd name="connsiteY409" fmla="*/ 10339 h 824638"/>
                <a:gd name="connsiteX410" fmla="*/ 396359 w 846996"/>
                <a:gd name="connsiteY410" fmla="*/ 11631 h 824638"/>
                <a:gd name="connsiteX411" fmla="*/ 394550 w 846996"/>
                <a:gd name="connsiteY411" fmla="*/ 11243 h 824638"/>
                <a:gd name="connsiteX412" fmla="*/ 393258 w 846996"/>
                <a:gd name="connsiteY412" fmla="*/ 10080 h 824638"/>
                <a:gd name="connsiteX413" fmla="*/ 391836 w 846996"/>
                <a:gd name="connsiteY413" fmla="*/ 9175 h 824638"/>
                <a:gd name="connsiteX414" fmla="*/ 390414 w 846996"/>
                <a:gd name="connsiteY414" fmla="*/ 9822 h 824638"/>
                <a:gd name="connsiteX415" fmla="*/ 390285 w 846996"/>
                <a:gd name="connsiteY415" fmla="*/ 11502 h 824638"/>
                <a:gd name="connsiteX416" fmla="*/ 390802 w 846996"/>
                <a:gd name="connsiteY416" fmla="*/ 13053 h 824638"/>
                <a:gd name="connsiteX417" fmla="*/ 390673 w 846996"/>
                <a:gd name="connsiteY417" fmla="*/ 14345 h 824638"/>
                <a:gd name="connsiteX418" fmla="*/ 388605 w 846996"/>
                <a:gd name="connsiteY418" fmla="*/ 14862 h 824638"/>
                <a:gd name="connsiteX419" fmla="*/ 387830 w 846996"/>
                <a:gd name="connsiteY419" fmla="*/ 14603 h 824638"/>
                <a:gd name="connsiteX420" fmla="*/ 387442 w 846996"/>
                <a:gd name="connsiteY420" fmla="*/ 14216 h 824638"/>
                <a:gd name="connsiteX421" fmla="*/ 386925 w 846996"/>
                <a:gd name="connsiteY421" fmla="*/ 13828 h 824638"/>
                <a:gd name="connsiteX422" fmla="*/ 386021 w 846996"/>
                <a:gd name="connsiteY422" fmla="*/ 13957 h 824638"/>
                <a:gd name="connsiteX423" fmla="*/ 385504 w 846996"/>
                <a:gd name="connsiteY423" fmla="*/ 14603 h 824638"/>
                <a:gd name="connsiteX424" fmla="*/ 384728 w 846996"/>
                <a:gd name="connsiteY424" fmla="*/ 16801 h 824638"/>
                <a:gd name="connsiteX425" fmla="*/ 376845 w 846996"/>
                <a:gd name="connsiteY425" fmla="*/ 25588 h 824638"/>
                <a:gd name="connsiteX426" fmla="*/ 372968 w 846996"/>
                <a:gd name="connsiteY426" fmla="*/ 25976 h 824638"/>
                <a:gd name="connsiteX427" fmla="*/ 369737 w 846996"/>
                <a:gd name="connsiteY427" fmla="*/ 24942 h 824638"/>
                <a:gd name="connsiteX428" fmla="*/ 369995 w 846996"/>
                <a:gd name="connsiteY428" fmla="*/ 22228 h 824638"/>
                <a:gd name="connsiteX429" fmla="*/ 368962 w 846996"/>
                <a:gd name="connsiteY429" fmla="*/ 21453 h 824638"/>
                <a:gd name="connsiteX430" fmla="*/ 367669 w 846996"/>
                <a:gd name="connsiteY430" fmla="*/ 20548 h 824638"/>
                <a:gd name="connsiteX431" fmla="*/ 366377 w 846996"/>
                <a:gd name="connsiteY431" fmla="*/ 22616 h 824638"/>
                <a:gd name="connsiteX432" fmla="*/ 363275 w 846996"/>
                <a:gd name="connsiteY432" fmla="*/ 30887 h 824638"/>
                <a:gd name="connsiteX433" fmla="*/ 362758 w 846996"/>
                <a:gd name="connsiteY433" fmla="*/ 31791 h 824638"/>
                <a:gd name="connsiteX434" fmla="*/ 362242 w 846996"/>
                <a:gd name="connsiteY434" fmla="*/ 32567 h 824638"/>
                <a:gd name="connsiteX435" fmla="*/ 361854 w 846996"/>
                <a:gd name="connsiteY435" fmla="*/ 33471 h 824638"/>
                <a:gd name="connsiteX436" fmla="*/ 362112 w 846996"/>
                <a:gd name="connsiteY436" fmla="*/ 35927 h 824638"/>
                <a:gd name="connsiteX437" fmla="*/ 361854 w 846996"/>
                <a:gd name="connsiteY437" fmla="*/ 36961 h 824638"/>
                <a:gd name="connsiteX438" fmla="*/ 361079 w 846996"/>
                <a:gd name="connsiteY438" fmla="*/ 37349 h 824638"/>
                <a:gd name="connsiteX439" fmla="*/ 359786 w 846996"/>
                <a:gd name="connsiteY439" fmla="*/ 37607 h 824638"/>
                <a:gd name="connsiteX440" fmla="*/ 358623 w 846996"/>
                <a:gd name="connsiteY440" fmla="*/ 37995 h 824638"/>
                <a:gd name="connsiteX441" fmla="*/ 358235 w 846996"/>
                <a:gd name="connsiteY441" fmla="*/ 39158 h 824638"/>
                <a:gd name="connsiteX442" fmla="*/ 357848 w 846996"/>
                <a:gd name="connsiteY442" fmla="*/ 40062 h 824638"/>
                <a:gd name="connsiteX443" fmla="*/ 357201 w 846996"/>
                <a:gd name="connsiteY443" fmla="*/ 41226 h 824638"/>
                <a:gd name="connsiteX444" fmla="*/ 356426 w 846996"/>
                <a:gd name="connsiteY444" fmla="*/ 42260 h 824638"/>
                <a:gd name="connsiteX445" fmla="*/ 355909 w 846996"/>
                <a:gd name="connsiteY445" fmla="*/ 42776 h 824638"/>
                <a:gd name="connsiteX446" fmla="*/ 353712 w 846996"/>
                <a:gd name="connsiteY446" fmla="*/ 42776 h 824638"/>
                <a:gd name="connsiteX447" fmla="*/ 352161 w 846996"/>
                <a:gd name="connsiteY447" fmla="*/ 41613 h 824638"/>
                <a:gd name="connsiteX448" fmla="*/ 350869 w 846996"/>
                <a:gd name="connsiteY448" fmla="*/ 40062 h 824638"/>
                <a:gd name="connsiteX449" fmla="*/ 349447 w 846996"/>
                <a:gd name="connsiteY449" fmla="*/ 38641 h 824638"/>
                <a:gd name="connsiteX450" fmla="*/ 349577 w 846996"/>
                <a:gd name="connsiteY450" fmla="*/ 42518 h 824638"/>
                <a:gd name="connsiteX451" fmla="*/ 349447 w 846996"/>
                <a:gd name="connsiteY451" fmla="*/ 43681 h 824638"/>
                <a:gd name="connsiteX452" fmla="*/ 348672 w 846996"/>
                <a:gd name="connsiteY452" fmla="*/ 44844 h 824638"/>
                <a:gd name="connsiteX453" fmla="*/ 347767 w 846996"/>
                <a:gd name="connsiteY453" fmla="*/ 45749 h 824638"/>
                <a:gd name="connsiteX454" fmla="*/ 346863 w 846996"/>
                <a:gd name="connsiteY454" fmla="*/ 45878 h 824638"/>
                <a:gd name="connsiteX455" fmla="*/ 346475 w 846996"/>
                <a:gd name="connsiteY455" fmla="*/ 44844 h 824638"/>
                <a:gd name="connsiteX456" fmla="*/ 346087 w 846996"/>
                <a:gd name="connsiteY456" fmla="*/ 42001 h 824638"/>
                <a:gd name="connsiteX457" fmla="*/ 345053 w 846996"/>
                <a:gd name="connsiteY457" fmla="*/ 40708 h 824638"/>
                <a:gd name="connsiteX458" fmla="*/ 343373 w 846996"/>
                <a:gd name="connsiteY458" fmla="*/ 40192 h 824638"/>
                <a:gd name="connsiteX459" fmla="*/ 338980 w 846996"/>
                <a:gd name="connsiteY459" fmla="*/ 40450 h 824638"/>
                <a:gd name="connsiteX460" fmla="*/ 337299 w 846996"/>
                <a:gd name="connsiteY460" fmla="*/ 40838 h 824638"/>
                <a:gd name="connsiteX461" fmla="*/ 336912 w 846996"/>
                <a:gd name="connsiteY461" fmla="*/ 42130 h 824638"/>
                <a:gd name="connsiteX462" fmla="*/ 338721 w 846996"/>
                <a:gd name="connsiteY462" fmla="*/ 44844 h 824638"/>
                <a:gd name="connsiteX463" fmla="*/ 338592 w 846996"/>
                <a:gd name="connsiteY463" fmla="*/ 46395 h 824638"/>
                <a:gd name="connsiteX464" fmla="*/ 336524 w 846996"/>
                <a:gd name="connsiteY464" fmla="*/ 47817 h 824638"/>
                <a:gd name="connsiteX465" fmla="*/ 329546 w 846996"/>
                <a:gd name="connsiteY465" fmla="*/ 49884 h 824638"/>
                <a:gd name="connsiteX466" fmla="*/ 328512 w 846996"/>
                <a:gd name="connsiteY466" fmla="*/ 49755 h 824638"/>
                <a:gd name="connsiteX467" fmla="*/ 327349 w 846996"/>
                <a:gd name="connsiteY467" fmla="*/ 49238 h 824638"/>
                <a:gd name="connsiteX468" fmla="*/ 326961 w 846996"/>
                <a:gd name="connsiteY468" fmla="*/ 48721 h 824638"/>
                <a:gd name="connsiteX469" fmla="*/ 325927 w 846996"/>
                <a:gd name="connsiteY469" fmla="*/ 46524 h 824638"/>
                <a:gd name="connsiteX470" fmla="*/ 325539 w 846996"/>
                <a:gd name="connsiteY470" fmla="*/ 46007 h 824638"/>
                <a:gd name="connsiteX471" fmla="*/ 324635 w 846996"/>
                <a:gd name="connsiteY471" fmla="*/ 45878 h 824638"/>
                <a:gd name="connsiteX472" fmla="*/ 324118 w 846996"/>
                <a:gd name="connsiteY472" fmla="*/ 45619 h 824638"/>
                <a:gd name="connsiteX473" fmla="*/ 323472 w 846996"/>
                <a:gd name="connsiteY473" fmla="*/ 45619 h 824638"/>
                <a:gd name="connsiteX474" fmla="*/ 322567 w 846996"/>
                <a:gd name="connsiteY474" fmla="*/ 46395 h 824638"/>
                <a:gd name="connsiteX475" fmla="*/ 321791 w 846996"/>
                <a:gd name="connsiteY475" fmla="*/ 47429 h 824638"/>
                <a:gd name="connsiteX476" fmla="*/ 321404 w 846996"/>
                <a:gd name="connsiteY476" fmla="*/ 48721 h 824638"/>
                <a:gd name="connsiteX477" fmla="*/ 320758 w 846996"/>
                <a:gd name="connsiteY477" fmla="*/ 50918 h 824638"/>
                <a:gd name="connsiteX478" fmla="*/ 319594 w 846996"/>
                <a:gd name="connsiteY478" fmla="*/ 53115 h 824638"/>
                <a:gd name="connsiteX479" fmla="*/ 318173 w 846996"/>
                <a:gd name="connsiteY479" fmla="*/ 54537 h 824638"/>
                <a:gd name="connsiteX480" fmla="*/ 316880 w 846996"/>
                <a:gd name="connsiteY480" fmla="*/ 54407 h 824638"/>
                <a:gd name="connsiteX481" fmla="*/ 316364 w 846996"/>
                <a:gd name="connsiteY481" fmla="*/ 52210 h 824638"/>
                <a:gd name="connsiteX482" fmla="*/ 315976 w 846996"/>
                <a:gd name="connsiteY482" fmla="*/ 51693 h 824638"/>
                <a:gd name="connsiteX483" fmla="*/ 315330 w 846996"/>
                <a:gd name="connsiteY483" fmla="*/ 51823 h 824638"/>
                <a:gd name="connsiteX484" fmla="*/ 314554 w 846996"/>
                <a:gd name="connsiteY484" fmla="*/ 52469 h 824638"/>
                <a:gd name="connsiteX485" fmla="*/ 314167 w 846996"/>
                <a:gd name="connsiteY485" fmla="*/ 53761 h 824638"/>
                <a:gd name="connsiteX486" fmla="*/ 314167 w 846996"/>
                <a:gd name="connsiteY486" fmla="*/ 55441 h 824638"/>
                <a:gd name="connsiteX487" fmla="*/ 314167 w 846996"/>
                <a:gd name="connsiteY487" fmla="*/ 56346 h 824638"/>
                <a:gd name="connsiteX488" fmla="*/ 313779 w 846996"/>
                <a:gd name="connsiteY488" fmla="*/ 56863 h 824638"/>
                <a:gd name="connsiteX489" fmla="*/ 312745 w 846996"/>
                <a:gd name="connsiteY489" fmla="*/ 57509 h 824638"/>
                <a:gd name="connsiteX490" fmla="*/ 311711 w 846996"/>
                <a:gd name="connsiteY490" fmla="*/ 57638 h 824638"/>
                <a:gd name="connsiteX491" fmla="*/ 309385 w 846996"/>
                <a:gd name="connsiteY491" fmla="*/ 57509 h 824638"/>
                <a:gd name="connsiteX492" fmla="*/ 308222 w 846996"/>
                <a:gd name="connsiteY492" fmla="*/ 57509 h 824638"/>
                <a:gd name="connsiteX493" fmla="*/ 303828 w 846996"/>
                <a:gd name="connsiteY493" fmla="*/ 58930 h 824638"/>
                <a:gd name="connsiteX494" fmla="*/ 303053 w 846996"/>
                <a:gd name="connsiteY494" fmla="*/ 58801 h 824638"/>
                <a:gd name="connsiteX495" fmla="*/ 302923 w 846996"/>
                <a:gd name="connsiteY495" fmla="*/ 58543 h 824638"/>
                <a:gd name="connsiteX496" fmla="*/ 302277 w 846996"/>
                <a:gd name="connsiteY496" fmla="*/ 57638 h 824638"/>
                <a:gd name="connsiteX497" fmla="*/ 302019 w 846996"/>
                <a:gd name="connsiteY497" fmla="*/ 57509 h 824638"/>
                <a:gd name="connsiteX498" fmla="*/ 301631 w 846996"/>
                <a:gd name="connsiteY498" fmla="*/ 57250 h 824638"/>
                <a:gd name="connsiteX499" fmla="*/ 301890 w 846996"/>
                <a:gd name="connsiteY499" fmla="*/ 56604 h 824638"/>
                <a:gd name="connsiteX500" fmla="*/ 302277 w 846996"/>
                <a:gd name="connsiteY500" fmla="*/ 55958 h 824638"/>
                <a:gd name="connsiteX501" fmla="*/ 302406 w 846996"/>
                <a:gd name="connsiteY501" fmla="*/ 55441 h 824638"/>
                <a:gd name="connsiteX502" fmla="*/ 301890 w 846996"/>
                <a:gd name="connsiteY502" fmla="*/ 54149 h 824638"/>
                <a:gd name="connsiteX503" fmla="*/ 300468 w 846996"/>
                <a:gd name="connsiteY503" fmla="*/ 54537 h 824638"/>
                <a:gd name="connsiteX504" fmla="*/ 298917 w 846996"/>
                <a:gd name="connsiteY504" fmla="*/ 55700 h 824638"/>
                <a:gd name="connsiteX505" fmla="*/ 298013 w 846996"/>
                <a:gd name="connsiteY505" fmla="*/ 56734 h 824638"/>
                <a:gd name="connsiteX506" fmla="*/ 297366 w 846996"/>
                <a:gd name="connsiteY506" fmla="*/ 59189 h 824638"/>
                <a:gd name="connsiteX507" fmla="*/ 296979 w 846996"/>
                <a:gd name="connsiteY507" fmla="*/ 62161 h 824638"/>
                <a:gd name="connsiteX508" fmla="*/ 296203 w 846996"/>
                <a:gd name="connsiteY508" fmla="*/ 64746 h 824638"/>
                <a:gd name="connsiteX509" fmla="*/ 294006 w 846996"/>
                <a:gd name="connsiteY509" fmla="*/ 65909 h 824638"/>
                <a:gd name="connsiteX510" fmla="*/ 291422 w 846996"/>
                <a:gd name="connsiteY510" fmla="*/ 65780 h 824638"/>
                <a:gd name="connsiteX511" fmla="*/ 290517 w 846996"/>
                <a:gd name="connsiteY511" fmla="*/ 66167 h 824638"/>
                <a:gd name="connsiteX512" fmla="*/ 290646 w 846996"/>
                <a:gd name="connsiteY512" fmla="*/ 70691 h 824638"/>
                <a:gd name="connsiteX513" fmla="*/ 290129 w 846996"/>
                <a:gd name="connsiteY513" fmla="*/ 75860 h 824638"/>
                <a:gd name="connsiteX514" fmla="*/ 289612 w 846996"/>
                <a:gd name="connsiteY514" fmla="*/ 78574 h 824638"/>
                <a:gd name="connsiteX515" fmla="*/ 288837 w 846996"/>
                <a:gd name="connsiteY515" fmla="*/ 79866 h 824638"/>
                <a:gd name="connsiteX516" fmla="*/ 286769 w 846996"/>
                <a:gd name="connsiteY516" fmla="*/ 80642 h 824638"/>
                <a:gd name="connsiteX517" fmla="*/ 281212 w 846996"/>
                <a:gd name="connsiteY517" fmla="*/ 85682 h 824638"/>
                <a:gd name="connsiteX518" fmla="*/ 278627 w 846996"/>
                <a:gd name="connsiteY518" fmla="*/ 85940 h 824638"/>
                <a:gd name="connsiteX519" fmla="*/ 276689 w 846996"/>
                <a:gd name="connsiteY519" fmla="*/ 85294 h 824638"/>
                <a:gd name="connsiteX520" fmla="*/ 274750 w 846996"/>
                <a:gd name="connsiteY520" fmla="*/ 84389 h 824638"/>
                <a:gd name="connsiteX521" fmla="*/ 272683 w 846996"/>
                <a:gd name="connsiteY521" fmla="*/ 83873 h 824638"/>
                <a:gd name="connsiteX522" fmla="*/ 270873 w 846996"/>
                <a:gd name="connsiteY522" fmla="*/ 84777 h 824638"/>
                <a:gd name="connsiteX523" fmla="*/ 271907 w 846996"/>
                <a:gd name="connsiteY523" fmla="*/ 86716 h 824638"/>
                <a:gd name="connsiteX524" fmla="*/ 275267 w 846996"/>
                <a:gd name="connsiteY524" fmla="*/ 89688 h 824638"/>
                <a:gd name="connsiteX525" fmla="*/ 276818 w 846996"/>
                <a:gd name="connsiteY525" fmla="*/ 92273 h 824638"/>
                <a:gd name="connsiteX526" fmla="*/ 276431 w 846996"/>
                <a:gd name="connsiteY526" fmla="*/ 93436 h 824638"/>
                <a:gd name="connsiteX527" fmla="*/ 274621 w 846996"/>
                <a:gd name="connsiteY527" fmla="*/ 93436 h 824638"/>
                <a:gd name="connsiteX528" fmla="*/ 272295 w 846996"/>
                <a:gd name="connsiteY528" fmla="*/ 92144 h 824638"/>
                <a:gd name="connsiteX529" fmla="*/ 271261 w 846996"/>
                <a:gd name="connsiteY529" fmla="*/ 92661 h 824638"/>
                <a:gd name="connsiteX530" fmla="*/ 268935 w 846996"/>
                <a:gd name="connsiteY530" fmla="*/ 92661 h 824638"/>
                <a:gd name="connsiteX531" fmla="*/ 267901 w 846996"/>
                <a:gd name="connsiteY531" fmla="*/ 93048 h 824638"/>
                <a:gd name="connsiteX532" fmla="*/ 267643 w 846996"/>
                <a:gd name="connsiteY532" fmla="*/ 93824 h 824638"/>
                <a:gd name="connsiteX533" fmla="*/ 266867 w 846996"/>
                <a:gd name="connsiteY533" fmla="*/ 97184 h 824638"/>
                <a:gd name="connsiteX534" fmla="*/ 264670 w 846996"/>
                <a:gd name="connsiteY534" fmla="*/ 96667 h 824638"/>
                <a:gd name="connsiteX535" fmla="*/ 262344 w 846996"/>
                <a:gd name="connsiteY535" fmla="*/ 94470 h 824638"/>
                <a:gd name="connsiteX536" fmla="*/ 260535 w 846996"/>
                <a:gd name="connsiteY536" fmla="*/ 93824 h 824638"/>
                <a:gd name="connsiteX537" fmla="*/ 258467 w 846996"/>
                <a:gd name="connsiteY537" fmla="*/ 94728 h 824638"/>
                <a:gd name="connsiteX538" fmla="*/ 256916 w 846996"/>
                <a:gd name="connsiteY538" fmla="*/ 96667 h 824638"/>
                <a:gd name="connsiteX539" fmla="*/ 255624 w 846996"/>
                <a:gd name="connsiteY539" fmla="*/ 98735 h 824638"/>
                <a:gd name="connsiteX540" fmla="*/ 251747 w 846996"/>
                <a:gd name="connsiteY540" fmla="*/ 101707 h 824638"/>
                <a:gd name="connsiteX541" fmla="*/ 250713 w 846996"/>
                <a:gd name="connsiteY541" fmla="*/ 102094 h 824638"/>
                <a:gd name="connsiteX542" fmla="*/ 249550 w 846996"/>
                <a:gd name="connsiteY542" fmla="*/ 101965 h 824638"/>
                <a:gd name="connsiteX543" fmla="*/ 247224 w 846996"/>
                <a:gd name="connsiteY543" fmla="*/ 101061 h 824638"/>
                <a:gd name="connsiteX544" fmla="*/ 245931 w 846996"/>
                <a:gd name="connsiteY544" fmla="*/ 101190 h 824638"/>
                <a:gd name="connsiteX545" fmla="*/ 244251 w 846996"/>
                <a:gd name="connsiteY545" fmla="*/ 102870 h 824638"/>
                <a:gd name="connsiteX546" fmla="*/ 243993 w 846996"/>
                <a:gd name="connsiteY546" fmla="*/ 105067 h 824638"/>
                <a:gd name="connsiteX547" fmla="*/ 243476 w 846996"/>
                <a:gd name="connsiteY547" fmla="*/ 107005 h 824638"/>
                <a:gd name="connsiteX548" fmla="*/ 241150 w 846996"/>
                <a:gd name="connsiteY548" fmla="*/ 107910 h 824638"/>
                <a:gd name="connsiteX549" fmla="*/ 240116 w 846996"/>
                <a:gd name="connsiteY549" fmla="*/ 107910 h 824638"/>
                <a:gd name="connsiteX550" fmla="*/ 239340 w 846996"/>
                <a:gd name="connsiteY550" fmla="*/ 108298 h 824638"/>
                <a:gd name="connsiteX551" fmla="*/ 238824 w 846996"/>
                <a:gd name="connsiteY551" fmla="*/ 108815 h 824638"/>
                <a:gd name="connsiteX552" fmla="*/ 238694 w 846996"/>
                <a:gd name="connsiteY552" fmla="*/ 109978 h 824638"/>
                <a:gd name="connsiteX553" fmla="*/ 238694 w 846996"/>
                <a:gd name="connsiteY553" fmla="*/ 112562 h 824638"/>
                <a:gd name="connsiteX554" fmla="*/ 238565 w 846996"/>
                <a:gd name="connsiteY554" fmla="*/ 113209 h 824638"/>
                <a:gd name="connsiteX555" fmla="*/ 237919 w 846996"/>
                <a:gd name="connsiteY555" fmla="*/ 114372 h 824638"/>
                <a:gd name="connsiteX556" fmla="*/ 233008 w 846996"/>
                <a:gd name="connsiteY556" fmla="*/ 120058 h 824638"/>
                <a:gd name="connsiteX557" fmla="*/ 232362 w 846996"/>
                <a:gd name="connsiteY557" fmla="*/ 120963 h 824638"/>
                <a:gd name="connsiteX558" fmla="*/ 229777 w 846996"/>
                <a:gd name="connsiteY558" fmla="*/ 121738 h 824638"/>
                <a:gd name="connsiteX559" fmla="*/ 228743 w 846996"/>
                <a:gd name="connsiteY559" fmla="*/ 121867 h 824638"/>
                <a:gd name="connsiteX560" fmla="*/ 227968 w 846996"/>
                <a:gd name="connsiteY560" fmla="*/ 121479 h 824638"/>
                <a:gd name="connsiteX561" fmla="*/ 227451 w 846996"/>
                <a:gd name="connsiteY561" fmla="*/ 120833 h 824638"/>
                <a:gd name="connsiteX562" fmla="*/ 226805 w 846996"/>
                <a:gd name="connsiteY562" fmla="*/ 120446 h 824638"/>
                <a:gd name="connsiteX563" fmla="*/ 225383 w 846996"/>
                <a:gd name="connsiteY563" fmla="*/ 120963 h 824638"/>
                <a:gd name="connsiteX564" fmla="*/ 224995 w 846996"/>
                <a:gd name="connsiteY564" fmla="*/ 121609 h 824638"/>
                <a:gd name="connsiteX565" fmla="*/ 223962 w 846996"/>
                <a:gd name="connsiteY565" fmla="*/ 124323 h 824638"/>
                <a:gd name="connsiteX566" fmla="*/ 223445 w 846996"/>
                <a:gd name="connsiteY566" fmla="*/ 124840 h 824638"/>
                <a:gd name="connsiteX567" fmla="*/ 222023 w 846996"/>
                <a:gd name="connsiteY567" fmla="*/ 125874 h 824638"/>
                <a:gd name="connsiteX568" fmla="*/ 221377 w 846996"/>
                <a:gd name="connsiteY568" fmla="*/ 126520 h 824638"/>
                <a:gd name="connsiteX569" fmla="*/ 220860 w 846996"/>
                <a:gd name="connsiteY569" fmla="*/ 127424 h 824638"/>
                <a:gd name="connsiteX570" fmla="*/ 220731 w 846996"/>
                <a:gd name="connsiteY570" fmla="*/ 128329 h 824638"/>
                <a:gd name="connsiteX571" fmla="*/ 220343 w 846996"/>
                <a:gd name="connsiteY571" fmla="*/ 129105 h 824638"/>
                <a:gd name="connsiteX572" fmla="*/ 219180 w 846996"/>
                <a:gd name="connsiteY572" fmla="*/ 129363 h 824638"/>
                <a:gd name="connsiteX573" fmla="*/ 217758 w 846996"/>
                <a:gd name="connsiteY573" fmla="*/ 128846 h 824638"/>
                <a:gd name="connsiteX574" fmla="*/ 217629 w 846996"/>
                <a:gd name="connsiteY574" fmla="*/ 127941 h 824638"/>
                <a:gd name="connsiteX575" fmla="*/ 217629 w 846996"/>
                <a:gd name="connsiteY575" fmla="*/ 126907 h 824638"/>
                <a:gd name="connsiteX576" fmla="*/ 217371 w 846996"/>
                <a:gd name="connsiteY576" fmla="*/ 126132 h 824638"/>
                <a:gd name="connsiteX577" fmla="*/ 214786 w 846996"/>
                <a:gd name="connsiteY577" fmla="*/ 125615 h 824638"/>
                <a:gd name="connsiteX578" fmla="*/ 213623 w 846996"/>
                <a:gd name="connsiteY578" fmla="*/ 127166 h 824638"/>
                <a:gd name="connsiteX579" fmla="*/ 212848 w 846996"/>
                <a:gd name="connsiteY579" fmla="*/ 128975 h 824638"/>
                <a:gd name="connsiteX580" fmla="*/ 212848 w 846996"/>
                <a:gd name="connsiteY580" fmla="*/ 129105 h 824638"/>
                <a:gd name="connsiteX581" fmla="*/ 211814 w 846996"/>
                <a:gd name="connsiteY581" fmla="*/ 130138 h 824638"/>
                <a:gd name="connsiteX582" fmla="*/ 210909 w 846996"/>
                <a:gd name="connsiteY582" fmla="*/ 130784 h 824638"/>
                <a:gd name="connsiteX583" fmla="*/ 206386 w 846996"/>
                <a:gd name="connsiteY583" fmla="*/ 135178 h 824638"/>
                <a:gd name="connsiteX584" fmla="*/ 199537 w 846996"/>
                <a:gd name="connsiteY584" fmla="*/ 137505 h 824638"/>
                <a:gd name="connsiteX585" fmla="*/ 196952 w 846996"/>
                <a:gd name="connsiteY585" fmla="*/ 139443 h 824638"/>
                <a:gd name="connsiteX586" fmla="*/ 197469 w 846996"/>
                <a:gd name="connsiteY586" fmla="*/ 142545 h 824638"/>
                <a:gd name="connsiteX587" fmla="*/ 198761 w 846996"/>
                <a:gd name="connsiteY587" fmla="*/ 143579 h 824638"/>
                <a:gd name="connsiteX588" fmla="*/ 203026 w 846996"/>
                <a:gd name="connsiteY588" fmla="*/ 145517 h 824638"/>
                <a:gd name="connsiteX589" fmla="*/ 204447 w 846996"/>
                <a:gd name="connsiteY589" fmla="*/ 145905 h 824638"/>
                <a:gd name="connsiteX590" fmla="*/ 205998 w 846996"/>
                <a:gd name="connsiteY590" fmla="*/ 146551 h 824638"/>
                <a:gd name="connsiteX591" fmla="*/ 207032 w 846996"/>
                <a:gd name="connsiteY591" fmla="*/ 147973 h 824638"/>
                <a:gd name="connsiteX592" fmla="*/ 208583 w 846996"/>
                <a:gd name="connsiteY592" fmla="*/ 150945 h 824638"/>
                <a:gd name="connsiteX593" fmla="*/ 207032 w 846996"/>
                <a:gd name="connsiteY593" fmla="*/ 156631 h 824638"/>
                <a:gd name="connsiteX594" fmla="*/ 206386 w 846996"/>
                <a:gd name="connsiteY594" fmla="*/ 158311 h 824638"/>
                <a:gd name="connsiteX595" fmla="*/ 205223 w 846996"/>
                <a:gd name="connsiteY595" fmla="*/ 159862 h 824638"/>
                <a:gd name="connsiteX596" fmla="*/ 204060 w 846996"/>
                <a:gd name="connsiteY596" fmla="*/ 160767 h 824638"/>
                <a:gd name="connsiteX597" fmla="*/ 203026 w 846996"/>
                <a:gd name="connsiteY597" fmla="*/ 160379 h 824638"/>
                <a:gd name="connsiteX598" fmla="*/ 202638 w 846996"/>
                <a:gd name="connsiteY598" fmla="*/ 157923 h 824638"/>
                <a:gd name="connsiteX599" fmla="*/ 200958 w 846996"/>
                <a:gd name="connsiteY599" fmla="*/ 155727 h 824638"/>
                <a:gd name="connsiteX600" fmla="*/ 197081 w 846996"/>
                <a:gd name="connsiteY600" fmla="*/ 154693 h 824638"/>
                <a:gd name="connsiteX601" fmla="*/ 192558 w 846996"/>
                <a:gd name="connsiteY601" fmla="*/ 154175 h 824638"/>
                <a:gd name="connsiteX602" fmla="*/ 189456 w 846996"/>
                <a:gd name="connsiteY602" fmla="*/ 153271 h 824638"/>
                <a:gd name="connsiteX603" fmla="*/ 184545 w 846996"/>
                <a:gd name="connsiteY603" fmla="*/ 155339 h 824638"/>
                <a:gd name="connsiteX604" fmla="*/ 182607 w 846996"/>
                <a:gd name="connsiteY604" fmla="*/ 157148 h 824638"/>
                <a:gd name="connsiteX605" fmla="*/ 183253 w 846996"/>
                <a:gd name="connsiteY605" fmla="*/ 159603 h 824638"/>
                <a:gd name="connsiteX606" fmla="*/ 183641 w 846996"/>
                <a:gd name="connsiteY606" fmla="*/ 160637 h 824638"/>
                <a:gd name="connsiteX607" fmla="*/ 183512 w 846996"/>
                <a:gd name="connsiteY607" fmla="*/ 166323 h 824638"/>
                <a:gd name="connsiteX608" fmla="*/ 183512 w 846996"/>
                <a:gd name="connsiteY608" fmla="*/ 167228 h 824638"/>
                <a:gd name="connsiteX609" fmla="*/ 182995 w 846996"/>
                <a:gd name="connsiteY609" fmla="*/ 167745 h 824638"/>
                <a:gd name="connsiteX610" fmla="*/ 182090 w 846996"/>
                <a:gd name="connsiteY610" fmla="*/ 168391 h 824638"/>
                <a:gd name="connsiteX611" fmla="*/ 181185 w 846996"/>
                <a:gd name="connsiteY611" fmla="*/ 168650 h 824638"/>
                <a:gd name="connsiteX612" fmla="*/ 177696 w 846996"/>
                <a:gd name="connsiteY612" fmla="*/ 169167 h 824638"/>
                <a:gd name="connsiteX613" fmla="*/ 174724 w 846996"/>
                <a:gd name="connsiteY613" fmla="*/ 170588 h 824638"/>
                <a:gd name="connsiteX614" fmla="*/ 171364 w 846996"/>
                <a:gd name="connsiteY614" fmla="*/ 171493 h 824638"/>
                <a:gd name="connsiteX615" fmla="*/ 170201 w 846996"/>
                <a:gd name="connsiteY615" fmla="*/ 173173 h 824638"/>
                <a:gd name="connsiteX616" fmla="*/ 170071 w 846996"/>
                <a:gd name="connsiteY616" fmla="*/ 175370 h 824638"/>
                <a:gd name="connsiteX617" fmla="*/ 170330 w 846996"/>
                <a:gd name="connsiteY617" fmla="*/ 177567 h 824638"/>
                <a:gd name="connsiteX618" fmla="*/ 170201 w 846996"/>
                <a:gd name="connsiteY618" fmla="*/ 182349 h 824638"/>
                <a:gd name="connsiteX619" fmla="*/ 168133 w 846996"/>
                <a:gd name="connsiteY619" fmla="*/ 185192 h 824638"/>
                <a:gd name="connsiteX620" fmla="*/ 161542 w 846996"/>
                <a:gd name="connsiteY620" fmla="*/ 189844 h 824638"/>
                <a:gd name="connsiteX621" fmla="*/ 152754 w 846996"/>
                <a:gd name="connsiteY621" fmla="*/ 201604 h 824638"/>
                <a:gd name="connsiteX622" fmla="*/ 149135 w 846996"/>
                <a:gd name="connsiteY622" fmla="*/ 203930 h 824638"/>
                <a:gd name="connsiteX623" fmla="*/ 144095 w 846996"/>
                <a:gd name="connsiteY623" fmla="*/ 204965 h 824638"/>
                <a:gd name="connsiteX624" fmla="*/ 141898 w 846996"/>
                <a:gd name="connsiteY624" fmla="*/ 205869 h 824638"/>
                <a:gd name="connsiteX625" fmla="*/ 140994 w 846996"/>
                <a:gd name="connsiteY625" fmla="*/ 207808 h 824638"/>
                <a:gd name="connsiteX626" fmla="*/ 140348 w 846996"/>
                <a:gd name="connsiteY626" fmla="*/ 218276 h 824638"/>
                <a:gd name="connsiteX627" fmla="*/ 138021 w 846996"/>
                <a:gd name="connsiteY627" fmla="*/ 222540 h 824638"/>
                <a:gd name="connsiteX628" fmla="*/ 130655 w 846996"/>
                <a:gd name="connsiteY628" fmla="*/ 226805 h 824638"/>
                <a:gd name="connsiteX629" fmla="*/ 128587 w 846996"/>
                <a:gd name="connsiteY629" fmla="*/ 231587 h 824638"/>
                <a:gd name="connsiteX630" fmla="*/ 128458 w 846996"/>
                <a:gd name="connsiteY630" fmla="*/ 236498 h 824638"/>
                <a:gd name="connsiteX631" fmla="*/ 128070 w 846996"/>
                <a:gd name="connsiteY631" fmla="*/ 238953 h 824638"/>
                <a:gd name="connsiteX632" fmla="*/ 126778 w 846996"/>
                <a:gd name="connsiteY632" fmla="*/ 241150 h 824638"/>
                <a:gd name="connsiteX633" fmla="*/ 124969 w 846996"/>
                <a:gd name="connsiteY633" fmla="*/ 242184 h 824638"/>
                <a:gd name="connsiteX634" fmla="*/ 117602 w 846996"/>
                <a:gd name="connsiteY634" fmla="*/ 244122 h 824638"/>
                <a:gd name="connsiteX635" fmla="*/ 113855 w 846996"/>
                <a:gd name="connsiteY635" fmla="*/ 246061 h 824638"/>
                <a:gd name="connsiteX636" fmla="*/ 109978 w 846996"/>
                <a:gd name="connsiteY636" fmla="*/ 248775 h 824638"/>
                <a:gd name="connsiteX637" fmla="*/ 106488 w 846996"/>
                <a:gd name="connsiteY637" fmla="*/ 252264 h 824638"/>
                <a:gd name="connsiteX638" fmla="*/ 103645 w 846996"/>
                <a:gd name="connsiteY638" fmla="*/ 256529 h 824638"/>
                <a:gd name="connsiteX639" fmla="*/ 102870 w 846996"/>
                <a:gd name="connsiteY639" fmla="*/ 258209 h 824638"/>
                <a:gd name="connsiteX640" fmla="*/ 102224 w 846996"/>
                <a:gd name="connsiteY640" fmla="*/ 259889 h 824638"/>
                <a:gd name="connsiteX641" fmla="*/ 102224 w 846996"/>
                <a:gd name="connsiteY641" fmla="*/ 261698 h 824638"/>
                <a:gd name="connsiteX642" fmla="*/ 102870 w 846996"/>
                <a:gd name="connsiteY642" fmla="*/ 263249 h 824638"/>
                <a:gd name="connsiteX643" fmla="*/ 101836 w 846996"/>
                <a:gd name="connsiteY643" fmla="*/ 265704 h 824638"/>
                <a:gd name="connsiteX644" fmla="*/ 100027 w 846996"/>
                <a:gd name="connsiteY644" fmla="*/ 270873 h 824638"/>
                <a:gd name="connsiteX645" fmla="*/ 98864 w 846996"/>
                <a:gd name="connsiteY645" fmla="*/ 272812 h 824638"/>
                <a:gd name="connsiteX646" fmla="*/ 97054 w 846996"/>
                <a:gd name="connsiteY646" fmla="*/ 274621 h 824638"/>
                <a:gd name="connsiteX647" fmla="*/ 95633 w 846996"/>
                <a:gd name="connsiteY647" fmla="*/ 275526 h 824638"/>
                <a:gd name="connsiteX648" fmla="*/ 91885 w 846996"/>
                <a:gd name="connsiteY648" fmla="*/ 277464 h 824638"/>
                <a:gd name="connsiteX649" fmla="*/ 90851 w 846996"/>
                <a:gd name="connsiteY649" fmla="*/ 278111 h 824638"/>
                <a:gd name="connsiteX650" fmla="*/ 90076 w 846996"/>
                <a:gd name="connsiteY650" fmla="*/ 278886 h 824638"/>
                <a:gd name="connsiteX651" fmla="*/ 89559 w 846996"/>
                <a:gd name="connsiteY651" fmla="*/ 279790 h 824638"/>
                <a:gd name="connsiteX652" fmla="*/ 88913 w 846996"/>
                <a:gd name="connsiteY652" fmla="*/ 280954 h 824638"/>
                <a:gd name="connsiteX653" fmla="*/ 88783 w 846996"/>
                <a:gd name="connsiteY653" fmla="*/ 282117 h 824638"/>
                <a:gd name="connsiteX654" fmla="*/ 88783 w 846996"/>
                <a:gd name="connsiteY654" fmla="*/ 283538 h 824638"/>
                <a:gd name="connsiteX655" fmla="*/ 88654 w 846996"/>
                <a:gd name="connsiteY655" fmla="*/ 284572 h 824638"/>
                <a:gd name="connsiteX656" fmla="*/ 86974 w 846996"/>
                <a:gd name="connsiteY656" fmla="*/ 285606 h 824638"/>
                <a:gd name="connsiteX657" fmla="*/ 86069 w 846996"/>
                <a:gd name="connsiteY657" fmla="*/ 286899 h 824638"/>
                <a:gd name="connsiteX658" fmla="*/ 85553 w 846996"/>
                <a:gd name="connsiteY658" fmla="*/ 288449 h 824638"/>
                <a:gd name="connsiteX659" fmla="*/ 85294 w 846996"/>
                <a:gd name="connsiteY659" fmla="*/ 289612 h 824638"/>
                <a:gd name="connsiteX660" fmla="*/ 84906 w 846996"/>
                <a:gd name="connsiteY660" fmla="*/ 290646 h 824638"/>
                <a:gd name="connsiteX661" fmla="*/ 76506 w 846996"/>
                <a:gd name="connsiteY661" fmla="*/ 298012 h 824638"/>
                <a:gd name="connsiteX662" fmla="*/ 75731 w 846996"/>
                <a:gd name="connsiteY662" fmla="*/ 299822 h 824638"/>
                <a:gd name="connsiteX663" fmla="*/ 74826 w 846996"/>
                <a:gd name="connsiteY663" fmla="*/ 300856 h 824638"/>
                <a:gd name="connsiteX664" fmla="*/ 70691 w 846996"/>
                <a:gd name="connsiteY664" fmla="*/ 304216 h 824638"/>
                <a:gd name="connsiteX665" fmla="*/ 69140 w 846996"/>
                <a:gd name="connsiteY665" fmla="*/ 306025 h 824638"/>
                <a:gd name="connsiteX666" fmla="*/ 67718 w 846996"/>
                <a:gd name="connsiteY666" fmla="*/ 310290 h 824638"/>
                <a:gd name="connsiteX667" fmla="*/ 64487 w 846996"/>
                <a:gd name="connsiteY667" fmla="*/ 313650 h 824638"/>
                <a:gd name="connsiteX668" fmla="*/ 64100 w 846996"/>
                <a:gd name="connsiteY668" fmla="*/ 314942 h 824638"/>
                <a:gd name="connsiteX669" fmla="*/ 63195 w 846996"/>
                <a:gd name="connsiteY669" fmla="*/ 316105 h 824638"/>
                <a:gd name="connsiteX670" fmla="*/ 55441 w 846996"/>
                <a:gd name="connsiteY670" fmla="*/ 324635 h 824638"/>
                <a:gd name="connsiteX671" fmla="*/ 53373 w 846996"/>
                <a:gd name="connsiteY671" fmla="*/ 326315 h 824638"/>
                <a:gd name="connsiteX672" fmla="*/ 51176 w 846996"/>
                <a:gd name="connsiteY672" fmla="*/ 327090 h 824638"/>
                <a:gd name="connsiteX673" fmla="*/ 46524 w 846996"/>
                <a:gd name="connsiteY673" fmla="*/ 327090 h 824638"/>
                <a:gd name="connsiteX674" fmla="*/ 42001 w 846996"/>
                <a:gd name="connsiteY674" fmla="*/ 327865 h 824638"/>
                <a:gd name="connsiteX675" fmla="*/ 37348 w 846996"/>
                <a:gd name="connsiteY675" fmla="*/ 329545 h 824638"/>
                <a:gd name="connsiteX676" fmla="*/ 34247 w 846996"/>
                <a:gd name="connsiteY676" fmla="*/ 332259 h 824638"/>
                <a:gd name="connsiteX677" fmla="*/ 32438 w 846996"/>
                <a:gd name="connsiteY677" fmla="*/ 336395 h 824638"/>
                <a:gd name="connsiteX678" fmla="*/ 31404 w 846996"/>
                <a:gd name="connsiteY678" fmla="*/ 350740 h 824638"/>
                <a:gd name="connsiteX679" fmla="*/ 30628 w 846996"/>
                <a:gd name="connsiteY679" fmla="*/ 352678 h 824638"/>
                <a:gd name="connsiteX680" fmla="*/ 21453 w 846996"/>
                <a:gd name="connsiteY680" fmla="*/ 359915 h 824638"/>
                <a:gd name="connsiteX681" fmla="*/ 11372 w 846996"/>
                <a:gd name="connsiteY681" fmla="*/ 372839 h 824638"/>
                <a:gd name="connsiteX682" fmla="*/ 6720 w 846996"/>
                <a:gd name="connsiteY682" fmla="*/ 375940 h 824638"/>
                <a:gd name="connsiteX683" fmla="*/ 4652 w 846996"/>
                <a:gd name="connsiteY683" fmla="*/ 376716 h 824638"/>
                <a:gd name="connsiteX684" fmla="*/ 0 w 846996"/>
                <a:gd name="connsiteY684" fmla="*/ 377491 h 824638"/>
                <a:gd name="connsiteX685" fmla="*/ 2714 w 846996"/>
                <a:gd name="connsiteY685" fmla="*/ 380205 h 824638"/>
                <a:gd name="connsiteX686" fmla="*/ 4782 w 846996"/>
                <a:gd name="connsiteY686" fmla="*/ 386537 h 824638"/>
                <a:gd name="connsiteX687" fmla="*/ 8142 w 846996"/>
                <a:gd name="connsiteY687" fmla="*/ 388864 h 824638"/>
                <a:gd name="connsiteX688" fmla="*/ 10856 w 846996"/>
                <a:gd name="connsiteY688" fmla="*/ 389122 h 824638"/>
                <a:gd name="connsiteX689" fmla="*/ 15508 w 846996"/>
                <a:gd name="connsiteY689" fmla="*/ 388218 h 824638"/>
                <a:gd name="connsiteX690" fmla="*/ 18093 w 846996"/>
                <a:gd name="connsiteY690" fmla="*/ 388218 h 824638"/>
                <a:gd name="connsiteX691" fmla="*/ 19514 w 846996"/>
                <a:gd name="connsiteY691" fmla="*/ 388993 h 824638"/>
                <a:gd name="connsiteX692" fmla="*/ 21065 w 846996"/>
                <a:gd name="connsiteY692" fmla="*/ 391448 h 824638"/>
                <a:gd name="connsiteX693" fmla="*/ 22745 w 846996"/>
                <a:gd name="connsiteY693" fmla="*/ 391836 h 824638"/>
                <a:gd name="connsiteX694" fmla="*/ 23779 w 846996"/>
                <a:gd name="connsiteY694" fmla="*/ 391319 h 824638"/>
                <a:gd name="connsiteX695" fmla="*/ 26234 w 846996"/>
                <a:gd name="connsiteY695" fmla="*/ 389122 h 824638"/>
                <a:gd name="connsiteX696" fmla="*/ 27656 w 846996"/>
                <a:gd name="connsiteY696" fmla="*/ 388476 h 824638"/>
                <a:gd name="connsiteX697" fmla="*/ 29724 w 846996"/>
                <a:gd name="connsiteY697" fmla="*/ 388605 h 824638"/>
                <a:gd name="connsiteX698" fmla="*/ 31016 w 846996"/>
                <a:gd name="connsiteY698" fmla="*/ 389510 h 824638"/>
                <a:gd name="connsiteX699" fmla="*/ 32179 w 846996"/>
                <a:gd name="connsiteY699" fmla="*/ 390544 h 824638"/>
                <a:gd name="connsiteX700" fmla="*/ 33730 w 846996"/>
                <a:gd name="connsiteY700" fmla="*/ 391190 h 824638"/>
                <a:gd name="connsiteX701" fmla="*/ 34634 w 846996"/>
                <a:gd name="connsiteY701" fmla="*/ 390802 h 824638"/>
                <a:gd name="connsiteX702" fmla="*/ 35927 w 846996"/>
                <a:gd name="connsiteY702" fmla="*/ 389251 h 824638"/>
                <a:gd name="connsiteX703" fmla="*/ 36573 w 846996"/>
                <a:gd name="connsiteY703" fmla="*/ 388864 h 824638"/>
                <a:gd name="connsiteX704" fmla="*/ 37348 w 846996"/>
                <a:gd name="connsiteY704" fmla="*/ 389381 h 824638"/>
                <a:gd name="connsiteX705" fmla="*/ 38770 w 846996"/>
                <a:gd name="connsiteY705" fmla="*/ 390802 h 824638"/>
                <a:gd name="connsiteX706" fmla="*/ 39287 w 846996"/>
                <a:gd name="connsiteY706" fmla="*/ 391190 h 824638"/>
                <a:gd name="connsiteX707" fmla="*/ 42776 w 846996"/>
                <a:gd name="connsiteY707" fmla="*/ 390414 h 824638"/>
                <a:gd name="connsiteX708" fmla="*/ 45878 w 846996"/>
                <a:gd name="connsiteY708" fmla="*/ 387959 h 824638"/>
                <a:gd name="connsiteX709" fmla="*/ 47946 w 846996"/>
                <a:gd name="connsiteY709" fmla="*/ 384470 h 824638"/>
                <a:gd name="connsiteX710" fmla="*/ 48592 w 846996"/>
                <a:gd name="connsiteY710" fmla="*/ 380593 h 824638"/>
                <a:gd name="connsiteX711" fmla="*/ 49367 w 846996"/>
                <a:gd name="connsiteY711" fmla="*/ 377491 h 824638"/>
                <a:gd name="connsiteX712" fmla="*/ 51564 w 846996"/>
                <a:gd name="connsiteY712" fmla="*/ 373485 h 824638"/>
                <a:gd name="connsiteX713" fmla="*/ 54537 w 846996"/>
                <a:gd name="connsiteY713" fmla="*/ 369996 h 824638"/>
                <a:gd name="connsiteX714" fmla="*/ 57250 w 846996"/>
                <a:gd name="connsiteY714" fmla="*/ 368057 h 824638"/>
                <a:gd name="connsiteX715" fmla="*/ 58284 w 846996"/>
                <a:gd name="connsiteY715" fmla="*/ 368187 h 824638"/>
                <a:gd name="connsiteX716" fmla="*/ 60352 w 846996"/>
                <a:gd name="connsiteY716" fmla="*/ 369091 h 824638"/>
                <a:gd name="connsiteX717" fmla="*/ 61386 w 846996"/>
                <a:gd name="connsiteY717" fmla="*/ 369091 h 824638"/>
                <a:gd name="connsiteX718" fmla="*/ 63583 w 846996"/>
                <a:gd name="connsiteY718" fmla="*/ 368057 h 824638"/>
                <a:gd name="connsiteX719" fmla="*/ 64229 w 846996"/>
                <a:gd name="connsiteY719" fmla="*/ 367798 h 824638"/>
                <a:gd name="connsiteX720" fmla="*/ 68235 w 846996"/>
                <a:gd name="connsiteY720" fmla="*/ 367023 h 824638"/>
                <a:gd name="connsiteX721" fmla="*/ 70303 w 846996"/>
                <a:gd name="connsiteY721" fmla="*/ 366894 h 824638"/>
                <a:gd name="connsiteX722" fmla="*/ 75472 w 846996"/>
                <a:gd name="connsiteY722" fmla="*/ 368445 h 824638"/>
                <a:gd name="connsiteX723" fmla="*/ 79479 w 846996"/>
                <a:gd name="connsiteY723" fmla="*/ 367670 h 824638"/>
                <a:gd name="connsiteX724" fmla="*/ 83614 w 846996"/>
                <a:gd name="connsiteY724" fmla="*/ 367540 h 824638"/>
                <a:gd name="connsiteX725" fmla="*/ 87362 w 846996"/>
                <a:gd name="connsiteY725" fmla="*/ 370254 h 824638"/>
                <a:gd name="connsiteX726" fmla="*/ 89430 w 846996"/>
                <a:gd name="connsiteY726" fmla="*/ 373614 h 824638"/>
                <a:gd name="connsiteX727" fmla="*/ 90463 w 846996"/>
                <a:gd name="connsiteY727" fmla="*/ 374907 h 824638"/>
                <a:gd name="connsiteX728" fmla="*/ 97054 w 846996"/>
                <a:gd name="connsiteY728" fmla="*/ 379430 h 824638"/>
                <a:gd name="connsiteX729" fmla="*/ 100414 w 846996"/>
                <a:gd name="connsiteY729" fmla="*/ 381110 h 824638"/>
                <a:gd name="connsiteX730" fmla="*/ 102224 w 846996"/>
                <a:gd name="connsiteY730" fmla="*/ 382273 h 824638"/>
                <a:gd name="connsiteX731" fmla="*/ 103904 w 846996"/>
                <a:gd name="connsiteY731" fmla="*/ 383824 h 824638"/>
                <a:gd name="connsiteX732" fmla="*/ 104808 w 846996"/>
                <a:gd name="connsiteY732" fmla="*/ 385504 h 824638"/>
                <a:gd name="connsiteX733" fmla="*/ 105196 w 846996"/>
                <a:gd name="connsiteY733" fmla="*/ 387959 h 824638"/>
                <a:gd name="connsiteX734" fmla="*/ 104808 w 846996"/>
                <a:gd name="connsiteY734" fmla="*/ 389251 h 824638"/>
                <a:gd name="connsiteX735" fmla="*/ 104938 w 846996"/>
                <a:gd name="connsiteY735" fmla="*/ 390156 h 824638"/>
                <a:gd name="connsiteX736" fmla="*/ 106618 w 846996"/>
                <a:gd name="connsiteY736" fmla="*/ 391190 h 824638"/>
                <a:gd name="connsiteX737" fmla="*/ 107781 w 846996"/>
                <a:gd name="connsiteY737" fmla="*/ 391448 h 824638"/>
                <a:gd name="connsiteX738" fmla="*/ 108815 w 846996"/>
                <a:gd name="connsiteY738" fmla="*/ 391448 h 824638"/>
                <a:gd name="connsiteX739" fmla="*/ 109849 w 846996"/>
                <a:gd name="connsiteY739" fmla="*/ 391578 h 824638"/>
                <a:gd name="connsiteX740" fmla="*/ 111012 w 846996"/>
                <a:gd name="connsiteY740" fmla="*/ 392224 h 824638"/>
                <a:gd name="connsiteX741" fmla="*/ 111528 w 846996"/>
                <a:gd name="connsiteY741" fmla="*/ 392999 h 824638"/>
                <a:gd name="connsiteX742" fmla="*/ 112562 w 846996"/>
                <a:gd name="connsiteY742" fmla="*/ 394550 h 824638"/>
                <a:gd name="connsiteX743" fmla="*/ 116439 w 846996"/>
                <a:gd name="connsiteY743" fmla="*/ 399073 h 824638"/>
                <a:gd name="connsiteX744" fmla="*/ 117861 w 846996"/>
                <a:gd name="connsiteY744" fmla="*/ 400107 h 824638"/>
                <a:gd name="connsiteX745" fmla="*/ 119541 w 846996"/>
                <a:gd name="connsiteY745" fmla="*/ 401787 h 824638"/>
                <a:gd name="connsiteX746" fmla="*/ 125356 w 846996"/>
                <a:gd name="connsiteY746" fmla="*/ 405405 h 824638"/>
                <a:gd name="connsiteX747" fmla="*/ 127037 w 846996"/>
                <a:gd name="connsiteY747" fmla="*/ 407215 h 824638"/>
                <a:gd name="connsiteX748" fmla="*/ 129621 w 846996"/>
                <a:gd name="connsiteY748" fmla="*/ 411609 h 824638"/>
                <a:gd name="connsiteX749" fmla="*/ 131172 w 846996"/>
                <a:gd name="connsiteY749" fmla="*/ 413677 h 824638"/>
                <a:gd name="connsiteX750" fmla="*/ 132594 w 846996"/>
                <a:gd name="connsiteY750" fmla="*/ 414969 h 824638"/>
                <a:gd name="connsiteX751" fmla="*/ 137634 w 846996"/>
                <a:gd name="connsiteY751" fmla="*/ 417683 h 824638"/>
                <a:gd name="connsiteX752" fmla="*/ 143837 w 846996"/>
                <a:gd name="connsiteY752" fmla="*/ 422981 h 824638"/>
                <a:gd name="connsiteX753" fmla="*/ 147326 w 846996"/>
                <a:gd name="connsiteY753" fmla="*/ 424791 h 824638"/>
                <a:gd name="connsiteX754" fmla="*/ 149523 w 846996"/>
                <a:gd name="connsiteY754" fmla="*/ 426858 h 824638"/>
                <a:gd name="connsiteX755" fmla="*/ 152883 w 846996"/>
                <a:gd name="connsiteY755" fmla="*/ 430864 h 824638"/>
                <a:gd name="connsiteX756" fmla="*/ 153529 w 846996"/>
                <a:gd name="connsiteY756" fmla="*/ 432157 h 824638"/>
                <a:gd name="connsiteX757" fmla="*/ 153788 w 846996"/>
                <a:gd name="connsiteY757" fmla="*/ 433579 h 824638"/>
                <a:gd name="connsiteX758" fmla="*/ 154305 w 846996"/>
                <a:gd name="connsiteY758" fmla="*/ 434742 h 824638"/>
                <a:gd name="connsiteX759" fmla="*/ 155468 w 846996"/>
                <a:gd name="connsiteY759" fmla="*/ 435775 h 824638"/>
                <a:gd name="connsiteX760" fmla="*/ 157536 w 846996"/>
                <a:gd name="connsiteY760" fmla="*/ 437068 h 824638"/>
                <a:gd name="connsiteX761" fmla="*/ 158440 w 846996"/>
                <a:gd name="connsiteY761" fmla="*/ 437973 h 824638"/>
                <a:gd name="connsiteX762" fmla="*/ 159216 w 846996"/>
                <a:gd name="connsiteY762" fmla="*/ 439006 h 824638"/>
                <a:gd name="connsiteX763" fmla="*/ 162705 w 846996"/>
                <a:gd name="connsiteY763" fmla="*/ 445856 h 824638"/>
                <a:gd name="connsiteX764" fmla="*/ 164256 w 846996"/>
                <a:gd name="connsiteY764" fmla="*/ 447923 h 824638"/>
                <a:gd name="connsiteX765" fmla="*/ 171364 w 846996"/>
                <a:gd name="connsiteY765" fmla="*/ 453610 h 824638"/>
                <a:gd name="connsiteX766" fmla="*/ 173044 w 846996"/>
                <a:gd name="connsiteY766" fmla="*/ 456970 h 824638"/>
                <a:gd name="connsiteX767" fmla="*/ 173690 w 846996"/>
                <a:gd name="connsiteY767" fmla="*/ 460717 h 824638"/>
                <a:gd name="connsiteX768" fmla="*/ 173173 w 846996"/>
                <a:gd name="connsiteY768" fmla="*/ 464465 h 824638"/>
                <a:gd name="connsiteX769" fmla="*/ 171364 w 846996"/>
                <a:gd name="connsiteY769" fmla="*/ 467825 h 824638"/>
                <a:gd name="connsiteX770" fmla="*/ 170847 w 846996"/>
                <a:gd name="connsiteY770" fmla="*/ 470539 h 824638"/>
                <a:gd name="connsiteX771" fmla="*/ 170847 w 846996"/>
                <a:gd name="connsiteY771" fmla="*/ 478681 h 824638"/>
                <a:gd name="connsiteX772" fmla="*/ 170201 w 846996"/>
                <a:gd name="connsiteY772" fmla="*/ 484367 h 824638"/>
                <a:gd name="connsiteX773" fmla="*/ 170201 w 846996"/>
                <a:gd name="connsiteY773" fmla="*/ 486952 h 824638"/>
                <a:gd name="connsiteX774" fmla="*/ 170717 w 846996"/>
                <a:gd name="connsiteY774" fmla="*/ 487857 h 824638"/>
                <a:gd name="connsiteX775" fmla="*/ 171364 w 846996"/>
                <a:gd name="connsiteY775" fmla="*/ 488891 h 824638"/>
                <a:gd name="connsiteX776" fmla="*/ 171493 w 846996"/>
                <a:gd name="connsiteY776" fmla="*/ 488891 h 824638"/>
                <a:gd name="connsiteX777" fmla="*/ 174078 w 846996"/>
                <a:gd name="connsiteY777" fmla="*/ 488503 h 824638"/>
                <a:gd name="connsiteX778" fmla="*/ 181185 w 846996"/>
                <a:gd name="connsiteY778" fmla="*/ 488891 h 824638"/>
                <a:gd name="connsiteX779" fmla="*/ 184545 w 846996"/>
                <a:gd name="connsiteY779" fmla="*/ 488244 h 824638"/>
                <a:gd name="connsiteX780" fmla="*/ 187130 w 846996"/>
                <a:gd name="connsiteY780" fmla="*/ 488244 h 824638"/>
                <a:gd name="connsiteX781" fmla="*/ 188164 w 846996"/>
                <a:gd name="connsiteY781" fmla="*/ 487986 h 824638"/>
                <a:gd name="connsiteX782" fmla="*/ 188939 w 846996"/>
                <a:gd name="connsiteY782" fmla="*/ 487211 h 824638"/>
                <a:gd name="connsiteX783" fmla="*/ 189456 w 846996"/>
                <a:gd name="connsiteY783" fmla="*/ 486564 h 824638"/>
                <a:gd name="connsiteX784" fmla="*/ 189844 w 846996"/>
                <a:gd name="connsiteY784" fmla="*/ 485918 h 824638"/>
                <a:gd name="connsiteX785" fmla="*/ 190490 w 846996"/>
                <a:gd name="connsiteY785" fmla="*/ 485143 h 824638"/>
                <a:gd name="connsiteX786" fmla="*/ 196306 w 846996"/>
                <a:gd name="connsiteY786" fmla="*/ 481137 h 824638"/>
                <a:gd name="connsiteX787" fmla="*/ 197857 w 846996"/>
                <a:gd name="connsiteY787" fmla="*/ 479715 h 824638"/>
                <a:gd name="connsiteX788" fmla="*/ 198761 w 846996"/>
                <a:gd name="connsiteY788" fmla="*/ 477776 h 824638"/>
                <a:gd name="connsiteX789" fmla="*/ 199795 w 846996"/>
                <a:gd name="connsiteY789" fmla="*/ 473512 h 824638"/>
                <a:gd name="connsiteX790" fmla="*/ 201217 w 846996"/>
                <a:gd name="connsiteY790" fmla="*/ 471832 h 824638"/>
                <a:gd name="connsiteX791" fmla="*/ 203284 w 846996"/>
                <a:gd name="connsiteY791" fmla="*/ 471573 h 824638"/>
                <a:gd name="connsiteX792" fmla="*/ 205869 w 846996"/>
                <a:gd name="connsiteY792" fmla="*/ 472219 h 824638"/>
                <a:gd name="connsiteX793" fmla="*/ 208324 w 846996"/>
                <a:gd name="connsiteY793" fmla="*/ 472349 h 824638"/>
                <a:gd name="connsiteX794" fmla="*/ 209746 w 846996"/>
                <a:gd name="connsiteY794" fmla="*/ 471056 h 824638"/>
                <a:gd name="connsiteX795" fmla="*/ 209875 w 846996"/>
                <a:gd name="connsiteY795" fmla="*/ 468730 h 824638"/>
                <a:gd name="connsiteX796" fmla="*/ 209487 w 846996"/>
                <a:gd name="connsiteY796" fmla="*/ 463561 h 824638"/>
                <a:gd name="connsiteX797" fmla="*/ 210004 w 846996"/>
                <a:gd name="connsiteY797" fmla="*/ 461364 h 824638"/>
                <a:gd name="connsiteX798" fmla="*/ 211684 w 846996"/>
                <a:gd name="connsiteY798" fmla="*/ 459684 h 824638"/>
                <a:gd name="connsiteX799" fmla="*/ 214011 w 846996"/>
                <a:gd name="connsiteY799" fmla="*/ 459167 h 824638"/>
                <a:gd name="connsiteX800" fmla="*/ 216208 w 846996"/>
                <a:gd name="connsiteY800" fmla="*/ 459813 h 824638"/>
                <a:gd name="connsiteX801" fmla="*/ 219180 w 846996"/>
                <a:gd name="connsiteY801" fmla="*/ 463302 h 824638"/>
                <a:gd name="connsiteX802" fmla="*/ 223057 w 846996"/>
                <a:gd name="connsiteY802" fmla="*/ 465499 h 824638"/>
                <a:gd name="connsiteX803" fmla="*/ 224866 w 846996"/>
                <a:gd name="connsiteY803" fmla="*/ 467050 h 824638"/>
                <a:gd name="connsiteX804" fmla="*/ 227193 w 846996"/>
                <a:gd name="connsiteY804" fmla="*/ 469893 h 824638"/>
                <a:gd name="connsiteX805" fmla="*/ 232233 w 846996"/>
                <a:gd name="connsiteY805" fmla="*/ 474416 h 824638"/>
                <a:gd name="connsiteX806" fmla="*/ 240116 w 846996"/>
                <a:gd name="connsiteY806" fmla="*/ 483333 h 824638"/>
                <a:gd name="connsiteX807" fmla="*/ 241667 w 846996"/>
                <a:gd name="connsiteY807" fmla="*/ 485660 h 824638"/>
                <a:gd name="connsiteX808" fmla="*/ 242313 w 846996"/>
                <a:gd name="connsiteY808" fmla="*/ 487728 h 824638"/>
                <a:gd name="connsiteX809" fmla="*/ 242701 w 846996"/>
                <a:gd name="connsiteY809" fmla="*/ 492121 h 824638"/>
                <a:gd name="connsiteX810" fmla="*/ 243347 w 846996"/>
                <a:gd name="connsiteY810" fmla="*/ 494318 h 824638"/>
                <a:gd name="connsiteX811" fmla="*/ 244639 w 846996"/>
                <a:gd name="connsiteY811" fmla="*/ 495481 h 824638"/>
                <a:gd name="connsiteX812" fmla="*/ 248128 w 846996"/>
                <a:gd name="connsiteY812" fmla="*/ 497808 h 824638"/>
                <a:gd name="connsiteX813" fmla="*/ 249421 w 846996"/>
                <a:gd name="connsiteY813" fmla="*/ 499617 h 824638"/>
                <a:gd name="connsiteX814" fmla="*/ 250842 w 846996"/>
                <a:gd name="connsiteY814" fmla="*/ 504915 h 824638"/>
                <a:gd name="connsiteX815" fmla="*/ 251747 w 846996"/>
                <a:gd name="connsiteY815" fmla="*/ 507113 h 824638"/>
                <a:gd name="connsiteX816" fmla="*/ 253427 w 846996"/>
                <a:gd name="connsiteY816" fmla="*/ 509051 h 824638"/>
                <a:gd name="connsiteX817" fmla="*/ 255236 w 846996"/>
                <a:gd name="connsiteY817" fmla="*/ 510214 h 824638"/>
                <a:gd name="connsiteX818" fmla="*/ 259372 w 846996"/>
                <a:gd name="connsiteY818" fmla="*/ 511765 h 824638"/>
                <a:gd name="connsiteX819" fmla="*/ 261439 w 846996"/>
                <a:gd name="connsiteY819" fmla="*/ 513057 h 824638"/>
                <a:gd name="connsiteX820" fmla="*/ 266479 w 846996"/>
                <a:gd name="connsiteY820" fmla="*/ 517709 h 824638"/>
                <a:gd name="connsiteX821" fmla="*/ 268676 w 846996"/>
                <a:gd name="connsiteY821" fmla="*/ 519002 h 824638"/>
                <a:gd name="connsiteX822" fmla="*/ 270227 w 846996"/>
                <a:gd name="connsiteY822" fmla="*/ 519390 h 824638"/>
                <a:gd name="connsiteX823" fmla="*/ 271649 w 846996"/>
                <a:gd name="connsiteY823" fmla="*/ 518614 h 824638"/>
                <a:gd name="connsiteX824" fmla="*/ 273070 w 846996"/>
                <a:gd name="connsiteY824" fmla="*/ 516546 h 824638"/>
                <a:gd name="connsiteX825" fmla="*/ 275009 w 846996"/>
                <a:gd name="connsiteY825" fmla="*/ 512540 h 824638"/>
                <a:gd name="connsiteX826" fmla="*/ 276431 w 846996"/>
                <a:gd name="connsiteY826" fmla="*/ 512152 h 824638"/>
                <a:gd name="connsiteX827" fmla="*/ 278369 w 846996"/>
                <a:gd name="connsiteY827" fmla="*/ 514479 h 824638"/>
                <a:gd name="connsiteX828" fmla="*/ 280049 w 846996"/>
                <a:gd name="connsiteY828" fmla="*/ 517451 h 824638"/>
                <a:gd name="connsiteX829" fmla="*/ 282892 w 846996"/>
                <a:gd name="connsiteY829" fmla="*/ 521070 h 824638"/>
                <a:gd name="connsiteX830" fmla="*/ 285865 w 846996"/>
                <a:gd name="connsiteY830" fmla="*/ 524171 h 824638"/>
                <a:gd name="connsiteX831" fmla="*/ 290258 w 846996"/>
                <a:gd name="connsiteY831" fmla="*/ 526239 h 824638"/>
                <a:gd name="connsiteX832" fmla="*/ 291551 w 846996"/>
                <a:gd name="connsiteY832" fmla="*/ 527661 h 824638"/>
                <a:gd name="connsiteX833" fmla="*/ 292843 w 846996"/>
                <a:gd name="connsiteY833" fmla="*/ 529211 h 824638"/>
                <a:gd name="connsiteX834" fmla="*/ 294265 w 846996"/>
                <a:gd name="connsiteY834" fmla="*/ 530633 h 824638"/>
                <a:gd name="connsiteX835" fmla="*/ 295686 w 846996"/>
                <a:gd name="connsiteY835" fmla="*/ 531538 h 824638"/>
                <a:gd name="connsiteX836" fmla="*/ 298917 w 846996"/>
                <a:gd name="connsiteY836" fmla="*/ 532830 h 824638"/>
                <a:gd name="connsiteX837" fmla="*/ 316622 w 846996"/>
                <a:gd name="connsiteY837" fmla="*/ 535414 h 824638"/>
                <a:gd name="connsiteX838" fmla="*/ 320241 w 846996"/>
                <a:gd name="connsiteY838" fmla="*/ 535414 h 824638"/>
                <a:gd name="connsiteX839" fmla="*/ 321921 w 846996"/>
                <a:gd name="connsiteY839" fmla="*/ 535931 h 824638"/>
                <a:gd name="connsiteX840" fmla="*/ 323342 w 846996"/>
                <a:gd name="connsiteY840" fmla="*/ 537353 h 824638"/>
                <a:gd name="connsiteX841" fmla="*/ 325151 w 846996"/>
                <a:gd name="connsiteY841" fmla="*/ 541230 h 824638"/>
                <a:gd name="connsiteX842" fmla="*/ 326444 w 846996"/>
                <a:gd name="connsiteY842" fmla="*/ 542910 h 824638"/>
                <a:gd name="connsiteX843" fmla="*/ 332130 w 846996"/>
                <a:gd name="connsiteY843" fmla="*/ 547433 h 824638"/>
                <a:gd name="connsiteX844" fmla="*/ 333681 w 846996"/>
                <a:gd name="connsiteY844" fmla="*/ 549113 h 824638"/>
                <a:gd name="connsiteX845" fmla="*/ 334844 w 846996"/>
                <a:gd name="connsiteY845" fmla="*/ 551440 h 824638"/>
                <a:gd name="connsiteX846" fmla="*/ 335361 w 846996"/>
                <a:gd name="connsiteY846" fmla="*/ 553636 h 824638"/>
                <a:gd name="connsiteX847" fmla="*/ 335490 w 846996"/>
                <a:gd name="connsiteY847" fmla="*/ 558677 h 824638"/>
                <a:gd name="connsiteX848" fmla="*/ 336653 w 846996"/>
                <a:gd name="connsiteY848" fmla="*/ 561520 h 824638"/>
                <a:gd name="connsiteX849" fmla="*/ 337041 w 846996"/>
                <a:gd name="connsiteY849" fmla="*/ 562425 h 824638"/>
                <a:gd name="connsiteX850" fmla="*/ 339884 w 846996"/>
                <a:gd name="connsiteY850" fmla="*/ 565268 h 824638"/>
                <a:gd name="connsiteX851" fmla="*/ 343373 w 846996"/>
                <a:gd name="connsiteY851" fmla="*/ 567852 h 824638"/>
                <a:gd name="connsiteX852" fmla="*/ 346604 w 846996"/>
                <a:gd name="connsiteY852" fmla="*/ 570825 h 824638"/>
                <a:gd name="connsiteX853" fmla="*/ 349964 w 846996"/>
                <a:gd name="connsiteY853" fmla="*/ 574701 h 824638"/>
                <a:gd name="connsiteX854" fmla="*/ 357331 w 846996"/>
                <a:gd name="connsiteY854" fmla="*/ 581422 h 824638"/>
                <a:gd name="connsiteX855" fmla="*/ 363146 w 846996"/>
                <a:gd name="connsiteY855" fmla="*/ 585557 h 824638"/>
                <a:gd name="connsiteX856" fmla="*/ 368445 w 846996"/>
                <a:gd name="connsiteY856" fmla="*/ 590468 h 824638"/>
                <a:gd name="connsiteX857" fmla="*/ 371029 w 846996"/>
                <a:gd name="connsiteY857" fmla="*/ 592277 h 824638"/>
                <a:gd name="connsiteX858" fmla="*/ 372193 w 846996"/>
                <a:gd name="connsiteY858" fmla="*/ 592148 h 824638"/>
                <a:gd name="connsiteX859" fmla="*/ 373226 w 846996"/>
                <a:gd name="connsiteY859" fmla="*/ 590856 h 824638"/>
                <a:gd name="connsiteX860" fmla="*/ 375165 w 846996"/>
                <a:gd name="connsiteY860" fmla="*/ 589047 h 824638"/>
                <a:gd name="connsiteX861" fmla="*/ 377103 w 846996"/>
                <a:gd name="connsiteY861" fmla="*/ 588271 h 824638"/>
                <a:gd name="connsiteX862" fmla="*/ 379300 w 846996"/>
                <a:gd name="connsiteY862" fmla="*/ 588530 h 824638"/>
                <a:gd name="connsiteX863" fmla="*/ 381239 w 846996"/>
                <a:gd name="connsiteY863" fmla="*/ 589434 h 824638"/>
                <a:gd name="connsiteX864" fmla="*/ 383177 w 846996"/>
                <a:gd name="connsiteY864" fmla="*/ 590856 h 824638"/>
                <a:gd name="connsiteX865" fmla="*/ 383824 w 846996"/>
                <a:gd name="connsiteY865" fmla="*/ 591631 h 824638"/>
                <a:gd name="connsiteX866" fmla="*/ 384728 w 846996"/>
                <a:gd name="connsiteY866" fmla="*/ 593440 h 824638"/>
                <a:gd name="connsiteX867" fmla="*/ 385633 w 846996"/>
                <a:gd name="connsiteY867" fmla="*/ 594345 h 824638"/>
                <a:gd name="connsiteX868" fmla="*/ 386796 w 846996"/>
                <a:gd name="connsiteY868" fmla="*/ 594733 h 824638"/>
                <a:gd name="connsiteX869" fmla="*/ 390285 w 846996"/>
                <a:gd name="connsiteY869" fmla="*/ 595121 h 824638"/>
                <a:gd name="connsiteX870" fmla="*/ 392094 w 846996"/>
                <a:gd name="connsiteY870" fmla="*/ 595637 h 824638"/>
                <a:gd name="connsiteX871" fmla="*/ 393645 w 846996"/>
                <a:gd name="connsiteY871" fmla="*/ 596413 h 824638"/>
                <a:gd name="connsiteX872" fmla="*/ 396747 w 846996"/>
                <a:gd name="connsiteY872" fmla="*/ 598480 h 824638"/>
                <a:gd name="connsiteX873" fmla="*/ 397910 w 846996"/>
                <a:gd name="connsiteY873" fmla="*/ 599773 h 824638"/>
                <a:gd name="connsiteX874" fmla="*/ 398427 w 846996"/>
                <a:gd name="connsiteY874" fmla="*/ 601065 h 824638"/>
                <a:gd name="connsiteX875" fmla="*/ 398685 w 846996"/>
                <a:gd name="connsiteY875" fmla="*/ 602358 h 824638"/>
                <a:gd name="connsiteX876" fmla="*/ 399332 w 846996"/>
                <a:gd name="connsiteY876" fmla="*/ 603779 h 824638"/>
                <a:gd name="connsiteX877" fmla="*/ 400365 w 846996"/>
                <a:gd name="connsiteY877" fmla="*/ 605071 h 824638"/>
                <a:gd name="connsiteX878" fmla="*/ 401787 w 846996"/>
                <a:gd name="connsiteY878" fmla="*/ 606234 h 824638"/>
                <a:gd name="connsiteX879" fmla="*/ 404759 w 846996"/>
                <a:gd name="connsiteY879" fmla="*/ 608173 h 824638"/>
                <a:gd name="connsiteX880" fmla="*/ 411092 w 846996"/>
                <a:gd name="connsiteY880" fmla="*/ 609465 h 824638"/>
                <a:gd name="connsiteX881" fmla="*/ 412643 w 846996"/>
                <a:gd name="connsiteY881" fmla="*/ 610499 h 824638"/>
                <a:gd name="connsiteX882" fmla="*/ 413289 w 846996"/>
                <a:gd name="connsiteY882" fmla="*/ 612179 h 824638"/>
                <a:gd name="connsiteX883" fmla="*/ 413418 w 846996"/>
                <a:gd name="connsiteY883" fmla="*/ 616702 h 824638"/>
                <a:gd name="connsiteX884" fmla="*/ 416390 w 846996"/>
                <a:gd name="connsiteY884" fmla="*/ 624069 h 824638"/>
                <a:gd name="connsiteX885" fmla="*/ 421947 w 846996"/>
                <a:gd name="connsiteY885" fmla="*/ 632081 h 824638"/>
                <a:gd name="connsiteX886" fmla="*/ 423240 w 846996"/>
                <a:gd name="connsiteY886" fmla="*/ 635570 h 824638"/>
                <a:gd name="connsiteX887" fmla="*/ 423886 w 846996"/>
                <a:gd name="connsiteY887" fmla="*/ 639835 h 824638"/>
                <a:gd name="connsiteX888" fmla="*/ 424274 w 846996"/>
                <a:gd name="connsiteY888" fmla="*/ 646168 h 824638"/>
                <a:gd name="connsiteX889" fmla="*/ 424791 w 846996"/>
                <a:gd name="connsiteY889" fmla="*/ 648365 h 824638"/>
                <a:gd name="connsiteX890" fmla="*/ 425695 w 846996"/>
                <a:gd name="connsiteY890" fmla="*/ 650045 h 824638"/>
                <a:gd name="connsiteX891" fmla="*/ 428409 w 846996"/>
                <a:gd name="connsiteY891" fmla="*/ 652371 h 824638"/>
                <a:gd name="connsiteX892" fmla="*/ 429572 w 846996"/>
                <a:gd name="connsiteY892" fmla="*/ 653922 h 824638"/>
                <a:gd name="connsiteX893" fmla="*/ 431381 w 846996"/>
                <a:gd name="connsiteY893" fmla="*/ 657153 h 824638"/>
                <a:gd name="connsiteX894" fmla="*/ 433579 w 846996"/>
                <a:gd name="connsiteY894" fmla="*/ 660254 h 824638"/>
                <a:gd name="connsiteX895" fmla="*/ 436163 w 846996"/>
                <a:gd name="connsiteY895" fmla="*/ 662839 h 824638"/>
                <a:gd name="connsiteX896" fmla="*/ 442883 w 846996"/>
                <a:gd name="connsiteY896" fmla="*/ 667620 h 824638"/>
                <a:gd name="connsiteX897" fmla="*/ 449216 w 846996"/>
                <a:gd name="connsiteY897" fmla="*/ 674728 h 824638"/>
                <a:gd name="connsiteX898" fmla="*/ 455290 w 846996"/>
                <a:gd name="connsiteY898" fmla="*/ 676667 h 824638"/>
                <a:gd name="connsiteX899" fmla="*/ 459813 w 846996"/>
                <a:gd name="connsiteY899" fmla="*/ 679510 h 824638"/>
                <a:gd name="connsiteX900" fmla="*/ 461622 w 846996"/>
                <a:gd name="connsiteY900" fmla="*/ 680156 h 824638"/>
                <a:gd name="connsiteX901" fmla="*/ 465111 w 846996"/>
                <a:gd name="connsiteY901" fmla="*/ 680156 h 824638"/>
                <a:gd name="connsiteX902" fmla="*/ 468601 w 846996"/>
                <a:gd name="connsiteY902" fmla="*/ 682353 h 824638"/>
                <a:gd name="connsiteX903" fmla="*/ 472090 w 846996"/>
                <a:gd name="connsiteY903" fmla="*/ 683904 h 824638"/>
                <a:gd name="connsiteX904" fmla="*/ 473770 w 846996"/>
                <a:gd name="connsiteY904" fmla="*/ 685067 h 824638"/>
                <a:gd name="connsiteX905" fmla="*/ 480878 w 846996"/>
                <a:gd name="connsiteY905" fmla="*/ 692821 h 824638"/>
                <a:gd name="connsiteX906" fmla="*/ 481783 w 846996"/>
                <a:gd name="connsiteY906" fmla="*/ 694630 h 824638"/>
                <a:gd name="connsiteX907" fmla="*/ 481524 w 846996"/>
                <a:gd name="connsiteY907" fmla="*/ 696956 h 824638"/>
                <a:gd name="connsiteX908" fmla="*/ 480102 w 846996"/>
                <a:gd name="connsiteY908" fmla="*/ 698766 h 824638"/>
                <a:gd name="connsiteX909" fmla="*/ 476225 w 846996"/>
                <a:gd name="connsiteY909" fmla="*/ 701867 h 824638"/>
                <a:gd name="connsiteX910" fmla="*/ 474158 w 846996"/>
                <a:gd name="connsiteY910" fmla="*/ 704452 h 824638"/>
                <a:gd name="connsiteX911" fmla="*/ 471832 w 846996"/>
                <a:gd name="connsiteY911" fmla="*/ 707425 h 824638"/>
                <a:gd name="connsiteX912" fmla="*/ 464724 w 846996"/>
                <a:gd name="connsiteY912" fmla="*/ 712594 h 824638"/>
                <a:gd name="connsiteX913" fmla="*/ 461622 w 846996"/>
                <a:gd name="connsiteY913" fmla="*/ 715825 h 824638"/>
                <a:gd name="connsiteX914" fmla="*/ 460847 w 846996"/>
                <a:gd name="connsiteY914" fmla="*/ 718151 h 824638"/>
                <a:gd name="connsiteX915" fmla="*/ 460588 w 846996"/>
                <a:gd name="connsiteY915" fmla="*/ 722803 h 824638"/>
                <a:gd name="connsiteX916" fmla="*/ 459813 w 846996"/>
                <a:gd name="connsiteY916" fmla="*/ 725129 h 824638"/>
                <a:gd name="connsiteX917" fmla="*/ 458650 w 846996"/>
                <a:gd name="connsiteY917" fmla="*/ 726551 h 824638"/>
                <a:gd name="connsiteX918" fmla="*/ 445597 w 846996"/>
                <a:gd name="connsiteY918" fmla="*/ 735210 h 824638"/>
                <a:gd name="connsiteX919" fmla="*/ 441979 w 846996"/>
                <a:gd name="connsiteY919" fmla="*/ 738440 h 824638"/>
                <a:gd name="connsiteX920" fmla="*/ 438877 w 846996"/>
                <a:gd name="connsiteY920" fmla="*/ 742576 h 824638"/>
                <a:gd name="connsiteX921" fmla="*/ 438877 w 846996"/>
                <a:gd name="connsiteY921" fmla="*/ 742576 h 824638"/>
                <a:gd name="connsiteX922" fmla="*/ 438877 w 846996"/>
                <a:gd name="connsiteY922" fmla="*/ 742576 h 824638"/>
                <a:gd name="connsiteX923" fmla="*/ 437972 w 846996"/>
                <a:gd name="connsiteY923" fmla="*/ 745807 h 824638"/>
                <a:gd name="connsiteX924" fmla="*/ 436163 w 846996"/>
                <a:gd name="connsiteY924" fmla="*/ 751622 h 824638"/>
                <a:gd name="connsiteX925" fmla="*/ 436292 w 846996"/>
                <a:gd name="connsiteY925" fmla="*/ 761056 h 824638"/>
                <a:gd name="connsiteX926" fmla="*/ 438619 w 846996"/>
                <a:gd name="connsiteY926" fmla="*/ 780183 h 824638"/>
                <a:gd name="connsiteX927" fmla="*/ 436163 w 846996"/>
                <a:gd name="connsiteY927" fmla="*/ 801248 h 824638"/>
                <a:gd name="connsiteX928" fmla="*/ 435905 w 846996"/>
                <a:gd name="connsiteY928" fmla="*/ 812750 h 824638"/>
                <a:gd name="connsiteX929" fmla="*/ 438877 w 846996"/>
                <a:gd name="connsiteY929" fmla="*/ 817919 h 824638"/>
                <a:gd name="connsiteX930" fmla="*/ 441074 w 846996"/>
                <a:gd name="connsiteY930" fmla="*/ 817919 h 824638"/>
                <a:gd name="connsiteX931" fmla="*/ 443013 w 846996"/>
                <a:gd name="connsiteY931" fmla="*/ 817531 h 824638"/>
                <a:gd name="connsiteX932" fmla="*/ 444822 w 846996"/>
                <a:gd name="connsiteY932" fmla="*/ 817531 h 824638"/>
                <a:gd name="connsiteX933" fmla="*/ 446502 w 846996"/>
                <a:gd name="connsiteY933" fmla="*/ 818824 h 824638"/>
                <a:gd name="connsiteX934" fmla="*/ 447536 w 846996"/>
                <a:gd name="connsiteY934" fmla="*/ 820892 h 824638"/>
                <a:gd name="connsiteX935" fmla="*/ 448311 w 846996"/>
                <a:gd name="connsiteY935" fmla="*/ 823218 h 824638"/>
                <a:gd name="connsiteX936" fmla="*/ 449603 w 846996"/>
                <a:gd name="connsiteY936" fmla="*/ 824639 h 824638"/>
                <a:gd name="connsiteX937" fmla="*/ 453093 w 846996"/>
                <a:gd name="connsiteY937" fmla="*/ 824381 h 824638"/>
                <a:gd name="connsiteX938" fmla="*/ 453093 w 846996"/>
                <a:gd name="connsiteY938" fmla="*/ 824381 h 824638"/>
                <a:gd name="connsiteX939" fmla="*/ 453093 w 846996"/>
                <a:gd name="connsiteY939" fmla="*/ 824381 h 824638"/>
                <a:gd name="connsiteX940" fmla="*/ 465111 w 846996"/>
                <a:gd name="connsiteY940" fmla="*/ 816239 h 824638"/>
                <a:gd name="connsiteX941" fmla="*/ 472865 w 846996"/>
                <a:gd name="connsiteY941" fmla="*/ 808873 h 824638"/>
                <a:gd name="connsiteX942" fmla="*/ 483850 w 846996"/>
                <a:gd name="connsiteY942" fmla="*/ 797112 h 824638"/>
                <a:gd name="connsiteX943" fmla="*/ 502202 w 846996"/>
                <a:gd name="connsiteY943" fmla="*/ 781217 h 824638"/>
                <a:gd name="connsiteX944" fmla="*/ 513057 w 846996"/>
                <a:gd name="connsiteY944" fmla="*/ 771007 h 824638"/>
                <a:gd name="connsiteX945" fmla="*/ 521070 w 846996"/>
                <a:gd name="connsiteY945" fmla="*/ 761573 h 824638"/>
                <a:gd name="connsiteX946" fmla="*/ 531667 w 846996"/>
                <a:gd name="connsiteY946" fmla="*/ 747358 h 824638"/>
                <a:gd name="connsiteX947" fmla="*/ 534122 w 846996"/>
                <a:gd name="connsiteY947" fmla="*/ 742834 h 824638"/>
                <a:gd name="connsiteX948" fmla="*/ 550276 w 846996"/>
                <a:gd name="connsiteY948" fmla="*/ 704710 h 824638"/>
                <a:gd name="connsiteX949" fmla="*/ 553249 w 846996"/>
                <a:gd name="connsiteY949" fmla="*/ 690107 h 824638"/>
                <a:gd name="connsiteX950" fmla="*/ 560486 w 846996"/>
                <a:gd name="connsiteY950" fmla="*/ 666457 h 824638"/>
                <a:gd name="connsiteX951" fmla="*/ 573538 w 846996"/>
                <a:gd name="connsiteY951" fmla="*/ 639189 h 824638"/>
                <a:gd name="connsiteX952" fmla="*/ 576252 w 846996"/>
                <a:gd name="connsiteY952" fmla="*/ 635183 h 824638"/>
                <a:gd name="connsiteX953" fmla="*/ 587108 w 846996"/>
                <a:gd name="connsiteY953" fmla="*/ 625878 h 824638"/>
                <a:gd name="connsiteX954" fmla="*/ 590985 w 846996"/>
                <a:gd name="connsiteY954" fmla="*/ 624456 h 824638"/>
                <a:gd name="connsiteX955" fmla="*/ 590985 w 846996"/>
                <a:gd name="connsiteY955" fmla="*/ 622906 h 824638"/>
                <a:gd name="connsiteX956" fmla="*/ 589822 w 846996"/>
                <a:gd name="connsiteY956" fmla="*/ 619028 h 824638"/>
                <a:gd name="connsiteX957" fmla="*/ 589951 w 846996"/>
                <a:gd name="connsiteY957" fmla="*/ 616961 h 824638"/>
                <a:gd name="connsiteX958" fmla="*/ 591373 w 846996"/>
                <a:gd name="connsiteY958" fmla="*/ 612050 h 824638"/>
                <a:gd name="connsiteX959" fmla="*/ 589692 w 846996"/>
                <a:gd name="connsiteY959" fmla="*/ 613601 h 824638"/>
                <a:gd name="connsiteX960" fmla="*/ 585816 w 846996"/>
                <a:gd name="connsiteY960" fmla="*/ 618512 h 824638"/>
                <a:gd name="connsiteX961" fmla="*/ 584006 w 846996"/>
                <a:gd name="connsiteY961" fmla="*/ 619028 h 824638"/>
                <a:gd name="connsiteX962" fmla="*/ 582585 w 846996"/>
                <a:gd name="connsiteY962" fmla="*/ 616185 h 824638"/>
                <a:gd name="connsiteX963" fmla="*/ 584911 w 846996"/>
                <a:gd name="connsiteY963" fmla="*/ 613342 h 824638"/>
                <a:gd name="connsiteX964" fmla="*/ 590210 w 846996"/>
                <a:gd name="connsiteY964" fmla="*/ 609853 h 824638"/>
                <a:gd name="connsiteX965" fmla="*/ 592019 w 846996"/>
                <a:gd name="connsiteY965" fmla="*/ 608302 h 824638"/>
                <a:gd name="connsiteX966" fmla="*/ 592019 w 846996"/>
                <a:gd name="connsiteY966" fmla="*/ 607656 h 824638"/>
                <a:gd name="connsiteX967" fmla="*/ 590597 w 846996"/>
                <a:gd name="connsiteY967" fmla="*/ 606880 h 824638"/>
                <a:gd name="connsiteX968" fmla="*/ 589176 w 846996"/>
                <a:gd name="connsiteY968" fmla="*/ 606752 h 824638"/>
                <a:gd name="connsiteX969" fmla="*/ 587366 w 846996"/>
                <a:gd name="connsiteY969" fmla="*/ 607269 h 824638"/>
                <a:gd name="connsiteX970" fmla="*/ 586074 w 846996"/>
                <a:gd name="connsiteY970" fmla="*/ 608302 h 824638"/>
                <a:gd name="connsiteX971" fmla="*/ 585428 w 846996"/>
                <a:gd name="connsiteY971" fmla="*/ 609853 h 824638"/>
                <a:gd name="connsiteX972" fmla="*/ 584136 w 846996"/>
                <a:gd name="connsiteY972" fmla="*/ 611791 h 824638"/>
                <a:gd name="connsiteX973" fmla="*/ 581163 w 846996"/>
                <a:gd name="connsiteY973" fmla="*/ 613472 h 824638"/>
                <a:gd name="connsiteX974" fmla="*/ 577803 w 846996"/>
                <a:gd name="connsiteY974" fmla="*/ 614376 h 824638"/>
                <a:gd name="connsiteX975" fmla="*/ 575218 w 846996"/>
                <a:gd name="connsiteY975" fmla="*/ 613730 h 824638"/>
                <a:gd name="connsiteX976" fmla="*/ 578062 w 846996"/>
                <a:gd name="connsiteY976" fmla="*/ 612179 h 824638"/>
                <a:gd name="connsiteX977" fmla="*/ 578062 w 846996"/>
                <a:gd name="connsiteY977" fmla="*/ 610758 h 824638"/>
                <a:gd name="connsiteX978" fmla="*/ 576123 w 846996"/>
                <a:gd name="connsiteY978" fmla="*/ 609982 h 824638"/>
                <a:gd name="connsiteX979" fmla="*/ 573021 w 846996"/>
                <a:gd name="connsiteY979" fmla="*/ 610370 h 824638"/>
                <a:gd name="connsiteX980" fmla="*/ 573797 w 846996"/>
                <a:gd name="connsiteY980" fmla="*/ 608432 h 824638"/>
                <a:gd name="connsiteX981" fmla="*/ 574185 w 846996"/>
                <a:gd name="connsiteY981" fmla="*/ 605976 h 824638"/>
                <a:gd name="connsiteX982" fmla="*/ 574443 w 846996"/>
                <a:gd name="connsiteY982" fmla="*/ 601324 h 824638"/>
                <a:gd name="connsiteX983" fmla="*/ 575218 w 846996"/>
                <a:gd name="connsiteY983" fmla="*/ 599385 h 824638"/>
                <a:gd name="connsiteX984" fmla="*/ 577286 w 846996"/>
                <a:gd name="connsiteY984" fmla="*/ 598222 h 824638"/>
                <a:gd name="connsiteX985" fmla="*/ 579612 w 846996"/>
                <a:gd name="connsiteY985" fmla="*/ 597317 h 824638"/>
                <a:gd name="connsiteX986" fmla="*/ 581422 w 846996"/>
                <a:gd name="connsiteY986" fmla="*/ 596154 h 824638"/>
                <a:gd name="connsiteX987" fmla="*/ 582585 w 846996"/>
                <a:gd name="connsiteY987" fmla="*/ 595637 h 824638"/>
                <a:gd name="connsiteX988" fmla="*/ 585040 w 846996"/>
                <a:gd name="connsiteY988" fmla="*/ 596284 h 824638"/>
                <a:gd name="connsiteX989" fmla="*/ 585816 w 846996"/>
                <a:gd name="connsiteY989" fmla="*/ 596154 h 824638"/>
                <a:gd name="connsiteX990" fmla="*/ 586332 w 846996"/>
                <a:gd name="connsiteY990" fmla="*/ 594862 h 824638"/>
                <a:gd name="connsiteX991" fmla="*/ 586203 w 846996"/>
                <a:gd name="connsiteY991" fmla="*/ 593828 h 824638"/>
                <a:gd name="connsiteX992" fmla="*/ 585428 w 846996"/>
                <a:gd name="connsiteY992" fmla="*/ 592923 h 824638"/>
                <a:gd name="connsiteX993" fmla="*/ 584782 w 846996"/>
                <a:gd name="connsiteY993" fmla="*/ 592277 h 824638"/>
                <a:gd name="connsiteX994" fmla="*/ 583877 w 846996"/>
                <a:gd name="connsiteY994" fmla="*/ 591890 h 824638"/>
                <a:gd name="connsiteX995" fmla="*/ 581551 w 846996"/>
                <a:gd name="connsiteY995" fmla="*/ 591373 h 824638"/>
                <a:gd name="connsiteX996" fmla="*/ 581034 w 846996"/>
                <a:gd name="connsiteY996" fmla="*/ 590985 h 824638"/>
                <a:gd name="connsiteX997" fmla="*/ 580776 w 846996"/>
                <a:gd name="connsiteY997" fmla="*/ 590339 h 824638"/>
                <a:gd name="connsiteX998" fmla="*/ 578191 w 846996"/>
                <a:gd name="connsiteY998" fmla="*/ 587108 h 824638"/>
                <a:gd name="connsiteX999" fmla="*/ 575477 w 846996"/>
                <a:gd name="connsiteY999" fmla="*/ 588530 h 824638"/>
                <a:gd name="connsiteX1000" fmla="*/ 574185 w 846996"/>
                <a:gd name="connsiteY1000" fmla="*/ 586203 h 824638"/>
                <a:gd name="connsiteX1001" fmla="*/ 574443 w 846996"/>
                <a:gd name="connsiteY1001" fmla="*/ 583619 h 824638"/>
                <a:gd name="connsiteX1002" fmla="*/ 576640 w 846996"/>
                <a:gd name="connsiteY1002" fmla="*/ 583619 h 824638"/>
                <a:gd name="connsiteX1003" fmla="*/ 576769 w 846996"/>
                <a:gd name="connsiteY1003" fmla="*/ 582068 h 824638"/>
                <a:gd name="connsiteX1004" fmla="*/ 577286 w 846996"/>
                <a:gd name="connsiteY1004" fmla="*/ 580775 h 824638"/>
                <a:gd name="connsiteX1005" fmla="*/ 577932 w 846996"/>
                <a:gd name="connsiteY1005" fmla="*/ 579612 h 824638"/>
                <a:gd name="connsiteX1006" fmla="*/ 578191 w 846996"/>
                <a:gd name="connsiteY1006" fmla="*/ 578579 h 824638"/>
                <a:gd name="connsiteX1007" fmla="*/ 577932 w 846996"/>
                <a:gd name="connsiteY1007" fmla="*/ 577803 h 824638"/>
                <a:gd name="connsiteX1008" fmla="*/ 576898 w 846996"/>
                <a:gd name="connsiteY1008" fmla="*/ 575219 h 824638"/>
                <a:gd name="connsiteX1009" fmla="*/ 576640 w 846996"/>
                <a:gd name="connsiteY1009" fmla="*/ 573797 h 824638"/>
                <a:gd name="connsiteX1010" fmla="*/ 577286 w 846996"/>
                <a:gd name="connsiteY1010" fmla="*/ 571083 h 824638"/>
                <a:gd name="connsiteX1011" fmla="*/ 578966 w 846996"/>
                <a:gd name="connsiteY1011" fmla="*/ 569403 h 824638"/>
                <a:gd name="connsiteX1012" fmla="*/ 590468 w 846996"/>
                <a:gd name="connsiteY1012" fmla="*/ 564880 h 824638"/>
                <a:gd name="connsiteX1013" fmla="*/ 592406 w 846996"/>
                <a:gd name="connsiteY1013" fmla="*/ 563588 h 824638"/>
                <a:gd name="connsiteX1014" fmla="*/ 593957 w 846996"/>
                <a:gd name="connsiteY1014" fmla="*/ 561649 h 824638"/>
                <a:gd name="connsiteX1015" fmla="*/ 595508 w 846996"/>
                <a:gd name="connsiteY1015" fmla="*/ 558935 h 824638"/>
                <a:gd name="connsiteX1016" fmla="*/ 596284 w 846996"/>
                <a:gd name="connsiteY1016" fmla="*/ 556221 h 824638"/>
                <a:gd name="connsiteX1017" fmla="*/ 595766 w 846996"/>
                <a:gd name="connsiteY1017" fmla="*/ 554412 h 824638"/>
                <a:gd name="connsiteX1018" fmla="*/ 593828 w 846996"/>
                <a:gd name="connsiteY1018" fmla="*/ 554153 h 824638"/>
                <a:gd name="connsiteX1019" fmla="*/ 592277 w 846996"/>
                <a:gd name="connsiteY1019" fmla="*/ 554670 h 824638"/>
                <a:gd name="connsiteX1020" fmla="*/ 591114 w 846996"/>
                <a:gd name="connsiteY1020" fmla="*/ 554283 h 824638"/>
                <a:gd name="connsiteX1021" fmla="*/ 590597 w 846996"/>
                <a:gd name="connsiteY1021" fmla="*/ 550664 h 824638"/>
                <a:gd name="connsiteX1022" fmla="*/ 590985 w 846996"/>
                <a:gd name="connsiteY1022" fmla="*/ 549372 h 824638"/>
                <a:gd name="connsiteX1023" fmla="*/ 591760 w 846996"/>
                <a:gd name="connsiteY1023" fmla="*/ 548338 h 824638"/>
                <a:gd name="connsiteX1024" fmla="*/ 592923 w 846996"/>
                <a:gd name="connsiteY1024" fmla="*/ 547692 h 824638"/>
                <a:gd name="connsiteX1025" fmla="*/ 593957 w 846996"/>
                <a:gd name="connsiteY1025" fmla="*/ 548079 h 824638"/>
                <a:gd name="connsiteX1026" fmla="*/ 595120 w 846996"/>
                <a:gd name="connsiteY1026" fmla="*/ 548984 h 824638"/>
                <a:gd name="connsiteX1027" fmla="*/ 595766 w 846996"/>
                <a:gd name="connsiteY1027" fmla="*/ 549242 h 824638"/>
                <a:gd name="connsiteX1028" fmla="*/ 596413 w 846996"/>
                <a:gd name="connsiteY1028" fmla="*/ 549759 h 824638"/>
                <a:gd name="connsiteX1029" fmla="*/ 597188 w 846996"/>
                <a:gd name="connsiteY1029" fmla="*/ 551052 h 824638"/>
                <a:gd name="connsiteX1030" fmla="*/ 597447 w 846996"/>
                <a:gd name="connsiteY1030" fmla="*/ 552086 h 824638"/>
                <a:gd name="connsiteX1031" fmla="*/ 597963 w 846996"/>
                <a:gd name="connsiteY1031" fmla="*/ 555446 h 824638"/>
                <a:gd name="connsiteX1032" fmla="*/ 599127 w 846996"/>
                <a:gd name="connsiteY1032" fmla="*/ 558160 h 824638"/>
                <a:gd name="connsiteX1033" fmla="*/ 599902 w 846996"/>
                <a:gd name="connsiteY1033" fmla="*/ 559194 h 824638"/>
                <a:gd name="connsiteX1034" fmla="*/ 600161 w 846996"/>
                <a:gd name="connsiteY1034" fmla="*/ 558418 h 824638"/>
                <a:gd name="connsiteX1035" fmla="*/ 600548 w 846996"/>
                <a:gd name="connsiteY1035" fmla="*/ 556479 h 824638"/>
                <a:gd name="connsiteX1036" fmla="*/ 602358 w 846996"/>
                <a:gd name="connsiteY1036" fmla="*/ 550147 h 824638"/>
                <a:gd name="connsiteX1037" fmla="*/ 601970 w 846996"/>
                <a:gd name="connsiteY1037" fmla="*/ 549113 h 824638"/>
                <a:gd name="connsiteX1038" fmla="*/ 600677 w 846996"/>
                <a:gd name="connsiteY1038" fmla="*/ 547304 h 824638"/>
                <a:gd name="connsiteX1039" fmla="*/ 600161 w 846996"/>
                <a:gd name="connsiteY1039" fmla="*/ 545883 h 824638"/>
                <a:gd name="connsiteX1040" fmla="*/ 600161 w 846996"/>
                <a:gd name="connsiteY1040" fmla="*/ 544461 h 824638"/>
                <a:gd name="connsiteX1041" fmla="*/ 600677 w 846996"/>
                <a:gd name="connsiteY1041" fmla="*/ 541876 h 824638"/>
                <a:gd name="connsiteX1042" fmla="*/ 600936 w 846996"/>
                <a:gd name="connsiteY1042" fmla="*/ 540325 h 824638"/>
                <a:gd name="connsiteX1043" fmla="*/ 600548 w 846996"/>
                <a:gd name="connsiteY1043" fmla="*/ 532055 h 824638"/>
                <a:gd name="connsiteX1044" fmla="*/ 600936 w 846996"/>
                <a:gd name="connsiteY1044" fmla="*/ 529599 h 824638"/>
                <a:gd name="connsiteX1045" fmla="*/ 601453 w 846996"/>
                <a:gd name="connsiteY1045" fmla="*/ 528177 h 824638"/>
                <a:gd name="connsiteX1046" fmla="*/ 602099 w 846996"/>
                <a:gd name="connsiteY1046" fmla="*/ 527531 h 824638"/>
                <a:gd name="connsiteX1047" fmla="*/ 605976 w 846996"/>
                <a:gd name="connsiteY1047" fmla="*/ 524430 h 824638"/>
                <a:gd name="connsiteX1048" fmla="*/ 606881 w 846996"/>
                <a:gd name="connsiteY1048" fmla="*/ 523396 h 824638"/>
                <a:gd name="connsiteX1049" fmla="*/ 606364 w 846996"/>
                <a:gd name="connsiteY1049" fmla="*/ 522879 h 824638"/>
                <a:gd name="connsiteX1050" fmla="*/ 605330 w 846996"/>
                <a:gd name="connsiteY1050" fmla="*/ 522362 h 824638"/>
                <a:gd name="connsiteX1051" fmla="*/ 604554 w 846996"/>
                <a:gd name="connsiteY1051" fmla="*/ 521199 h 824638"/>
                <a:gd name="connsiteX1052" fmla="*/ 604554 w 846996"/>
                <a:gd name="connsiteY1052" fmla="*/ 520036 h 824638"/>
                <a:gd name="connsiteX1053" fmla="*/ 605718 w 846996"/>
                <a:gd name="connsiteY1053" fmla="*/ 519519 h 824638"/>
                <a:gd name="connsiteX1054" fmla="*/ 607139 w 846996"/>
                <a:gd name="connsiteY1054" fmla="*/ 519131 h 824638"/>
                <a:gd name="connsiteX1055" fmla="*/ 607914 w 846996"/>
                <a:gd name="connsiteY1055" fmla="*/ 518356 h 824638"/>
                <a:gd name="connsiteX1056" fmla="*/ 608432 w 846996"/>
                <a:gd name="connsiteY1056" fmla="*/ 517451 h 824638"/>
                <a:gd name="connsiteX1057" fmla="*/ 608948 w 846996"/>
                <a:gd name="connsiteY1057" fmla="*/ 516805 h 824638"/>
                <a:gd name="connsiteX1058" fmla="*/ 611145 w 846996"/>
                <a:gd name="connsiteY1058" fmla="*/ 516805 h 824638"/>
                <a:gd name="connsiteX1059" fmla="*/ 613859 w 846996"/>
                <a:gd name="connsiteY1059" fmla="*/ 517451 h 824638"/>
                <a:gd name="connsiteX1060" fmla="*/ 616056 w 846996"/>
                <a:gd name="connsiteY1060" fmla="*/ 517451 h 824638"/>
                <a:gd name="connsiteX1061" fmla="*/ 617866 w 846996"/>
                <a:gd name="connsiteY1061" fmla="*/ 513703 h 824638"/>
                <a:gd name="connsiteX1062" fmla="*/ 620062 w 846996"/>
                <a:gd name="connsiteY1062" fmla="*/ 512540 h 824638"/>
                <a:gd name="connsiteX1063" fmla="*/ 622518 w 846996"/>
                <a:gd name="connsiteY1063" fmla="*/ 511894 h 824638"/>
                <a:gd name="connsiteX1064" fmla="*/ 624327 w 846996"/>
                <a:gd name="connsiteY1064" fmla="*/ 511765 h 824638"/>
                <a:gd name="connsiteX1065" fmla="*/ 629109 w 846996"/>
                <a:gd name="connsiteY1065" fmla="*/ 512152 h 824638"/>
                <a:gd name="connsiteX1066" fmla="*/ 631435 w 846996"/>
                <a:gd name="connsiteY1066" fmla="*/ 511765 h 824638"/>
                <a:gd name="connsiteX1067" fmla="*/ 633503 w 846996"/>
                <a:gd name="connsiteY1067" fmla="*/ 510472 h 824638"/>
                <a:gd name="connsiteX1068" fmla="*/ 634407 w 846996"/>
                <a:gd name="connsiteY1068" fmla="*/ 510085 h 824638"/>
                <a:gd name="connsiteX1069" fmla="*/ 635570 w 846996"/>
                <a:gd name="connsiteY1069" fmla="*/ 510214 h 824638"/>
                <a:gd name="connsiteX1070" fmla="*/ 636733 w 846996"/>
                <a:gd name="connsiteY1070" fmla="*/ 510602 h 824638"/>
                <a:gd name="connsiteX1071" fmla="*/ 637897 w 846996"/>
                <a:gd name="connsiteY1071" fmla="*/ 510860 h 824638"/>
                <a:gd name="connsiteX1072" fmla="*/ 639577 w 846996"/>
                <a:gd name="connsiteY1072" fmla="*/ 510602 h 824638"/>
                <a:gd name="connsiteX1073" fmla="*/ 639447 w 846996"/>
                <a:gd name="connsiteY1073" fmla="*/ 509826 h 824638"/>
                <a:gd name="connsiteX1074" fmla="*/ 638284 w 846996"/>
                <a:gd name="connsiteY1074" fmla="*/ 508405 h 824638"/>
                <a:gd name="connsiteX1075" fmla="*/ 638026 w 846996"/>
                <a:gd name="connsiteY1075" fmla="*/ 504269 h 824638"/>
                <a:gd name="connsiteX1076" fmla="*/ 638931 w 846996"/>
                <a:gd name="connsiteY1076" fmla="*/ 499487 h 824638"/>
                <a:gd name="connsiteX1077" fmla="*/ 640998 w 846996"/>
                <a:gd name="connsiteY1077" fmla="*/ 495481 h 824638"/>
                <a:gd name="connsiteX1078" fmla="*/ 644488 w 846996"/>
                <a:gd name="connsiteY1078" fmla="*/ 493801 h 824638"/>
                <a:gd name="connsiteX1079" fmla="*/ 646814 w 846996"/>
                <a:gd name="connsiteY1079" fmla="*/ 493543 h 824638"/>
                <a:gd name="connsiteX1080" fmla="*/ 660383 w 846996"/>
                <a:gd name="connsiteY1080" fmla="*/ 488761 h 824638"/>
                <a:gd name="connsiteX1081" fmla="*/ 657411 w 846996"/>
                <a:gd name="connsiteY1081" fmla="*/ 485272 h 824638"/>
                <a:gd name="connsiteX1082" fmla="*/ 655989 w 846996"/>
                <a:gd name="connsiteY1082" fmla="*/ 480232 h 824638"/>
                <a:gd name="connsiteX1083" fmla="*/ 655731 w 846996"/>
                <a:gd name="connsiteY1083" fmla="*/ 474545 h 824638"/>
                <a:gd name="connsiteX1084" fmla="*/ 656636 w 846996"/>
                <a:gd name="connsiteY1084" fmla="*/ 469118 h 824638"/>
                <a:gd name="connsiteX1085" fmla="*/ 657540 w 846996"/>
                <a:gd name="connsiteY1085" fmla="*/ 466404 h 824638"/>
                <a:gd name="connsiteX1086" fmla="*/ 658962 w 846996"/>
                <a:gd name="connsiteY1086" fmla="*/ 464982 h 824638"/>
                <a:gd name="connsiteX1087" fmla="*/ 661029 w 846996"/>
                <a:gd name="connsiteY1087" fmla="*/ 464207 h 824638"/>
                <a:gd name="connsiteX1088" fmla="*/ 663614 w 846996"/>
                <a:gd name="connsiteY1088" fmla="*/ 464078 h 824638"/>
                <a:gd name="connsiteX1089" fmla="*/ 668137 w 846996"/>
                <a:gd name="connsiteY1089" fmla="*/ 464595 h 824638"/>
                <a:gd name="connsiteX1090" fmla="*/ 669042 w 846996"/>
                <a:gd name="connsiteY1090" fmla="*/ 463690 h 824638"/>
                <a:gd name="connsiteX1091" fmla="*/ 669171 w 846996"/>
                <a:gd name="connsiteY1091" fmla="*/ 460588 h 824638"/>
                <a:gd name="connsiteX1092" fmla="*/ 668654 w 846996"/>
                <a:gd name="connsiteY1092" fmla="*/ 457874 h 824638"/>
                <a:gd name="connsiteX1093" fmla="*/ 667233 w 846996"/>
                <a:gd name="connsiteY1093" fmla="*/ 453093 h 824638"/>
                <a:gd name="connsiteX1094" fmla="*/ 666974 w 846996"/>
                <a:gd name="connsiteY1094" fmla="*/ 450896 h 824638"/>
                <a:gd name="connsiteX1095" fmla="*/ 666716 w 846996"/>
                <a:gd name="connsiteY1095" fmla="*/ 436292 h 824638"/>
                <a:gd name="connsiteX1096" fmla="*/ 667362 w 846996"/>
                <a:gd name="connsiteY1096" fmla="*/ 434225 h 824638"/>
                <a:gd name="connsiteX1097" fmla="*/ 669430 w 846996"/>
                <a:gd name="connsiteY1097" fmla="*/ 433449 h 824638"/>
                <a:gd name="connsiteX1098" fmla="*/ 672144 w 846996"/>
                <a:gd name="connsiteY1098" fmla="*/ 433579 h 824638"/>
                <a:gd name="connsiteX1099" fmla="*/ 673177 w 846996"/>
                <a:gd name="connsiteY1099" fmla="*/ 434225 h 824638"/>
                <a:gd name="connsiteX1100" fmla="*/ 674211 w 846996"/>
                <a:gd name="connsiteY1100" fmla="*/ 439394 h 824638"/>
                <a:gd name="connsiteX1101" fmla="*/ 676537 w 846996"/>
                <a:gd name="connsiteY1101" fmla="*/ 446373 h 824638"/>
                <a:gd name="connsiteX1102" fmla="*/ 676796 w 846996"/>
                <a:gd name="connsiteY1102" fmla="*/ 449733 h 824638"/>
                <a:gd name="connsiteX1103" fmla="*/ 674211 w 846996"/>
                <a:gd name="connsiteY1103" fmla="*/ 450508 h 824638"/>
                <a:gd name="connsiteX1104" fmla="*/ 675891 w 846996"/>
                <a:gd name="connsiteY1104" fmla="*/ 453222 h 824638"/>
                <a:gd name="connsiteX1105" fmla="*/ 677571 w 846996"/>
                <a:gd name="connsiteY1105" fmla="*/ 453351 h 824638"/>
                <a:gd name="connsiteX1106" fmla="*/ 678864 w 846996"/>
                <a:gd name="connsiteY1106" fmla="*/ 451542 h 824638"/>
                <a:gd name="connsiteX1107" fmla="*/ 679381 w 846996"/>
                <a:gd name="connsiteY1107" fmla="*/ 448311 h 824638"/>
                <a:gd name="connsiteX1108" fmla="*/ 679122 w 846996"/>
                <a:gd name="connsiteY1108" fmla="*/ 445727 h 824638"/>
                <a:gd name="connsiteX1109" fmla="*/ 677184 w 846996"/>
                <a:gd name="connsiteY1109" fmla="*/ 437714 h 824638"/>
                <a:gd name="connsiteX1110" fmla="*/ 676667 w 846996"/>
                <a:gd name="connsiteY1110" fmla="*/ 432028 h 824638"/>
                <a:gd name="connsiteX1111" fmla="*/ 677054 w 846996"/>
                <a:gd name="connsiteY1111" fmla="*/ 426729 h 824638"/>
                <a:gd name="connsiteX1112" fmla="*/ 677959 w 846996"/>
                <a:gd name="connsiteY1112" fmla="*/ 421689 h 824638"/>
                <a:gd name="connsiteX1113" fmla="*/ 680932 w 846996"/>
                <a:gd name="connsiteY1113" fmla="*/ 411997 h 824638"/>
                <a:gd name="connsiteX1114" fmla="*/ 683258 w 846996"/>
                <a:gd name="connsiteY1114" fmla="*/ 407473 h 824638"/>
                <a:gd name="connsiteX1115" fmla="*/ 686359 w 846996"/>
                <a:gd name="connsiteY1115" fmla="*/ 404242 h 824638"/>
                <a:gd name="connsiteX1116" fmla="*/ 690495 w 846996"/>
                <a:gd name="connsiteY1116" fmla="*/ 403726 h 824638"/>
                <a:gd name="connsiteX1117" fmla="*/ 691399 w 846996"/>
                <a:gd name="connsiteY1117" fmla="*/ 404113 h 824638"/>
                <a:gd name="connsiteX1118" fmla="*/ 692692 w 846996"/>
                <a:gd name="connsiteY1118" fmla="*/ 405277 h 824638"/>
                <a:gd name="connsiteX1119" fmla="*/ 693338 w 846996"/>
                <a:gd name="connsiteY1119" fmla="*/ 405535 h 824638"/>
                <a:gd name="connsiteX1120" fmla="*/ 694243 w 846996"/>
                <a:gd name="connsiteY1120" fmla="*/ 405147 h 824638"/>
                <a:gd name="connsiteX1121" fmla="*/ 695406 w 846996"/>
                <a:gd name="connsiteY1121" fmla="*/ 404501 h 824638"/>
                <a:gd name="connsiteX1122" fmla="*/ 696569 w 846996"/>
                <a:gd name="connsiteY1122" fmla="*/ 403467 h 824638"/>
                <a:gd name="connsiteX1123" fmla="*/ 696956 w 846996"/>
                <a:gd name="connsiteY1123" fmla="*/ 402562 h 824638"/>
                <a:gd name="connsiteX1124" fmla="*/ 697473 w 846996"/>
                <a:gd name="connsiteY1124" fmla="*/ 400107 h 824638"/>
                <a:gd name="connsiteX1125" fmla="*/ 697990 w 846996"/>
                <a:gd name="connsiteY1125" fmla="*/ 398427 h 824638"/>
                <a:gd name="connsiteX1126" fmla="*/ 697732 w 846996"/>
                <a:gd name="connsiteY1126" fmla="*/ 397522 h 824638"/>
                <a:gd name="connsiteX1127" fmla="*/ 695535 w 846996"/>
                <a:gd name="connsiteY1127" fmla="*/ 397781 h 824638"/>
                <a:gd name="connsiteX1128" fmla="*/ 689978 w 846996"/>
                <a:gd name="connsiteY1128" fmla="*/ 399719 h 824638"/>
                <a:gd name="connsiteX1129" fmla="*/ 687652 w 846996"/>
                <a:gd name="connsiteY1129" fmla="*/ 399461 h 824638"/>
                <a:gd name="connsiteX1130" fmla="*/ 686747 w 846996"/>
                <a:gd name="connsiteY1130" fmla="*/ 396618 h 824638"/>
                <a:gd name="connsiteX1131" fmla="*/ 686876 w 846996"/>
                <a:gd name="connsiteY1131" fmla="*/ 393129 h 824638"/>
                <a:gd name="connsiteX1132" fmla="*/ 686618 w 846996"/>
                <a:gd name="connsiteY1132" fmla="*/ 391319 h 824638"/>
                <a:gd name="connsiteX1133" fmla="*/ 685972 w 846996"/>
                <a:gd name="connsiteY1133" fmla="*/ 390156 h 824638"/>
                <a:gd name="connsiteX1134" fmla="*/ 685455 w 846996"/>
                <a:gd name="connsiteY1134" fmla="*/ 390544 h 824638"/>
                <a:gd name="connsiteX1135" fmla="*/ 683387 w 846996"/>
                <a:gd name="connsiteY1135" fmla="*/ 392870 h 824638"/>
                <a:gd name="connsiteX1136" fmla="*/ 682353 w 846996"/>
                <a:gd name="connsiteY1136" fmla="*/ 393645 h 824638"/>
                <a:gd name="connsiteX1137" fmla="*/ 681319 w 846996"/>
                <a:gd name="connsiteY1137" fmla="*/ 391707 h 824638"/>
                <a:gd name="connsiteX1138" fmla="*/ 677701 w 846996"/>
                <a:gd name="connsiteY1138" fmla="*/ 390414 h 824638"/>
                <a:gd name="connsiteX1139" fmla="*/ 676537 w 846996"/>
                <a:gd name="connsiteY1139" fmla="*/ 388476 h 824638"/>
                <a:gd name="connsiteX1140" fmla="*/ 679381 w 846996"/>
                <a:gd name="connsiteY1140" fmla="*/ 385245 h 824638"/>
                <a:gd name="connsiteX1141" fmla="*/ 677571 w 846996"/>
                <a:gd name="connsiteY1141" fmla="*/ 382273 h 824638"/>
                <a:gd name="connsiteX1142" fmla="*/ 676796 w 846996"/>
                <a:gd name="connsiteY1142" fmla="*/ 381885 h 824638"/>
                <a:gd name="connsiteX1143" fmla="*/ 675762 w 846996"/>
                <a:gd name="connsiteY1143" fmla="*/ 382014 h 824638"/>
                <a:gd name="connsiteX1144" fmla="*/ 673824 w 846996"/>
                <a:gd name="connsiteY1144" fmla="*/ 382531 h 824638"/>
                <a:gd name="connsiteX1145" fmla="*/ 672790 w 846996"/>
                <a:gd name="connsiteY1145" fmla="*/ 382661 h 824638"/>
                <a:gd name="connsiteX1146" fmla="*/ 674728 w 846996"/>
                <a:gd name="connsiteY1146" fmla="*/ 379300 h 824638"/>
                <a:gd name="connsiteX1147" fmla="*/ 674987 w 846996"/>
                <a:gd name="connsiteY1147" fmla="*/ 378008 h 824638"/>
                <a:gd name="connsiteX1148" fmla="*/ 674728 w 846996"/>
                <a:gd name="connsiteY1148" fmla="*/ 376716 h 824638"/>
                <a:gd name="connsiteX1149" fmla="*/ 674340 w 846996"/>
                <a:gd name="connsiteY1149" fmla="*/ 375424 h 824638"/>
                <a:gd name="connsiteX1150" fmla="*/ 674211 w 846996"/>
                <a:gd name="connsiteY1150" fmla="*/ 374002 h 824638"/>
                <a:gd name="connsiteX1151" fmla="*/ 674599 w 846996"/>
                <a:gd name="connsiteY1151" fmla="*/ 372968 h 824638"/>
                <a:gd name="connsiteX1152" fmla="*/ 675374 w 846996"/>
                <a:gd name="connsiteY1152" fmla="*/ 371805 h 824638"/>
                <a:gd name="connsiteX1153" fmla="*/ 675633 w 846996"/>
                <a:gd name="connsiteY1153" fmla="*/ 370642 h 824638"/>
                <a:gd name="connsiteX1154" fmla="*/ 675633 w 846996"/>
                <a:gd name="connsiteY1154" fmla="*/ 367928 h 824638"/>
                <a:gd name="connsiteX1155" fmla="*/ 675762 w 846996"/>
                <a:gd name="connsiteY1155" fmla="*/ 367282 h 824638"/>
                <a:gd name="connsiteX1156" fmla="*/ 676408 w 846996"/>
                <a:gd name="connsiteY1156" fmla="*/ 366119 h 824638"/>
                <a:gd name="connsiteX1157" fmla="*/ 676537 w 846996"/>
                <a:gd name="connsiteY1157" fmla="*/ 365343 h 824638"/>
                <a:gd name="connsiteX1158" fmla="*/ 676279 w 846996"/>
                <a:gd name="connsiteY1158" fmla="*/ 364956 h 824638"/>
                <a:gd name="connsiteX1159" fmla="*/ 675762 w 846996"/>
                <a:gd name="connsiteY1159" fmla="*/ 364697 h 824638"/>
                <a:gd name="connsiteX1160" fmla="*/ 675245 w 846996"/>
                <a:gd name="connsiteY1160" fmla="*/ 364439 h 824638"/>
                <a:gd name="connsiteX1161" fmla="*/ 674987 w 846996"/>
                <a:gd name="connsiteY1161" fmla="*/ 363663 h 824638"/>
                <a:gd name="connsiteX1162" fmla="*/ 675245 w 846996"/>
                <a:gd name="connsiteY1162" fmla="*/ 362888 h 824638"/>
                <a:gd name="connsiteX1163" fmla="*/ 677184 w 846996"/>
                <a:gd name="connsiteY1163" fmla="*/ 359011 h 824638"/>
                <a:gd name="connsiteX1164" fmla="*/ 677442 w 846996"/>
                <a:gd name="connsiteY1164" fmla="*/ 357589 h 824638"/>
                <a:gd name="connsiteX1165" fmla="*/ 677184 w 846996"/>
                <a:gd name="connsiteY1165" fmla="*/ 356555 h 824638"/>
                <a:gd name="connsiteX1166" fmla="*/ 677442 w 846996"/>
                <a:gd name="connsiteY1166" fmla="*/ 355909 h 824638"/>
                <a:gd name="connsiteX1167" fmla="*/ 678734 w 846996"/>
                <a:gd name="connsiteY1167" fmla="*/ 355651 h 824638"/>
                <a:gd name="connsiteX1168" fmla="*/ 679768 w 846996"/>
                <a:gd name="connsiteY1168" fmla="*/ 356685 h 824638"/>
                <a:gd name="connsiteX1169" fmla="*/ 679639 w 846996"/>
                <a:gd name="connsiteY1169" fmla="*/ 359140 h 824638"/>
                <a:gd name="connsiteX1170" fmla="*/ 680027 w 846996"/>
                <a:gd name="connsiteY1170" fmla="*/ 360820 h 824638"/>
                <a:gd name="connsiteX1171" fmla="*/ 682353 w 846996"/>
                <a:gd name="connsiteY1171" fmla="*/ 359915 h 824638"/>
                <a:gd name="connsiteX1172" fmla="*/ 682224 w 846996"/>
                <a:gd name="connsiteY1172" fmla="*/ 362242 h 824638"/>
                <a:gd name="connsiteX1173" fmla="*/ 680932 w 846996"/>
                <a:gd name="connsiteY1173" fmla="*/ 366248 h 824638"/>
                <a:gd name="connsiteX1174" fmla="*/ 680932 w 846996"/>
                <a:gd name="connsiteY1174" fmla="*/ 368316 h 824638"/>
                <a:gd name="connsiteX1175" fmla="*/ 681578 w 846996"/>
                <a:gd name="connsiteY1175" fmla="*/ 369479 h 824638"/>
                <a:gd name="connsiteX1176" fmla="*/ 682999 w 846996"/>
                <a:gd name="connsiteY1176" fmla="*/ 370383 h 824638"/>
                <a:gd name="connsiteX1177" fmla="*/ 684162 w 846996"/>
                <a:gd name="connsiteY1177" fmla="*/ 371805 h 824638"/>
                <a:gd name="connsiteX1178" fmla="*/ 684550 w 846996"/>
                <a:gd name="connsiteY1178" fmla="*/ 374260 h 824638"/>
                <a:gd name="connsiteX1179" fmla="*/ 684033 w 846996"/>
                <a:gd name="connsiteY1179" fmla="*/ 375294 h 824638"/>
                <a:gd name="connsiteX1180" fmla="*/ 682482 w 846996"/>
                <a:gd name="connsiteY1180" fmla="*/ 376974 h 824638"/>
                <a:gd name="connsiteX1181" fmla="*/ 682353 w 846996"/>
                <a:gd name="connsiteY1181" fmla="*/ 377620 h 824638"/>
                <a:gd name="connsiteX1182" fmla="*/ 682870 w 846996"/>
                <a:gd name="connsiteY1182" fmla="*/ 378396 h 824638"/>
                <a:gd name="connsiteX1183" fmla="*/ 683516 w 846996"/>
                <a:gd name="connsiteY1183" fmla="*/ 378396 h 824638"/>
                <a:gd name="connsiteX1184" fmla="*/ 684292 w 846996"/>
                <a:gd name="connsiteY1184" fmla="*/ 378267 h 824638"/>
                <a:gd name="connsiteX1185" fmla="*/ 685196 w 846996"/>
                <a:gd name="connsiteY1185" fmla="*/ 378525 h 824638"/>
                <a:gd name="connsiteX1186" fmla="*/ 688427 w 846996"/>
                <a:gd name="connsiteY1186" fmla="*/ 379688 h 824638"/>
                <a:gd name="connsiteX1187" fmla="*/ 689461 w 846996"/>
                <a:gd name="connsiteY1187" fmla="*/ 380851 h 824638"/>
                <a:gd name="connsiteX1188" fmla="*/ 688944 w 846996"/>
                <a:gd name="connsiteY1188" fmla="*/ 382661 h 824638"/>
                <a:gd name="connsiteX1189" fmla="*/ 692692 w 846996"/>
                <a:gd name="connsiteY1189" fmla="*/ 385504 h 824638"/>
                <a:gd name="connsiteX1190" fmla="*/ 694630 w 846996"/>
                <a:gd name="connsiteY1190" fmla="*/ 386537 h 824638"/>
                <a:gd name="connsiteX1191" fmla="*/ 695535 w 846996"/>
                <a:gd name="connsiteY1191" fmla="*/ 385633 h 824638"/>
                <a:gd name="connsiteX1192" fmla="*/ 696698 w 846996"/>
                <a:gd name="connsiteY1192" fmla="*/ 384987 h 824638"/>
                <a:gd name="connsiteX1193" fmla="*/ 699283 w 846996"/>
                <a:gd name="connsiteY1193" fmla="*/ 384341 h 824638"/>
                <a:gd name="connsiteX1194" fmla="*/ 701609 w 846996"/>
                <a:gd name="connsiteY1194" fmla="*/ 384857 h 824638"/>
                <a:gd name="connsiteX1195" fmla="*/ 702126 w 846996"/>
                <a:gd name="connsiteY1195" fmla="*/ 387701 h 824638"/>
                <a:gd name="connsiteX1196" fmla="*/ 702901 w 846996"/>
                <a:gd name="connsiteY1196" fmla="*/ 387701 h 824638"/>
                <a:gd name="connsiteX1197" fmla="*/ 704064 w 846996"/>
                <a:gd name="connsiteY1197" fmla="*/ 386796 h 824638"/>
                <a:gd name="connsiteX1198" fmla="*/ 705227 w 846996"/>
                <a:gd name="connsiteY1198" fmla="*/ 387572 h 824638"/>
                <a:gd name="connsiteX1199" fmla="*/ 706132 w 846996"/>
                <a:gd name="connsiteY1199" fmla="*/ 389381 h 824638"/>
                <a:gd name="connsiteX1200" fmla="*/ 706520 w 846996"/>
                <a:gd name="connsiteY1200" fmla="*/ 391448 h 824638"/>
                <a:gd name="connsiteX1201" fmla="*/ 706261 w 846996"/>
                <a:gd name="connsiteY1201" fmla="*/ 392611 h 824638"/>
                <a:gd name="connsiteX1202" fmla="*/ 705744 w 846996"/>
                <a:gd name="connsiteY1202" fmla="*/ 393387 h 824638"/>
                <a:gd name="connsiteX1203" fmla="*/ 704969 w 846996"/>
                <a:gd name="connsiteY1203" fmla="*/ 394162 h 824638"/>
                <a:gd name="connsiteX1204" fmla="*/ 704193 w 846996"/>
                <a:gd name="connsiteY1204" fmla="*/ 395325 h 824638"/>
                <a:gd name="connsiteX1205" fmla="*/ 703677 w 846996"/>
                <a:gd name="connsiteY1205" fmla="*/ 396747 h 824638"/>
                <a:gd name="connsiteX1206" fmla="*/ 703418 w 846996"/>
                <a:gd name="connsiteY1206" fmla="*/ 397393 h 824638"/>
                <a:gd name="connsiteX1207" fmla="*/ 703547 w 846996"/>
                <a:gd name="connsiteY1207" fmla="*/ 399073 h 824638"/>
                <a:gd name="connsiteX1208" fmla="*/ 704064 w 846996"/>
                <a:gd name="connsiteY1208" fmla="*/ 401270 h 824638"/>
                <a:gd name="connsiteX1209" fmla="*/ 705486 w 846996"/>
                <a:gd name="connsiteY1209" fmla="*/ 402304 h 824638"/>
                <a:gd name="connsiteX1210" fmla="*/ 707295 w 846996"/>
                <a:gd name="connsiteY1210" fmla="*/ 402821 h 824638"/>
                <a:gd name="connsiteX1211" fmla="*/ 709492 w 846996"/>
                <a:gd name="connsiteY1211" fmla="*/ 403726 h 824638"/>
                <a:gd name="connsiteX1212" fmla="*/ 714532 w 846996"/>
                <a:gd name="connsiteY1212" fmla="*/ 408249 h 824638"/>
                <a:gd name="connsiteX1213" fmla="*/ 716858 w 846996"/>
                <a:gd name="connsiteY1213" fmla="*/ 408766 h 824638"/>
                <a:gd name="connsiteX1214" fmla="*/ 715178 w 846996"/>
                <a:gd name="connsiteY1214" fmla="*/ 404113 h 824638"/>
                <a:gd name="connsiteX1215" fmla="*/ 714920 w 846996"/>
                <a:gd name="connsiteY1215" fmla="*/ 401916 h 824638"/>
                <a:gd name="connsiteX1216" fmla="*/ 715307 w 846996"/>
                <a:gd name="connsiteY1216" fmla="*/ 398685 h 824638"/>
                <a:gd name="connsiteX1217" fmla="*/ 715954 w 846996"/>
                <a:gd name="connsiteY1217" fmla="*/ 396101 h 824638"/>
                <a:gd name="connsiteX1218" fmla="*/ 717117 w 846996"/>
                <a:gd name="connsiteY1218" fmla="*/ 394033 h 824638"/>
                <a:gd name="connsiteX1219" fmla="*/ 718668 w 846996"/>
                <a:gd name="connsiteY1219" fmla="*/ 393257 h 824638"/>
                <a:gd name="connsiteX1220" fmla="*/ 721252 w 846996"/>
                <a:gd name="connsiteY1220" fmla="*/ 394421 h 824638"/>
                <a:gd name="connsiteX1221" fmla="*/ 723062 w 846996"/>
                <a:gd name="connsiteY1221" fmla="*/ 394033 h 824638"/>
                <a:gd name="connsiteX1222" fmla="*/ 729265 w 846996"/>
                <a:gd name="connsiteY1222" fmla="*/ 394938 h 824638"/>
                <a:gd name="connsiteX1223" fmla="*/ 729911 w 846996"/>
                <a:gd name="connsiteY1223" fmla="*/ 392353 h 824638"/>
                <a:gd name="connsiteX1224" fmla="*/ 731462 w 846996"/>
                <a:gd name="connsiteY1224" fmla="*/ 391190 h 824638"/>
                <a:gd name="connsiteX1225" fmla="*/ 733271 w 846996"/>
                <a:gd name="connsiteY1225" fmla="*/ 390931 h 824638"/>
                <a:gd name="connsiteX1226" fmla="*/ 740379 w 846996"/>
                <a:gd name="connsiteY1226" fmla="*/ 391319 h 824638"/>
                <a:gd name="connsiteX1227" fmla="*/ 742834 w 846996"/>
                <a:gd name="connsiteY1227" fmla="*/ 390673 h 824638"/>
                <a:gd name="connsiteX1228" fmla="*/ 743868 w 846996"/>
                <a:gd name="connsiteY1228" fmla="*/ 388993 h 824638"/>
                <a:gd name="connsiteX1229" fmla="*/ 744644 w 846996"/>
                <a:gd name="connsiteY1229" fmla="*/ 387313 h 824638"/>
                <a:gd name="connsiteX1230" fmla="*/ 744902 w 846996"/>
                <a:gd name="connsiteY1230" fmla="*/ 386020 h 824638"/>
                <a:gd name="connsiteX1231" fmla="*/ 744256 w 846996"/>
                <a:gd name="connsiteY1231" fmla="*/ 384728 h 824638"/>
                <a:gd name="connsiteX1232" fmla="*/ 743093 w 846996"/>
                <a:gd name="connsiteY1232" fmla="*/ 383824 h 824638"/>
                <a:gd name="connsiteX1233" fmla="*/ 742447 w 846996"/>
                <a:gd name="connsiteY1233" fmla="*/ 383565 h 824638"/>
                <a:gd name="connsiteX1234" fmla="*/ 742188 w 846996"/>
                <a:gd name="connsiteY1234" fmla="*/ 383177 h 824638"/>
                <a:gd name="connsiteX1235" fmla="*/ 742447 w 846996"/>
                <a:gd name="connsiteY1235" fmla="*/ 381885 h 824638"/>
                <a:gd name="connsiteX1236" fmla="*/ 742834 w 846996"/>
                <a:gd name="connsiteY1236" fmla="*/ 381756 h 824638"/>
                <a:gd name="connsiteX1237" fmla="*/ 745419 w 846996"/>
                <a:gd name="connsiteY1237" fmla="*/ 378525 h 824638"/>
                <a:gd name="connsiteX1238" fmla="*/ 746711 w 846996"/>
                <a:gd name="connsiteY1238" fmla="*/ 377750 h 824638"/>
                <a:gd name="connsiteX1239" fmla="*/ 747874 w 846996"/>
                <a:gd name="connsiteY1239" fmla="*/ 377620 h 824638"/>
                <a:gd name="connsiteX1240" fmla="*/ 749037 w 846996"/>
                <a:gd name="connsiteY1240" fmla="*/ 378008 h 824638"/>
                <a:gd name="connsiteX1241" fmla="*/ 750201 w 846996"/>
                <a:gd name="connsiteY1241" fmla="*/ 378913 h 824638"/>
                <a:gd name="connsiteX1242" fmla="*/ 750718 w 846996"/>
                <a:gd name="connsiteY1242" fmla="*/ 379946 h 824638"/>
                <a:gd name="connsiteX1243" fmla="*/ 751881 w 846996"/>
                <a:gd name="connsiteY1243" fmla="*/ 382919 h 824638"/>
                <a:gd name="connsiteX1244" fmla="*/ 752398 w 846996"/>
                <a:gd name="connsiteY1244" fmla="*/ 383565 h 824638"/>
                <a:gd name="connsiteX1245" fmla="*/ 756404 w 846996"/>
                <a:gd name="connsiteY1245" fmla="*/ 386020 h 824638"/>
                <a:gd name="connsiteX1246" fmla="*/ 757050 w 846996"/>
                <a:gd name="connsiteY1246" fmla="*/ 387959 h 824638"/>
                <a:gd name="connsiteX1247" fmla="*/ 757308 w 846996"/>
                <a:gd name="connsiteY1247" fmla="*/ 391190 h 824638"/>
                <a:gd name="connsiteX1248" fmla="*/ 757308 w 846996"/>
                <a:gd name="connsiteY1248" fmla="*/ 394550 h 824638"/>
                <a:gd name="connsiteX1249" fmla="*/ 755370 w 846996"/>
                <a:gd name="connsiteY1249" fmla="*/ 401658 h 824638"/>
                <a:gd name="connsiteX1250" fmla="*/ 753948 w 846996"/>
                <a:gd name="connsiteY1250" fmla="*/ 403984 h 824638"/>
                <a:gd name="connsiteX1251" fmla="*/ 753432 w 846996"/>
                <a:gd name="connsiteY1251" fmla="*/ 405535 h 824638"/>
                <a:gd name="connsiteX1252" fmla="*/ 754078 w 846996"/>
                <a:gd name="connsiteY1252" fmla="*/ 408507 h 824638"/>
                <a:gd name="connsiteX1253" fmla="*/ 754336 w 846996"/>
                <a:gd name="connsiteY1253" fmla="*/ 410575 h 824638"/>
                <a:gd name="connsiteX1254" fmla="*/ 753561 w 846996"/>
                <a:gd name="connsiteY1254" fmla="*/ 411867 h 824638"/>
                <a:gd name="connsiteX1255" fmla="*/ 749813 w 846996"/>
                <a:gd name="connsiteY1255" fmla="*/ 414840 h 824638"/>
                <a:gd name="connsiteX1256" fmla="*/ 748133 w 846996"/>
                <a:gd name="connsiteY1256" fmla="*/ 413418 h 824638"/>
                <a:gd name="connsiteX1257" fmla="*/ 746453 w 846996"/>
                <a:gd name="connsiteY1257" fmla="*/ 411350 h 824638"/>
                <a:gd name="connsiteX1258" fmla="*/ 745290 w 846996"/>
                <a:gd name="connsiteY1258" fmla="*/ 409153 h 824638"/>
                <a:gd name="connsiteX1259" fmla="*/ 744773 w 846996"/>
                <a:gd name="connsiteY1259" fmla="*/ 406698 h 824638"/>
                <a:gd name="connsiteX1260" fmla="*/ 745031 w 846996"/>
                <a:gd name="connsiteY1260" fmla="*/ 405793 h 824638"/>
                <a:gd name="connsiteX1261" fmla="*/ 745677 w 846996"/>
                <a:gd name="connsiteY1261" fmla="*/ 404889 h 824638"/>
                <a:gd name="connsiteX1262" fmla="*/ 746065 w 846996"/>
                <a:gd name="connsiteY1262" fmla="*/ 404113 h 824638"/>
                <a:gd name="connsiteX1263" fmla="*/ 745807 w 846996"/>
                <a:gd name="connsiteY1263" fmla="*/ 403338 h 824638"/>
                <a:gd name="connsiteX1264" fmla="*/ 742447 w 846996"/>
                <a:gd name="connsiteY1264" fmla="*/ 400366 h 824638"/>
                <a:gd name="connsiteX1265" fmla="*/ 740896 w 846996"/>
                <a:gd name="connsiteY1265" fmla="*/ 398556 h 824638"/>
                <a:gd name="connsiteX1266" fmla="*/ 740120 w 846996"/>
                <a:gd name="connsiteY1266" fmla="*/ 398298 h 824638"/>
                <a:gd name="connsiteX1267" fmla="*/ 738828 w 846996"/>
                <a:gd name="connsiteY1267" fmla="*/ 398685 h 824638"/>
                <a:gd name="connsiteX1268" fmla="*/ 737148 w 846996"/>
                <a:gd name="connsiteY1268" fmla="*/ 399719 h 824638"/>
                <a:gd name="connsiteX1269" fmla="*/ 737019 w 846996"/>
                <a:gd name="connsiteY1269" fmla="*/ 400624 h 824638"/>
                <a:gd name="connsiteX1270" fmla="*/ 737665 w 846996"/>
                <a:gd name="connsiteY1270" fmla="*/ 401787 h 824638"/>
                <a:gd name="connsiteX1271" fmla="*/ 738440 w 846996"/>
                <a:gd name="connsiteY1271" fmla="*/ 405405 h 824638"/>
                <a:gd name="connsiteX1272" fmla="*/ 740379 w 846996"/>
                <a:gd name="connsiteY1272" fmla="*/ 410058 h 824638"/>
                <a:gd name="connsiteX1273" fmla="*/ 741025 w 846996"/>
                <a:gd name="connsiteY1273" fmla="*/ 412255 h 824638"/>
                <a:gd name="connsiteX1274" fmla="*/ 742059 w 846996"/>
                <a:gd name="connsiteY1274" fmla="*/ 434225 h 824638"/>
                <a:gd name="connsiteX1275" fmla="*/ 740637 w 846996"/>
                <a:gd name="connsiteY1275" fmla="*/ 444693 h 824638"/>
                <a:gd name="connsiteX1276" fmla="*/ 736502 w 846996"/>
                <a:gd name="connsiteY1276" fmla="*/ 452834 h 824638"/>
                <a:gd name="connsiteX1277" fmla="*/ 735210 w 846996"/>
                <a:gd name="connsiteY1277" fmla="*/ 454256 h 824638"/>
                <a:gd name="connsiteX1278" fmla="*/ 733400 w 846996"/>
                <a:gd name="connsiteY1278" fmla="*/ 455677 h 824638"/>
                <a:gd name="connsiteX1279" fmla="*/ 731333 w 846996"/>
                <a:gd name="connsiteY1279" fmla="*/ 456841 h 824638"/>
                <a:gd name="connsiteX1280" fmla="*/ 727068 w 846996"/>
                <a:gd name="connsiteY1280" fmla="*/ 457745 h 824638"/>
                <a:gd name="connsiteX1281" fmla="*/ 718926 w 846996"/>
                <a:gd name="connsiteY1281" fmla="*/ 464465 h 824638"/>
                <a:gd name="connsiteX1282" fmla="*/ 716988 w 846996"/>
                <a:gd name="connsiteY1282" fmla="*/ 465370 h 824638"/>
                <a:gd name="connsiteX1283" fmla="*/ 714274 w 846996"/>
                <a:gd name="connsiteY1283" fmla="*/ 465758 h 824638"/>
                <a:gd name="connsiteX1284" fmla="*/ 713111 w 846996"/>
                <a:gd name="connsiteY1284" fmla="*/ 465628 h 824638"/>
                <a:gd name="connsiteX1285" fmla="*/ 711689 w 846996"/>
                <a:gd name="connsiteY1285" fmla="*/ 464982 h 824638"/>
                <a:gd name="connsiteX1286" fmla="*/ 710526 w 846996"/>
                <a:gd name="connsiteY1286" fmla="*/ 464853 h 824638"/>
                <a:gd name="connsiteX1287" fmla="*/ 710009 w 846996"/>
                <a:gd name="connsiteY1287" fmla="*/ 465370 h 824638"/>
                <a:gd name="connsiteX1288" fmla="*/ 710784 w 846996"/>
                <a:gd name="connsiteY1288" fmla="*/ 466791 h 824638"/>
                <a:gd name="connsiteX1289" fmla="*/ 712464 w 846996"/>
                <a:gd name="connsiteY1289" fmla="*/ 469118 h 824638"/>
                <a:gd name="connsiteX1290" fmla="*/ 712077 w 846996"/>
                <a:gd name="connsiteY1290" fmla="*/ 474545 h 824638"/>
                <a:gd name="connsiteX1291" fmla="*/ 710138 w 846996"/>
                <a:gd name="connsiteY1291" fmla="*/ 479715 h 824638"/>
                <a:gd name="connsiteX1292" fmla="*/ 709104 w 846996"/>
                <a:gd name="connsiteY1292" fmla="*/ 484367 h 824638"/>
                <a:gd name="connsiteX1293" fmla="*/ 710914 w 846996"/>
                <a:gd name="connsiteY1293" fmla="*/ 487857 h 824638"/>
                <a:gd name="connsiteX1294" fmla="*/ 712077 w 846996"/>
                <a:gd name="connsiteY1294" fmla="*/ 488115 h 824638"/>
                <a:gd name="connsiteX1295" fmla="*/ 713240 w 846996"/>
                <a:gd name="connsiteY1295" fmla="*/ 487986 h 824638"/>
                <a:gd name="connsiteX1296" fmla="*/ 714144 w 846996"/>
                <a:gd name="connsiteY1296" fmla="*/ 488115 h 824638"/>
                <a:gd name="connsiteX1297" fmla="*/ 714661 w 846996"/>
                <a:gd name="connsiteY1297" fmla="*/ 489537 h 824638"/>
                <a:gd name="connsiteX1298" fmla="*/ 714015 w 846996"/>
                <a:gd name="connsiteY1298" fmla="*/ 490054 h 824638"/>
                <a:gd name="connsiteX1299" fmla="*/ 712852 w 846996"/>
                <a:gd name="connsiteY1299" fmla="*/ 490570 h 824638"/>
                <a:gd name="connsiteX1300" fmla="*/ 711560 w 846996"/>
                <a:gd name="connsiteY1300" fmla="*/ 491217 h 824638"/>
                <a:gd name="connsiteX1301" fmla="*/ 710914 w 846996"/>
                <a:gd name="connsiteY1301" fmla="*/ 492509 h 824638"/>
                <a:gd name="connsiteX1302" fmla="*/ 710784 w 846996"/>
                <a:gd name="connsiteY1302" fmla="*/ 493931 h 824638"/>
                <a:gd name="connsiteX1303" fmla="*/ 710397 w 846996"/>
                <a:gd name="connsiteY1303" fmla="*/ 494965 h 824638"/>
                <a:gd name="connsiteX1304" fmla="*/ 709492 w 846996"/>
                <a:gd name="connsiteY1304" fmla="*/ 495481 h 824638"/>
                <a:gd name="connsiteX1305" fmla="*/ 708329 w 846996"/>
                <a:gd name="connsiteY1305" fmla="*/ 495611 h 824638"/>
                <a:gd name="connsiteX1306" fmla="*/ 707424 w 846996"/>
                <a:gd name="connsiteY1306" fmla="*/ 495223 h 824638"/>
                <a:gd name="connsiteX1307" fmla="*/ 707166 w 846996"/>
                <a:gd name="connsiteY1307" fmla="*/ 494060 h 824638"/>
                <a:gd name="connsiteX1308" fmla="*/ 707037 w 846996"/>
                <a:gd name="connsiteY1308" fmla="*/ 487469 h 824638"/>
                <a:gd name="connsiteX1309" fmla="*/ 706261 w 846996"/>
                <a:gd name="connsiteY1309" fmla="*/ 486435 h 824638"/>
                <a:gd name="connsiteX1310" fmla="*/ 704193 w 846996"/>
                <a:gd name="connsiteY1310" fmla="*/ 486176 h 824638"/>
                <a:gd name="connsiteX1311" fmla="*/ 702643 w 846996"/>
                <a:gd name="connsiteY1311" fmla="*/ 486564 h 824638"/>
                <a:gd name="connsiteX1312" fmla="*/ 699412 w 846996"/>
                <a:gd name="connsiteY1312" fmla="*/ 488374 h 824638"/>
                <a:gd name="connsiteX1313" fmla="*/ 697344 w 846996"/>
                <a:gd name="connsiteY1313" fmla="*/ 488761 h 824638"/>
                <a:gd name="connsiteX1314" fmla="*/ 693467 w 846996"/>
                <a:gd name="connsiteY1314" fmla="*/ 487339 h 824638"/>
                <a:gd name="connsiteX1315" fmla="*/ 691399 w 846996"/>
                <a:gd name="connsiteY1315" fmla="*/ 486952 h 824638"/>
                <a:gd name="connsiteX1316" fmla="*/ 690495 w 846996"/>
                <a:gd name="connsiteY1316" fmla="*/ 488374 h 824638"/>
                <a:gd name="connsiteX1317" fmla="*/ 690366 w 846996"/>
                <a:gd name="connsiteY1317" fmla="*/ 490183 h 824638"/>
                <a:gd name="connsiteX1318" fmla="*/ 689590 w 846996"/>
                <a:gd name="connsiteY1318" fmla="*/ 495481 h 824638"/>
                <a:gd name="connsiteX1319" fmla="*/ 688944 w 846996"/>
                <a:gd name="connsiteY1319" fmla="*/ 497161 h 824638"/>
                <a:gd name="connsiteX1320" fmla="*/ 691141 w 846996"/>
                <a:gd name="connsiteY1320" fmla="*/ 505045 h 824638"/>
                <a:gd name="connsiteX1321" fmla="*/ 690753 w 846996"/>
                <a:gd name="connsiteY1321" fmla="*/ 514350 h 824638"/>
                <a:gd name="connsiteX1322" fmla="*/ 688556 w 846996"/>
                <a:gd name="connsiteY1322" fmla="*/ 523396 h 824638"/>
                <a:gd name="connsiteX1323" fmla="*/ 685196 w 846996"/>
                <a:gd name="connsiteY1323" fmla="*/ 530504 h 824638"/>
                <a:gd name="connsiteX1324" fmla="*/ 681578 w 846996"/>
                <a:gd name="connsiteY1324" fmla="*/ 536448 h 824638"/>
                <a:gd name="connsiteX1325" fmla="*/ 680285 w 846996"/>
                <a:gd name="connsiteY1325" fmla="*/ 537482 h 824638"/>
                <a:gd name="connsiteX1326" fmla="*/ 676925 w 846996"/>
                <a:gd name="connsiteY1326" fmla="*/ 539679 h 824638"/>
                <a:gd name="connsiteX1327" fmla="*/ 675374 w 846996"/>
                <a:gd name="connsiteY1327" fmla="*/ 541230 h 824638"/>
                <a:gd name="connsiteX1328" fmla="*/ 671885 w 846996"/>
                <a:gd name="connsiteY1328" fmla="*/ 543298 h 824638"/>
                <a:gd name="connsiteX1329" fmla="*/ 667362 w 846996"/>
                <a:gd name="connsiteY1329" fmla="*/ 544332 h 824638"/>
                <a:gd name="connsiteX1330" fmla="*/ 663485 w 846996"/>
                <a:gd name="connsiteY1330" fmla="*/ 543168 h 824638"/>
                <a:gd name="connsiteX1331" fmla="*/ 662580 w 846996"/>
                <a:gd name="connsiteY1331" fmla="*/ 539033 h 824638"/>
                <a:gd name="connsiteX1332" fmla="*/ 661159 w 846996"/>
                <a:gd name="connsiteY1332" fmla="*/ 540455 h 824638"/>
                <a:gd name="connsiteX1333" fmla="*/ 659737 w 846996"/>
                <a:gd name="connsiteY1333" fmla="*/ 543039 h 824638"/>
                <a:gd name="connsiteX1334" fmla="*/ 658574 w 846996"/>
                <a:gd name="connsiteY1334" fmla="*/ 545883 h 824638"/>
                <a:gd name="connsiteX1335" fmla="*/ 658186 w 846996"/>
                <a:gd name="connsiteY1335" fmla="*/ 548079 h 824638"/>
                <a:gd name="connsiteX1336" fmla="*/ 659479 w 846996"/>
                <a:gd name="connsiteY1336" fmla="*/ 552861 h 824638"/>
                <a:gd name="connsiteX1337" fmla="*/ 659866 w 846996"/>
                <a:gd name="connsiteY1337" fmla="*/ 555058 h 824638"/>
                <a:gd name="connsiteX1338" fmla="*/ 658833 w 846996"/>
                <a:gd name="connsiteY1338" fmla="*/ 555446 h 824638"/>
                <a:gd name="connsiteX1339" fmla="*/ 655989 w 846996"/>
                <a:gd name="connsiteY1339" fmla="*/ 551310 h 824638"/>
                <a:gd name="connsiteX1340" fmla="*/ 654439 w 846996"/>
                <a:gd name="connsiteY1340" fmla="*/ 550277 h 824638"/>
                <a:gd name="connsiteX1341" fmla="*/ 653663 w 846996"/>
                <a:gd name="connsiteY1341" fmla="*/ 553249 h 824638"/>
                <a:gd name="connsiteX1342" fmla="*/ 652888 w 846996"/>
                <a:gd name="connsiteY1342" fmla="*/ 555446 h 824638"/>
                <a:gd name="connsiteX1343" fmla="*/ 649399 w 846996"/>
                <a:gd name="connsiteY1343" fmla="*/ 558418 h 824638"/>
                <a:gd name="connsiteX1344" fmla="*/ 647848 w 846996"/>
                <a:gd name="connsiteY1344" fmla="*/ 561907 h 824638"/>
                <a:gd name="connsiteX1345" fmla="*/ 636475 w 846996"/>
                <a:gd name="connsiteY1345" fmla="*/ 574701 h 824638"/>
                <a:gd name="connsiteX1346" fmla="*/ 632340 w 846996"/>
                <a:gd name="connsiteY1346" fmla="*/ 577545 h 824638"/>
                <a:gd name="connsiteX1347" fmla="*/ 628204 w 846996"/>
                <a:gd name="connsiteY1347" fmla="*/ 577803 h 824638"/>
                <a:gd name="connsiteX1348" fmla="*/ 623681 w 846996"/>
                <a:gd name="connsiteY1348" fmla="*/ 577545 h 824638"/>
                <a:gd name="connsiteX1349" fmla="*/ 618512 w 846996"/>
                <a:gd name="connsiteY1349" fmla="*/ 578579 h 824638"/>
                <a:gd name="connsiteX1350" fmla="*/ 620709 w 846996"/>
                <a:gd name="connsiteY1350" fmla="*/ 582068 h 824638"/>
                <a:gd name="connsiteX1351" fmla="*/ 618253 w 846996"/>
                <a:gd name="connsiteY1351" fmla="*/ 585428 h 824638"/>
                <a:gd name="connsiteX1352" fmla="*/ 613601 w 846996"/>
                <a:gd name="connsiteY1352" fmla="*/ 587366 h 824638"/>
                <a:gd name="connsiteX1353" fmla="*/ 608948 w 846996"/>
                <a:gd name="connsiteY1353" fmla="*/ 587108 h 824638"/>
                <a:gd name="connsiteX1354" fmla="*/ 600548 w 846996"/>
                <a:gd name="connsiteY1354" fmla="*/ 581163 h 824638"/>
                <a:gd name="connsiteX1355" fmla="*/ 595508 w 846996"/>
                <a:gd name="connsiteY1355" fmla="*/ 579483 h 824638"/>
                <a:gd name="connsiteX1356" fmla="*/ 591373 w 846996"/>
                <a:gd name="connsiteY1356" fmla="*/ 581939 h 824638"/>
                <a:gd name="connsiteX1357" fmla="*/ 591243 w 846996"/>
                <a:gd name="connsiteY1357" fmla="*/ 585816 h 824638"/>
                <a:gd name="connsiteX1358" fmla="*/ 597963 w 846996"/>
                <a:gd name="connsiteY1358" fmla="*/ 593440 h 824638"/>
                <a:gd name="connsiteX1359" fmla="*/ 599385 w 846996"/>
                <a:gd name="connsiteY1359" fmla="*/ 597447 h 824638"/>
                <a:gd name="connsiteX1360" fmla="*/ 598093 w 846996"/>
                <a:gd name="connsiteY1360" fmla="*/ 599385 h 824638"/>
                <a:gd name="connsiteX1361" fmla="*/ 595896 w 846996"/>
                <a:gd name="connsiteY1361" fmla="*/ 600678 h 824638"/>
                <a:gd name="connsiteX1362" fmla="*/ 594603 w 846996"/>
                <a:gd name="connsiteY1362" fmla="*/ 602099 h 824638"/>
                <a:gd name="connsiteX1363" fmla="*/ 596154 w 846996"/>
                <a:gd name="connsiteY1363" fmla="*/ 604813 h 824638"/>
                <a:gd name="connsiteX1364" fmla="*/ 596930 w 846996"/>
                <a:gd name="connsiteY1364" fmla="*/ 607139 h 824638"/>
                <a:gd name="connsiteX1365" fmla="*/ 596542 w 846996"/>
                <a:gd name="connsiteY1365" fmla="*/ 610111 h 824638"/>
                <a:gd name="connsiteX1366" fmla="*/ 595766 w 846996"/>
                <a:gd name="connsiteY1366" fmla="*/ 612954 h 824638"/>
                <a:gd name="connsiteX1367" fmla="*/ 594991 w 846996"/>
                <a:gd name="connsiteY1367" fmla="*/ 614635 h 824638"/>
                <a:gd name="connsiteX1368" fmla="*/ 592536 w 846996"/>
                <a:gd name="connsiteY1368" fmla="*/ 619158 h 824638"/>
                <a:gd name="connsiteX1369" fmla="*/ 591631 w 846996"/>
                <a:gd name="connsiteY1369" fmla="*/ 622001 h 824638"/>
                <a:gd name="connsiteX1370" fmla="*/ 592406 w 846996"/>
                <a:gd name="connsiteY1370" fmla="*/ 624586 h 824638"/>
                <a:gd name="connsiteX1371" fmla="*/ 593311 w 846996"/>
                <a:gd name="connsiteY1371" fmla="*/ 623939 h 824638"/>
                <a:gd name="connsiteX1372" fmla="*/ 597188 w 846996"/>
                <a:gd name="connsiteY1372" fmla="*/ 617219 h 824638"/>
                <a:gd name="connsiteX1373" fmla="*/ 612567 w 846996"/>
                <a:gd name="connsiteY1373" fmla="*/ 597834 h 824638"/>
                <a:gd name="connsiteX1374" fmla="*/ 615281 w 846996"/>
                <a:gd name="connsiteY1374" fmla="*/ 594991 h 824638"/>
                <a:gd name="connsiteX1375" fmla="*/ 647460 w 846996"/>
                <a:gd name="connsiteY1375" fmla="*/ 575606 h 824638"/>
                <a:gd name="connsiteX1376" fmla="*/ 673048 w 846996"/>
                <a:gd name="connsiteY1376" fmla="*/ 553895 h 824638"/>
                <a:gd name="connsiteX1377" fmla="*/ 691529 w 846996"/>
                <a:gd name="connsiteY1377" fmla="*/ 538645 h 824638"/>
                <a:gd name="connsiteX1378" fmla="*/ 704064 w 846996"/>
                <a:gd name="connsiteY1378" fmla="*/ 525722 h 824638"/>
                <a:gd name="connsiteX1379" fmla="*/ 720218 w 846996"/>
                <a:gd name="connsiteY1379" fmla="*/ 505949 h 824638"/>
                <a:gd name="connsiteX1380" fmla="*/ 726163 w 846996"/>
                <a:gd name="connsiteY1380" fmla="*/ 496386 h 824638"/>
                <a:gd name="connsiteX1381" fmla="*/ 737536 w 846996"/>
                <a:gd name="connsiteY1381" fmla="*/ 484238 h 824638"/>
                <a:gd name="connsiteX1382" fmla="*/ 750588 w 846996"/>
                <a:gd name="connsiteY1382" fmla="*/ 463948 h 824638"/>
                <a:gd name="connsiteX1383" fmla="*/ 751234 w 846996"/>
                <a:gd name="connsiteY1383" fmla="*/ 462656 h 824638"/>
                <a:gd name="connsiteX1384" fmla="*/ 751881 w 846996"/>
                <a:gd name="connsiteY1384" fmla="*/ 460201 h 824638"/>
                <a:gd name="connsiteX1385" fmla="*/ 780958 w 846996"/>
                <a:gd name="connsiteY1385" fmla="*/ 411867 h 824638"/>
                <a:gd name="connsiteX1386" fmla="*/ 787937 w 846996"/>
                <a:gd name="connsiteY1386" fmla="*/ 394809 h 824638"/>
                <a:gd name="connsiteX1387" fmla="*/ 792718 w 846996"/>
                <a:gd name="connsiteY1387" fmla="*/ 379817 h 824638"/>
                <a:gd name="connsiteX1388" fmla="*/ 809907 w 846996"/>
                <a:gd name="connsiteY1388" fmla="*/ 332259 h 824638"/>
                <a:gd name="connsiteX1389" fmla="*/ 815076 w 846996"/>
                <a:gd name="connsiteY1389" fmla="*/ 326056 h 824638"/>
                <a:gd name="connsiteX1390" fmla="*/ 821925 w 846996"/>
                <a:gd name="connsiteY1390" fmla="*/ 310160 h 824638"/>
                <a:gd name="connsiteX1391" fmla="*/ 829808 w 846996"/>
                <a:gd name="connsiteY1391" fmla="*/ 297237 h 824638"/>
                <a:gd name="connsiteX1392" fmla="*/ 835107 w 846996"/>
                <a:gd name="connsiteY1392" fmla="*/ 286769 h 824638"/>
                <a:gd name="connsiteX1393" fmla="*/ 845446 w 846996"/>
                <a:gd name="connsiteY1393" fmla="*/ 272295 h 824638"/>
                <a:gd name="connsiteX1394" fmla="*/ 845446 w 846996"/>
                <a:gd name="connsiteY1394" fmla="*/ 272295 h 824638"/>
                <a:gd name="connsiteX1395" fmla="*/ 844024 w 846996"/>
                <a:gd name="connsiteY1395" fmla="*/ 272166 h 824638"/>
                <a:gd name="connsiteX1396" fmla="*/ 843507 w 846996"/>
                <a:gd name="connsiteY1396" fmla="*/ 271907 h 824638"/>
                <a:gd name="connsiteX1397" fmla="*/ 843119 w 846996"/>
                <a:gd name="connsiteY1397" fmla="*/ 271261 h 824638"/>
                <a:gd name="connsiteX1398" fmla="*/ 842861 w 846996"/>
                <a:gd name="connsiteY1398" fmla="*/ 269710 h 824638"/>
                <a:gd name="connsiteX1399" fmla="*/ 842344 w 846996"/>
                <a:gd name="connsiteY1399" fmla="*/ 268677 h 824638"/>
                <a:gd name="connsiteX1400" fmla="*/ 841698 w 846996"/>
                <a:gd name="connsiteY1400" fmla="*/ 268160 h 824638"/>
                <a:gd name="connsiteX1401" fmla="*/ 840923 w 846996"/>
                <a:gd name="connsiteY1401" fmla="*/ 267901 h 824638"/>
                <a:gd name="connsiteX1402" fmla="*/ 839889 w 846996"/>
                <a:gd name="connsiteY1402" fmla="*/ 267772 h 824638"/>
                <a:gd name="connsiteX1403" fmla="*/ 836658 w 846996"/>
                <a:gd name="connsiteY1403" fmla="*/ 266867 h 824638"/>
                <a:gd name="connsiteX1404" fmla="*/ 834719 w 846996"/>
                <a:gd name="connsiteY1404" fmla="*/ 265833 h 824638"/>
                <a:gd name="connsiteX1405" fmla="*/ 830325 w 846996"/>
                <a:gd name="connsiteY1405" fmla="*/ 260535 h 824638"/>
                <a:gd name="connsiteX1406" fmla="*/ 829421 w 846996"/>
                <a:gd name="connsiteY1406" fmla="*/ 259759 h 824638"/>
                <a:gd name="connsiteX1407" fmla="*/ 828645 w 846996"/>
                <a:gd name="connsiteY1407" fmla="*/ 259242 h 824638"/>
                <a:gd name="connsiteX1408" fmla="*/ 822442 w 846996"/>
                <a:gd name="connsiteY1408" fmla="*/ 256529 h 824638"/>
                <a:gd name="connsiteX1409" fmla="*/ 819728 w 846996"/>
                <a:gd name="connsiteY1409" fmla="*/ 256270 h 824638"/>
                <a:gd name="connsiteX1410" fmla="*/ 819211 w 846996"/>
                <a:gd name="connsiteY1410" fmla="*/ 256658 h 824638"/>
                <a:gd name="connsiteX1411" fmla="*/ 818694 w 846996"/>
                <a:gd name="connsiteY1411" fmla="*/ 257175 h 824638"/>
                <a:gd name="connsiteX1412" fmla="*/ 818177 w 846996"/>
                <a:gd name="connsiteY1412" fmla="*/ 258855 h 824638"/>
                <a:gd name="connsiteX1413" fmla="*/ 817531 w 846996"/>
                <a:gd name="connsiteY1413" fmla="*/ 259113 h 824638"/>
                <a:gd name="connsiteX1414" fmla="*/ 815722 w 846996"/>
                <a:gd name="connsiteY1414" fmla="*/ 259113 h 824638"/>
                <a:gd name="connsiteX1415" fmla="*/ 815076 w 846996"/>
                <a:gd name="connsiteY1415" fmla="*/ 259242 h 824638"/>
                <a:gd name="connsiteX1416" fmla="*/ 814559 w 846996"/>
                <a:gd name="connsiteY1416" fmla="*/ 259501 h 824638"/>
                <a:gd name="connsiteX1417" fmla="*/ 812233 w 846996"/>
                <a:gd name="connsiteY1417" fmla="*/ 260793 h 824638"/>
                <a:gd name="connsiteX1418" fmla="*/ 811199 w 846996"/>
                <a:gd name="connsiteY1418" fmla="*/ 261310 h 824638"/>
                <a:gd name="connsiteX1419" fmla="*/ 806288 w 846996"/>
                <a:gd name="connsiteY1419" fmla="*/ 262344 h 824638"/>
                <a:gd name="connsiteX1420" fmla="*/ 805254 w 846996"/>
                <a:gd name="connsiteY1420" fmla="*/ 262861 h 824638"/>
                <a:gd name="connsiteX1421" fmla="*/ 804737 w 846996"/>
                <a:gd name="connsiteY1421" fmla="*/ 263507 h 824638"/>
                <a:gd name="connsiteX1422" fmla="*/ 804737 w 846996"/>
                <a:gd name="connsiteY1422" fmla="*/ 264153 h 824638"/>
                <a:gd name="connsiteX1423" fmla="*/ 804996 w 846996"/>
                <a:gd name="connsiteY1423" fmla="*/ 264670 h 824638"/>
                <a:gd name="connsiteX1424" fmla="*/ 805383 w 846996"/>
                <a:gd name="connsiteY1424" fmla="*/ 265058 h 824638"/>
                <a:gd name="connsiteX1425" fmla="*/ 809260 w 846996"/>
                <a:gd name="connsiteY1425" fmla="*/ 268031 h 824638"/>
                <a:gd name="connsiteX1426" fmla="*/ 810036 w 846996"/>
                <a:gd name="connsiteY1426" fmla="*/ 268806 h 824638"/>
                <a:gd name="connsiteX1427" fmla="*/ 810423 w 846996"/>
                <a:gd name="connsiteY1427" fmla="*/ 269323 h 824638"/>
                <a:gd name="connsiteX1428" fmla="*/ 810682 w 846996"/>
                <a:gd name="connsiteY1428" fmla="*/ 269840 h 824638"/>
                <a:gd name="connsiteX1429" fmla="*/ 811199 w 846996"/>
                <a:gd name="connsiteY1429" fmla="*/ 271003 h 824638"/>
                <a:gd name="connsiteX1430" fmla="*/ 811328 w 846996"/>
                <a:gd name="connsiteY1430" fmla="*/ 271778 h 824638"/>
                <a:gd name="connsiteX1431" fmla="*/ 811328 w 846996"/>
                <a:gd name="connsiteY1431" fmla="*/ 272553 h 824638"/>
                <a:gd name="connsiteX1432" fmla="*/ 811199 w 846996"/>
                <a:gd name="connsiteY1432" fmla="*/ 273588 h 824638"/>
                <a:gd name="connsiteX1433" fmla="*/ 810553 w 846996"/>
                <a:gd name="connsiteY1433" fmla="*/ 275268 h 824638"/>
                <a:gd name="connsiteX1434" fmla="*/ 809907 w 846996"/>
                <a:gd name="connsiteY1434" fmla="*/ 275914 h 824638"/>
                <a:gd name="connsiteX1435" fmla="*/ 809260 w 846996"/>
                <a:gd name="connsiteY1435" fmla="*/ 276043 h 824638"/>
                <a:gd name="connsiteX1436" fmla="*/ 808614 w 846996"/>
                <a:gd name="connsiteY1436" fmla="*/ 275655 h 824638"/>
                <a:gd name="connsiteX1437" fmla="*/ 808226 w 846996"/>
                <a:gd name="connsiteY1437" fmla="*/ 275268 h 824638"/>
                <a:gd name="connsiteX1438" fmla="*/ 806805 w 846996"/>
                <a:gd name="connsiteY1438" fmla="*/ 273329 h 824638"/>
                <a:gd name="connsiteX1439" fmla="*/ 806029 w 846996"/>
                <a:gd name="connsiteY1439" fmla="*/ 272553 h 824638"/>
                <a:gd name="connsiteX1440" fmla="*/ 805254 w 846996"/>
                <a:gd name="connsiteY1440" fmla="*/ 271907 h 824638"/>
                <a:gd name="connsiteX1441" fmla="*/ 799697 w 846996"/>
                <a:gd name="connsiteY1441" fmla="*/ 270227 h 824638"/>
                <a:gd name="connsiteX1442" fmla="*/ 798663 w 846996"/>
                <a:gd name="connsiteY1442" fmla="*/ 269710 h 824638"/>
                <a:gd name="connsiteX1443" fmla="*/ 797371 w 846996"/>
                <a:gd name="connsiteY1443" fmla="*/ 268806 h 824638"/>
                <a:gd name="connsiteX1444" fmla="*/ 796983 w 846996"/>
                <a:gd name="connsiteY1444" fmla="*/ 268031 h 824638"/>
                <a:gd name="connsiteX1445" fmla="*/ 796854 w 846996"/>
                <a:gd name="connsiteY1445" fmla="*/ 267255 h 824638"/>
                <a:gd name="connsiteX1446" fmla="*/ 796854 w 846996"/>
                <a:gd name="connsiteY1446" fmla="*/ 266479 h 824638"/>
                <a:gd name="connsiteX1447" fmla="*/ 796983 w 846996"/>
                <a:gd name="connsiteY1447" fmla="*/ 265704 h 824638"/>
                <a:gd name="connsiteX1448" fmla="*/ 797629 w 846996"/>
                <a:gd name="connsiteY1448" fmla="*/ 262215 h 824638"/>
                <a:gd name="connsiteX1449" fmla="*/ 797500 w 846996"/>
                <a:gd name="connsiteY1449" fmla="*/ 259759 h 824638"/>
                <a:gd name="connsiteX1450" fmla="*/ 797112 w 846996"/>
                <a:gd name="connsiteY1450" fmla="*/ 257692 h 824638"/>
                <a:gd name="connsiteX1451" fmla="*/ 797112 w 846996"/>
                <a:gd name="connsiteY1451" fmla="*/ 256529 h 824638"/>
                <a:gd name="connsiteX1452" fmla="*/ 797500 w 846996"/>
                <a:gd name="connsiteY1452" fmla="*/ 255883 h 824638"/>
                <a:gd name="connsiteX1453" fmla="*/ 797888 w 846996"/>
                <a:gd name="connsiteY1453" fmla="*/ 255495 h 824638"/>
                <a:gd name="connsiteX1454" fmla="*/ 799826 w 846996"/>
                <a:gd name="connsiteY1454" fmla="*/ 254073 h 824638"/>
                <a:gd name="connsiteX1455" fmla="*/ 803445 w 846996"/>
                <a:gd name="connsiteY1455" fmla="*/ 250972 h 824638"/>
                <a:gd name="connsiteX1456" fmla="*/ 804866 w 846996"/>
                <a:gd name="connsiteY1456" fmla="*/ 249033 h 824638"/>
                <a:gd name="connsiteX1457" fmla="*/ 805771 w 846996"/>
                <a:gd name="connsiteY1457" fmla="*/ 247224 h 824638"/>
                <a:gd name="connsiteX1458" fmla="*/ 806288 w 846996"/>
                <a:gd name="connsiteY1458" fmla="*/ 245415 h 824638"/>
                <a:gd name="connsiteX1459" fmla="*/ 806805 w 846996"/>
                <a:gd name="connsiteY1459" fmla="*/ 244510 h 824638"/>
                <a:gd name="connsiteX1460" fmla="*/ 807322 w 846996"/>
                <a:gd name="connsiteY1460" fmla="*/ 243993 h 824638"/>
                <a:gd name="connsiteX1461" fmla="*/ 807968 w 846996"/>
                <a:gd name="connsiteY1461" fmla="*/ 243993 h 824638"/>
                <a:gd name="connsiteX1462" fmla="*/ 808356 w 846996"/>
                <a:gd name="connsiteY1462" fmla="*/ 244251 h 824638"/>
                <a:gd name="connsiteX1463" fmla="*/ 808743 w 846996"/>
                <a:gd name="connsiteY1463" fmla="*/ 244768 h 824638"/>
                <a:gd name="connsiteX1464" fmla="*/ 809260 w 846996"/>
                <a:gd name="connsiteY1464" fmla="*/ 245931 h 824638"/>
                <a:gd name="connsiteX1465" fmla="*/ 809519 w 846996"/>
                <a:gd name="connsiteY1465" fmla="*/ 246448 h 824638"/>
                <a:gd name="connsiteX1466" fmla="*/ 809907 w 846996"/>
                <a:gd name="connsiteY1466" fmla="*/ 246836 h 824638"/>
                <a:gd name="connsiteX1467" fmla="*/ 810553 w 846996"/>
                <a:gd name="connsiteY1467" fmla="*/ 246836 h 824638"/>
                <a:gd name="connsiteX1468" fmla="*/ 810940 w 846996"/>
                <a:gd name="connsiteY1468" fmla="*/ 246448 h 824638"/>
                <a:gd name="connsiteX1469" fmla="*/ 811457 w 846996"/>
                <a:gd name="connsiteY1469" fmla="*/ 245673 h 824638"/>
                <a:gd name="connsiteX1470" fmla="*/ 811845 w 846996"/>
                <a:gd name="connsiteY1470" fmla="*/ 245285 h 824638"/>
                <a:gd name="connsiteX1471" fmla="*/ 812233 w 846996"/>
                <a:gd name="connsiteY1471" fmla="*/ 245285 h 824638"/>
                <a:gd name="connsiteX1472" fmla="*/ 812879 w 846996"/>
                <a:gd name="connsiteY1472" fmla="*/ 245415 h 824638"/>
                <a:gd name="connsiteX1473" fmla="*/ 813396 w 846996"/>
                <a:gd name="connsiteY1473" fmla="*/ 245544 h 824638"/>
                <a:gd name="connsiteX1474" fmla="*/ 814171 w 846996"/>
                <a:gd name="connsiteY1474" fmla="*/ 245285 h 824638"/>
                <a:gd name="connsiteX1475" fmla="*/ 814559 w 846996"/>
                <a:gd name="connsiteY1475" fmla="*/ 244639 h 824638"/>
                <a:gd name="connsiteX1476" fmla="*/ 814688 w 846996"/>
                <a:gd name="connsiteY1476" fmla="*/ 243993 h 824638"/>
                <a:gd name="connsiteX1477" fmla="*/ 814430 w 846996"/>
                <a:gd name="connsiteY1477" fmla="*/ 242313 h 824638"/>
                <a:gd name="connsiteX1478" fmla="*/ 814430 w 846996"/>
                <a:gd name="connsiteY1478" fmla="*/ 241020 h 824638"/>
                <a:gd name="connsiteX1479" fmla="*/ 814559 w 846996"/>
                <a:gd name="connsiteY1479" fmla="*/ 240374 h 824638"/>
                <a:gd name="connsiteX1480" fmla="*/ 814688 w 846996"/>
                <a:gd name="connsiteY1480" fmla="*/ 239987 h 824638"/>
                <a:gd name="connsiteX1481" fmla="*/ 816885 w 846996"/>
                <a:gd name="connsiteY1481" fmla="*/ 237661 h 824638"/>
                <a:gd name="connsiteX1482" fmla="*/ 817531 w 846996"/>
                <a:gd name="connsiteY1482" fmla="*/ 236627 h 824638"/>
                <a:gd name="connsiteX1483" fmla="*/ 818307 w 846996"/>
                <a:gd name="connsiteY1483" fmla="*/ 233654 h 824638"/>
                <a:gd name="connsiteX1484" fmla="*/ 819858 w 846996"/>
                <a:gd name="connsiteY1484" fmla="*/ 229389 h 824638"/>
                <a:gd name="connsiteX1485" fmla="*/ 820245 w 846996"/>
                <a:gd name="connsiteY1485" fmla="*/ 227968 h 824638"/>
                <a:gd name="connsiteX1486" fmla="*/ 820504 w 846996"/>
                <a:gd name="connsiteY1486" fmla="*/ 226805 h 824638"/>
                <a:gd name="connsiteX1487" fmla="*/ 818824 w 846996"/>
                <a:gd name="connsiteY1487" fmla="*/ 215174 h 824638"/>
                <a:gd name="connsiteX1488" fmla="*/ 818953 w 846996"/>
                <a:gd name="connsiteY1488" fmla="*/ 212331 h 824638"/>
                <a:gd name="connsiteX1489" fmla="*/ 819728 w 846996"/>
                <a:gd name="connsiteY1489" fmla="*/ 207678 h 824638"/>
                <a:gd name="connsiteX1490" fmla="*/ 819987 w 846996"/>
                <a:gd name="connsiteY1490" fmla="*/ 206774 h 824638"/>
                <a:gd name="connsiteX1491" fmla="*/ 820116 w 846996"/>
                <a:gd name="connsiteY1491" fmla="*/ 206515 h 824638"/>
                <a:gd name="connsiteX1492" fmla="*/ 820504 w 846996"/>
                <a:gd name="connsiteY1492" fmla="*/ 205998 h 824638"/>
                <a:gd name="connsiteX1493" fmla="*/ 820891 w 846996"/>
                <a:gd name="connsiteY1493" fmla="*/ 205611 h 824638"/>
                <a:gd name="connsiteX1494" fmla="*/ 821925 w 846996"/>
                <a:gd name="connsiteY1494" fmla="*/ 204835 h 824638"/>
                <a:gd name="connsiteX1495" fmla="*/ 822571 w 846996"/>
                <a:gd name="connsiteY1495" fmla="*/ 204318 h 824638"/>
                <a:gd name="connsiteX1496" fmla="*/ 823218 w 846996"/>
                <a:gd name="connsiteY1496" fmla="*/ 203414 h 824638"/>
                <a:gd name="connsiteX1497" fmla="*/ 823347 w 846996"/>
                <a:gd name="connsiteY1497" fmla="*/ 202638 h 824638"/>
                <a:gd name="connsiteX1498" fmla="*/ 823218 w 846996"/>
                <a:gd name="connsiteY1498" fmla="*/ 201992 h 824638"/>
                <a:gd name="connsiteX1499" fmla="*/ 822959 w 846996"/>
                <a:gd name="connsiteY1499" fmla="*/ 201087 h 824638"/>
                <a:gd name="connsiteX1500" fmla="*/ 822830 w 846996"/>
                <a:gd name="connsiteY1500" fmla="*/ 199795 h 824638"/>
                <a:gd name="connsiteX1501" fmla="*/ 822959 w 846996"/>
                <a:gd name="connsiteY1501" fmla="*/ 198891 h 824638"/>
                <a:gd name="connsiteX1502" fmla="*/ 823347 w 846996"/>
                <a:gd name="connsiteY1502" fmla="*/ 198374 h 824638"/>
                <a:gd name="connsiteX1503" fmla="*/ 823734 w 846996"/>
                <a:gd name="connsiteY1503" fmla="*/ 197986 h 824638"/>
                <a:gd name="connsiteX1504" fmla="*/ 824251 w 846996"/>
                <a:gd name="connsiteY1504" fmla="*/ 197728 h 824638"/>
                <a:gd name="connsiteX1505" fmla="*/ 824639 w 846996"/>
                <a:gd name="connsiteY1505" fmla="*/ 197856 h 824638"/>
                <a:gd name="connsiteX1506" fmla="*/ 824768 w 846996"/>
                <a:gd name="connsiteY1506" fmla="*/ 198374 h 824638"/>
                <a:gd name="connsiteX1507" fmla="*/ 824768 w 846996"/>
                <a:gd name="connsiteY1507" fmla="*/ 198891 h 82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Lst>
              <a:rect l="l" t="t" r="r" b="b"/>
              <a:pathLst>
                <a:path w="846996" h="824638">
                  <a:moveTo>
                    <a:pt x="824768" y="199537"/>
                  </a:moveTo>
                  <a:lnTo>
                    <a:pt x="825027" y="200054"/>
                  </a:lnTo>
                  <a:lnTo>
                    <a:pt x="825544" y="200183"/>
                  </a:lnTo>
                  <a:lnTo>
                    <a:pt x="826061" y="199795"/>
                  </a:lnTo>
                  <a:lnTo>
                    <a:pt x="827870" y="197340"/>
                  </a:lnTo>
                  <a:lnTo>
                    <a:pt x="828258" y="196952"/>
                  </a:lnTo>
                  <a:lnTo>
                    <a:pt x="829421" y="196435"/>
                  </a:lnTo>
                  <a:lnTo>
                    <a:pt x="829938" y="196176"/>
                  </a:lnTo>
                  <a:lnTo>
                    <a:pt x="831230" y="195789"/>
                  </a:lnTo>
                  <a:lnTo>
                    <a:pt x="832264" y="195013"/>
                  </a:lnTo>
                  <a:lnTo>
                    <a:pt x="833298" y="193463"/>
                  </a:lnTo>
                  <a:lnTo>
                    <a:pt x="836658" y="187001"/>
                  </a:lnTo>
                  <a:lnTo>
                    <a:pt x="837045" y="186484"/>
                  </a:lnTo>
                  <a:lnTo>
                    <a:pt x="837821" y="185580"/>
                  </a:lnTo>
                  <a:lnTo>
                    <a:pt x="838338" y="185321"/>
                  </a:lnTo>
                  <a:lnTo>
                    <a:pt x="838855" y="185062"/>
                  </a:lnTo>
                  <a:lnTo>
                    <a:pt x="839501" y="184804"/>
                  </a:lnTo>
                  <a:lnTo>
                    <a:pt x="840147" y="184804"/>
                  </a:lnTo>
                  <a:lnTo>
                    <a:pt x="840793" y="184933"/>
                  </a:lnTo>
                  <a:lnTo>
                    <a:pt x="841440" y="185192"/>
                  </a:lnTo>
                  <a:lnTo>
                    <a:pt x="842473" y="185708"/>
                  </a:lnTo>
                  <a:lnTo>
                    <a:pt x="842990" y="185967"/>
                  </a:lnTo>
                  <a:lnTo>
                    <a:pt x="843766" y="186096"/>
                  </a:lnTo>
                  <a:lnTo>
                    <a:pt x="844412" y="186096"/>
                  </a:lnTo>
                  <a:lnTo>
                    <a:pt x="845187" y="185967"/>
                  </a:lnTo>
                  <a:lnTo>
                    <a:pt x="846480" y="185062"/>
                  </a:lnTo>
                  <a:lnTo>
                    <a:pt x="846996" y="183512"/>
                  </a:lnTo>
                  <a:lnTo>
                    <a:pt x="844800" y="179506"/>
                  </a:lnTo>
                  <a:lnTo>
                    <a:pt x="844670" y="178601"/>
                  </a:lnTo>
                  <a:lnTo>
                    <a:pt x="844670" y="177567"/>
                  </a:lnTo>
                  <a:lnTo>
                    <a:pt x="844929" y="177050"/>
                  </a:lnTo>
                  <a:lnTo>
                    <a:pt x="845833" y="176145"/>
                  </a:lnTo>
                  <a:lnTo>
                    <a:pt x="846092" y="175758"/>
                  </a:lnTo>
                  <a:lnTo>
                    <a:pt x="845963" y="175370"/>
                  </a:lnTo>
                  <a:lnTo>
                    <a:pt x="842990" y="173302"/>
                  </a:lnTo>
                  <a:lnTo>
                    <a:pt x="842473" y="172139"/>
                  </a:lnTo>
                  <a:lnTo>
                    <a:pt x="841310" y="169038"/>
                  </a:lnTo>
                  <a:lnTo>
                    <a:pt x="840793" y="168391"/>
                  </a:lnTo>
                  <a:lnTo>
                    <a:pt x="839759" y="168521"/>
                  </a:lnTo>
                  <a:lnTo>
                    <a:pt x="839243" y="169684"/>
                  </a:lnTo>
                  <a:lnTo>
                    <a:pt x="838855" y="171105"/>
                  </a:lnTo>
                  <a:lnTo>
                    <a:pt x="838209" y="171622"/>
                  </a:lnTo>
                  <a:lnTo>
                    <a:pt x="834461" y="171364"/>
                  </a:lnTo>
                  <a:lnTo>
                    <a:pt x="832522" y="170976"/>
                  </a:lnTo>
                  <a:lnTo>
                    <a:pt x="831230" y="169942"/>
                  </a:lnTo>
                  <a:lnTo>
                    <a:pt x="830455" y="168779"/>
                  </a:lnTo>
                  <a:lnTo>
                    <a:pt x="829938" y="167616"/>
                  </a:lnTo>
                  <a:lnTo>
                    <a:pt x="829292" y="166582"/>
                  </a:lnTo>
                  <a:lnTo>
                    <a:pt x="828387" y="165807"/>
                  </a:lnTo>
                  <a:lnTo>
                    <a:pt x="827353" y="165936"/>
                  </a:lnTo>
                  <a:lnTo>
                    <a:pt x="823476" y="167487"/>
                  </a:lnTo>
                  <a:lnTo>
                    <a:pt x="822055" y="167875"/>
                  </a:lnTo>
                  <a:lnTo>
                    <a:pt x="821537" y="168521"/>
                  </a:lnTo>
                  <a:lnTo>
                    <a:pt x="821150" y="168521"/>
                  </a:lnTo>
                  <a:lnTo>
                    <a:pt x="819858" y="167099"/>
                  </a:lnTo>
                  <a:lnTo>
                    <a:pt x="818694" y="166065"/>
                  </a:lnTo>
                  <a:lnTo>
                    <a:pt x="817660" y="165936"/>
                  </a:lnTo>
                  <a:lnTo>
                    <a:pt x="814688" y="167099"/>
                  </a:lnTo>
                  <a:lnTo>
                    <a:pt x="812233" y="169038"/>
                  </a:lnTo>
                  <a:lnTo>
                    <a:pt x="810682" y="169554"/>
                  </a:lnTo>
                  <a:lnTo>
                    <a:pt x="809648" y="169425"/>
                  </a:lnTo>
                  <a:lnTo>
                    <a:pt x="808743" y="169296"/>
                  </a:lnTo>
                  <a:lnTo>
                    <a:pt x="806159" y="169038"/>
                  </a:lnTo>
                  <a:lnTo>
                    <a:pt x="804091" y="168521"/>
                  </a:lnTo>
                  <a:lnTo>
                    <a:pt x="802928" y="168391"/>
                  </a:lnTo>
                  <a:lnTo>
                    <a:pt x="802540" y="167616"/>
                  </a:lnTo>
                  <a:lnTo>
                    <a:pt x="802282" y="166195"/>
                  </a:lnTo>
                  <a:lnTo>
                    <a:pt x="801765" y="165031"/>
                  </a:lnTo>
                  <a:lnTo>
                    <a:pt x="800473" y="165031"/>
                  </a:lnTo>
                  <a:lnTo>
                    <a:pt x="799439" y="166582"/>
                  </a:lnTo>
                  <a:lnTo>
                    <a:pt x="799439" y="168521"/>
                  </a:lnTo>
                  <a:lnTo>
                    <a:pt x="799309" y="169942"/>
                  </a:lnTo>
                  <a:lnTo>
                    <a:pt x="797500" y="169942"/>
                  </a:lnTo>
                  <a:lnTo>
                    <a:pt x="795949" y="169167"/>
                  </a:lnTo>
                  <a:lnTo>
                    <a:pt x="793494" y="166711"/>
                  </a:lnTo>
                  <a:lnTo>
                    <a:pt x="791555" y="165807"/>
                  </a:lnTo>
                  <a:lnTo>
                    <a:pt x="780700" y="164514"/>
                  </a:lnTo>
                  <a:lnTo>
                    <a:pt x="779278" y="164773"/>
                  </a:lnTo>
                  <a:lnTo>
                    <a:pt x="777727" y="165807"/>
                  </a:lnTo>
                  <a:lnTo>
                    <a:pt x="776435" y="163868"/>
                  </a:lnTo>
                  <a:lnTo>
                    <a:pt x="773333" y="162834"/>
                  </a:lnTo>
                  <a:lnTo>
                    <a:pt x="767001" y="162447"/>
                  </a:lnTo>
                  <a:lnTo>
                    <a:pt x="766355" y="162188"/>
                  </a:lnTo>
                  <a:lnTo>
                    <a:pt x="764287" y="160508"/>
                  </a:lnTo>
                  <a:lnTo>
                    <a:pt x="762995" y="160121"/>
                  </a:lnTo>
                  <a:lnTo>
                    <a:pt x="761315" y="159991"/>
                  </a:lnTo>
                  <a:lnTo>
                    <a:pt x="759764" y="160121"/>
                  </a:lnTo>
                  <a:lnTo>
                    <a:pt x="758342" y="160767"/>
                  </a:lnTo>
                  <a:lnTo>
                    <a:pt x="757050" y="161671"/>
                  </a:lnTo>
                  <a:lnTo>
                    <a:pt x="752656" y="158311"/>
                  </a:lnTo>
                  <a:lnTo>
                    <a:pt x="749296" y="157148"/>
                  </a:lnTo>
                  <a:lnTo>
                    <a:pt x="748262" y="156760"/>
                  </a:lnTo>
                  <a:lnTo>
                    <a:pt x="747874" y="155985"/>
                  </a:lnTo>
                  <a:lnTo>
                    <a:pt x="746065" y="152625"/>
                  </a:lnTo>
                  <a:lnTo>
                    <a:pt x="742447" y="147585"/>
                  </a:lnTo>
                  <a:lnTo>
                    <a:pt x="740896" y="144354"/>
                  </a:lnTo>
                  <a:lnTo>
                    <a:pt x="740250" y="143449"/>
                  </a:lnTo>
                  <a:lnTo>
                    <a:pt x="739216" y="142545"/>
                  </a:lnTo>
                  <a:lnTo>
                    <a:pt x="736243" y="140994"/>
                  </a:lnTo>
                  <a:lnTo>
                    <a:pt x="735210" y="140089"/>
                  </a:lnTo>
                  <a:lnTo>
                    <a:pt x="734047" y="137505"/>
                  </a:lnTo>
                  <a:lnTo>
                    <a:pt x="731979" y="130268"/>
                  </a:lnTo>
                  <a:lnTo>
                    <a:pt x="730040" y="127683"/>
                  </a:lnTo>
                  <a:lnTo>
                    <a:pt x="728748" y="128329"/>
                  </a:lnTo>
                  <a:lnTo>
                    <a:pt x="727843" y="127683"/>
                  </a:lnTo>
                  <a:lnTo>
                    <a:pt x="727068" y="126649"/>
                  </a:lnTo>
                  <a:lnTo>
                    <a:pt x="725905" y="126132"/>
                  </a:lnTo>
                  <a:lnTo>
                    <a:pt x="725129" y="126520"/>
                  </a:lnTo>
                  <a:lnTo>
                    <a:pt x="724354" y="127295"/>
                  </a:lnTo>
                  <a:lnTo>
                    <a:pt x="723320" y="127683"/>
                  </a:lnTo>
                  <a:lnTo>
                    <a:pt x="721899" y="126778"/>
                  </a:lnTo>
                  <a:lnTo>
                    <a:pt x="721769" y="125744"/>
                  </a:lnTo>
                  <a:lnTo>
                    <a:pt x="721769" y="124064"/>
                  </a:lnTo>
                  <a:lnTo>
                    <a:pt x="721640" y="122514"/>
                  </a:lnTo>
                  <a:lnTo>
                    <a:pt x="720865" y="121867"/>
                  </a:lnTo>
                  <a:lnTo>
                    <a:pt x="719314" y="121479"/>
                  </a:lnTo>
                  <a:lnTo>
                    <a:pt x="719314" y="120446"/>
                  </a:lnTo>
                  <a:lnTo>
                    <a:pt x="720477" y="118507"/>
                  </a:lnTo>
                  <a:lnTo>
                    <a:pt x="720477" y="116181"/>
                  </a:lnTo>
                  <a:lnTo>
                    <a:pt x="719960" y="114501"/>
                  </a:lnTo>
                  <a:lnTo>
                    <a:pt x="716858" y="111141"/>
                  </a:lnTo>
                  <a:lnTo>
                    <a:pt x="713628" y="106876"/>
                  </a:lnTo>
                  <a:lnTo>
                    <a:pt x="711689" y="105455"/>
                  </a:lnTo>
                  <a:lnTo>
                    <a:pt x="709492" y="106230"/>
                  </a:lnTo>
                  <a:lnTo>
                    <a:pt x="706390" y="103646"/>
                  </a:lnTo>
                  <a:lnTo>
                    <a:pt x="702384" y="95891"/>
                  </a:lnTo>
                  <a:lnTo>
                    <a:pt x="699929" y="92144"/>
                  </a:lnTo>
                  <a:lnTo>
                    <a:pt x="699541" y="91239"/>
                  </a:lnTo>
                  <a:lnTo>
                    <a:pt x="699412" y="90463"/>
                  </a:lnTo>
                  <a:lnTo>
                    <a:pt x="699153" y="89946"/>
                  </a:lnTo>
                  <a:lnTo>
                    <a:pt x="696698" y="89300"/>
                  </a:lnTo>
                  <a:lnTo>
                    <a:pt x="694759" y="87620"/>
                  </a:lnTo>
                  <a:lnTo>
                    <a:pt x="691787" y="86716"/>
                  </a:lnTo>
                  <a:lnTo>
                    <a:pt x="689202" y="84002"/>
                  </a:lnTo>
                  <a:lnTo>
                    <a:pt x="687522" y="83097"/>
                  </a:lnTo>
                  <a:lnTo>
                    <a:pt x="686488" y="83226"/>
                  </a:lnTo>
                  <a:lnTo>
                    <a:pt x="685455" y="83743"/>
                  </a:lnTo>
                  <a:lnTo>
                    <a:pt x="684550" y="84002"/>
                  </a:lnTo>
                  <a:lnTo>
                    <a:pt x="683516" y="83485"/>
                  </a:lnTo>
                  <a:lnTo>
                    <a:pt x="679768" y="79350"/>
                  </a:lnTo>
                  <a:lnTo>
                    <a:pt x="678864" y="78703"/>
                  </a:lnTo>
                  <a:lnTo>
                    <a:pt x="677054" y="77799"/>
                  </a:lnTo>
                  <a:lnTo>
                    <a:pt x="676537" y="77282"/>
                  </a:lnTo>
                  <a:lnTo>
                    <a:pt x="676667" y="76635"/>
                  </a:lnTo>
                  <a:lnTo>
                    <a:pt x="677054" y="75602"/>
                  </a:lnTo>
                  <a:lnTo>
                    <a:pt x="677442" y="74309"/>
                  </a:lnTo>
                  <a:lnTo>
                    <a:pt x="677184" y="73146"/>
                  </a:lnTo>
                  <a:lnTo>
                    <a:pt x="675374" y="72113"/>
                  </a:lnTo>
                  <a:lnTo>
                    <a:pt x="673436" y="72241"/>
                  </a:lnTo>
                  <a:lnTo>
                    <a:pt x="671885" y="71595"/>
                  </a:lnTo>
                  <a:lnTo>
                    <a:pt x="671368" y="68623"/>
                  </a:lnTo>
                  <a:lnTo>
                    <a:pt x="670593" y="66555"/>
                  </a:lnTo>
                  <a:lnTo>
                    <a:pt x="669042" y="67202"/>
                  </a:lnTo>
                  <a:lnTo>
                    <a:pt x="666199" y="69915"/>
                  </a:lnTo>
                  <a:lnTo>
                    <a:pt x="665294" y="69011"/>
                  </a:lnTo>
                  <a:lnTo>
                    <a:pt x="665036" y="68106"/>
                  </a:lnTo>
                  <a:lnTo>
                    <a:pt x="664907" y="67072"/>
                  </a:lnTo>
                  <a:lnTo>
                    <a:pt x="664389" y="66167"/>
                  </a:lnTo>
                  <a:lnTo>
                    <a:pt x="663226" y="65521"/>
                  </a:lnTo>
                  <a:lnTo>
                    <a:pt x="662193" y="65392"/>
                  </a:lnTo>
                  <a:lnTo>
                    <a:pt x="661288" y="65134"/>
                  </a:lnTo>
                  <a:lnTo>
                    <a:pt x="660383" y="64100"/>
                  </a:lnTo>
                  <a:lnTo>
                    <a:pt x="659349" y="61645"/>
                  </a:lnTo>
                  <a:lnTo>
                    <a:pt x="658962" y="59835"/>
                  </a:lnTo>
                  <a:lnTo>
                    <a:pt x="657799" y="58672"/>
                  </a:lnTo>
                  <a:lnTo>
                    <a:pt x="654826" y="58414"/>
                  </a:lnTo>
                  <a:lnTo>
                    <a:pt x="652759" y="58930"/>
                  </a:lnTo>
                  <a:lnTo>
                    <a:pt x="650691" y="59706"/>
                  </a:lnTo>
                  <a:lnTo>
                    <a:pt x="648752" y="59835"/>
                  </a:lnTo>
                  <a:lnTo>
                    <a:pt x="647072" y="58414"/>
                  </a:lnTo>
                  <a:lnTo>
                    <a:pt x="647202" y="57380"/>
                  </a:lnTo>
                  <a:lnTo>
                    <a:pt x="647848" y="54666"/>
                  </a:lnTo>
                  <a:lnTo>
                    <a:pt x="647460" y="54149"/>
                  </a:lnTo>
                  <a:lnTo>
                    <a:pt x="643971" y="55829"/>
                  </a:lnTo>
                  <a:lnTo>
                    <a:pt x="643454" y="55441"/>
                  </a:lnTo>
                  <a:lnTo>
                    <a:pt x="643325" y="53632"/>
                  </a:lnTo>
                  <a:lnTo>
                    <a:pt x="642937" y="51564"/>
                  </a:lnTo>
                  <a:lnTo>
                    <a:pt x="642161" y="50143"/>
                  </a:lnTo>
                  <a:lnTo>
                    <a:pt x="640869" y="50530"/>
                  </a:lnTo>
                  <a:lnTo>
                    <a:pt x="639964" y="51823"/>
                  </a:lnTo>
                  <a:lnTo>
                    <a:pt x="639447" y="52598"/>
                  </a:lnTo>
                  <a:lnTo>
                    <a:pt x="638931" y="52598"/>
                  </a:lnTo>
                  <a:lnTo>
                    <a:pt x="637509" y="51693"/>
                  </a:lnTo>
                  <a:lnTo>
                    <a:pt x="636992" y="50789"/>
                  </a:lnTo>
                  <a:lnTo>
                    <a:pt x="636992" y="49755"/>
                  </a:lnTo>
                  <a:lnTo>
                    <a:pt x="636733" y="48850"/>
                  </a:lnTo>
                  <a:lnTo>
                    <a:pt x="635441" y="48463"/>
                  </a:lnTo>
                  <a:lnTo>
                    <a:pt x="634278" y="48850"/>
                  </a:lnTo>
                  <a:lnTo>
                    <a:pt x="633503" y="49884"/>
                  </a:lnTo>
                  <a:lnTo>
                    <a:pt x="632081" y="52210"/>
                  </a:lnTo>
                  <a:lnTo>
                    <a:pt x="630918" y="52598"/>
                  </a:lnTo>
                  <a:lnTo>
                    <a:pt x="630013" y="51823"/>
                  </a:lnTo>
                  <a:lnTo>
                    <a:pt x="629238" y="50660"/>
                  </a:lnTo>
                  <a:lnTo>
                    <a:pt x="628333" y="50143"/>
                  </a:lnTo>
                  <a:lnTo>
                    <a:pt x="626266" y="50013"/>
                  </a:lnTo>
                  <a:lnTo>
                    <a:pt x="624327" y="50143"/>
                  </a:lnTo>
                  <a:lnTo>
                    <a:pt x="623552" y="51306"/>
                  </a:lnTo>
                  <a:lnTo>
                    <a:pt x="624327" y="54149"/>
                  </a:lnTo>
                  <a:lnTo>
                    <a:pt x="620967" y="54149"/>
                  </a:lnTo>
                  <a:lnTo>
                    <a:pt x="619029" y="53891"/>
                  </a:lnTo>
                  <a:lnTo>
                    <a:pt x="616444" y="52856"/>
                  </a:lnTo>
                  <a:lnTo>
                    <a:pt x="616056" y="52340"/>
                  </a:lnTo>
                  <a:lnTo>
                    <a:pt x="617090" y="50401"/>
                  </a:lnTo>
                  <a:lnTo>
                    <a:pt x="616961" y="49497"/>
                  </a:lnTo>
                  <a:lnTo>
                    <a:pt x="616315" y="48850"/>
                  </a:lnTo>
                  <a:lnTo>
                    <a:pt x="615539" y="48463"/>
                  </a:lnTo>
                  <a:lnTo>
                    <a:pt x="614764" y="52340"/>
                  </a:lnTo>
                  <a:lnTo>
                    <a:pt x="613859" y="53761"/>
                  </a:lnTo>
                  <a:lnTo>
                    <a:pt x="612308" y="52986"/>
                  </a:lnTo>
                  <a:lnTo>
                    <a:pt x="611145" y="51047"/>
                  </a:lnTo>
                  <a:lnTo>
                    <a:pt x="610628" y="47170"/>
                  </a:lnTo>
                  <a:lnTo>
                    <a:pt x="609724" y="45232"/>
                  </a:lnTo>
                  <a:lnTo>
                    <a:pt x="608948" y="46266"/>
                  </a:lnTo>
                  <a:lnTo>
                    <a:pt x="607785" y="47041"/>
                  </a:lnTo>
                  <a:lnTo>
                    <a:pt x="606622" y="47300"/>
                  </a:lnTo>
                  <a:lnTo>
                    <a:pt x="605330" y="46782"/>
                  </a:lnTo>
                  <a:lnTo>
                    <a:pt x="608044" y="44844"/>
                  </a:lnTo>
                  <a:lnTo>
                    <a:pt x="605718" y="42260"/>
                  </a:lnTo>
                  <a:lnTo>
                    <a:pt x="599385" y="38641"/>
                  </a:lnTo>
                  <a:lnTo>
                    <a:pt x="600936" y="37995"/>
                  </a:lnTo>
                  <a:lnTo>
                    <a:pt x="602487" y="37736"/>
                  </a:lnTo>
                  <a:lnTo>
                    <a:pt x="605976" y="37865"/>
                  </a:lnTo>
                  <a:lnTo>
                    <a:pt x="604425" y="35539"/>
                  </a:lnTo>
                  <a:lnTo>
                    <a:pt x="599773" y="34506"/>
                  </a:lnTo>
                  <a:lnTo>
                    <a:pt x="598739" y="32438"/>
                  </a:lnTo>
                  <a:lnTo>
                    <a:pt x="598739" y="31016"/>
                  </a:lnTo>
                  <a:lnTo>
                    <a:pt x="598610" y="30758"/>
                  </a:lnTo>
                  <a:lnTo>
                    <a:pt x="598222" y="31145"/>
                  </a:lnTo>
                  <a:lnTo>
                    <a:pt x="590210" y="31145"/>
                  </a:lnTo>
                  <a:lnTo>
                    <a:pt x="588788" y="30887"/>
                  </a:lnTo>
                  <a:lnTo>
                    <a:pt x="588659" y="29982"/>
                  </a:lnTo>
                  <a:lnTo>
                    <a:pt x="589176" y="27527"/>
                  </a:lnTo>
                  <a:lnTo>
                    <a:pt x="588142" y="26493"/>
                  </a:lnTo>
                  <a:lnTo>
                    <a:pt x="585945" y="26881"/>
                  </a:lnTo>
                  <a:lnTo>
                    <a:pt x="583619" y="26751"/>
                  </a:lnTo>
                  <a:lnTo>
                    <a:pt x="582585" y="24296"/>
                  </a:lnTo>
                  <a:lnTo>
                    <a:pt x="581551" y="23521"/>
                  </a:lnTo>
                  <a:lnTo>
                    <a:pt x="579225" y="25588"/>
                  </a:lnTo>
                  <a:lnTo>
                    <a:pt x="575865" y="29595"/>
                  </a:lnTo>
                  <a:lnTo>
                    <a:pt x="574185" y="28949"/>
                  </a:lnTo>
                  <a:lnTo>
                    <a:pt x="572892" y="26881"/>
                  </a:lnTo>
                  <a:lnTo>
                    <a:pt x="571988" y="24813"/>
                  </a:lnTo>
                  <a:lnTo>
                    <a:pt x="571858" y="23908"/>
                  </a:lnTo>
                  <a:lnTo>
                    <a:pt x="574314" y="23391"/>
                  </a:lnTo>
                  <a:lnTo>
                    <a:pt x="574831" y="22358"/>
                  </a:lnTo>
                  <a:lnTo>
                    <a:pt x="573797" y="21194"/>
                  </a:lnTo>
                  <a:lnTo>
                    <a:pt x="571471" y="20548"/>
                  </a:lnTo>
                  <a:lnTo>
                    <a:pt x="568886" y="20807"/>
                  </a:lnTo>
                  <a:lnTo>
                    <a:pt x="567594" y="21840"/>
                  </a:lnTo>
                  <a:lnTo>
                    <a:pt x="567723" y="23779"/>
                  </a:lnTo>
                  <a:lnTo>
                    <a:pt x="568628" y="26364"/>
                  </a:lnTo>
                  <a:lnTo>
                    <a:pt x="567077" y="26881"/>
                  </a:lnTo>
                  <a:lnTo>
                    <a:pt x="566301" y="26364"/>
                  </a:lnTo>
                  <a:lnTo>
                    <a:pt x="565784" y="25459"/>
                  </a:lnTo>
                  <a:lnTo>
                    <a:pt x="564880" y="24684"/>
                  </a:lnTo>
                  <a:lnTo>
                    <a:pt x="563717" y="24684"/>
                  </a:lnTo>
                  <a:lnTo>
                    <a:pt x="562037" y="24813"/>
                  </a:lnTo>
                  <a:lnTo>
                    <a:pt x="560486" y="25330"/>
                  </a:lnTo>
                  <a:lnTo>
                    <a:pt x="559710" y="25847"/>
                  </a:lnTo>
                  <a:lnTo>
                    <a:pt x="559581" y="24813"/>
                  </a:lnTo>
                  <a:lnTo>
                    <a:pt x="558547" y="22099"/>
                  </a:lnTo>
                  <a:lnTo>
                    <a:pt x="558418" y="20936"/>
                  </a:lnTo>
                  <a:lnTo>
                    <a:pt x="558030" y="20419"/>
                  </a:lnTo>
                  <a:lnTo>
                    <a:pt x="557255" y="20031"/>
                  </a:lnTo>
                  <a:lnTo>
                    <a:pt x="556480" y="20031"/>
                  </a:lnTo>
                  <a:lnTo>
                    <a:pt x="556221" y="20936"/>
                  </a:lnTo>
                  <a:lnTo>
                    <a:pt x="556350" y="21582"/>
                  </a:lnTo>
                  <a:lnTo>
                    <a:pt x="556480" y="22099"/>
                  </a:lnTo>
                  <a:lnTo>
                    <a:pt x="556609" y="22745"/>
                  </a:lnTo>
                  <a:lnTo>
                    <a:pt x="556221" y="23908"/>
                  </a:lnTo>
                  <a:lnTo>
                    <a:pt x="555058" y="22745"/>
                  </a:lnTo>
                  <a:lnTo>
                    <a:pt x="554024" y="20160"/>
                  </a:lnTo>
                  <a:lnTo>
                    <a:pt x="553120" y="18868"/>
                  </a:lnTo>
                  <a:lnTo>
                    <a:pt x="552861" y="18222"/>
                  </a:lnTo>
                  <a:lnTo>
                    <a:pt x="552990" y="17705"/>
                  </a:lnTo>
                  <a:lnTo>
                    <a:pt x="552732" y="17317"/>
                  </a:lnTo>
                  <a:lnTo>
                    <a:pt x="551827" y="17317"/>
                  </a:lnTo>
                  <a:lnTo>
                    <a:pt x="550922" y="17834"/>
                  </a:lnTo>
                  <a:lnTo>
                    <a:pt x="550276" y="18868"/>
                  </a:lnTo>
                  <a:lnTo>
                    <a:pt x="549759" y="20031"/>
                  </a:lnTo>
                  <a:lnTo>
                    <a:pt x="549501" y="20936"/>
                  </a:lnTo>
                  <a:lnTo>
                    <a:pt x="548725" y="22228"/>
                  </a:lnTo>
                  <a:lnTo>
                    <a:pt x="546916" y="22228"/>
                  </a:lnTo>
                  <a:lnTo>
                    <a:pt x="544073" y="21323"/>
                  </a:lnTo>
                  <a:lnTo>
                    <a:pt x="543685" y="21065"/>
                  </a:lnTo>
                  <a:lnTo>
                    <a:pt x="542910" y="20031"/>
                  </a:lnTo>
                  <a:lnTo>
                    <a:pt x="542522" y="19773"/>
                  </a:lnTo>
                  <a:lnTo>
                    <a:pt x="541747" y="19902"/>
                  </a:lnTo>
                  <a:lnTo>
                    <a:pt x="540067" y="20548"/>
                  </a:lnTo>
                  <a:lnTo>
                    <a:pt x="538387" y="20936"/>
                  </a:lnTo>
                  <a:lnTo>
                    <a:pt x="535544" y="21970"/>
                  </a:lnTo>
                  <a:lnTo>
                    <a:pt x="534122" y="22228"/>
                  </a:lnTo>
                  <a:lnTo>
                    <a:pt x="532442" y="22228"/>
                  </a:lnTo>
                  <a:lnTo>
                    <a:pt x="529987" y="21582"/>
                  </a:lnTo>
                  <a:lnTo>
                    <a:pt x="528694" y="21323"/>
                  </a:lnTo>
                  <a:lnTo>
                    <a:pt x="528177" y="22099"/>
                  </a:lnTo>
                  <a:lnTo>
                    <a:pt x="527014" y="23650"/>
                  </a:lnTo>
                  <a:lnTo>
                    <a:pt x="525851" y="24167"/>
                  </a:lnTo>
                  <a:lnTo>
                    <a:pt x="525334" y="22616"/>
                  </a:lnTo>
                  <a:lnTo>
                    <a:pt x="524947" y="20677"/>
                  </a:lnTo>
                  <a:lnTo>
                    <a:pt x="523913" y="19773"/>
                  </a:lnTo>
                  <a:lnTo>
                    <a:pt x="522620" y="20031"/>
                  </a:lnTo>
                  <a:lnTo>
                    <a:pt x="521716" y="21323"/>
                  </a:lnTo>
                  <a:lnTo>
                    <a:pt x="518356" y="18093"/>
                  </a:lnTo>
                  <a:lnTo>
                    <a:pt x="516676" y="16930"/>
                  </a:lnTo>
                  <a:lnTo>
                    <a:pt x="513962" y="16413"/>
                  </a:lnTo>
                  <a:lnTo>
                    <a:pt x="512152" y="15379"/>
                  </a:lnTo>
                  <a:lnTo>
                    <a:pt x="511377" y="13053"/>
                  </a:lnTo>
                  <a:lnTo>
                    <a:pt x="510214" y="10985"/>
                  </a:lnTo>
                  <a:lnTo>
                    <a:pt x="507758" y="10727"/>
                  </a:lnTo>
                  <a:lnTo>
                    <a:pt x="506337" y="11760"/>
                  </a:lnTo>
                  <a:lnTo>
                    <a:pt x="505045" y="13440"/>
                  </a:lnTo>
                  <a:lnTo>
                    <a:pt x="503623" y="14991"/>
                  </a:lnTo>
                  <a:lnTo>
                    <a:pt x="501555" y="15637"/>
                  </a:lnTo>
                  <a:lnTo>
                    <a:pt x="500134" y="14345"/>
                  </a:lnTo>
                  <a:lnTo>
                    <a:pt x="500005" y="11890"/>
                  </a:lnTo>
                  <a:lnTo>
                    <a:pt x="499617" y="10985"/>
                  </a:lnTo>
                  <a:lnTo>
                    <a:pt x="497549" y="13957"/>
                  </a:lnTo>
                  <a:lnTo>
                    <a:pt x="497032" y="15120"/>
                  </a:lnTo>
                  <a:lnTo>
                    <a:pt x="496774" y="16413"/>
                  </a:lnTo>
                  <a:lnTo>
                    <a:pt x="496257" y="17447"/>
                  </a:lnTo>
                  <a:lnTo>
                    <a:pt x="495352" y="18222"/>
                  </a:lnTo>
                  <a:lnTo>
                    <a:pt x="494318" y="17964"/>
                  </a:lnTo>
                  <a:lnTo>
                    <a:pt x="493543" y="17188"/>
                  </a:lnTo>
                  <a:lnTo>
                    <a:pt x="493284" y="16025"/>
                  </a:lnTo>
                  <a:lnTo>
                    <a:pt x="493414" y="15249"/>
                  </a:lnTo>
                  <a:lnTo>
                    <a:pt x="494706" y="13440"/>
                  </a:lnTo>
                  <a:lnTo>
                    <a:pt x="495352" y="11502"/>
                  </a:lnTo>
                  <a:lnTo>
                    <a:pt x="495094" y="9564"/>
                  </a:lnTo>
                  <a:lnTo>
                    <a:pt x="493801" y="8271"/>
                  </a:lnTo>
                  <a:lnTo>
                    <a:pt x="493414" y="8529"/>
                  </a:lnTo>
                  <a:lnTo>
                    <a:pt x="492509" y="9047"/>
                  </a:lnTo>
                  <a:lnTo>
                    <a:pt x="491475" y="8917"/>
                  </a:lnTo>
                  <a:lnTo>
                    <a:pt x="490958" y="7366"/>
                  </a:lnTo>
                  <a:lnTo>
                    <a:pt x="491087" y="6333"/>
                  </a:lnTo>
                  <a:lnTo>
                    <a:pt x="491734" y="5040"/>
                  </a:lnTo>
                  <a:lnTo>
                    <a:pt x="493414" y="2973"/>
                  </a:lnTo>
                  <a:lnTo>
                    <a:pt x="493414" y="1938"/>
                  </a:lnTo>
                  <a:lnTo>
                    <a:pt x="491734" y="1422"/>
                  </a:lnTo>
                  <a:lnTo>
                    <a:pt x="489666" y="1680"/>
                  </a:lnTo>
                  <a:lnTo>
                    <a:pt x="487986" y="3360"/>
                  </a:lnTo>
                  <a:lnTo>
                    <a:pt x="487210" y="5686"/>
                  </a:lnTo>
                  <a:lnTo>
                    <a:pt x="486952" y="7754"/>
                  </a:lnTo>
                  <a:lnTo>
                    <a:pt x="486176" y="9434"/>
                  </a:lnTo>
                  <a:lnTo>
                    <a:pt x="484238" y="10727"/>
                  </a:lnTo>
                  <a:lnTo>
                    <a:pt x="481912" y="10985"/>
                  </a:lnTo>
                  <a:lnTo>
                    <a:pt x="480361" y="10210"/>
                  </a:lnTo>
                  <a:lnTo>
                    <a:pt x="477647" y="7366"/>
                  </a:lnTo>
                  <a:lnTo>
                    <a:pt x="476742" y="10856"/>
                  </a:lnTo>
                  <a:lnTo>
                    <a:pt x="475967" y="12406"/>
                  </a:lnTo>
                  <a:lnTo>
                    <a:pt x="474804" y="13182"/>
                  </a:lnTo>
                  <a:lnTo>
                    <a:pt x="473899" y="12923"/>
                  </a:lnTo>
                  <a:lnTo>
                    <a:pt x="471832" y="11114"/>
                  </a:lnTo>
                  <a:lnTo>
                    <a:pt x="470410" y="10727"/>
                  </a:lnTo>
                  <a:lnTo>
                    <a:pt x="467696" y="11631"/>
                  </a:lnTo>
                  <a:lnTo>
                    <a:pt x="462656" y="15120"/>
                  </a:lnTo>
                  <a:lnTo>
                    <a:pt x="460071" y="14862"/>
                  </a:lnTo>
                  <a:lnTo>
                    <a:pt x="462785" y="9305"/>
                  </a:lnTo>
                  <a:lnTo>
                    <a:pt x="463948" y="5686"/>
                  </a:lnTo>
                  <a:lnTo>
                    <a:pt x="463302" y="4136"/>
                  </a:lnTo>
                  <a:lnTo>
                    <a:pt x="460459" y="3877"/>
                  </a:lnTo>
                  <a:lnTo>
                    <a:pt x="458391" y="2973"/>
                  </a:lnTo>
                  <a:lnTo>
                    <a:pt x="454127" y="0"/>
                  </a:lnTo>
                  <a:lnTo>
                    <a:pt x="452188" y="3877"/>
                  </a:lnTo>
                  <a:lnTo>
                    <a:pt x="450637" y="5816"/>
                  </a:lnTo>
                  <a:lnTo>
                    <a:pt x="448699" y="6720"/>
                  </a:lnTo>
                  <a:lnTo>
                    <a:pt x="447665" y="6849"/>
                  </a:lnTo>
                  <a:lnTo>
                    <a:pt x="445985" y="8012"/>
                  </a:lnTo>
                  <a:lnTo>
                    <a:pt x="445080" y="8271"/>
                  </a:lnTo>
                  <a:lnTo>
                    <a:pt x="444434" y="7625"/>
                  </a:lnTo>
                  <a:lnTo>
                    <a:pt x="443659" y="6462"/>
                  </a:lnTo>
                  <a:lnTo>
                    <a:pt x="442883" y="5299"/>
                  </a:lnTo>
                  <a:lnTo>
                    <a:pt x="441720" y="5040"/>
                  </a:lnTo>
                  <a:lnTo>
                    <a:pt x="440169" y="6591"/>
                  </a:lnTo>
                  <a:lnTo>
                    <a:pt x="440040" y="9305"/>
                  </a:lnTo>
                  <a:lnTo>
                    <a:pt x="440428" y="12148"/>
                  </a:lnTo>
                  <a:lnTo>
                    <a:pt x="439911" y="14345"/>
                  </a:lnTo>
                  <a:lnTo>
                    <a:pt x="438231" y="14862"/>
                  </a:lnTo>
                  <a:lnTo>
                    <a:pt x="433191" y="12665"/>
                  </a:lnTo>
                  <a:lnTo>
                    <a:pt x="430735" y="12406"/>
                  </a:lnTo>
                  <a:lnTo>
                    <a:pt x="428797" y="13440"/>
                  </a:lnTo>
                  <a:lnTo>
                    <a:pt x="426083" y="16671"/>
                  </a:lnTo>
                  <a:lnTo>
                    <a:pt x="423757" y="17317"/>
                  </a:lnTo>
                  <a:lnTo>
                    <a:pt x="423498" y="13828"/>
                  </a:lnTo>
                  <a:lnTo>
                    <a:pt x="422852" y="11243"/>
                  </a:lnTo>
                  <a:lnTo>
                    <a:pt x="421172" y="9822"/>
                  </a:lnTo>
                  <a:lnTo>
                    <a:pt x="420138" y="9951"/>
                  </a:lnTo>
                  <a:lnTo>
                    <a:pt x="419492" y="10468"/>
                  </a:lnTo>
                  <a:lnTo>
                    <a:pt x="418329" y="11502"/>
                  </a:lnTo>
                  <a:lnTo>
                    <a:pt x="415873" y="12923"/>
                  </a:lnTo>
                  <a:lnTo>
                    <a:pt x="414840" y="13182"/>
                  </a:lnTo>
                  <a:lnTo>
                    <a:pt x="413547" y="13182"/>
                  </a:lnTo>
                  <a:lnTo>
                    <a:pt x="412384" y="12923"/>
                  </a:lnTo>
                  <a:lnTo>
                    <a:pt x="411996" y="12277"/>
                  </a:lnTo>
                  <a:lnTo>
                    <a:pt x="411738" y="11373"/>
                  </a:lnTo>
                  <a:lnTo>
                    <a:pt x="411221" y="10339"/>
                  </a:lnTo>
                  <a:lnTo>
                    <a:pt x="410316" y="9434"/>
                  </a:lnTo>
                  <a:lnTo>
                    <a:pt x="409541" y="9175"/>
                  </a:lnTo>
                  <a:lnTo>
                    <a:pt x="407215" y="9822"/>
                  </a:lnTo>
                  <a:lnTo>
                    <a:pt x="406310" y="10339"/>
                  </a:lnTo>
                  <a:lnTo>
                    <a:pt x="405535" y="10856"/>
                  </a:lnTo>
                  <a:lnTo>
                    <a:pt x="404759" y="11373"/>
                  </a:lnTo>
                  <a:lnTo>
                    <a:pt x="403725" y="11502"/>
                  </a:lnTo>
                  <a:lnTo>
                    <a:pt x="403596" y="10985"/>
                  </a:lnTo>
                  <a:lnTo>
                    <a:pt x="402821" y="10339"/>
                  </a:lnTo>
                  <a:lnTo>
                    <a:pt x="401787" y="8271"/>
                  </a:lnTo>
                  <a:lnTo>
                    <a:pt x="400624" y="6462"/>
                  </a:lnTo>
                  <a:lnTo>
                    <a:pt x="399202" y="5816"/>
                  </a:lnTo>
                  <a:lnTo>
                    <a:pt x="398298" y="6591"/>
                  </a:lnTo>
                  <a:lnTo>
                    <a:pt x="397393" y="10339"/>
                  </a:lnTo>
                  <a:lnTo>
                    <a:pt x="396359" y="11631"/>
                  </a:lnTo>
                  <a:lnTo>
                    <a:pt x="394550" y="11243"/>
                  </a:lnTo>
                  <a:lnTo>
                    <a:pt x="393258" y="10080"/>
                  </a:lnTo>
                  <a:lnTo>
                    <a:pt x="391836" y="9175"/>
                  </a:lnTo>
                  <a:lnTo>
                    <a:pt x="390414" y="9822"/>
                  </a:lnTo>
                  <a:lnTo>
                    <a:pt x="390285" y="11502"/>
                  </a:lnTo>
                  <a:lnTo>
                    <a:pt x="390802" y="13053"/>
                  </a:lnTo>
                  <a:lnTo>
                    <a:pt x="390673" y="14345"/>
                  </a:lnTo>
                  <a:lnTo>
                    <a:pt x="388605" y="14862"/>
                  </a:lnTo>
                  <a:lnTo>
                    <a:pt x="387830" y="14603"/>
                  </a:lnTo>
                  <a:lnTo>
                    <a:pt x="387442" y="14216"/>
                  </a:lnTo>
                  <a:lnTo>
                    <a:pt x="386925" y="13828"/>
                  </a:lnTo>
                  <a:lnTo>
                    <a:pt x="386021" y="13957"/>
                  </a:lnTo>
                  <a:lnTo>
                    <a:pt x="385504" y="14603"/>
                  </a:lnTo>
                  <a:lnTo>
                    <a:pt x="384728" y="16801"/>
                  </a:lnTo>
                  <a:lnTo>
                    <a:pt x="376845" y="25588"/>
                  </a:lnTo>
                  <a:lnTo>
                    <a:pt x="372968" y="25976"/>
                  </a:lnTo>
                  <a:lnTo>
                    <a:pt x="369737" y="24942"/>
                  </a:lnTo>
                  <a:lnTo>
                    <a:pt x="369995" y="22228"/>
                  </a:lnTo>
                  <a:lnTo>
                    <a:pt x="368962" y="21453"/>
                  </a:lnTo>
                  <a:lnTo>
                    <a:pt x="367669" y="20548"/>
                  </a:lnTo>
                  <a:lnTo>
                    <a:pt x="366377" y="22616"/>
                  </a:lnTo>
                  <a:lnTo>
                    <a:pt x="363275" y="30887"/>
                  </a:lnTo>
                  <a:lnTo>
                    <a:pt x="362758" y="31791"/>
                  </a:lnTo>
                  <a:lnTo>
                    <a:pt x="362242" y="32567"/>
                  </a:lnTo>
                  <a:lnTo>
                    <a:pt x="361854" y="33471"/>
                  </a:lnTo>
                  <a:lnTo>
                    <a:pt x="362112" y="35927"/>
                  </a:lnTo>
                  <a:lnTo>
                    <a:pt x="361854" y="36961"/>
                  </a:lnTo>
                  <a:lnTo>
                    <a:pt x="361079" y="37349"/>
                  </a:lnTo>
                  <a:lnTo>
                    <a:pt x="359786" y="37607"/>
                  </a:lnTo>
                  <a:lnTo>
                    <a:pt x="358623" y="37995"/>
                  </a:lnTo>
                  <a:lnTo>
                    <a:pt x="358235" y="39158"/>
                  </a:lnTo>
                  <a:lnTo>
                    <a:pt x="357848" y="40062"/>
                  </a:lnTo>
                  <a:lnTo>
                    <a:pt x="357201" y="41226"/>
                  </a:lnTo>
                  <a:lnTo>
                    <a:pt x="356426" y="42260"/>
                  </a:lnTo>
                  <a:lnTo>
                    <a:pt x="355909" y="42776"/>
                  </a:lnTo>
                  <a:lnTo>
                    <a:pt x="353712" y="42776"/>
                  </a:lnTo>
                  <a:lnTo>
                    <a:pt x="352161" y="41613"/>
                  </a:lnTo>
                  <a:lnTo>
                    <a:pt x="350869" y="40062"/>
                  </a:lnTo>
                  <a:lnTo>
                    <a:pt x="349447" y="38641"/>
                  </a:lnTo>
                  <a:lnTo>
                    <a:pt x="349577" y="42518"/>
                  </a:lnTo>
                  <a:lnTo>
                    <a:pt x="349447" y="43681"/>
                  </a:lnTo>
                  <a:lnTo>
                    <a:pt x="348672" y="44844"/>
                  </a:lnTo>
                  <a:lnTo>
                    <a:pt x="347767" y="45749"/>
                  </a:lnTo>
                  <a:lnTo>
                    <a:pt x="346863" y="45878"/>
                  </a:lnTo>
                  <a:lnTo>
                    <a:pt x="346475" y="44844"/>
                  </a:lnTo>
                  <a:lnTo>
                    <a:pt x="346087" y="42001"/>
                  </a:lnTo>
                  <a:lnTo>
                    <a:pt x="345053" y="40708"/>
                  </a:lnTo>
                  <a:lnTo>
                    <a:pt x="343373" y="40192"/>
                  </a:lnTo>
                  <a:lnTo>
                    <a:pt x="338980" y="40450"/>
                  </a:lnTo>
                  <a:lnTo>
                    <a:pt x="337299" y="40838"/>
                  </a:lnTo>
                  <a:lnTo>
                    <a:pt x="336912" y="42130"/>
                  </a:lnTo>
                  <a:lnTo>
                    <a:pt x="338721" y="44844"/>
                  </a:lnTo>
                  <a:lnTo>
                    <a:pt x="338592" y="46395"/>
                  </a:lnTo>
                  <a:lnTo>
                    <a:pt x="336524" y="47817"/>
                  </a:lnTo>
                  <a:lnTo>
                    <a:pt x="329546" y="49884"/>
                  </a:lnTo>
                  <a:lnTo>
                    <a:pt x="328512" y="49755"/>
                  </a:lnTo>
                  <a:lnTo>
                    <a:pt x="327349" y="49238"/>
                  </a:lnTo>
                  <a:lnTo>
                    <a:pt x="326961" y="48721"/>
                  </a:lnTo>
                  <a:lnTo>
                    <a:pt x="325927" y="46524"/>
                  </a:lnTo>
                  <a:lnTo>
                    <a:pt x="325539" y="46007"/>
                  </a:lnTo>
                  <a:lnTo>
                    <a:pt x="324635" y="45878"/>
                  </a:lnTo>
                  <a:lnTo>
                    <a:pt x="324118" y="45619"/>
                  </a:lnTo>
                  <a:lnTo>
                    <a:pt x="323472" y="45619"/>
                  </a:lnTo>
                  <a:lnTo>
                    <a:pt x="322567" y="46395"/>
                  </a:lnTo>
                  <a:lnTo>
                    <a:pt x="321791" y="47429"/>
                  </a:lnTo>
                  <a:lnTo>
                    <a:pt x="321404" y="48721"/>
                  </a:lnTo>
                  <a:lnTo>
                    <a:pt x="320758" y="50918"/>
                  </a:lnTo>
                  <a:lnTo>
                    <a:pt x="319594" y="53115"/>
                  </a:lnTo>
                  <a:lnTo>
                    <a:pt x="318173" y="54537"/>
                  </a:lnTo>
                  <a:lnTo>
                    <a:pt x="316880" y="54407"/>
                  </a:lnTo>
                  <a:lnTo>
                    <a:pt x="316364" y="52210"/>
                  </a:lnTo>
                  <a:lnTo>
                    <a:pt x="315976" y="51693"/>
                  </a:lnTo>
                  <a:lnTo>
                    <a:pt x="315330" y="51823"/>
                  </a:lnTo>
                  <a:lnTo>
                    <a:pt x="314554" y="52469"/>
                  </a:lnTo>
                  <a:lnTo>
                    <a:pt x="314167" y="53761"/>
                  </a:lnTo>
                  <a:lnTo>
                    <a:pt x="314167" y="55441"/>
                  </a:lnTo>
                  <a:lnTo>
                    <a:pt x="314167" y="56346"/>
                  </a:lnTo>
                  <a:lnTo>
                    <a:pt x="313779" y="56863"/>
                  </a:lnTo>
                  <a:lnTo>
                    <a:pt x="312745" y="57509"/>
                  </a:lnTo>
                  <a:lnTo>
                    <a:pt x="311711" y="57638"/>
                  </a:lnTo>
                  <a:lnTo>
                    <a:pt x="309385" y="57509"/>
                  </a:lnTo>
                  <a:lnTo>
                    <a:pt x="308222" y="57509"/>
                  </a:lnTo>
                  <a:lnTo>
                    <a:pt x="303828" y="58930"/>
                  </a:lnTo>
                  <a:lnTo>
                    <a:pt x="303053" y="58801"/>
                  </a:lnTo>
                  <a:lnTo>
                    <a:pt x="302923" y="58543"/>
                  </a:lnTo>
                  <a:lnTo>
                    <a:pt x="302277" y="57638"/>
                  </a:lnTo>
                  <a:lnTo>
                    <a:pt x="302019" y="57509"/>
                  </a:lnTo>
                  <a:lnTo>
                    <a:pt x="301631" y="57250"/>
                  </a:lnTo>
                  <a:lnTo>
                    <a:pt x="301890" y="56604"/>
                  </a:lnTo>
                  <a:lnTo>
                    <a:pt x="302277" y="55958"/>
                  </a:lnTo>
                  <a:lnTo>
                    <a:pt x="302406" y="55441"/>
                  </a:lnTo>
                  <a:lnTo>
                    <a:pt x="301890" y="54149"/>
                  </a:lnTo>
                  <a:lnTo>
                    <a:pt x="300468" y="54537"/>
                  </a:lnTo>
                  <a:lnTo>
                    <a:pt x="298917" y="55700"/>
                  </a:lnTo>
                  <a:lnTo>
                    <a:pt x="298013" y="56734"/>
                  </a:lnTo>
                  <a:lnTo>
                    <a:pt x="297366" y="59189"/>
                  </a:lnTo>
                  <a:lnTo>
                    <a:pt x="296979" y="62161"/>
                  </a:lnTo>
                  <a:lnTo>
                    <a:pt x="296203" y="64746"/>
                  </a:lnTo>
                  <a:lnTo>
                    <a:pt x="294006" y="65909"/>
                  </a:lnTo>
                  <a:lnTo>
                    <a:pt x="291422" y="65780"/>
                  </a:lnTo>
                  <a:lnTo>
                    <a:pt x="290517" y="66167"/>
                  </a:lnTo>
                  <a:lnTo>
                    <a:pt x="290646" y="70691"/>
                  </a:lnTo>
                  <a:lnTo>
                    <a:pt x="290129" y="75860"/>
                  </a:lnTo>
                  <a:lnTo>
                    <a:pt x="289612" y="78574"/>
                  </a:lnTo>
                  <a:lnTo>
                    <a:pt x="288837" y="79866"/>
                  </a:lnTo>
                  <a:lnTo>
                    <a:pt x="286769" y="80642"/>
                  </a:lnTo>
                  <a:lnTo>
                    <a:pt x="281212" y="85682"/>
                  </a:lnTo>
                  <a:lnTo>
                    <a:pt x="278627" y="85940"/>
                  </a:lnTo>
                  <a:lnTo>
                    <a:pt x="276689" y="85294"/>
                  </a:lnTo>
                  <a:lnTo>
                    <a:pt x="274750" y="84389"/>
                  </a:lnTo>
                  <a:lnTo>
                    <a:pt x="272683" y="83873"/>
                  </a:lnTo>
                  <a:lnTo>
                    <a:pt x="270873" y="84777"/>
                  </a:lnTo>
                  <a:lnTo>
                    <a:pt x="271907" y="86716"/>
                  </a:lnTo>
                  <a:lnTo>
                    <a:pt x="275267" y="89688"/>
                  </a:lnTo>
                  <a:lnTo>
                    <a:pt x="276818" y="92273"/>
                  </a:lnTo>
                  <a:lnTo>
                    <a:pt x="276431" y="93436"/>
                  </a:lnTo>
                  <a:lnTo>
                    <a:pt x="274621" y="93436"/>
                  </a:lnTo>
                  <a:lnTo>
                    <a:pt x="272295" y="92144"/>
                  </a:lnTo>
                  <a:lnTo>
                    <a:pt x="271261" y="92661"/>
                  </a:lnTo>
                  <a:lnTo>
                    <a:pt x="268935" y="92661"/>
                  </a:lnTo>
                  <a:lnTo>
                    <a:pt x="267901" y="93048"/>
                  </a:lnTo>
                  <a:lnTo>
                    <a:pt x="267643" y="93824"/>
                  </a:lnTo>
                  <a:lnTo>
                    <a:pt x="266867" y="97184"/>
                  </a:lnTo>
                  <a:lnTo>
                    <a:pt x="264670" y="96667"/>
                  </a:lnTo>
                  <a:lnTo>
                    <a:pt x="262344" y="94470"/>
                  </a:lnTo>
                  <a:lnTo>
                    <a:pt x="260535" y="93824"/>
                  </a:lnTo>
                  <a:lnTo>
                    <a:pt x="258467" y="94728"/>
                  </a:lnTo>
                  <a:lnTo>
                    <a:pt x="256916" y="96667"/>
                  </a:lnTo>
                  <a:lnTo>
                    <a:pt x="255624" y="98735"/>
                  </a:lnTo>
                  <a:lnTo>
                    <a:pt x="251747" y="101707"/>
                  </a:lnTo>
                  <a:lnTo>
                    <a:pt x="250713" y="102094"/>
                  </a:lnTo>
                  <a:lnTo>
                    <a:pt x="249550" y="101965"/>
                  </a:lnTo>
                  <a:lnTo>
                    <a:pt x="247224" y="101061"/>
                  </a:lnTo>
                  <a:lnTo>
                    <a:pt x="245931" y="101190"/>
                  </a:lnTo>
                  <a:lnTo>
                    <a:pt x="244251" y="102870"/>
                  </a:lnTo>
                  <a:lnTo>
                    <a:pt x="243993" y="105067"/>
                  </a:lnTo>
                  <a:lnTo>
                    <a:pt x="243476" y="107005"/>
                  </a:lnTo>
                  <a:lnTo>
                    <a:pt x="241150" y="107910"/>
                  </a:lnTo>
                  <a:lnTo>
                    <a:pt x="240116" y="107910"/>
                  </a:lnTo>
                  <a:lnTo>
                    <a:pt x="239340" y="108298"/>
                  </a:lnTo>
                  <a:lnTo>
                    <a:pt x="238824" y="108815"/>
                  </a:lnTo>
                  <a:lnTo>
                    <a:pt x="238694" y="109978"/>
                  </a:lnTo>
                  <a:lnTo>
                    <a:pt x="238694" y="112562"/>
                  </a:lnTo>
                  <a:lnTo>
                    <a:pt x="238565" y="113209"/>
                  </a:lnTo>
                  <a:lnTo>
                    <a:pt x="237919" y="114372"/>
                  </a:lnTo>
                  <a:lnTo>
                    <a:pt x="233008" y="120058"/>
                  </a:lnTo>
                  <a:lnTo>
                    <a:pt x="232362" y="120963"/>
                  </a:lnTo>
                  <a:lnTo>
                    <a:pt x="229777" y="121738"/>
                  </a:lnTo>
                  <a:lnTo>
                    <a:pt x="228743" y="121867"/>
                  </a:lnTo>
                  <a:lnTo>
                    <a:pt x="227968" y="121479"/>
                  </a:lnTo>
                  <a:lnTo>
                    <a:pt x="227451" y="120833"/>
                  </a:lnTo>
                  <a:lnTo>
                    <a:pt x="226805" y="120446"/>
                  </a:lnTo>
                  <a:lnTo>
                    <a:pt x="225383" y="120963"/>
                  </a:lnTo>
                  <a:lnTo>
                    <a:pt x="224995" y="121609"/>
                  </a:lnTo>
                  <a:lnTo>
                    <a:pt x="223962" y="124323"/>
                  </a:lnTo>
                  <a:lnTo>
                    <a:pt x="223445" y="124840"/>
                  </a:lnTo>
                  <a:lnTo>
                    <a:pt x="222023" y="125874"/>
                  </a:lnTo>
                  <a:lnTo>
                    <a:pt x="221377" y="126520"/>
                  </a:lnTo>
                  <a:lnTo>
                    <a:pt x="220860" y="127424"/>
                  </a:lnTo>
                  <a:lnTo>
                    <a:pt x="220731" y="128329"/>
                  </a:lnTo>
                  <a:lnTo>
                    <a:pt x="220343" y="129105"/>
                  </a:lnTo>
                  <a:lnTo>
                    <a:pt x="219180" y="129363"/>
                  </a:lnTo>
                  <a:lnTo>
                    <a:pt x="217758" y="128846"/>
                  </a:lnTo>
                  <a:lnTo>
                    <a:pt x="217629" y="127941"/>
                  </a:lnTo>
                  <a:lnTo>
                    <a:pt x="217629" y="126907"/>
                  </a:lnTo>
                  <a:lnTo>
                    <a:pt x="217371" y="126132"/>
                  </a:lnTo>
                  <a:lnTo>
                    <a:pt x="214786" y="125615"/>
                  </a:lnTo>
                  <a:lnTo>
                    <a:pt x="213623" y="127166"/>
                  </a:lnTo>
                  <a:lnTo>
                    <a:pt x="212848" y="128975"/>
                  </a:lnTo>
                  <a:lnTo>
                    <a:pt x="212848" y="129105"/>
                  </a:lnTo>
                  <a:lnTo>
                    <a:pt x="211814" y="130138"/>
                  </a:lnTo>
                  <a:lnTo>
                    <a:pt x="210909" y="130784"/>
                  </a:lnTo>
                  <a:lnTo>
                    <a:pt x="206386" y="135178"/>
                  </a:lnTo>
                  <a:lnTo>
                    <a:pt x="199537" y="137505"/>
                  </a:lnTo>
                  <a:lnTo>
                    <a:pt x="196952" y="139443"/>
                  </a:lnTo>
                  <a:lnTo>
                    <a:pt x="197469" y="142545"/>
                  </a:lnTo>
                  <a:lnTo>
                    <a:pt x="198761" y="143579"/>
                  </a:lnTo>
                  <a:lnTo>
                    <a:pt x="203026" y="145517"/>
                  </a:lnTo>
                  <a:lnTo>
                    <a:pt x="204447" y="145905"/>
                  </a:lnTo>
                  <a:lnTo>
                    <a:pt x="205998" y="146551"/>
                  </a:lnTo>
                  <a:lnTo>
                    <a:pt x="207032" y="147973"/>
                  </a:lnTo>
                  <a:lnTo>
                    <a:pt x="208583" y="150945"/>
                  </a:lnTo>
                  <a:lnTo>
                    <a:pt x="207032" y="156631"/>
                  </a:lnTo>
                  <a:lnTo>
                    <a:pt x="206386" y="158311"/>
                  </a:lnTo>
                  <a:lnTo>
                    <a:pt x="205223" y="159862"/>
                  </a:lnTo>
                  <a:lnTo>
                    <a:pt x="204060" y="160767"/>
                  </a:lnTo>
                  <a:lnTo>
                    <a:pt x="203026" y="160379"/>
                  </a:lnTo>
                  <a:lnTo>
                    <a:pt x="202638" y="157923"/>
                  </a:lnTo>
                  <a:lnTo>
                    <a:pt x="200958" y="155727"/>
                  </a:lnTo>
                  <a:lnTo>
                    <a:pt x="197081" y="154693"/>
                  </a:lnTo>
                  <a:lnTo>
                    <a:pt x="192558" y="154175"/>
                  </a:lnTo>
                  <a:lnTo>
                    <a:pt x="189456" y="153271"/>
                  </a:lnTo>
                  <a:lnTo>
                    <a:pt x="184545" y="155339"/>
                  </a:lnTo>
                  <a:lnTo>
                    <a:pt x="182607" y="157148"/>
                  </a:lnTo>
                  <a:lnTo>
                    <a:pt x="183253" y="159603"/>
                  </a:lnTo>
                  <a:lnTo>
                    <a:pt x="183641" y="160637"/>
                  </a:lnTo>
                  <a:lnTo>
                    <a:pt x="183512" y="166323"/>
                  </a:lnTo>
                  <a:lnTo>
                    <a:pt x="183512" y="167228"/>
                  </a:lnTo>
                  <a:lnTo>
                    <a:pt x="182995" y="167745"/>
                  </a:lnTo>
                  <a:lnTo>
                    <a:pt x="182090" y="168391"/>
                  </a:lnTo>
                  <a:lnTo>
                    <a:pt x="181185" y="168650"/>
                  </a:lnTo>
                  <a:lnTo>
                    <a:pt x="177696" y="169167"/>
                  </a:lnTo>
                  <a:lnTo>
                    <a:pt x="174724" y="170588"/>
                  </a:lnTo>
                  <a:lnTo>
                    <a:pt x="171364" y="171493"/>
                  </a:lnTo>
                  <a:lnTo>
                    <a:pt x="170201" y="173173"/>
                  </a:lnTo>
                  <a:lnTo>
                    <a:pt x="170071" y="175370"/>
                  </a:lnTo>
                  <a:lnTo>
                    <a:pt x="170330" y="177567"/>
                  </a:lnTo>
                  <a:lnTo>
                    <a:pt x="170201" y="182349"/>
                  </a:lnTo>
                  <a:lnTo>
                    <a:pt x="168133" y="185192"/>
                  </a:lnTo>
                  <a:lnTo>
                    <a:pt x="161542" y="189844"/>
                  </a:lnTo>
                  <a:lnTo>
                    <a:pt x="152754" y="201604"/>
                  </a:lnTo>
                  <a:lnTo>
                    <a:pt x="149135" y="203930"/>
                  </a:lnTo>
                  <a:lnTo>
                    <a:pt x="144095" y="204965"/>
                  </a:lnTo>
                  <a:lnTo>
                    <a:pt x="141898" y="205869"/>
                  </a:lnTo>
                  <a:lnTo>
                    <a:pt x="140994" y="207808"/>
                  </a:lnTo>
                  <a:lnTo>
                    <a:pt x="140348" y="218276"/>
                  </a:lnTo>
                  <a:lnTo>
                    <a:pt x="138021" y="222540"/>
                  </a:lnTo>
                  <a:lnTo>
                    <a:pt x="130655" y="226805"/>
                  </a:lnTo>
                  <a:lnTo>
                    <a:pt x="128587" y="231587"/>
                  </a:lnTo>
                  <a:lnTo>
                    <a:pt x="128458" y="236498"/>
                  </a:lnTo>
                  <a:lnTo>
                    <a:pt x="128070" y="238953"/>
                  </a:lnTo>
                  <a:lnTo>
                    <a:pt x="126778" y="241150"/>
                  </a:lnTo>
                  <a:lnTo>
                    <a:pt x="124969" y="242184"/>
                  </a:lnTo>
                  <a:lnTo>
                    <a:pt x="117602" y="244122"/>
                  </a:lnTo>
                  <a:lnTo>
                    <a:pt x="113855" y="246061"/>
                  </a:lnTo>
                  <a:lnTo>
                    <a:pt x="109978" y="248775"/>
                  </a:lnTo>
                  <a:lnTo>
                    <a:pt x="106488" y="252264"/>
                  </a:lnTo>
                  <a:lnTo>
                    <a:pt x="103645" y="256529"/>
                  </a:lnTo>
                  <a:lnTo>
                    <a:pt x="102870" y="258209"/>
                  </a:lnTo>
                  <a:lnTo>
                    <a:pt x="102224" y="259889"/>
                  </a:lnTo>
                  <a:lnTo>
                    <a:pt x="102224" y="261698"/>
                  </a:lnTo>
                  <a:lnTo>
                    <a:pt x="102870" y="263249"/>
                  </a:lnTo>
                  <a:lnTo>
                    <a:pt x="101836" y="265704"/>
                  </a:lnTo>
                  <a:lnTo>
                    <a:pt x="100027" y="270873"/>
                  </a:lnTo>
                  <a:lnTo>
                    <a:pt x="98864" y="272812"/>
                  </a:lnTo>
                  <a:lnTo>
                    <a:pt x="97054" y="274621"/>
                  </a:lnTo>
                  <a:lnTo>
                    <a:pt x="95633" y="275526"/>
                  </a:lnTo>
                  <a:lnTo>
                    <a:pt x="91885" y="277464"/>
                  </a:lnTo>
                  <a:lnTo>
                    <a:pt x="90851" y="278111"/>
                  </a:lnTo>
                  <a:lnTo>
                    <a:pt x="90076" y="278886"/>
                  </a:lnTo>
                  <a:lnTo>
                    <a:pt x="89559" y="279790"/>
                  </a:lnTo>
                  <a:lnTo>
                    <a:pt x="88913" y="280954"/>
                  </a:lnTo>
                  <a:lnTo>
                    <a:pt x="88783" y="282117"/>
                  </a:lnTo>
                  <a:lnTo>
                    <a:pt x="88783" y="283538"/>
                  </a:lnTo>
                  <a:lnTo>
                    <a:pt x="88654" y="284572"/>
                  </a:lnTo>
                  <a:lnTo>
                    <a:pt x="86974" y="285606"/>
                  </a:lnTo>
                  <a:lnTo>
                    <a:pt x="86069" y="286899"/>
                  </a:lnTo>
                  <a:lnTo>
                    <a:pt x="85553" y="288449"/>
                  </a:lnTo>
                  <a:lnTo>
                    <a:pt x="85294" y="289612"/>
                  </a:lnTo>
                  <a:lnTo>
                    <a:pt x="84906" y="290646"/>
                  </a:lnTo>
                  <a:lnTo>
                    <a:pt x="76506" y="298012"/>
                  </a:lnTo>
                  <a:lnTo>
                    <a:pt x="75731" y="299822"/>
                  </a:lnTo>
                  <a:lnTo>
                    <a:pt x="74826" y="300856"/>
                  </a:lnTo>
                  <a:lnTo>
                    <a:pt x="70691" y="304216"/>
                  </a:lnTo>
                  <a:lnTo>
                    <a:pt x="69140" y="306025"/>
                  </a:lnTo>
                  <a:lnTo>
                    <a:pt x="67718" y="310290"/>
                  </a:lnTo>
                  <a:lnTo>
                    <a:pt x="64487" y="313650"/>
                  </a:lnTo>
                  <a:lnTo>
                    <a:pt x="64100" y="314942"/>
                  </a:lnTo>
                  <a:lnTo>
                    <a:pt x="63195" y="316105"/>
                  </a:lnTo>
                  <a:lnTo>
                    <a:pt x="55441" y="324635"/>
                  </a:lnTo>
                  <a:lnTo>
                    <a:pt x="53373" y="326315"/>
                  </a:lnTo>
                  <a:lnTo>
                    <a:pt x="51176" y="327090"/>
                  </a:lnTo>
                  <a:lnTo>
                    <a:pt x="46524" y="327090"/>
                  </a:lnTo>
                  <a:lnTo>
                    <a:pt x="42001" y="327865"/>
                  </a:lnTo>
                  <a:lnTo>
                    <a:pt x="37348" y="329545"/>
                  </a:lnTo>
                  <a:lnTo>
                    <a:pt x="34247" y="332259"/>
                  </a:lnTo>
                  <a:lnTo>
                    <a:pt x="32438" y="336395"/>
                  </a:lnTo>
                  <a:lnTo>
                    <a:pt x="31404" y="350740"/>
                  </a:lnTo>
                  <a:lnTo>
                    <a:pt x="30628" y="352678"/>
                  </a:lnTo>
                  <a:lnTo>
                    <a:pt x="21453" y="359915"/>
                  </a:lnTo>
                  <a:lnTo>
                    <a:pt x="11372" y="372839"/>
                  </a:lnTo>
                  <a:lnTo>
                    <a:pt x="6720" y="375940"/>
                  </a:lnTo>
                  <a:lnTo>
                    <a:pt x="4652" y="376716"/>
                  </a:lnTo>
                  <a:lnTo>
                    <a:pt x="0" y="377491"/>
                  </a:lnTo>
                  <a:lnTo>
                    <a:pt x="2714" y="380205"/>
                  </a:lnTo>
                  <a:lnTo>
                    <a:pt x="4782" y="386537"/>
                  </a:lnTo>
                  <a:lnTo>
                    <a:pt x="8142" y="388864"/>
                  </a:lnTo>
                  <a:lnTo>
                    <a:pt x="10856" y="389122"/>
                  </a:lnTo>
                  <a:lnTo>
                    <a:pt x="15508" y="388218"/>
                  </a:lnTo>
                  <a:lnTo>
                    <a:pt x="18093" y="388218"/>
                  </a:lnTo>
                  <a:lnTo>
                    <a:pt x="19514" y="388993"/>
                  </a:lnTo>
                  <a:lnTo>
                    <a:pt x="21065" y="391448"/>
                  </a:lnTo>
                  <a:lnTo>
                    <a:pt x="22745" y="391836"/>
                  </a:lnTo>
                  <a:lnTo>
                    <a:pt x="23779" y="391319"/>
                  </a:lnTo>
                  <a:lnTo>
                    <a:pt x="26234" y="389122"/>
                  </a:lnTo>
                  <a:lnTo>
                    <a:pt x="27656" y="388476"/>
                  </a:lnTo>
                  <a:lnTo>
                    <a:pt x="29724" y="388605"/>
                  </a:lnTo>
                  <a:lnTo>
                    <a:pt x="31016" y="389510"/>
                  </a:lnTo>
                  <a:lnTo>
                    <a:pt x="32179" y="390544"/>
                  </a:lnTo>
                  <a:lnTo>
                    <a:pt x="33730" y="391190"/>
                  </a:lnTo>
                  <a:lnTo>
                    <a:pt x="34634" y="390802"/>
                  </a:lnTo>
                  <a:lnTo>
                    <a:pt x="35927" y="389251"/>
                  </a:lnTo>
                  <a:lnTo>
                    <a:pt x="36573" y="388864"/>
                  </a:lnTo>
                  <a:lnTo>
                    <a:pt x="37348" y="389381"/>
                  </a:lnTo>
                  <a:lnTo>
                    <a:pt x="38770" y="390802"/>
                  </a:lnTo>
                  <a:lnTo>
                    <a:pt x="39287" y="391190"/>
                  </a:lnTo>
                  <a:lnTo>
                    <a:pt x="42776" y="390414"/>
                  </a:lnTo>
                  <a:lnTo>
                    <a:pt x="45878" y="387959"/>
                  </a:lnTo>
                  <a:lnTo>
                    <a:pt x="47946" y="384470"/>
                  </a:lnTo>
                  <a:lnTo>
                    <a:pt x="48592" y="380593"/>
                  </a:lnTo>
                  <a:lnTo>
                    <a:pt x="49367" y="377491"/>
                  </a:lnTo>
                  <a:lnTo>
                    <a:pt x="51564" y="373485"/>
                  </a:lnTo>
                  <a:lnTo>
                    <a:pt x="54537" y="369996"/>
                  </a:lnTo>
                  <a:lnTo>
                    <a:pt x="57250" y="368057"/>
                  </a:lnTo>
                  <a:lnTo>
                    <a:pt x="58284" y="368187"/>
                  </a:lnTo>
                  <a:lnTo>
                    <a:pt x="60352" y="369091"/>
                  </a:lnTo>
                  <a:lnTo>
                    <a:pt x="61386" y="369091"/>
                  </a:lnTo>
                  <a:lnTo>
                    <a:pt x="63583" y="368057"/>
                  </a:lnTo>
                  <a:lnTo>
                    <a:pt x="64229" y="367798"/>
                  </a:lnTo>
                  <a:lnTo>
                    <a:pt x="68235" y="367023"/>
                  </a:lnTo>
                  <a:lnTo>
                    <a:pt x="70303" y="366894"/>
                  </a:lnTo>
                  <a:lnTo>
                    <a:pt x="75472" y="368445"/>
                  </a:lnTo>
                  <a:lnTo>
                    <a:pt x="79479" y="367670"/>
                  </a:lnTo>
                  <a:lnTo>
                    <a:pt x="83614" y="367540"/>
                  </a:lnTo>
                  <a:lnTo>
                    <a:pt x="87362" y="370254"/>
                  </a:lnTo>
                  <a:lnTo>
                    <a:pt x="89430" y="373614"/>
                  </a:lnTo>
                  <a:lnTo>
                    <a:pt x="90463" y="374907"/>
                  </a:lnTo>
                  <a:lnTo>
                    <a:pt x="97054" y="379430"/>
                  </a:lnTo>
                  <a:lnTo>
                    <a:pt x="100414" y="381110"/>
                  </a:lnTo>
                  <a:lnTo>
                    <a:pt x="102224" y="382273"/>
                  </a:lnTo>
                  <a:lnTo>
                    <a:pt x="103904" y="383824"/>
                  </a:lnTo>
                  <a:lnTo>
                    <a:pt x="104808" y="385504"/>
                  </a:lnTo>
                  <a:lnTo>
                    <a:pt x="105196" y="387959"/>
                  </a:lnTo>
                  <a:lnTo>
                    <a:pt x="104808" y="389251"/>
                  </a:lnTo>
                  <a:lnTo>
                    <a:pt x="104938" y="390156"/>
                  </a:lnTo>
                  <a:lnTo>
                    <a:pt x="106618" y="391190"/>
                  </a:lnTo>
                  <a:lnTo>
                    <a:pt x="107781" y="391448"/>
                  </a:lnTo>
                  <a:lnTo>
                    <a:pt x="108815" y="391448"/>
                  </a:lnTo>
                  <a:lnTo>
                    <a:pt x="109849" y="391578"/>
                  </a:lnTo>
                  <a:lnTo>
                    <a:pt x="111012" y="392224"/>
                  </a:lnTo>
                  <a:lnTo>
                    <a:pt x="111528" y="392999"/>
                  </a:lnTo>
                  <a:lnTo>
                    <a:pt x="112562" y="394550"/>
                  </a:lnTo>
                  <a:lnTo>
                    <a:pt x="116439" y="399073"/>
                  </a:lnTo>
                  <a:lnTo>
                    <a:pt x="117861" y="400107"/>
                  </a:lnTo>
                  <a:lnTo>
                    <a:pt x="119541" y="401787"/>
                  </a:lnTo>
                  <a:lnTo>
                    <a:pt x="125356" y="405405"/>
                  </a:lnTo>
                  <a:lnTo>
                    <a:pt x="127037" y="407215"/>
                  </a:lnTo>
                  <a:lnTo>
                    <a:pt x="129621" y="411609"/>
                  </a:lnTo>
                  <a:lnTo>
                    <a:pt x="131172" y="413677"/>
                  </a:lnTo>
                  <a:lnTo>
                    <a:pt x="132594" y="414969"/>
                  </a:lnTo>
                  <a:lnTo>
                    <a:pt x="137634" y="417683"/>
                  </a:lnTo>
                  <a:lnTo>
                    <a:pt x="143837" y="422981"/>
                  </a:lnTo>
                  <a:lnTo>
                    <a:pt x="147326" y="424791"/>
                  </a:lnTo>
                  <a:lnTo>
                    <a:pt x="149523" y="426858"/>
                  </a:lnTo>
                  <a:lnTo>
                    <a:pt x="152883" y="430864"/>
                  </a:lnTo>
                  <a:lnTo>
                    <a:pt x="153529" y="432157"/>
                  </a:lnTo>
                  <a:lnTo>
                    <a:pt x="153788" y="433579"/>
                  </a:lnTo>
                  <a:lnTo>
                    <a:pt x="154305" y="434742"/>
                  </a:lnTo>
                  <a:lnTo>
                    <a:pt x="155468" y="435775"/>
                  </a:lnTo>
                  <a:lnTo>
                    <a:pt x="157536" y="437068"/>
                  </a:lnTo>
                  <a:lnTo>
                    <a:pt x="158440" y="437973"/>
                  </a:lnTo>
                  <a:lnTo>
                    <a:pt x="159216" y="439006"/>
                  </a:lnTo>
                  <a:lnTo>
                    <a:pt x="162705" y="445856"/>
                  </a:lnTo>
                  <a:lnTo>
                    <a:pt x="164256" y="447923"/>
                  </a:lnTo>
                  <a:lnTo>
                    <a:pt x="171364" y="453610"/>
                  </a:lnTo>
                  <a:lnTo>
                    <a:pt x="173044" y="456970"/>
                  </a:lnTo>
                  <a:lnTo>
                    <a:pt x="173690" y="460717"/>
                  </a:lnTo>
                  <a:lnTo>
                    <a:pt x="173173" y="464465"/>
                  </a:lnTo>
                  <a:lnTo>
                    <a:pt x="171364" y="467825"/>
                  </a:lnTo>
                  <a:lnTo>
                    <a:pt x="170847" y="470539"/>
                  </a:lnTo>
                  <a:lnTo>
                    <a:pt x="170847" y="478681"/>
                  </a:lnTo>
                  <a:lnTo>
                    <a:pt x="170201" y="484367"/>
                  </a:lnTo>
                  <a:lnTo>
                    <a:pt x="170201" y="486952"/>
                  </a:lnTo>
                  <a:lnTo>
                    <a:pt x="170717" y="487857"/>
                  </a:lnTo>
                  <a:lnTo>
                    <a:pt x="171364" y="488891"/>
                  </a:lnTo>
                  <a:lnTo>
                    <a:pt x="171493" y="488891"/>
                  </a:lnTo>
                  <a:lnTo>
                    <a:pt x="174078" y="488503"/>
                  </a:lnTo>
                  <a:lnTo>
                    <a:pt x="181185" y="488891"/>
                  </a:lnTo>
                  <a:lnTo>
                    <a:pt x="184545" y="488244"/>
                  </a:lnTo>
                  <a:lnTo>
                    <a:pt x="187130" y="488244"/>
                  </a:lnTo>
                  <a:lnTo>
                    <a:pt x="188164" y="487986"/>
                  </a:lnTo>
                  <a:lnTo>
                    <a:pt x="188939" y="487211"/>
                  </a:lnTo>
                  <a:lnTo>
                    <a:pt x="189456" y="486564"/>
                  </a:lnTo>
                  <a:lnTo>
                    <a:pt x="189844" y="485918"/>
                  </a:lnTo>
                  <a:lnTo>
                    <a:pt x="190490" y="485143"/>
                  </a:lnTo>
                  <a:lnTo>
                    <a:pt x="196306" y="481137"/>
                  </a:lnTo>
                  <a:lnTo>
                    <a:pt x="197857" y="479715"/>
                  </a:lnTo>
                  <a:lnTo>
                    <a:pt x="198761" y="477776"/>
                  </a:lnTo>
                  <a:lnTo>
                    <a:pt x="199795" y="473512"/>
                  </a:lnTo>
                  <a:lnTo>
                    <a:pt x="201217" y="471832"/>
                  </a:lnTo>
                  <a:lnTo>
                    <a:pt x="203284" y="471573"/>
                  </a:lnTo>
                  <a:lnTo>
                    <a:pt x="205869" y="472219"/>
                  </a:lnTo>
                  <a:lnTo>
                    <a:pt x="208324" y="472349"/>
                  </a:lnTo>
                  <a:lnTo>
                    <a:pt x="209746" y="471056"/>
                  </a:lnTo>
                  <a:lnTo>
                    <a:pt x="209875" y="468730"/>
                  </a:lnTo>
                  <a:lnTo>
                    <a:pt x="209487" y="463561"/>
                  </a:lnTo>
                  <a:lnTo>
                    <a:pt x="210004" y="461364"/>
                  </a:lnTo>
                  <a:lnTo>
                    <a:pt x="211684" y="459684"/>
                  </a:lnTo>
                  <a:lnTo>
                    <a:pt x="214011" y="459167"/>
                  </a:lnTo>
                  <a:lnTo>
                    <a:pt x="216208" y="459813"/>
                  </a:lnTo>
                  <a:lnTo>
                    <a:pt x="219180" y="463302"/>
                  </a:lnTo>
                  <a:lnTo>
                    <a:pt x="223057" y="465499"/>
                  </a:lnTo>
                  <a:lnTo>
                    <a:pt x="224866" y="467050"/>
                  </a:lnTo>
                  <a:lnTo>
                    <a:pt x="227193" y="469893"/>
                  </a:lnTo>
                  <a:lnTo>
                    <a:pt x="232233" y="474416"/>
                  </a:lnTo>
                  <a:lnTo>
                    <a:pt x="240116" y="483333"/>
                  </a:lnTo>
                  <a:lnTo>
                    <a:pt x="241667" y="485660"/>
                  </a:lnTo>
                  <a:lnTo>
                    <a:pt x="242313" y="487728"/>
                  </a:lnTo>
                  <a:lnTo>
                    <a:pt x="242701" y="492121"/>
                  </a:lnTo>
                  <a:lnTo>
                    <a:pt x="243347" y="494318"/>
                  </a:lnTo>
                  <a:lnTo>
                    <a:pt x="244639" y="495481"/>
                  </a:lnTo>
                  <a:lnTo>
                    <a:pt x="248128" y="497808"/>
                  </a:lnTo>
                  <a:lnTo>
                    <a:pt x="249421" y="499617"/>
                  </a:lnTo>
                  <a:lnTo>
                    <a:pt x="250842" y="504915"/>
                  </a:lnTo>
                  <a:lnTo>
                    <a:pt x="251747" y="507113"/>
                  </a:lnTo>
                  <a:lnTo>
                    <a:pt x="253427" y="509051"/>
                  </a:lnTo>
                  <a:lnTo>
                    <a:pt x="255236" y="510214"/>
                  </a:lnTo>
                  <a:lnTo>
                    <a:pt x="259372" y="511765"/>
                  </a:lnTo>
                  <a:lnTo>
                    <a:pt x="261439" y="513057"/>
                  </a:lnTo>
                  <a:lnTo>
                    <a:pt x="266479" y="517709"/>
                  </a:lnTo>
                  <a:lnTo>
                    <a:pt x="268676" y="519002"/>
                  </a:lnTo>
                  <a:lnTo>
                    <a:pt x="270227" y="519390"/>
                  </a:lnTo>
                  <a:lnTo>
                    <a:pt x="271649" y="518614"/>
                  </a:lnTo>
                  <a:lnTo>
                    <a:pt x="273070" y="516546"/>
                  </a:lnTo>
                  <a:lnTo>
                    <a:pt x="275009" y="512540"/>
                  </a:lnTo>
                  <a:lnTo>
                    <a:pt x="276431" y="512152"/>
                  </a:lnTo>
                  <a:lnTo>
                    <a:pt x="278369" y="514479"/>
                  </a:lnTo>
                  <a:lnTo>
                    <a:pt x="280049" y="517451"/>
                  </a:lnTo>
                  <a:lnTo>
                    <a:pt x="282892" y="521070"/>
                  </a:lnTo>
                  <a:lnTo>
                    <a:pt x="285865" y="524171"/>
                  </a:lnTo>
                  <a:lnTo>
                    <a:pt x="290258" y="526239"/>
                  </a:lnTo>
                  <a:lnTo>
                    <a:pt x="291551" y="527661"/>
                  </a:lnTo>
                  <a:lnTo>
                    <a:pt x="292843" y="529211"/>
                  </a:lnTo>
                  <a:lnTo>
                    <a:pt x="294265" y="530633"/>
                  </a:lnTo>
                  <a:lnTo>
                    <a:pt x="295686" y="531538"/>
                  </a:lnTo>
                  <a:lnTo>
                    <a:pt x="298917" y="532830"/>
                  </a:lnTo>
                  <a:lnTo>
                    <a:pt x="316622" y="535414"/>
                  </a:lnTo>
                  <a:lnTo>
                    <a:pt x="320241" y="535414"/>
                  </a:lnTo>
                  <a:lnTo>
                    <a:pt x="321921" y="535931"/>
                  </a:lnTo>
                  <a:lnTo>
                    <a:pt x="323342" y="537353"/>
                  </a:lnTo>
                  <a:lnTo>
                    <a:pt x="325151" y="541230"/>
                  </a:lnTo>
                  <a:lnTo>
                    <a:pt x="326444" y="542910"/>
                  </a:lnTo>
                  <a:lnTo>
                    <a:pt x="332130" y="547433"/>
                  </a:lnTo>
                  <a:lnTo>
                    <a:pt x="333681" y="549113"/>
                  </a:lnTo>
                  <a:lnTo>
                    <a:pt x="334844" y="551440"/>
                  </a:lnTo>
                  <a:lnTo>
                    <a:pt x="335361" y="553636"/>
                  </a:lnTo>
                  <a:lnTo>
                    <a:pt x="335490" y="558677"/>
                  </a:lnTo>
                  <a:lnTo>
                    <a:pt x="336653" y="561520"/>
                  </a:lnTo>
                  <a:lnTo>
                    <a:pt x="337041" y="562425"/>
                  </a:lnTo>
                  <a:lnTo>
                    <a:pt x="339884" y="565268"/>
                  </a:lnTo>
                  <a:lnTo>
                    <a:pt x="343373" y="567852"/>
                  </a:lnTo>
                  <a:lnTo>
                    <a:pt x="346604" y="570825"/>
                  </a:lnTo>
                  <a:lnTo>
                    <a:pt x="349964" y="574701"/>
                  </a:lnTo>
                  <a:lnTo>
                    <a:pt x="357331" y="581422"/>
                  </a:lnTo>
                  <a:lnTo>
                    <a:pt x="363146" y="585557"/>
                  </a:lnTo>
                  <a:lnTo>
                    <a:pt x="368445" y="590468"/>
                  </a:lnTo>
                  <a:lnTo>
                    <a:pt x="371029" y="592277"/>
                  </a:lnTo>
                  <a:lnTo>
                    <a:pt x="372193" y="592148"/>
                  </a:lnTo>
                  <a:lnTo>
                    <a:pt x="373226" y="590856"/>
                  </a:lnTo>
                  <a:lnTo>
                    <a:pt x="375165" y="589047"/>
                  </a:lnTo>
                  <a:lnTo>
                    <a:pt x="377103" y="588271"/>
                  </a:lnTo>
                  <a:lnTo>
                    <a:pt x="379300" y="588530"/>
                  </a:lnTo>
                  <a:lnTo>
                    <a:pt x="381239" y="589434"/>
                  </a:lnTo>
                  <a:lnTo>
                    <a:pt x="383177" y="590856"/>
                  </a:lnTo>
                  <a:lnTo>
                    <a:pt x="383824" y="591631"/>
                  </a:lnTo>
                  <a:lnTo>
                    <a:pt x="384728" y="593440"/>
                  </a:lnTo>
                  <a:lnTo>
                    <a:pt x="385633" y="594345"/>
                  </a:lnTo>
                  <a:lnTo>
                    <a:pt x="386796" y="594733"/>
                  </a:lnTo>
                  <a:lnTo>
                    <a:pt x="390285" y="595121"/>
                  </a:lnTo>
                  <a:lnTo>
                    <a:pt x="392094" y="595637"/>
                  </a:lnTo>
                  <a:lnTo>
                    <a:pt x="393645" y="596413"/>
                  </a:lnTo>
                  <a:lnTo>
                    <a:pt x="396747" y="598480"/>
                  </a:lnTo>
                  <a:lnTo>
                    <a:pt x="397910" y="599773"/>
                  </a:lnTo>
                  <a:lnTo>
                    <a:pt x="398427" y="601065"/>
                  </a:lnTo>
                  <a:lnTo>
                    <a:pt x="398685" y="602358"/>
                  </a:lnTo>
                  <a:lnTo>
                    <a:pt x="399332" y="603779"/>
                  </a:lnTo>
                  <a:lnTo>
                    <a:pt x="400365" y="605071"/>
                  </a:lnTo>
                  <a:lnTo>
                    <a:pt x="401787" y="606234"/>
                  </a:lnTo>
                  <a:lnTo>
                    <a:pt x="404759" y="608173"/>
                  </a:lnTo>
                  <a:lnTo>
                    <a:pt x="411092" y="609465"/>
                  </a:lnTo>
                  <a:lnTo>
                    <a:pt x="412643" y="610499"/>
                  </a:lnTo>
                  <a:lnTo>
                    <a:pt x="413289" y="612179"/>
                  </a:lnTo>
                  <a:lnTo>
                    <a:pt x="413418" y="616702"/>
                  </a:lnTo>
                  <a:lnTo>
                    <a:pt x="416390" y="624069"/>
                  </a:lnTo>
                  <a:lnTo>
                    <a:pt x="421947" y="632081"/>
                  </a:lnTo>
                  <a:lnTo>
                    <a:pt x="423240" y="635570"/>
                  </a:lnTo>
                  <a:lnTo>
                    <a:pt x="423886" y="639835"/>
                  </a:lnTo>
                  <a:lnTo>
                    <a:pt x="424274" y="646168"/>
                  </a:lnTo>
                  <a:lnTo>
                    <a:pt x="424791" y="648365"/>
                  </a:lnTo>
                  <a:lnTo>
                    <a:pt x="425695" y="650045"/>
                  </a:lnTo>
                  <a:lnTo>
                    <a:pt x="428409" y="652371"/>
                  </a:lnTo>
                  <a:lnTo>
                    <a:pt x="429572" y="653922"/>
                  </a:lnTo>
                  <a:lnTo>
                    <a:pt x="431381" y="657153"/>
                  </a:lnTo>
                  <a:lnTo>
                    <a:pt x="433579" y="660254"/>
                  </a:lnTo>
                  <a:lnTo>
                    <a:pt x="436163" y="662839"/>
                  </a:lnTo>
                  <a:lnTo>
                    <a:pt x="442883" y="667620"/>
                  </a:lnTo>
                  <a:lnTo>
                    <a:pt x="449216" y="674728"/>
                  </a:lnTo>
                  <a:lnTo>
                    <a:pt x="455290" y="676667"/>
                  </a:lnTo>
                  <a:lnTo>
                    <a:pt x="459813" y="679510"/>
                  </a:lnTo>
                  <a:lnTo>
                    <a:pt x="461622" y="680156"/>
                  </a:lnTo>
                  <a:lnTo>
                    <a:pt x="465111" y="680156"/>
                  </a:lnTo>
                  <a:lnTo>
                    <a:pt x="468601" y="682353"/>
                  </a:lnTo>
                  <a:lnTo>
                    <a:pt x="472090" y="683904"/>
                  </a:lnTo>
                  <a:lnTo>
                    <a:pt x="473770" y="685067"/>
                  </a:lnTo>
                  <a:lnTo>
                    <a:pt x="480878" y="692821"/>
                  </a:lnTo>
                  <a:lnTo>
                    <a:pt x="481783" y="694630"/>
                  </a:lnTo>
                  <a:lnTo>
                    <a:pt x="481524" y="696956"/>
                  </a:lnTo>
                  <a:lnTo>
                    <a:pt x="480102" y="698766"/>
                  </a:lnTo>
                  <a:lnTo>
                    <a:pt x="476225" y="701867"/>
                  </a:lnTo>
                  <a:lnTo>
                    <a:pt x="474158" y="704452"/>
                  </a:lnTo>
                  <a:lnTo>
                    <a:pt x="471832" y="707425"/>
                  </a:lnTo>
                  <a:lnTo>
                    <a:pt x="464724" y="712594"/>
                  </a:lnTo>
                  <a:lnTo>
                    <a:pt x="461622" y="715825"/>
                  </a:lnTo>
                  <a:lnTo>
                    <a:pt x="460847" y="718151"/>
                  </a:lnTo>
                  <a:lnTo>
                    <a:pt x="460588" y="722803"/>
                  </a:lnTo>
                  <a:lnTo>
                    <a:pt x="459813" y="725129"/>
                  </a:lnTo>
                  <a:lnTo>
                    <a:pt x="458650" y="726551"/>
                  </a:lnTo>
                  <a:lnTo>
                    <a:pt x="445597" y="735210"/>
                  </a:lnTo>
                  <a:lnTo>
                    <a:pt x="441979" y="738440"/>
                  </a:lnTo>
                  <a:lnTo>
                    <a:pt x="438877" y="742576"/>
                  </a:lnTo>
                  <a:lnTo>
                    <a:pt x="438877" y="742576"/>
                  </a:lnTo>
                  <a:lnTo>
                    <a:pt x="438877" y="742576"/>
                  </a:lnTo>
                  <a:lnTo>
                    <a:pt x="437972" y="745807"/>
                  </a:lnTo>
                  <a:lnTo>
                    <a:pt x="436163" y="751622"/>
                  </a:lnTo>
                  <a:lnTo>
                    <a:pt x="436292" y="761056"/>
                  </a:lnTo>
                  <a:lnTo>
                    <a:pt x="438619" y="780183"/>
                  </a:lnTo>
                  <a:lnTo>
                    <a:pt x="436163" y="801248"/>
                  </a:lnTo>
                  <a:lnTo>
                    <a:pt x="435905" y="812750"/>
                  </a:lnTo>
                  <a:lnTo>
                    <a:pt x="438877" y="817919"/>
                  </a:lnTo>
                  <a:lnTo>
                    <a:pt x="441074" y="817919"/>
                  </a:lnTo>
                  <a:lnTo>
                    <a:pt x="443013" y="817531"/>
                  </a:lnTo>
                  <a:lnTo>
                    <a:pt x="444822" y="817531"/>
                  </a:lnTo>
                  <a:lnTo>
                    <a:pt x="446502" y="818824"/>
                  </a:lnTo>
                  <a:lnTo>
                    <a:pt x="447536" y="820892"/>
                  </a:lnTo>
                  <a:lnTo>
                    <a:pt x="448311" y="823218"/>
                  </a:lnTo>
                  <a:lnTo>
                    <a:pt x="449603" y="824639"/>
                  </a:lnTo>
                  <a:lnTo>
                    <a:pt x="453093" y="824381"/>
                  </a:lnTo>
                  <a:lnTo>
                    <a:pt x="453093" y="824381"/>
                  </a:lnTo>
                  <a:lnTo>
                    <a:pt x="453093" y="824381"/>
                  </a:lnTo>
                  <a:lnTo>
                    <a:pt x="465111" y="816239"/>
                  </a:lnTo>
                  <a:lnTo>
                    <a:pt x="472865" y="808873"/>
                  </a:lnTo>
                  <a:lnTo>
                    <a:pt x="483850" y="797112"/>
                  </a:lnTo>
                  <a:lnTo>
                    <a:pt x="502202" y="781217"/>
                  </a:lnTo>
                  <a:lnTo>
                    <a:pt x="513057" y="771007"/>
                  </a:lnTo>
                  <a:lnTo>
                    <a:pt x="521070" y="761573"/>
                  </a:lnTo>
                  <a:lnTo>
                    <a:pt x="531667" y="747358"/>
                  </a:lnTo>
                  <a:lnTo>
                    <a:pt x="534122" y="742834"/>
                  </a:lnTo>
                  <a:lnTo>
                    <a:pt x="550276" y="704710"/>
                  </a:lnTo>
                  <a:lnTo>
                    <a:pt x="553249" y="690107"/>
                  </a:lnTo>
                  <a:lnTo>
                    <a:pt x="560486" y="666457"/>
                  </a:lnTo>
                  <a:lnTo>
                    <a:pt x="573538" y="639189"/>
                  </a:lnTo>
                  <a:lnTo>
                    <a:pt x="576252" y="635183"/>
                  </a:lnTo>
                  <a:lnTo>
                    <a:pt x="587108" y="625878"/>
                  </a:lnTo>
                  <a:lnTo>
                    <a:pt x="590985" y="624456"/>
                  </a:lnTo>
                  <a:lnTo>
                    <a:pt x="590985" y="622906"/>
                  </a:lnTo>
                  <a:lnTo>
                    <a:pt x="589822" y="619028"/>
                  </a:lnTo>
                  <a:lnTo>
                    <a:pt x="589951" y="616961"/>
                  </a:lnTo>
                  <a:lnTo>
                    <a:pt x="591373" y="612050"/>
                  </a:lnTo>
                  <a:lnTo>
                    <a:pt x="589692" y="613601"/>
                  </a:lnTo>
                  <a:lnTo>
                    <a:pt x="585816" y="618512"/>
                  </a:lnTo>
                  <a:lnTo>
                    <a:pt x="584006" y="619028"/>
                  </a:lnTo>
                  <a:lnTo>
                    <a:pt x="582585" y="616185"/>
                  </a:lnTo>
                  <a:lnTo>
                    <a:pt x="584911" y="613342"/>
                  </a:lnTo>
                  <a:lnTo>
                    <a:pt x="590210" y="609853"/>
                  </a:lnTo>
                  <a:lnTo>
                    <a:pt x="592019" y="608302"/>
                  </a:lnTo>
                  <a:lnTo>
                    <a:pt x="592019" y="607656"/>
                  </a:lnTo>
                  <a:lnTo>
                    <a:pt x="590597" y="606880"/>
                  </a:lnTo>
                  <a:lnTo>
                    <a:pt x="589176" y="606752"/>
                  </a:lnTo>
                  <a:lnTo>
                    <a:pt x="587366" y="607269"/>
                  </a:lnTo>
                  <a:lnTo>
                    <a:pt x="586074" y="608302"/>
                  </a:lnTo>
                  <a:lnTo>
                    <a:pt x="585428" y="609853"/>
                  </a:lnTo>
                  <a:lnTo>
                    <a:pt x="584136" y="611791"/>
                  </a:lnTo>
                  <a:lnTo>
                    <a:pt x="581163" y="613472"/>
                  </a:lnTo>
                  <a:lnTo>
                    <a:pt x="577803" y="614376"/>
                  </a:lnTo>
                  <a:lnTo>
                    <a:pt x="575218" y="613730"/>
                  </a:lnTo>
                  <a:lnTo>
                    <a:pt x="578062" y="612179"/>
                  </a:lnTo>
                  <a:lnTo>
                    <a:pt x="578062" y="610758"/>
                  </a:lnTo>
                  <a:lnTo>
                    <a:pt x="576123" y="609982"/>
                  </a:lnTo>
                  <a:lnTo>
                    <a:pt x="573021" y="610370"/>
                  </a:lnTo>
                  <a:lnTo>
                    <a:pt x="573797" y="608432"/>
                  </a:lnTo>
                  <a:lnTo>
                    <a:pt x="574185" y="605976"/>
                  </a:lnTo>
                  <a:lnTo>
                    <a:pt x="574443" y="601324"/>
                  </a:lnTo>
                  <a:lnTo>
                    <a:pt x="575218" y="599385"/>
                  </a:lnTo>
                  <a:lnTo>
                    <a:pt x="577286" y="598222"/>
                  </a:lnTo>
                  <a:lnTo>
                    <a:pt x="579612" y="597317"/>
                  </a:lnTo>
                  <a:lnTo>
                    <a:pt x="581422" y="596154"/>
                  </a:lnTo>
                  <a:lnTo>
                    <a:pt x="582585" y="595637"/>
                  </a:lnTo>
                  <a:lnTo>
                    <a:pt x="585040" y="596284"/>
                  </a:lnTo>
                  <a:lnTo>
                    <a:pt x="585816" y="596154"/>
                  </a:lnTo>
                  <a:lnTo>
                    <a:pt x="586332" y="594862"/>
                  </a:lnTo>
                  <a:lnTo>
                    <a:pt x="586203" y="593828"/>
                  </a:lnTo>
                  <a:lnTo>
                    <a:pt x="585428" y="592923"/>
                  </a:lnTo>
                  <a:lnTo>
                    <a:pt x="584782" y="592277"/>
                  </a:lnTo>
                  <a:lnTo>
                    <a:pt x="583877" y="591890"/>
                  </a:lnTo>
                  <a:lnTo>
                    <a:pt x="581551" y="591373"/>
                  </a:lnTo>
                  <a:lnTo>
                    <a:pt x="581034" y="590985"/>
                  </a:lnTo>
                  <a:lnTo>
                    <a:pt x="580776" y="590339"/>
                  </a:lnTo>
                  <a:lnTo>
                    <a:pt x="578191" y="587108"/>
                  </a:lnTo>
                  <a:lnTo>
                    <a:pt x="575477" y="588530"/>
                  </a:lnTo>
                  <a:lnTo>
                    <a:pt x="574185" y="586203"/>
                  </a:lnTo>
                  <a:lnTo>
                    <a:pt x="574443" y="583619"/>
                  </a:lnTo>
                  <a:lnTo>
                    <a:pt x="576640" y="583619"/>
                  </a:lnTo>
                  <a:lnTo>
                    <a:pt x="576769" y="582068"/>
                  </a:lnTo>
                  <a:lnTo>
                    <a:pt x="577286" y="580775"/>
                  </a:lnTo>
                  <a:lnTo>
                    <a:pt x="577932" y="579612"/>
                  </a:lnTo>
                  <a:lnTo>
                    <a:pt x="578191" y="578579"/>
                  </a:lnTo>
                  <a:lnTo>
                    <a:pt x="577932" y="577803"/>
                  </a:lnTo>
                  <a:lnTo>
                    <a:pt x="576898" y="575219"/>
                  </a:lnTo>
                  <a:lnTo>
                    <a:pt x="576640" y="573797"/>
                  </a:lnTo>
                  <a:lnTo>
                    <a:pt x="577286" y="571083"/>
                  </a:lnTo>
                  <a:lnTo>
                    <a:pt x="578966" y="569403"/>
                  </a:lnTo>
                  <a:lnTo>
                    <a:pt x="590468" y="564880"/>
                  </a:lnTo>
                  <a:lnTo>
                    <a:pt x="592406" y="563588"/>
                  </a:lnTo>
                  <a:lnTo>
                    <a:pt x="593957" y="561649"/>
                  </a:lnTo>
                  <a:lnTo>
                    <a:pt x="595508" y="558935"/>
                  </a:lnTo>
                  <a:lnTo>
                    <a:pt x="596284" y="556221"/>
                  </a:lnTo>
                  <a:lnTo>
                    <a:pt x="595766" y="554412"/>
                  </a:lnTo>
                  <a:lnTo>
                    <a:pt x="593828" y="554153"/>
                  </a:lnTo>
                  <a:lnTo>
                    <a:pt x="592277" y="554670"/>
                  </a:lnTo>
                  <a:lnTo>
                    <a:pt x="591114" y="554283"/>
                  </a:lnTo>
                  <a:lnTo>
                    <a:pt x="590597" y="550664"/>
                  </a:lnTo>
                  <a:lnTo>
                    <a:pt x="590985" y="549372"/>
                  </a:lnTo>
                  <a:lnTo>
                    <a:pt x="591760" y="548338"/>
                  </a:lnTo>
                  <a:lnTo>
                    <a:pt x="592923" y="547692"/>
                  </a:lnTo>
                  <a:lnTo>
                    <a:pt x="593957" y="548079"/>
                  </a:lnTo>
                  <a:lnTo>
                    <a:pt x="595120" y="548984"/>
                  </a:lnTo>
                  <a:lnTo>
                    <a:pt x="595766" y="549242"/>
                  </a:lnTo>
                  <a:lnTo>
                    <a:pt x="596413" y="549759"/>
                  </a:lnTo>
                  <a:lnTo>
                    <a:pt x="597188" y="551052"/>
                  </a:lnTo>
                  <a:lnTo>
                    <a:pt x="597447" y="552086"/>
                  </a:lnTo>
                  <a:lnTo>
                    <a:pt x="597963" y="555446"/>
                  </a:lnTo>
                  <a:lnTo>
                    <a:pt x="599127" y="558160"/>
                  </a:lnTo>
                  <a:lnTo>
                    <a:pt x="599902" y="559194"/>
                  </a:lnTo>
                  <a:lnTo>
                    <a:pt x="600161" y="558418"/>
                  </a:lnTo>
                  <a:lnTo>
                    <a:pt x="600548" y="556479"/>
                  </a:lnTo>
                  <a:lnTo>
                    <a:pt x="602358" y="550147"/>
                  </a:lnTo>
                  <a:lnTo>
                    <a:pt x="601970" y="549113"/>
                  </a:lnTo>
                  <a:lnTo>
                    <a:pt x="600677" y="547304"/>
                  </a:lnTo>
                  <a:lnTo>
                    <a:pt x="600161" y="545883"/>
                  </a:lnTo>
                  <a:lnTo>
                    <a:pt x="600161" y="544461"/>
                  </a:lnTo>
                  <a:lnTo>
                    <a:pt x="600677" y="541876"/>
                  </a:lnTo>
                  <a:lnTo>
                    <a:pt x="600936" y="540325"/>
                  </a:lnTo>
                  <a:lnTo>
                    <a:pt x="600548" y="532055"/>
                  </a:lnTo>
                  <a:lnTo>
                    <a:pt x="600936" y="529599"/>
                  </a:lnTo>
                  <a:lnTo>
                    <a:pt x="601453" y="528177"/>
                  </a:lnTo>
                  <a:lnTo>
                    <a:pt x="602099" y="527531"/>
                  </a:lnTo>
                  <a:lnTo>
                    <a:pt x="605976" y="524430"/>
                  </a:lnTo>
                  <a:lnTo>
                    <a:pt x="606881" y="523396"/>
                  </a:lnTo>
                  <a:lnTo>
                    <a:pt x="606364" y="522879"/>
                  </a:lnTo>
                  <a:lnTo>
                    <a:pt x="605330" y="522362"/>
                  </a:lnTo>
                  <a:lnTo>
                    <a:pt x="604554" y="521199"/>
                  </a:lnTo>
                  <a:lnTo>
                    <a:pt x="604554" y="520036"/>
                  </a:lnTo>
                  <a:lnTo>
                    <a:pt x="605718" y="519519"/>
                  </a:lnTo>
                  <a:lnTo>
                    <a:pt x="607139" y="519131"/>
                  </a:lnTo>
                  <a:lnTo>
                    <a:pt x="607914" y="518356"/>
                  </a:lnTo>
                  <a:lnTo>
                    <a:pt x="608432" y="517451"/>
                  </a:lnTo>
                  <a:lnTo>
                    <a:pt x="608948" y="516805"/>
                  </a:lnTo>
                  <a:lnTo>
                    <a:pt x="611145" y="516805"/>
                  </a:lnTo>
                  <a:lnTo>
                    <a:pt x="613859" y="517451"/>
                  </a:lnTo>
                  <a:lnTo>
                    <a:pt x="616056" y="517451"/>
                  </a:lnTo>
                  <a:lnTo>
                    <a:pt x="617866" y="513703"/>
                  </a:lnTo>
                  <a:lnTo>
                    <a:pt x="620062" y="512540"/>
                  </a:lnTo>
                  <a:lnTo>
                    <a:pt x="622518" y="511894"/>
                  </a:lnTo>
                  <a:lnTo>
                    <a:pt x="624327" y="511765"/>
                  </a:lnTo>
                  <a:lnTo>
                    <a:pt x="629109" y="512152"/>
                  </a:lnTo>
                  <a:lnTo>
                    <a:pt x="631435" y="511765"/>
                  </a:lnTo>
                  <a:lnTo>
                    <a:pt x="633503" y="510472"/>
                  </a:lnTo>
                  <a:lnTo>
                    <a:pt x="634407" y="510085"/>
                  </a:lnTo>
                  <a:lnTo>
                    <a:pt x="635570" y="510214"/>
                  </a:lnTo>
                  <a:lnTo>
                    <a:pt x="636733" y="510602"/>
                  </a:lnTo>
                  <a:lnTo>
                    <a:pt x="637897" y="510860"/>
                  </a:lnTo>
                  <a:lnTo>
                    <a:pt x="639577" y="510602"/>
                  </a:lnTo>
                  <a:lnTo>
                    <a:pt x="639447" y="509826"/>
                  </a:lnTo>
                  <a:lnTo>
                    <a:pt x="638284" y="508405"/>
                  </a:lnTo>
                  <a:lnTo>
                    <a:pt x="638026" y="504269"/>
                  </a:lnTo>
                  <a:lnTo>
                    <a:pt x="638931" y="499487"/>
                  </a:lnTo>
                  <a:lnTo>
                    <a:pt x="640998" y="495481"/>
                  </a:lnTo>
                  <a:lnTo>
                    <a:pt x="644488" y="493801"/>
                  </a:lnTo>
                  <a:lnTo>
                    <a:pt x="646814" y="493543"/>
                  </a:lnTo>
                  <a:lnTo>
                    <a:pt x="660383" y="488761"/>
                  </a:lnTo>
                  <a:lnTo>
                    <a:pt x="657411" y="485272"/>
                  </a:lnTo>
                  <a:lnTo>
                    <a:pt x="655989" y="480232"/>
                  </a:lnTo>
                  <a:lnTo>
                    <a:pt x="655731" y="474545"/>
                  </a:lnTo>
                  <a:lnTo>
                    <a:pt x="656636" y="469118"/>
                  </a:lnTo>
                  <a:lnTo>
                    <a:pt x="657540" y="466404"/>
                  </a:lnTo>
                  <a:lnTo>
                    <a:pt x="658962" y="464982"/>
                  </a:lnTo>
                  <a:lnTo>
                    <a:pt x="661029" y="464207"/>
                  </a:lnTo>
                  <a:lnTo>
                    <a:pt x="663614" y="464078"/>
                  </a:lnTo>
                  <a:lnTo>
                    <a:pt x="668137" y="464595"/>
                  </a:lnTo>
                  <a:lnTo>
                    <a:pt x="669042" y="463690"/>
                  </a:lnTo>
                  <a:lnTo>
                    <a:pt x="669171" y="460588"/>
                  </a:lnTo>
                  <a:lnTo>
                    <a:pt x="668654" y="457874"/>
                  </a:lnTo>
                  <a:lnTo>
                    <a:pt x="667233" y="453093"/>
                  </a:lnTo>
                  <a:lnTo>
                    <a:pt x="666974" y="450896"/>
                  </a:lnTo>
                  <a:lnTo>
                    <a:pt x="666716" y="436292"/>
                  </a:lnTo>
                  <a:lnTo>
                    <a:pt x="667362" y="434225"/>
                  </a:lnTo>
                  <a:lnTo>
                    <a:pt x="669430" y="433449"/>
                  </a:lnTo>
                  <a:lnTo>
                    <a:pt x="672144" y="433579"/>
                  </a:lnTo>
                  <a:lnTo>
                    <a:pt x="673177" y="434225"/>
                  </a:lnTo>
                  <a:lnTo>
                    <a:pt x="674211" y="439394"/>
                  </a:lnTo>
                  <a:lnTo>
                    <a:pt x="676537" y="446373"/>
                  </a:lnTo>
                  <a:lnTo>
                    <a:pt x="676796" y="449733"/>
                  </a:lnTo>
                  <a:lnTo>
                    <a:pt x="674211" y="450508"/>
                  </a:lnTo>
                  <a:lnTo>
                    <a:pt x="675891" y="453222"/>
                  </a:lnTo>
                  <a:lnTo>
                    <a:pt x="677571" y="453351"/>
                  </a:lnTo>
                  <a:lnTo>
                    <a:pt x="678864" y="451542"/>
                  </a:lnTo>
                  <a:lnTo>
                    <a:pt x="679381" y="448311"/>
                  </a:lnTo>
                  <a:lnTo>
                    <a:pt x="679122" y="445727"/>
                  </a:lnTo>
                  <a:lnTo>
                    <a:pt x="677184" y="437714"/>
                  </a:lnTo>
                  <a:lnTo>
                    <a:pt x="676667" y="432028"/>
                  </a:lnTo>
                  <a:lnTo>
                    <a:pt x="677054" y="426729"/>
                  </a:lnTo>
                  <a:lnTo>
                    <a:pt x="677959" y="421689"/>
                  </a:lnTo>
                  <a:lnTo>
                    <a:pt x="680932" y="411997"/>
                  </a:lnTo>
                  <a:lnTo>
                    <a:pt x="683258" y="407473"/>
                  </a:lnTo>
                  <a:lnTo>
                    <a:pt x="686359" y="404242"/>
                  </a:lnTo>
                  <a:lnTo>
                    <a:pt x="690495" y="403726"/>
                  </a:lnTo>
                  <a:lnTo>
                    <a:pt x="691399" y="404113"/>
                  </a:lnTo>
                  <a:lnTo>
                    <a:pt x="692692" y="405277"/>
                  </a:lnTo>
                  <a:lnTo>
                    <a:pt x="693338" y="405535"/>
                  </a:lnTo>
                  <a:lnTo>
                    <a:pt x="694243" y="405147"/>
                  </a:lnTo>
                  <a:lnTo>
                    <a:pt x="695406" y="404501"/>
                  </a:lnTo>
                  <a:lnTo>
                    <a:pt x="696569" y="403467"/>
                  </a:lnTo>
                  <a:lnTo>
                    <a:pt x="696956" y="402562"/>
                  </a:lnTo>
                  <a:lnTo>
                    <a:pt x="697473" y="400107"/>
                  </a:lnTo>
                  <a:lnTo>
                    <a:pt x="697990" y="398427"/>
                  </a:lnTo>
                  <a:lnTo>
                    <a:pt x="697732" y="397522"/>
                  </a:lnTo>
                  <a:lnTo>
                    <a:pt x="695535" y="397781"/>
                  </a:lnTo>
                  <a:lnTo>
                    <a:pt x="689978" y="399719"/>
                  </a:lnTo>
                  <a:lnTo>
                    <a:pt x="687652" y="399461"/>
                  </a:lnTo>
                  <a:lnTo>
                    <a:pt x="686747" y="396618"/>
                  </a:lnTo>
                  <a:lnTo>
                    <a:pt x="686876" y="393129"/>
                  </a:lnTo>
                  <a:lnTo>
                    <a:pt x="686618" y="391319"/>
                  </a:lnTo>
                  <a:lnTo>
                    <a:pt x="685972" y="390156"/>
                  </a:lnTo>
                  <a:lnTo>
                    <a:pt x="685455" y="390544"/>
                  </a:lnTo>
                  <a:lnTo>
                    <a:pt x="683387" y="392870"/>
                  </a:lnTo>
                  <a:lnTo>
                    <a:pt x="682353" y="393645"/>
                  </a:lnTo>
                  <a:lnTo>
                    <a:pt x="681319" y="391707"/>
                  </a:lnTo>
                  <a:lnTo>
                    <a:pt x="677701" y="390414"/>
                  </a:lnTo>
                  <a:lnTo>
                    <a:pt x="676537" y="388476"/>
                  </a:lnTo>
                  <a:lnTo>
                    <a:pt x="679381" y="385245"/>
                  </a:lnTo>
                  <a:lnTo>
                    <a:pt x="677571" y="382273"/>
                  </a:lnTo>
                  <a:lnTo>
                    <a:pt x="676796" y="381885"/>
                  </a:lnTo>
                  <a:lnTo>
                    <a:pt x="675762" y="382014"/>
                  </a:lnTo>
                  <a:lnTo>
                    <a:pt x="673824" y="382531"/>
                  </a:lnTo>
                  <a:lnTo>
                    <a:pt x="672790" y="382661"/>
                  </a:lnTo>
                  <a:lnTo>
                    <a:pt x="674728" y="379300"/>
                  </a:lnTo>
                  <a:lnTo>
                    <a:pt x="674987" y="378008"/>
                  </a:lnTo>
                  <a:lnTo>
                    <a:pt x="674728" y="376716"/>
                  </a:lnTo>
                  <a:lnTo>
                    <a:pt x="674340" y="375424"/>
                  </a:lnTo>
                  <a:lnTo>
                    <a:pt x="674211" y="374002"/>
                  </a:lnTo>
                  <a:lnTo>
                    <a:pt x="674599" y="372968"/>
                  </a:lnTo>
                  <a:lnTo>
                    <a:pt x="675374" y="371805"/>
                  </a:lnTo>
                  <a:lnTo>
                    <a:pt x="675633" y="370642"/>
                  </a:lnTo>
                  <a:lnTo>
                    <a:pt x="675633" y="367928"/>
                  </a:lnTo>
                  <a:lnTo>
                    <a:pt x="675762" y="367282"/>
                  </a:lnTo>
                  <a:lnTo>
                    <a:pt x="676408" y="366119"/>
                  </a:lnTo>
                  <a:lnTo>
                    <a:pt x="676537" y="365343"/>
                  </a:lnTo>
                  <a:lnTo>
                    <a:pt x="676279" y="364956"/>
                  </a:lnTo>
                  <a:lnTo>
                    <a:pt x="675762" y="364697"/>
                  </a:lnTo>
                  <a:lnTo>
                    <a:pt x="675245" y="364439"/>
                  </a:lnTo>
                  <a:lnTo>
                    <a:pt x="674987" y="363663"/>
                  </a:lnTo>
                  <a:lnTo>
                    <a:pt x="675245" y="362888"/>
                  </a:lnTo>
                  <a:lnTo>
                    <a:pt x="677184" y="359011"/>
                  </a:lnTo>
                  <a:lnTo>
                    <a:pt x="677442" y="357589"/>
                  </a:lnTo>
                  <a:lnTo>
                    <a:pt x="677184" y="356555"/>
                  </a:lnTo>
                  <a:lnTo>
                    <a:pt x="677442" y="355909"/>
                  </a:lnTo>
                  <a:lnTo>
                    <a:pt x="678734" y="355651"/>
                  </a:lnTo>
                  <a:lnTo>
                    <a:pt x="679768" y="356685"/>
                  </a:lnTo>
                  <a:lnTo>
                    <a:pt x="679639" y="359140"/>
                  </a:lnTo>
                  <a:lnTo>
                    <a:pt x="680027" y="360820"/>
                  </a:lnTo>
                  <a:lnTo>
                    <a:pt x="682353" y="359915"/>
                  </a:lnTo>
                  <a:lnTo>
                    <a:pt x="682224" y="362242"/>
                  </a:lnTo>
                  <a:lnTo>
                    <a:pt x="680932" y="366248"/>
                  </a:lnTo>
                  <a:lnTo>
                    <a:pt x="680932" y="368316"/>
                  </a:lnTo>
                  <a:lnTo>
                    <a:pt x="681578" y="369479"/>
                  </a:lnTo>
                  <a:lnTo>
                    <a:pt x="682999" y="370383"/>
                  </a:lnTo>
                  <a:lnTo>
                    <a:pt x="684162" y="371805"/>
                  </a:lnTo>
                  <a:lnTo>
                    <a:pt x="684550" y="374260"/>
                  </a:lnTo>
                  <a:lnTo>
                    <a:pt x="684033" y="375294"/>
                  </a:lnTo>
                  <a:lnTo>
                    <a:pt x="682482" y="376974"/>
                  </a:lnTo>
                  <a:lnTo>
                    <a:pt x="682353" y="377620"/>
                  </a:lnTo>
                  <a:lnTo>
                    <a:pt x="682870" y="378396"/>
                  </a:lnTo>
                  <a:lnTo>
                    <a:pt x="683516" y="378396"/>
                  </a:lnTo>
                  <a:lnTo>
                    <a:pt x="684292" y="378267"/>
                  </a:lnTo>
                  <a:lnTo>
                    <a:pt x="685196" y="378525"/>
                  </a:lnTo>
                  <a:lnTo>
                    <a:pt x="688427" y="379688"/>
                  </a:lnTo>
                  <a:lnTo>
                    <a:pt x="689461" y="380851"/>
                  </a:lnTo>
                  <a:lnTo>
                    <a:pt x="688944" y="382661"/>
                  </a:lnTo>
                  <a:lnTo>
                    <a:pt x="692692" y="385504"/>
                  </a:lnTo>
                  <a:lnTo>
                    <a:pt x="694630" y="386537"/>
                  </a:lnTo>
                  <a:lnTo>
                    <a:pt x="695535" y="385633"/>
                  </a:lnTo>
                  <a:lnTo>
                    <a:pt x="696698" y="384987"/>
                  </a:lnTo>
                  <a:lnTo>
                    <a:pt x="699283" y="384341"/>
                  </a:lnTo>
                  <a:lnTo>
                    <a:pt x="701609" y="384857"/>
                  </a:lnTo>
                  <a:lnTo>
                    <a:pt x="702126" y="387701"/>
                  </a:lnTo>
                  <a:lnTo>
                    <a:pt x="702901" y="387701"/>
                  </a:lnTo>
                  <a:lnTo>
                    <a:pt x="704064" y="386796"/>
                  </a:lnTo>
                  <a:lnTo>
                    <a:pt x="705227" y="387572"/>
                  </a:lnTo>
                  <a:lnTo>
                    <a:pt x="706132" y="389381"/>
                  </a:lnTo>
                  <a:lnTo>
                    <a:pt x="706520" y="391448"/>
                  </a:lnTo>
                  <a:lnTo>
                    <a:pt x="706261" y="392611"/>
                  </a:lnTo>
                  <a:lnTo>
                    <a:pt x="705744" y="393387"/>
                  </a:lnTo>
                  <a:lnTo>
                    <a:pt x="704969" y="394162"/>
                  </a:lnTo>
                  <a:lnTo>
                    <a:pt x="704193" y="395325"/>
                  </a:lnTo>
                  <a:lnTo>
                    <a:pt x="703677" y="396747"/>
                  </a:lnTo>
                  <a:lnTo>
                    <a:pt x="703418" y="397393"/>
                  </a:lnTo>
                  <a:lnTo>
                    <a:pt x="703547" y="399073"/>
                  </a:lnTo>
                  <a:lnTo>
                    <a:pt x="704064" y="401270"/>
                  </a:lnTo>
                  <a:lnTo>
                    <a:pt x="705486" y="402304"/>
                  </a:lnTo>
                  <a:lnTo>
                    <a:pt x="707295" y="402821"/>
                  </a:lnTo>
                  <a:lnTo>
                    <a:pt x="709492" y="403726"/>
                  </a:lnTo>
                  <a:lnTo>
                    <a:pt x="714532" y="408249"/>
                  </a:lnTo>
                  <a:lnTo>
                    <a:pt x="716858" y="408766"/>
                  </a:lnTo>
                  <a:lnTo>
                    <a:pt x="715178" y="404113"/>
                  </a:lnTo>
                  <a:lnTo>
                    <a:pt x="714920" y="401916"/>
                  </a:lnTo>
                  <a:lnTo>
                    <a:pt x="715307" y="398685"/>
                  </a:lnTo>
                  <a:lnTo>
                    <a:pt x="715954" y="396101"/>
                  </a:lnTo>
                  <a:lnTo>
                    <a:pt x="717117" y="394033"/>
                  </a:lnTo>
                  <a:lnTo>
                    <a:pt x="718668" y="393257"/>
                  </a:lnTo>
                  <a:lnTo>
                    <a:pt x="721252" y="394421"/>
                  </a:lnTo>
                  <a:lnTo>
                    <a:pt x="723062" y="394033"/>
                  </a:lnTo>
                  <a:lnTo>
                    <a:pt x="729265" y="394938"/>
                  </a:lnTo>
                  <a:lnTo>
                    <a:pt x="729911" y="392353"/>
                  </a:lnTo>
                  <a:lnTo>
                    <a:pt x="731462" y="391190"/>
                  </a:lnTo>
                  <a:lnTo>
                    <a:pt x="733271" y="390931"/>
                  </a:lnTo>
                  <a:lnTo>
                    <a:pt x="740379" y="391319"/>
                  </a:lnTo>
                  <a:lnTo>
                    <a:pt x="742834" y="390673"/>
                  </a:lnTo>
                  <a:lnTo>
                    <a:pt x="743868" y="388993"/>
                  </a:lnTo>
                  <a:lnTo>
                    <a:pt x="744644" y="387313"/>
                  </a:lnTo>
                  <a:lnTo>
                    <a:pt x="744902" y="386020"/>
                  </a:lnTo>
                  <a:lnTo>
                    <a:pt x="744256" y="384728"/>
                  </a:lnTo>
                  <a:lnTo>
                    <a:pt x="743093" y="383824"/>
                  </a:lnTo>
                  <a:lnTo>
                    <a:pt x="742447" y="383565"/>
                  </a:lnTo>
                  <a:lnTo>
                    <a:pt x="742188" y="383177"/>
                  </a:lnTo>
                  <a:lnTo>
                    <a:pt x="742447" y="381885"/>
                  </a:lnTo>
                  <a:lnTo>
                    <a:pt x="742834" y="381756"/>
                  </a:lnTo>
                  <a:lnTo>
                    <a:pt x="745419" y="378525"/>
                  </a:lnTo>
                  <a:lnTo>
                    <a:pt x="746711" y="377750"/>
                  </a:lnTo>
                  <a:lnTo>
                    <a:pt x="747874" y="377620"/>
                  </a:lnTo>
                  <a:lnTo>
                    <a:pt x="749037" y="378008"/>
                  </a:lnTo>
                  <a:lnTo>
                    <a:pt x="750201" y="378913"/>
                  </a:lnTo>
                  <a:lnTo>
                    <a:pt x="750718" y="379946"/>
                  </a:lnTo>
                  <a:lnTo>
                    <a:pt x="751881" y="382919"/>
                  </a:lnTo>
                  <a:lnTo>
                    <a:pt x="752398" y="383565"/>
                  </a:lnTo>
                  <a:lnTo>
                    <a:pt x="756404" y="386020"/>
                  </a:lnTo>
                  <a:lnTo>
                    <a:pt x="757050" y="387959"/>
                  </a:lnTo>
                  <a:lnTo>
                    <a:pt x="757308" y="391190"/>
                  </a:lnTo>
                  <a:lnTo>
                    <a:pt x="757308" y="394550"/>
                  </a:lnTo>
                  <a:lnTo>
                    <a:pt x="755370" y="401658"/>
                  </a:lnTo>
                  <a:lnTo>
                    <a:pt x="753948" y="403984"/>
                  </a:lnTo>
                  <a:lnTo>
                    <a:pt x="753432" y="405535"/>
                  </a:lnTo>
                  <a:lnTo>
                    <a:pt x="754078" y="408507"/>
                  </a:lnTo>
                  <a:lnTo>
                    <a:pt x="754336" y="410575"/>
                  </a:lnTo>
                  <a:lnTo>
                    <a:pt x="753561" y="411867"/>
                  </a:lnTo>
                  <a:lnTo>
                    <a:pt x="749813" y="414840"/>
                  </a:lnTo>
                  <a:lnTo>
                    <a:pt x="748133" y="413418"/>
                  </a:lnTo>
                  <a:lnTo>
                    <a:pt x="746453" y="411350"/>
                  </a:lnTo>
                  <a:lnTo>
                    <a:pt x="745290" y="409153"/>
                  </a:lnTo>
                  <a:lnTo>
                    <a:pt x="744773" y="406698"/>
                  </a:lnTo>
                  <a:lnTo>
                    <a:pt x="745031" y="405793"/>
                  </a:lnTo>
                  <a:lnTo>
                    <a:pt x="745677" y="404889"/>
                  </a:lnTo>
                  <a:lnTo>
                    <a:pt x="746065" y="404113"/>
                  </a:lnTo>
                  <a:lnTo>
                    <a:pt x="745807" y="403338"/>
                  </a:lnTo>
                  <a:lnTo>
                    <a:pt x="742447" y="400366"/>
                  </a:lnTo>
                  <a:lnTo>
                    <a:pt x="740896" y="398556"/>
                  </a:lnTo>
                  <a:lnTo>
                    <a:pt x="740120" y="398298"/>
                  </a:lnTo>
                  <a:lnTo>
                    <a:pt x="738828" y="398685"/>
                  </a:lnTo>
                  <a:lnTo>
                    <a:pt x="737148" y="399719"/>
                  </a:lnTo>
                  <a:lnTo>
                    <a:pt x="737019" y="400624"/>
                  </a:lnTo>
                  <a:lnTo>
                    <a:pt x="737665" y="401787"/>
                  </a:lnTo>
                  <a:lnTo>
                    <a:pt x="738440" y="405405"/>
                  </a:lnTo>
                  <a:lnTo>
                    <a:pt x="740379" y="410058"/>
                  </a:lnTo>
                  <a:lnTo>
                    <a:pt x="741025" y="412255"/>
                  </a:lnTo>
                  <a:lnTo>
                    <a:pt x="742059" y="434225"/>
                  </a:lnTo>
                  <a:lnTo>
                    <a:pt x="740637" y="444693"/>
                  </a:lnTo>
                  <a:lnTo>
                    <a:pt x="736502" y="452834"/>
                  </a:lnTo>
                  <a:lnTo>
                    <a:pt x="735210" y="454256"/>
                  </a:lnTo>
                  <a:lnTo>
                    <a:pt x="733400" y="455677"/>
                  </a:lnTo>
                  <a:lnTo>
                    <a:pt x="731333" y="456841"/>
                  </a:lnTo>
                  <a:lnTo>
                    <a:pt x="727068" y="457745"/>
                  </a:lnTo>
                  <a:lnTo>
                    <a:pt x="718926" y="464465"/>
                  </a:lnTo>
                  <a:lnTo>
                    <a:pt x="716988" y="465370"/>
                  </a:lnTo>
                  <a:lnTo>
                    <a:pt x="714274" y="465758"/>
                  </a:lnTo>
                  <a:lnTo>
                    <a:pt x="713111" y="465628"/>
                  </a:lnTo>
                  <a:lnTo>
                    <a:pt x="711689" y="464982"/>
                  </a:lnTo>
                  <a:lnTo>
                    <a:pt x="710526" y="464853"/>
                  </a:lnTo>
                  <a:lnTo>
                    <a:pt x="710009" y="465370"/>
                  </a:lnTo>
                  <a:lnTo>
                    <a:pt x="710784" y="466791"/>
                  </a:lnTo>
                  <a:lnTo>
                    <a:pt x="712464" y="469118"/>
                  </a:lnTo>
                  <a:lnTo>
                    <a:pt x="712077" y="474545"/>
                  </a:lnTo>
                  <a:lnTo>
                    <a:pt x="710138" y="479715"/>
                  </a:lnTo>
                  <a:lnTo>
                    <a:pt x="709104" y="484367"/>
                  </a:lnTo>
                  <a:lnTo>
                    <a:pt x="710914" y="487857"/>
                  </a:lnTo>
                  <a:lnTo>
                    <a:pt x="712077" y="488115"/>
                  </a:lnTo>
                  <a:lnTo>
                    <a:pt x="713240" y="487986"/>
                  </a:lnTo>
                  <a:lnTo>
                    <a:pt x="714144" y="488115"/>
                  </a:lnTo>
                  <a:lnTo>
                    <a:pt x="714661" y="489537"/>
                  </a:lnTo>
                  <a:lnTo>
                    <a:pt x="714015" y="490054"/>
                  </a:lnTo>
                  <a:lnTo>
                    <a:pt x="712852" y="490570"/>
                  </a:lnTo>
                  <a:lnTo>
                    <a:pt x="711560" y="491217"/>
                  </a:lnTo>
                  <a:lnTo>
                    <a:pt x="710914" y="492509"/>
                  </a:lnTo>
                  <a:lnTo>
                    <a:pt x="710784" y="493931"/>
                  </a:lnTo>
                  <a:lnTo>
                    <a:pt x="710397" y="494965"/>
                  </a:lnTo>
                  <a:lnTo>
                    <a:pt x="709492" y="495481"/>
                  </a:lnTo>
                  <a:lnTo>
                    <a:pt x="708329" y="495611"/>
                  </a:lnTo>
                  <a:lnTo>
                    <a:pt x="707424" y="495223"/>
                  </a:lnTo>
                  <a:lnTo>
                    <a:pt x="707166" y="494060"/>
                  </a:lnTo>
                  <a:lnTo>
                    <a:pt x="707037" y="487469"/>
                  </a:lnTo>
                  <a:lnTo>
                    <a:pt x="706261" y="486435"/>
                  </a:lnTo>
                  <a:lnTo>
                    <a:pt x="704193" y="486176"/>
                  </a:lnTo>
                  <a:lnTo>
                    <a:pt x="702643" y="486564"/>
                  </a:lnTo>
                  <a:lnTo>
                    <a:pt x="699412" y="488374"/>
                  </a:lnTo>
                  <a:lnTo>
                    <a:pt x="697344" y="488761"/>
                  </a:lnTo>
                  <a:lnTo>
                    <a:pt x="693467" y="487339"/>
                  </a:lnTo>
                  <a:lnTo>
                    <a:pt x="691399" y="486952"/>
                  </a:lnTo>
                  <a:lnTo>
                    <a:pt x="690495" y="488374"/>
                  </a:lnTo>
                  <a:lnTo>
                    <a:pt x="690366" y="490183"/>
                  </a:lnTo>
                  <a:lnTo>
                    <a:pt x="689590" y="495481"/>
                  </a:lnTo>
                  <a:lnTo>
                    <a:pt x="688944" y="497161"/>
                  </a:lnTo>
                  <a:lnTo>
                    <a:pt x="691141" y="505045"/>
                  </a:lnTo>
                  <a:lnTo>
                    <a:pt x="690753" y="514350"/>
                  </a:lnTo>
                  <a:lnTo>
                    <a:pt x="688556" y="523396"/>
                  </a:lnTo>
                  <a:lnTo>
                    <a:pt x="685196" y="530504"/>
                  </a:lnTo>
                  <a:lnTo>
                    <a:pt x="681578" y="536448"/>
                  </a:lnTo>
                  <a:lnTo>
                    <a:pt x="680285" y="537482"/>
                  </a:lnTo>
                  <a:lnTo>
                    <a:pt x="676925" y="539679"/>
                  </a:lnTo>
                  <a:lnTo>
                    <a:pt x="675374" y="541230"/>
                  </a:lnTo>
                  <a:lnTo>
                    <a:pt x="671885" y="543298"/>
                  </a:lnTo>
                  <a:lnTo>
                    <a:pt x="667362" y="544332"/>
                  </a:lnTo>
                  <a:lnTo>
                    <a:pt x="663485" y="543168"/>
                  </a:lnTo>
                  <a:lnTo>
                    <a:pt x="662580" y="539033"/>
                  </a:lnTo>
                  <a:lnTo>
                    <a:pt x="661159" y="540455"/>
                  </a:lnTo>
                  <a:lnTo>
                    <a:pt x="659737" y="543039"/>
                  </a:lnTo>
                  <a:lnTo>
                    <a:pt x="658574" y="545883"/>
                  </a:lnTo>
                  <a:lnTo>
                    <a:pt x="658186" y="548079"/>
                  </a:lnTo>
                  <a:lnTo>
                    <a:pt x="659479" y="552861"/>
                  </a:lnTo>
                  <a:lnTo>
                    <a:pt x="659866" y="555058"/>
                  </a:lnTo>
                  <a:lnTo>
                    <a:pt x="658833" y="555446"/>
                  </a:lnTo>
                  <a:lnTo>
                    <a:pt x="655989" y="551310"/>
                  </a:lnTo>
                  <a:lnTo>
                    <a:pt x="654439" y="550277"/>
                  </a:lnTo>
                  <a:lnTo>
                    <a:pt x="653663" y="553249"/>
                  </a:lnTo>
                  <a:lnTo>
                    <a:pt x="652888" y="555446"/>
                  </a:lnTo>
                  <a:lnTo>
                    <a:pt x="649399" y="558418"/>
                  </a:lnTo>
                  <a:lnTo>
                    <a:pt x="647848" y="561907"/>
                  </a:lnTo>
                  <a:lnTo>
                    <a:pt x="636475" y="574701"/>
                  </a:lnTo>
                  <a:lnTo>
                    <a:pt x="632340" y="577545"/>
                  </a:lnTo>
                  <a:lnTo>
                    <a:pt x="628204" y="577803"/>
                  </a:lnTo>
                  <a:lnTo>
                    <a:pt x="623681" y="577545"/>
                  </a:lnTo>
                  <a:lnTo>
                    <a:pt x="618512" y="578579"/>
                  </a:lnTo>
                  <a:lnTo>
                    <a:pt x="620709" y="582068"/>
                  </a:lnTo>
                  <a:lnTo>
                    <a:pt x="618253" y="585428"/>
                  </a:lnTo>
                  <a:lnTo>
                    <a:pt x="613601" y="587366"/>
                  </a:lnTo>
                  <a:lnTo>
                    <a:pt x="608948" y="587108"/>
                  </a:lnTo>
                  <a:lnTo>
                    <a:pt x="600548" y="581163"/>
                  </a:lnTo>
                  <a:lnTo>
                    <a:pt x="595508" y="579483"/>
                  </a:lnTo>
                  <a:lnTo>
                    <a:pt x="591373" y="581939"/>
                  </a:lnTo>
                  <a:lnTo>
                    <a:pt x="591243" y="585816"/>
                  </a:lnTo>
                  <a:lnTo>
                    <a:pt x="597963" y="593440"/>
                  </a:lnTo>
                  <a:lnTo>
                    <a:pt x="599385" y="597447"/>
                  </a:lnTo>
                  <a:lnTo>
                    <a:pt x="598093" y="599385"/>
                  </a:lnTo>
                  <a:lnTo>
                    <a:pt x="595896" y="600678"/>
                  </a:lnTo>
                  <a:lnTo>
                    <a:pt x="594603" y="602099"/>
                  </a:lnTo>
                  <a:lnTo>
                    <a:pt x="596154" y="604813"/>
                  </a:lnTo>
                  <a:lnTo>
                    <a:pt x="596930" y="607139"/>
                  </a:lnTo>
                  <a:lnTo>
                    <a:pt x="596542" y="610111"/>
                  </a:lnTo>
                  <a:lnTo>
                    <a:pt x="595766" y="612954"/>
                  </a:lnTo>
                  <a:lnTo>
                    <a:pt x="594991" y="614635"/>
                  </a:lnTo>
                  <a:lnTo>
                    <a:pt x="592536" y="619158"/>
                  </a:lnTo>
                  <a:lnTo>
                    <a:pt x="591631" y="622001"/>
                  </a:lnTo>
                  <a:lnTo>
                    <a:pt x="592406" y="624586"/>
                  </a:lnTo>
                  <a:lnTo>
                    <a:pt x="593311" y="623939"/>
                  </a:lnTo>
                  <a:lnTo>
                    <a:pt x="597188" y="617219"/>
                  </a:lnTo>
                  <a:lnTo>
                    <a:pt x="612567" y="597834"/>
                  </a:lnTo>
                  <a:lnTo>
                    <a:pt x="615281" y="594991"/>
                  </a:lnTo>
                  <a:lnTo>
                    <a:pt x="647460" y="575606"/>
                  </a:lnTo>
                  <a:lnTo>
                    <a:pt x="673048" y="553895"/>
                  </a:lnTo>
                  <a:lnTo>
                    <a:pt x="691529" y="538645"/>
                  </a:lnTo>
                  <a:lnTo>
                    <a:pt x="704064" y="525722"/>
                  </a:lnTo>
                  <a:lnTo>
                    <a:pt x="720218" y="505949"/>
                  </a:lnTo>
                  <a:lnTo>
                    <a:pt x="726163" y="496386"/>
                  </a:lnTo>
                  <a:lnTo>
                    <a:pt x="737536" y="484238"/>
                  </a:lnTo>
                  <a:lnTo>
                    <a:pt x="750588" y="463948"/>
                  </a:lnTo>
                  <a:lnTo>
                    <a:pt x="751234" y="462656"/>
                  </a:lnTo>
                  <a:lnTo>
                    <a:pt x="751881" y="460201"/>
                  </a:lnTo>
                  <a:lnTo>
                    <a:pt x="780958" y="411867"/>
                  </a:lnTo>
                  <a:lnTo>
                    <a:pt x="787937" y="394809"/>
                  </a:lnTo>
                  <a:lnTo>
                    <a:pt x="792718" y="379817"/>
                  </a:lnTo>
                  <a:lnTo>
                    <a:pt x="809907" y="332259"/>
                  </a:lnTo>
                  <a:lnTo>
                    <a:pt x="815076" y="326056"/>
                  </a:lnTo>
                  <a:lnTo>
                    <a:pt x="821925" y="310160"/>
                  </a:lnTo>
                  <a:lnTo>
                    <a:pt x="829808" y="297237"/>
                  </a:lnTo>
                  <a:lnTo>
                    <a:pt x="835107" y="286769"/>
                  </a:lnTo>
                  <a:lnTo>
                    <a:pt x="845446" y="272295"/>
                  </a:lnTo>
                  <a:lnTo>
                    <a:pt x="845446" y="272295"/>
                  </a:lnTo>
                  <a:lnTo>
                    <a:pt x="844024" y="272166"/>
                  </a:lnTo>
                  <a:lnTo>
                    <a:pt x="843507" y="271907"/>
                  </a:lnTo>
                  <a:lnTo>
                    <a:pt x="843119" y="271261"/>
                  </a:lnTo>
                  <a:lnTo>
                    <a:pt x="842861" y="269710"/>
                  </a:lnTo>
                  <a:lnTo>
                    <a:pt x="842344" y="268677"/>
                  </a:lnTo>
                  <a:lnTo>
                    <a:pt x="841698" y="268160"/>
                  </a:lnTo>
                  <a:lnTo>
                    <a:pt x="840923" y="267901"/>
                  </a:lnTo>
                  <a:lnTo>
                    <a:pt x="839889" y="267772"/>
                  </a:lnTo>
                  <a:lnTo>
                    <a:pt x="836658" y="266867"/>
                  </a:lnTo>
                  <a:lnTo>
                    <a:pt x="834719" y="265833"/>
                  </a:lnTo>
                  <a:lnTo>
                    <a:pt x="830325" y="260535"/>
                  </a:lnTo>
                  <a:lnTo>
                    <a:pt x="829421" y="259759"/>
                  </a:lnTo>
                  <a:lnTo>
                    <a:pt x="828645" y="259242"/>
                  </a:lnTo>
                  <a:lnTo>
                    <a:pt x="822442" y="256529"/>
                  </a:lnTo>
                  <a:lnTo>
                    <a:pt x="819728" y="256270"/>
                  </a:lnTo>
                  <a:lnTo>
                    <a:pt x="819211" y="256658"/>
                  </a:lnTo>
                  <a:lnTo>
                    <a:pt x="818694" y="257175"/>
                  </a:lnTo>
                  <a:lnTo>
                    <a:pt x="818177" y="258855"/>
                  </a:lnTo>
                  <a:lnTo>
                    <a:pt x="817531" y="259113"/>
                  </a:lnTo>
                  <a:lnTo>
                    <a:pt x="815722" y="259113"/>
                  </a:lnTo>
                  <a:lnTo>
                    <a:pt x="815076" y="259242"/>
                  </a:lnTo>
                  <a:lnTo>
                    <a:pt x="814559" y="259501"/>
                  </a:lnTo>
                  <a:lnTo>
                    <a:pt x="812233" y="260793"/>
                  </a:lnTo>
                  <a:lnTo>
                    <a:pt x="811199" y="261310"/>
                  </a:lnTo>
                  <a:lnTo>
                    <a:pt x="806288" y="262344"/>
                  </a:lnTo>
                  <a:lnTo>
                    <a:pt x="805254" y="262861"/>
                  </a:lnTo>
                  <a:lnTo>
                    <a:pt x="804737" y="263507"/>
                  </a:lnTo>
                  <a:lnTo>
                    <a:pt x="804737" y="264153"/>
                  </a:lnTo>
                  <a:lnTo>
                    <a:pt x="804996" y="264670"/>
                  </a:lnTo>
                  <a:lnTo>
                    <a:pt x="805383" y="265058"/>
                  </a:lnTo>
                  <a:lnTo>
                    <a:pt x="809260" y="268031"/>
                  </a:lnTo>
                  <a:lnTo>
                    <a:pt x="810036" y="268806"/>
                  </a:lnTo>
                  <a:lnTo>
                    <a:pt x="810423" y="269323"/>
                  </a:lnTo>
                  <a:lnTo>
                    <a:pt x="810682" y="269840"/>
                  </a:lnTo>
                  <a:lnTo>
                    <a:pt x="811199" y="271003"/>
                  </a:lnTo>
                  <a:lnTo>
                    <a:pt x="811328" y="271778"/>
                  </a:lnTo>
                  <a:lnTo>
                    <a:pt x="811328" y="272553"/>
                  </a:lnTo>
                  <a:lnTo>
                    <a:pt x="811199" y="273588"/>
                  </a:lnTo>
                  <a:lnTo>
                    <a:pt x="810553" y="275268"/>
                  </a:lnTo>
                  <a:lnTo>
                    <a:pt x="809907" y="275914"/>
                  </a:lnTo>
                  <a:lnTo>
                    <a:pt x="809260" y="276043"/>
                  </a:lnTo>
                  <a:lnTo>
                    <a:pt x="808614" y="275655"/>
                  </a:lnTo>
                  <a:lnTo>
                    <a:pt x="808226" y="275268"/>
                  </a:lnTo>
                  <a:lnTo>
                    <a:pt x="806805" y="273329"/>
                  </a:lnTo>
                  <a:lnTo>
                    <a:pt x="806029" y="272553"/>
                  </a:lnTo>
                  <a:lnTo>
                    <a:pt x="805254" y="271907"/>
                  </a:lnTo>
                  <a:lnTo>
                    <a:pt x="799697" y="270227"/>
                  </a:lnTo>
                  <a:lnTo>
                    <a:pt x="798663" y="269710"/>
                  </a:lnTo>
                  <a:lnTo>
                    <a:pt x="797371" y="268806"/>
                  </a:lnTo>
                  <a:lnTo>
                    <a:pt x="796983" y="268031"/>
                  </a:lnTo>
                  <a:lnTo>
                    <a:pt x="796854" y="267255"/>
                  </a:lnTo>
                  <a:lnTo>
                    <a:pt x="796854" y="266479"/>
                  </a:lnTo>
                  <a:lnTo>
                    <a:pt x="796983" y="265704"/>
                  </a:lnTo>
                  <a:lnTo>
                    <a:pt x="797629" y="262215"/>
                  </a:lnTo>
                  <a:lnTo>
                    <a:pt x="797500" y="259759"/>
                  </a:lnTo>
                  <a:lnTo>
                    <a:pt x="797112" y="257692"/>
                  </a:lnTo>
                  <a:lnTo>
                    <a:pt x="797112" y="256529"/>
                  </a:lnTo>
                  <a:lnTo>
                    <a:pt x="797500" y="255883"/>
                  </a:lnTo>
                  <a:lnTo>
                    <a:pt x="797888" y="255495"/>
                  </a:lnTo>
                  <a:lnTo>
                    <a:pt x="799826" y="254073"/>
                  </a:lnTo>
                  <a:lnTo>
                    <a:pt x="803445" y="250972"/>
                  </a:lnTo>
                  <a:lnTo>
                    <a:pt x="804866" y="249033"/>
                  </a:lnTo>
                  <a:lnTo>
                    <a:pt x="805771" y="247224"/>
                  </a:lnTo>
                  <a:lnTo>
                    <a:pt x="806288" y="245415"/>
                  </a:lnTo>
                  <a:lnTo>
                    <a:pt x="806805" y="244510"/>
                  </a:lnTo>
                  <a:lnTo>
                    <a:pt x="807322" y="243993"/>
                  </a:lnTo>
                  <a:lnTo>
                    <a:pt x="807968" y="243993"/>
                  </a:lnTo>
                  <a:lnTo>
                    <a:pt x="808356" y="244251"/>
                  </a:lnTo>
                  <a:lnTo>
                    <a:pt x="808743" y="244768"/>
                  </a:lnTo>
                  <a:lnTo>
                    <a:pt x="809260" y="245931"/>
                  </a:lnTo>
                  <a:lnTo>
                    <a:pt x="809519" y="246448"/>
                  </a:lnTo>
                  <a:lnTo>
                    <a:pt x="809907" y="246836"/>
                  </a:lnTo>
                  <a:lnTo>
                    <a:pt x="810553" y="246836"/>
                  </a:lnTo>
                  <a:lnTo>
                    <a:pt x="810940" y="246448"/>
                  </a:lnTo>
                  <a:lnTo>
                    <a:pt x="811457" y="245673"/>
                  </a:lnTo>
                  <a:lnTo>
                    <a:pt x="811845" y="245285"/>
                  </a:lnTo>
                  <a:lnTo>
                    <a:pt x="812233" y="245285"/>
                  </a:lnTo>
                  <a:lnTo>
                    <a:pt x="812879" y="245415"/>
                  </a:lnTo>
                  <a:lnTo>
                    <a:pt x="813396" y="245544"/>
                  </a:lnTo>
                  <a:lnTo>
                    <a:pt x="814171" y="245285"/>
                  </a:lnTo>
                  <a:lnTo>
                    <a:pt x="814559" y="244639"/>
                  </a:lnTo>
                  <a:lnTo>
                    <a:pt x="814688" y="243993"/>
                  </a:lnTo>
                  <a:lnTo>
                    <a:pt x="814430" y="242313"/>
                  </a:lnTo>
                  <a:lnTo>
                    <a:pt x="814430" y="241020"/>
                  </a:lnTo>
                  <a:lnTo>
                    <a:pt x="814559" y="240374"/>
                  </a:lnTo>
                  <a:lnTo>
                    <a:pt x="814688" y="239987"/>
                  </a:lnTo>
                  <a:lnTo>
                    <a:pt x="816885" y="237661"/>
                  </a:lnTo>
                  <a:lnTo>
                    <a:pt x="817531" y="236627"/>
                  </a:lnTo>
                  <a:lnTo>
                    <a:pt x="818307" y="233654"/>
                  </a:lnTo>
                  <a:lnTo>
                    <a:pt x="819858" y="229389"/>
                  </a:lnTo>
                  <a:lnTo>
                    <a:pt x="820245" y="227968"/>
                  </a:lnTo>
                  <a:lnTo>
                    <a:pt x="820504" y="226805"/>
                  </a:lnTo>
                  <a:lnTo>
                    <a:pt x="818824" y="215174"/>
                  </a:lnTo>
                  <a:lnTo>
                    <a:pt x="818953" y="212331"/>
                  </a:lnTo>
                  <a:lnTo>
                    <a:pt x="819728" y="207678"/>
                  </a:lnTo>
                  <a:lnTo>
                    <a:pt x="819987" y="206774"/>
                  </a:lnTo>
                  <a:lnTo>
                    <a:pt x="820116" y="206515"/>
                  </a:lnTo>
                  <a:lnTo>
                    <a:pt x="820504" y="205998"/>
                  </a:lnTo>
                  <a:lnTo>
                    <a:pt x="820891" y="205611"/>
                  </a:lnTo>
                  <a:lnTo>
                    <a:pt x="821925" y="204835"/>
                  </a:lnTo>
                  <a:lnTo>
                    <a:pt x="822571" y="204318"/>
                  </a:lnTo>
                  <a:lnTo>
                    <a:pt x="823218" y="203414"/>
                  </a:lnTo>
                  <a:lnTo>
                    <a:pt x="823347" y="202638"/>
                  </a:lnTo>
                  <a:lnTo>
                    <a:pt x="823218" y="201992"/>
                  </a:lnTo>
                  <a:lnTo>
                    <a:pt x="822959" y="201087"/>
                  </a:lnTo>
                  <a:lnTo>
                    <a:pt x="822830" y="199795"/>
                  </a:lnTo>
                  <a:lnTo>
                    <a:pt x="822959" y="198891"/>
                  </a:lnTo>
                  <a:lnTo>
                    <a:pt x="823347" y="198374"/>
                  </a:lnTo>
                  <a:lnTo>
                    <a:pt x="823734" y="197986"/>
                  </a:lnTo>
                  <a:lnTo>
                    <a:pt x="824251" y="197728"/>
                  </a:lnTo>
                  <a:lnTo>
                    <a:pt x="824639" y="197856"/>
                  </a:lnTo>
                  <a:lnTo>
                    <a:pt x="824768" y="198374"/>
                  </a:lnTo>
                  <a:lnTo>
                    <a:pt x="824768" y="198891"/>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0" name="Graphic 2">
              <a:extLst>
                <a:ext uri="{FF2B5EF4-FFF2-40B4-BE49-F238E27FC236}">
                  <a16:creationId xmlns:a16="http://schemas.microsoft.com/office/drawing/2014/main" id="{5F59C91A-55B1-7B87-5BAF-8DCFA736B922}"/>
                </a:ext>
              </a:extLst>
            </p:cNvPr>
            <p:cNvSpPr/>
            <p:nvPr/>
          </p:nvSpPr>
          <p:spPr>
            <a:xfrm>
              <a:off x="7471303" y="1706188"/>
              <a:ext cx="991608" cy="838467"/>
            </a:xfrm>
            <a:custGeom>
              <a:avLst/>
              <a:gdLst>
                <a:gd name="connsiteX0" fmla="*/ 388217 w 991608"/>
                <a:gd name="connsiteY0" fmla="*/ 775789 h 838467"/>
                <a:gd name="connsiteX1" fmla="*/ 387442 w 991608"/>
                <a:gd name="connsiteY1" fmla="*/ 774367 h 838467"/>
                <a:gd name="connsiteX2" fmla="*/ 386667 w 991608"/>
                <a:gd name="connsiteY2" fmla="*/ 773721 h 838467"/>
                <a:gd name="connsiteX3" fmla="*/ 385116 w 991608"/>
                <a:gd name="connsiteY3" fmla="*/ 772816 h 838467"/>
                <a:gd name="connsiteX4" fmla="*/ 384470 w 991608"/>
                <a:gd name="connsiteY4" fmla="*/ 772041 h 838467"/>
                <a:gd name="connsiteX5" fmla="*/ 383694 w 991608"/>
                <a:gd name="connsiteY5" fmla="*/ 770619 h 838467"/>
                <a:gd name="connsiteX6" fmla="*/ 383565 w 991608"/>
                <a:gd name="connsiteY6" fmla="*/ 769715 h 838467"/>
                <a:gd name="connsiteX7" fmla="*/ 383823 w 991608"/>
                <a:gd name="connsiteY7" fmla="*/ 768035 h 838467"/>
                <a:gd name="connsiteX8" fmla="*/ 383565 w 991608"/>
                <a:gd name="connsiteY8" fmla="*/ 765967 h 838467"/>
                <a:gd name="connsiteX9" fmla="*/ 382531 w 991608"/>
                <a:gd name="connsiteY9" fmla="*/ 761702 h 838467"/>
                <a:gd name="connsiteX10" fmla="*/ 382273 w 991608"/>
                <a:gd name="connsiteY10" fmla="*/ 759247 h 838467"/>
                <a:gd name="connsiteX11" fmla="*/ 381885 w 991608"/>
                <a:gd name="connsiteY11" fmla="*/ 758601 h 838467"/>
                <a:gd name="connsiteX12" fmla="*/ 381110 w 991608"/>
                <a:gd name="connsiteY12" fmla="*/ 758342 h 838467"/>
                <a:gd name="connsiteX13" fmla="*/ 378912 w 991608"/>
                <a:gd name="connsiteY13" fmla="*/ 758213 h 838467"/>
                <a:gd name="connsiteX14" fmla="*/ 378008 w 991608"/>
                <a:gd name="connsiteY14" fmla="*/ 757696 h 838467"/>
                <a:gd name="connsiteX15" fmla="*/ 376974 w 991608"/>
                <a:gd name="connsiteY15" fmla="*/ 755241 h 838467"/>
                <a:gd name="connsiteX16" fmla="*/ 376069 w 991608"/>
                <a:gd name="connsiteY16" fmla="*/ 754724 h 838467"/>
                <a:gd name="connsiteX17" fmla="*/ 374777 w 991608"/>
                <a:gd name="connsiteY17" fmla="*/ 755499 h 838467"/>
                <a:gd name="connsiteX18" fmla="*/ 373485 w 991608"/>
                <a:gd name="connsiteY18" fmla="*/ 757050 h 838467"/>
                <a:gd name="connsiteX19" fmla="*/ 371934 w 991608"/>
                <a:gd name="connsiteY19" fmla="*/ 758084 h 838467"/>
                <a:gd name="connsiteX20" fmla="*/ 370125 w 991608"/>
                <a:gd name="connsiteY20" fmla="*/ 757179 h 838467"/>
                <a:gd name="connsiteX21" fmla="*/ 370254 w 991608"/>
                <a:gd name="connsiteY21" fmla="*/ 756145 h 838467"/>
                <a:gd name="connsiteX22" fmla="*/ 372968 w 991608"/>
                <a:gd name="connsiteY22" fmla="*/ 753561 h 838467"/>
                <a:gd name="connsiteX23" fmla="*/ 373485 w 991608"/>
                <a:gd name="connsiteY23" fmla="*/ 751622 h 838467"/>
                <a:gd name="connsiteX24" fmla="*/ 376457 w 991608"/>
                <a:gd name="connsiteY24" fmla="*/ 753819 h 838467"/>
                <a:gd name="connsiteX25" fmla="*/ 375811 w 991608"/>
                <a:gd name="connsiteY25" fmla="*/ 741025 h 838467"/>
                <a:gd name="connsiteX26" fmla="*/ 375423 w 991608"/>
                <a:gd name="connsiteY26" fmla="*/ 740508 h 838467"/>
                <a:gd name="connsiteX27" fmla="*/ 374519 w 991608"/>
                <a:gd name="connsiteY27" fmla="*/ 740120 h 838467"/>
                <a:gd name="connsiteX28" fmla="*/ 374519 w 991608"/>
                <a:gd name="connsiteY28" fmla="*/ 739086 h 838467"/>
                <a:gd name="connsiteX29" fmla="*/ 375036 w 991608"/>
                <a:gd name="connsiteY29" fmla="*/ 736890 h 838467"/>
                <a:gd name="connsiteX30" fmla="*/ 375165 w 991608"/>
                <a:gd name="connsiteY30" fmla="*/ 733400 h 838467"/>
                <a:gd name="connsiteX31" fmla="*/ 375036 w 991608"/>
                <a:gd name="connsiteY31" fmla="*/ 732366 h 838467"/>
                <a:gd name="connsiteX32" fmla="*/ 374390 w 991608"/>
                <a:gd name="connsiteY32" fmla="*/ 731332 h 838467"/>
                <a:gd name="connsiteX33" fmla="*/ 372451 w 991608"/>
                <a:gd name="connsiteY33" fmla="*/ 729523 h 838467"/>
                <a:gd name="connsiteX34" fmla="*/ 372063 w 991608"/>
                <a:gd name="connsiteY34" fmla="*/ 729006 h 838467"/>
                <a:gd name="connsiteX35" fmla="*/ 371805 w 991608"/>
                <a:gd name="connsiteY35" fmla="*/ 727972 h 838467"/>
                <a:gd name="connsiteX36" fmla="*/ 370771 w 991608"/>
                <a:gd name="connsiteY36" fmla="*/ 726551 h 838467"/>
                <a:gd name="connsiteX37" fmla="*/ 370512 w 991608"/>
                <a:gd name="connsiteY37" fmla="*/ 725388 h 838467"/>
                <a:gd name="connsiteX38" fmla="*/ 370642 w 991608"/>
                <a:gd name="connsiteY38" fmla="*/ 721769 h 838467"/>
                <a:gd name="connsiteX39" fmla="*/ 370512 w 991608"/>
                <a:gd name="connsiteY39" fmla="*/ 720735 h 838467"/>
                <a:gd name="connsiteX40" fmla="*/ 370254 w 991608"/>
                <a:gd name="connsiteY40" fmla="*/ 720477 h 838467"/>
                <a:gd name="connsiteX41" fmla="*/ 368316 w 991608"/>
                <a:gd name="connsiteY41" fmla="*/ 718538 h 838467"/>
                <a:gd name="connsiteX42" fmla="*/ 367928 w 991608"/>
                <a:gd name="connsiteY42" fmla="*/ 717246 h 838467"/>
                <a:gd name="connsiteX43" fmla="*/ 367928 w 991608"/>
                <a:gd name="connsiteY43" fmla="*/ 716083 h 838467"/>
                <a:gd name="connsiteX44" fmla="*/ 368316 w 991608"/>
                <a:gd name="connsiteY44" fmla="*/ 714403 h 838467"/>
                <a:gd name="connsiteX45" fmla="*/ 367928 w 991608"/>
                <a:gd name="connsiteY45" fmla="*/ 712077 h 838467"/>
                <a:gd name="connsiteX46" fmla="*/ 367152 w 991608"/>
                <a:gd name="connsiteY46" fmla="*/ 710655 h 838467"/>
                <a:gd name="connsiteX47" fmla="*/ 366248 w 991608"/>
                <a:gd name="connsiteY47" fmla="*/ 709621 h 838467"/>
                <a:gd name="connsiteX48" fmla="*/ 365472 w 991608"/>
                <a:gd name="connsiteY48" fmla="*/ 708200 h 838467"/>
                <a:gd name="connsiteX49" fmla="*/ 365472 w 991608"/>
                <a:gd name="connsiteY49" fmla="*/ 700704 h 838467"/>
                <a:gd name="connsiteX50" fmla="*/ 364438 w 991608"/>
                <a:gd name="connsiteY50" fmla="*/ 699541 h 838467"/>
                <a:gd name="connsiteX51" fmla="*/ 364309 w 991608"/>
                <a:gd name="connsiteY51" fmla="*/ 698378 h 838467"/>
                <a:gd name="connsiteX52" fmla="*/ 362242 w 991608"/>
                <a:gd name="connsiteY52" fmla="*/ 690882 h 838467"/>
                <a:gd name="connsiteX53" fmla="*/ 361725 w 991608"/>
                <a:gd name="connsiteY53" fmla="*/ 689849 h 838467"/>
                <a:gd name="connsiteX54" fmla="*/ 362500 w 991608"/>
                <a:gd name="connsiteY54" fmla="*/ 689202 h 838467"/>
                <a:gd name="connsiteX55" fmla="*/ 361337 w 991608"/>
                <a:gd name="connsiteY55" fmla="*/ 687522 h 838467"/>
                <a:gd name="connsiteX56" fmla="*/ 360174 w 991608"/>
                <a:gd name="connsiteY56" fmla="*/ 685325 h 838467"/>
                <a:gd name="connsiteX57" fmla="*/ 359269 w 991608"/>
                <a:gd name="connsiteY57" fmla="*/ 682999 h 838467"/>
                <a:gd name="connsiteX58" fmla="*/ 358364 w 991608"/>
                <a:gd name="connsiteY58" fmla="*/ 678605 h 838467"/>
                <a:gd name="connsiteX59" fmla="*/ 352290 w 991608"/>
                <a:gd name="connsiteY59" fmla="*/ 667879 h 838467"/>
                <a:gd name="connsiteX60" fmla="*/ 349060 w 991608"/>
                <a:gd name="connsiteY60" fmla="*/ 664906 h 838467"/>
                <a:gd name="connsiteX61" fmla="*/ 348543 w 991608"/>
                <a:gd name="connsiteY61" fmla="*/ 663873 h 838467"/>
                <a:gd name="connsiteX62" fmla="*/ 348284 w 991608"/>
                <a:gd name="connsiteY62" fmla="*/ 661546 h 838467"/>
                <a:gd name="connsiteX63" fmla="*/ 347638 w 991608"/>
                <a:gd name="connsiteY63" fmla="*/ 659091 h 838467"/>
                <a:gd name="connsiteX64" fmla="*/ 346733 w 991608"/>
                <a:gd name="connsiteY64" fmla="*/ 656765 h 838467"/>
                <a:gd name="connsiteX65" fmla="*/ 344666 w 991608"/>
                <a:gd name="connsiteY65" fmla="*/ 653017 h 838467"/>
                <a:gd name="connsiteX66" fmla="*/ 343244 w 991608"/>
                <a:gd name="connsiteY66" fmla="*/ 651078 h 838467"/>
                <a:gd name="connsiteX67" fmla="*/ 341435 w 991608"/>
                <a:gd name="connsiteY67" fmla="*/ 649528 h 838467"/>
                <a:gd name="connsiteX68" fmla="*/ 339496 w 991608"/>
                <a:gd name="connsiteY68" fmla="*/ 648882 h 838467"/>
                <a:gd name="connsiteX69" fmla="*/ 337687 w 991608"/>
                <a:gd name="connsiteY69" fmla="*/ 647977 h 838467"/>
                <a:gd name="connsiteX70" fmla="*/ 333681 w 991608"/>
                <a:gd name="connsiteY70" fmla="*/ 643712 h 838467"/>
                <a:gd name="connsiteX71" fmla="*/ 331742 w 991608"/>
                <a:gd name="connsiteY71" fmla="*/ 642291 h 838467"/>
                <a:gd name="connsiteX72" fmla="*/ 327607 w 991608"/>
                <a:gd name="connsiteY72" fmla="*/ 640611 h 838467"/>
                <a:gd name="connsiteX73" fmla="*/ 324118 w 991608"/>
                <a:gd name="connsiteY73" fmla="*/ 639577 h 838467"/>
                <a:gd name="connsiteX74" fmla="*/ 315846 w 991608"/>
                <a:gd name="connsiteY74" fmla="*/ 638801 h 838467"/>
                <a:gd name="connsiteX75" fmla="*/ 304215 w 991608"/>
                <a:gd name="connsiteY75" fmla="*/ 636217 h 838467"/>
                <a:gd name="connsiteX76" fmla="*/ 288191 w 991608"/>
                <a:gd name="connsiteY76" fmla="*/ 633115 h 838467"/>
                <a:gd name="connsiteX77" fmla="*/ 279661 w 991608"/>
                <a:gd name="connsiteY77" fmla="*/ 631952 h 838467"/>
                <a:gd name="connsiteX78" fmla="*/ 277593 w 991608"/>
                <a:gd name="connsiteY78" fmla="*/ 632340 h 838467"/>
                <a:gd name="connsiteX79" fmla="*/ 274750 w 991608"/>
                <a:gd name="connsiteY79" fmla="*/ 633761 h 838467"/>
                <a:gd name="connsiteX80" fmla="*/ 270873 w 991608"/>
                <a:gd name="connsiteY80" fmla="*/ 634537 h 838467"/>
                <a:gd name="connsiteX81" fmla="*/ 267126 w 991608"/>
                <a:gd name="connsiteY81" fmla="*/ 636604 h 838467"/>
                <a:gd name="connsiteX82" fmla="*/ 265187 w 991608"/>
                <a:gd name="connsiteY82" fmla="*/ 637121 h 838467"/>
                <a:gd name="connsiteX83" fmla="*/ 247999 w 991608"/>
                <a:gd name="connsiteY83" fmla="*/ 636346 h 838467"/>
                <a:gd name="connsiteX84" fmla="*/ 247999 w 991608"/>
                <a:gd name="connsiteY84" fmla="*/ 637121 h 838467"/>
                <a:gd name="connsiteX85" fmla="*/ 251747 w 991608"/>
                <a:gd name="connsiteY85" fmla="*/ 637121 h 838467"/>
                <a:gd name="connsiteX86" fmla="*/ 251747 w 991608"/>
                <a:gd name="connsiteY86" fmla="*/ 637767 h 838467"/>
                <a:gd name="connsiteX87" fmla="*/ 249162 w 991608"/>
                <a:gd name="connsiteY87" fmla="*/ 638026 h 838467"/>
                <a:gd name="connsiteX88" fmla="*/ 247223 w 991608"/>
                <a:gd name="connsiteY88" fmla="*/ 637638 h 838467"/>
                <a:gd name="connsiteX89" fmla="*/ 242959 w 991608"/>
                <a:gd name="connsiteY89" fmla="*/ 636346 h 838467"/>
                <a:gd name="connsiteX90" fmla="*/ 234171 w 991608"/>
                <a:gd name="connsiteY90" fmla="*/ 635441 h 838467"/>
                <a:gd name="connsiteX91" fmla="*/ 220989 w 991608"/>
                <a:gd name="connsiteY91" fmla="*/ 636346 h 838467"/>
                <a:gd name="connsiteX92" fmla="*/ 217242 w 991608"/>
                <a:gd name="connsiteY92" fmla="*/ 635441 h 838467"/>
                <a:gd name="connsiteX93" fmla="*/ 218275 w 991608"/>
                <a:gd name="connsiteY93" fmla="*/ 636604 h 838467"/>
                <a:gd name="connsiteX94" fmla="*/ 222281 w 991608"/>
                <a:gd name="connsiteY94" fmla="*/ 637638 h 838467"/>
                <a:gd name="connsiteX95" fmla="*/ 223186 w 991608"/>
                <a:gd name="connsiteY95" fmla="*/ 638155 h 838467"/>
                <a:gd name="connsiteX96" fmla="*/ 222540 w 991608"/>
                <a:gd name="connsiteY96" fmla="*/ 639964 h 838467"/>
                <a:gd name="connsiteX97" fmla="*/ 221118 w 991608"/>
                <a:gd name="connsiteY97" fmla="*/ 640481 h 838467"/>
                <a:gd name="connsiteX98" fmla="*/ 219309 w 991608"/>
                <a:gd name="connsiteY98" fmla="*/ 639964 h 838467"/>
                <a:gd name="connsiteX99" fmla="*/ 216207 w 991608"/>
                <a:gd name="connsiteY99" fmla="*/ 637767 h 838467"/>
                <a:gd name="connsiteX100" fmla="*/ 214269 w 991608"/>
                <a:gd name="connsiteY100" fmla="*/ 637380 h 838467"/>
                <a:gd name="connsiteX101" fmla="*/ 210521 w 991608"/>
                <a:gd name="connsiteY101" fmla="*/ 636604 h 838467"/>
                <a:gd name="connsiteX102" fmla="*/ 206127 w 991608"/>
                <a:gd name="connsiteY102" fmla="*/ 636992 h 838467"/>
                <a:gd name="connsiteX103" fmla="*/ 204706 w 991608"/>
                <a:gd name="connsiteY103" fmla="*/ 636734 h 838467"/>
                <a:gd name="connsiteX104" fmla="*/ 204706 w 991608"/>
                <a:gd name="connsiteY104" fmla="*/ 635183 h 838467"/>
                <a:gd name="connsiteX105" fmla="*/ 202250 w 991608"/>
                <a:gd name="connsiteY105" fmla="*/ 635183 h 838467"/>
                <a:gd name="connsiteX106" fmla="*/ 198244 w 991608"/>
                <a:gd name="connsiteY106" fmla="*/ 634278 h 838467"/>
                <a:gd name="connsiteX107" fmla="*/ 194626 w 991608"/>
                <a:gd name="connsiteY107" fmla="*/ 632598 h 838467"/>
                <a:gd name="connsiteX108" fmla="*/ 193075 w 991608"/>
                <a:gd name="connsiteY108" fmla="*/ 630401 h 838467"/>
                <a:gd name="connsiteX109" fmla="*/ 192558 w 991608"/>
                <a:gd name="connsiteY109" fmla="*/ 629367 h 838467"/>
                <a:gd name="connsiteX110" fmla="*/ 191395 w 991608"/>
                <a:gd name="connsiteY110" fmla="*/ 628075 h 838467"/>
                <a:gd name="connsiteX111" fmla="*/ 190102 w 991608"/>
                <a:gd name="connsiteY111" fmla="*/ 626912 h 838467"/>
                <a:gd name="connsiteX112" fmla="*/ 188939 w 991608"/>
                <a:gd name="connsiteY112" fmla="*/ 626395 h 838467"/>
                <a:gd name="connsiteX113" fmla="*/ 188552 w 991608"/>
                <a:gd name="connsiteY113" fmla="*/ 625619 h 838467"/>
                <a:gd name="connsiteX114" fmla="*/ 184933 w 991608"/>
                <a:gd name="connsiteY114" fmla="*/ 621613 h 838467"/>
                <a:gd name="connsiteX115" fmla="*/ 182994 w 991608"/>
                <a:gd name="connsiteY115" fmla="*/ 620579 h 838467"/>
                <a:gd name="connsiteX116" fmla="*/ 173948 w 991608"/>
                <a:gd name="connsiteY116" fmla="*/ 619675 h 838467"/>
                <a:gd name="connsiteX117" fmla="*/ 170847 w 991608"/>
                <a:gd name="connsiteY117" fmla="*/ 619804 h 838467"/>
                <a:gd name="connsiteX118" fmla="*/ 168004 w 991608"/>
                <a:gd name="connsiteY118" fmla="*/ 620579 h 838467"/>
                <a:gd name="connsiteX119" fmla="*/ 166711 w 991608"/>
                <a:gd name="connsiteY119" fmla="*/ 620450 h 838467"/>
                <a:gd name="connsiteX120" fmla="*/ 163222 w 991608"/>
                <a:gd name="connsiteY120" fmla="*/ 619029 h 838467"/>
                <a:gd name="connsiteX121" fmla="*/ 161542 w 991608"/>
                <a:gd name="connsiteY121" fmla="*/ 618641 h 838467"/>
                <a:gd name="connsiteX122" fmla="*/ 159732 w 991608"/>
                <a:gd name="connsiteY122" fmla="*/ 618770 h 838467"/>
                <a:gd name="connsiteX123" fmla="*/ 157665 w 991608"/>
                <a:gd name="connsiteY123" fmla="*/ 619804 h 838467"/>
                <a:gd name="connsiteX124" fmla="*/ 152495 w 991608"/>
                <a:gd name="connsiteY124" fmla="*/ 617607 h 838467"/>
                <a:gd name="connsiteX125" fmla="*/ 147326 w 991608"/>
                <a:gd name="connsiteY125" fmla="*/ 610241 h 838467"/>
                <a:gd name="connsiteX126" fmla="*/ 146809 w 991608"/>
                <a:gd name="connsiteY126" fmla="*/ 608948 h 838467"/>
                <a:gd name="connsiteX127" fmla="*/ 114242 w 991608"/>
                <a:gd name="connsiteY127" fmla="*/ 619675 h 838467"/>
                <a:gd name="connsiteX128" fmla="*/ 109719 w 991608"/>
                <a:gd name="connsiteY128" fmla="*/ 621743 h 838467"/>
                <a:gd name="connsiteX129" fmla="*/ 108427 w 991608"/>
                <a:gd name="connsiteY129" fmla="*/ 622518 h 838467"/>
                <a:gd name="connsiteX130" fmla="*/ 94857 w 991608"/>
                <a:gd name="connsiteY130" fmla="*/ 633890 h 838467"/>
                <a:gd name="connsiteX131" fmla="*/ 94082 w 991608"/>
                <a:gd name="connsiteY131" fmla="*/ 635054 h 838467"/>
                <a:gd name="connsiteX132" fmla="*/ 86199 w 991608"/>
                <a:gd name="connsiteY132" fmla="*/ 651725 h 838467"/>
                <a:gd name="connsiteX133" fmla="*/ 74051 w 991608"/>
                <a:gd name="connsiteY133" fmla="*/ 676537 h 838467"/>
                <a:gd name="connsiteX134" fmla="*/ 73275 w 991608"/>
                <a:gd name="connsiteY134" fmla="*/ 677830 h 838467"/>
                <a:gd name="connsiteX135" fmla="*/ 65392 w 991608"/>
                <a:gd name="connsiteY135" fmla="*/ 687264 h 838467"/>
                <a:gd name="connsiteX136" fmla="*/ 63324 w 991608"/>
                <a:gd name="connsiteY136" fmla="*/ 689073 h 838467"/>
                <a:gd name="connsiteX137" fmla="*/ 61903 w 991608"/>
                <a:gd name="connsiteY137" fmla="*/ 690107 h 838467"/>
                <a:gd name="connsiteX138" fmla="*/ 59835 w 991608"/>
                <a:gd name="connsiteY138" fmla="*/ 692433 h 838467"/>
                <a:gd name="connsiteX139" fmla="*/ 56604 w 991608"/>
                <a:gd name="connsiteY139" fmla="*/ 700316 h 838467"/>
                <a:gd name="connsiteX140" fmla="*/ 56216 w 991608"/>
                <a:gd name="connsiteY140" fmla="*/ 702255 h 838467"/>
                <a:gd name="connsiteX141" fmla="*/ 56216 w 991608"/>
                <a:gd name="connsiteY141" fmla="*/ 702901 h 838467"/>
                <a:gd name="connsiteX142" fmla="*/ 57121 w 991608"/>
                <a:gd name="connsiteY142" fmla="*/ 706390 h 838467"/>
                <a:gd name="connsiteX143" fmla="*/ 56863 w 991608"/>
                <a:gd name="connsiteY143" fmla="*/ 708329 h 838467"/>
                <a:gd name="connsiteX144" fmla="*/ 54407 w 991608"/>
                <a:gd name="connsiteY144" fmla="*/ 711560 h 838467"/>
                <a:gd name="connsiteX145" fmla="*/ 52081 w 991608"/>
                <a:gd name="connsiteY145" fmla="*/ 715178 h 838467"/>
                <a:gd name="connsiteX146" fmla="*/ 51693 w 991608"/>
                <a:gd name="connsiteY146" fmla="*/ 716212 h 838467"/>
                <a:gd name="connsiteX147" fmla="*/ 51564 w 991608"/>
                <a:gd name="connsiteY147" fmla="*/ 717375 h 838467"/>
                <a:gd name="connsiteX148" fmla="*/ 51693 w 991608"/>
                <a:gd name="connsiteY148" fmla="*/ 719831 h 838467"/>
                <a:gd name="connsiteX149" fmla="*/ 51564 w 991608"/>
                <a:gd name="connsiteY149" fmla="*/ 720994 h 838467"/>
                <a:gd name="connsiteX150" fmla="*/ 50401 w 991608"/>
                <a:gd name="connsiteY150" fmla="*/ 722674 h 838467"/>
                <a:gd name="connsiteX151" fmla="*/ 38253 w 991608"/>
                <a:gd name="connsiteY151" fmla="*/ 735080 h 838467"/>
                <a:gd name="connsiteX152" fmla="*/ 37219 w 991608"/>
                <a:gd name="connsiteY152" fmla="*/ 736760 h 838467"/>
                <a:gd name="connsiteX153" fmla="*/ 36444 w 991608"/>
                <a:gd name="connsiteY153" fmla="*/ 738311 h 838467"/>
                <a:gd name="connsiteX154" fmla="*/ 36056 w 991608"/>
                <a:gd name="connsiteY154" fmla="*/ 739474 h 838467"/>
                <a:gd name="connsiteX155" fmla="*/ 35022 w 991608"/>
                <a:gd name="connsiteY155" fmla="*/ 740767 h 838467"/>
                <a:gd name="connsiteX156" fmla="*/ 33213 w 991608"/>
                <a:gd name="connsiteY156" fmla="*/ 741930 h 838467"/>
                <a:gd name="connsiteX157" fmla="*/ 29336 w 991608"/>
                <a:gd name="connsiteY157" fmla="*/ 743480 h 838467"/>
                <a:gd name="connsiteX158" fmla="*/ 27397 w 991608"/>
                <a:gd name="connsiteY158" fmla="*/ 743997 h 838467"/>
                <a:gd name="connsiteX159" fmla="*/ 25976 w 991608"/>
                <a:gd name="connsiteY159" fmla="*/ 743997 h 838467"/>
                <a:gd name="connsiteX160" fmla="*/ 25200 w 991608"/>
                <a:gd name="connsiteY160" fmla="*/ 743480 h 838467"/>
                <a:gd name="connsiteX161" fmla="*/ 22874 w 991608"/>
                <a:gd name="connsiteY161" fmla="*/ 741413 h 838467"/>
                <a:gd name="connsiteX162" fmla="*/ 21969 w 991608"/>
                <a:gd name="connsiteY162" fmla="*/ 740896 h 838467"/>
                <a:gd name="connsiteX163" fmla="*/ 20936 w 991608"/>
                <a:gd name="connsiteY163" fmla="*/ 740637 h 838467"/>
                <a:gd name="connsiteX164" fmla="*/ 19902 w 991608"/>
                <a:gd name="connsiteY164" fmla="*/ 740637 h 838467"/>
                <a:gd name="connsiteX165" fmla="*/ 18351 w 991608"/>
                <a:gd name="connsiteY165" fmla="*/ 741413 h 838467"/>
                <a:gd name="connsiteX166" fmla="*/ 16542 w 991608"/>
                <a:gd name="connsiteY166" fmla="*/ 742834 h 838467"/>
                <a:gd name="connsiteX167" fmla="*/ 13957 w 991608"/>
                <a:gd name="connsiteY167" fmla="*/ 745677 h 838467"/>
                <a:gd name="connsiteX168" fmla="*/ 12665 w 991608"/>
                <a:gd name="connsiteY168" fmla="*/ 747487 h 838467"/>
                <a:gd name="connsiteX169" fmla="*/ 11760 w 991608"/>
                <a:gd name="connsiteY169" fmla="*/ 749684 h 838467"/>
                <a:gd name="connsiteX170" fmla="*/ 11631 w 991608"/>
                <a:gd name="connsiteY170" fmla="*/ 751105 h 838467"/>
                <a:gd name="connsiteX171" fmla="*/ 11114 w 991608"/>
                <a:gd name="connsiteY171" fmla="*/ 752527 h 838467"/>
                <a:gd name="connsiteX172" fmla="*/ 10597 w 991608"/>
                <a:gd name="connsiteY172" fmla="*/ 753431 h 838467"/>
                <a:gd name="connsiteX173" fmla="*/ 7495 w 991608"/>
                <a:gd name="connsiteY173" fmla="*/ 754853 h 838467"/>
                <a:gd name="connsiteX174" fmla="*/ 6978 w 991608"/>
                <a:gd name="connsiteY174" fmla="*/ 756145 h 838467"/>
                <a:gd name="connsiteX175" fmla="*/ 6720 w 991608"/>
                <a:gd name="connsiteY175" fmla="*/ 758342 h 838467"/>
                <a:gd name="connsiteX176" fmla="*/ 6332 w 991608"/>
                <a:gd name="connsiteY176" fmla="*/ 759376 h 838467"/>
                <a:gd name="connsiteX177" fmla="*/ 5686 w 991608"/>
                <a:gd name="connsiteY177" fmla="*/ 760152 h 838467"/>
                <a:gd name="connsiteX178" fmla="*/ 3877 w 991608"/>
                <a:gd name="connsiteY178" fmla="*/ 761185 h 838467"/>
                <a:gd name="connsiteX179" fmla="*/ 3101 w 991608"/>
                <a:gd name="connsiteY179" fmla="*/ 761832 h 838467"/>
                <a:gd name="connsiteX180" fmla="*/ 2584 w 991608"/>
                <a:gd name="connsiteY180" fmla="*/ 762865 h 838467"/>
                <a:gd name="connsiteX181" fmla="*/ 2326 w 991608"/>
                <a:gd name="connsiteY181" fmla="*/ 764287 h 838467"/>
                <a:gd name="connsiteX182" fmla="*/ 2455 w 991608"/>
                <a:gd name="connsiteY182" fmla="*/ 766355 h 838467"/>
                <a:gd name="connsiteX183" fmla="*/ 2197 w 991608"/>
                <a:gd name="connsiteY183" fmla="*/ 769198 h 838467"/>
                <a:gd name="connsiteX184" fmla="*/ 2326 w 991608"/>
                <a:gd name="connsiteY184" fmla="*/ 770749 h 838467"/>
                <a:gd name="connsiteX185" fmla="*/ 2197 w 991608"/>
                <a:gd name="connsiteY185" fmla="*/ 772041 h 838467"/>
                <a:gd name="connsiteX186" fmla="*/ 1680 w 991608"/>
                <a:gd name="connsiteY186" fmla="*/ 773075 h 838467"/>
                <a:gd name="connsiteX187" fmla="*/ 1034 w 991608"/>
                <a:gd name="connsiteY187" fmla="*/ 773850 h 838467"/>
                <a:gd name="connsiteX188" fmla="*/ 388 w 991608"/>
                <a:gd name="connsiteY188" fmla="*/ 774497 h 838467"/>
                <a:gd name="connsiteX189" fmla="*/ 0 w 991608"/>
                <a:gd name="connsiteY189" fmla="*/ 775272 h 838467"/>
                <a:gd name="connsiteX190" fmla="*/ 258 w 991608"/>
                <a:gd name="connsiteY190" fmla="*/ 776047 h 838467"/>
                <a:gd name="connsiteX191" fmla="*/ 1034 w 991608"/>
                <a:gd name="connsiteY191" fmla="*/ 776564 h 838467"/>
                <a:gd name="connsiteX192" fmla="*/ 1938 w 991608"/>
                <a:gd name="connsiteY192" fmla="*/ 776823 h 838467"/>
                <a:gd name="connsiteX193" fmla="*/ 3231 w 991608"/>
                <a:gd name="connsiteY193" fmla="*/ 776823 h 838467"/>
                <a:gd name="connsiteX194" fmla="*/ 4652 w 991608"/>
                <a:gd name="connsiteY194" fmla="*/ 776564 h 838467"/>
                <a:gd name="connsiteX195" fmla="*/ 6462 w 991608"/>
                <a:gd name="connsiteY195" fmla="*/ 776047 h 838467"/>
                <a:gd name="connsiteX196" fmla="*/ 9046 w 991608"/>
                <a:gd name="connsiteY196" fmla="*/ 774367 h 838467"/>
                <a:gd name="connsiteX197" fmla="*/ 10468 w 991608"/>
                <a:gd name="connsiteY197" fmla="*/ 771395 h 838467"/>
                <a:gd name="connsiteX198" fmla="*/ 11243 w 991608"/>
                <a:gd name="connsiteY198" fmla="*/ 770878 h 838467"/>
                <a:gd name="connsiteX199" fmla="*/ 12148 w 991608"/>
                <a:gd name="connsiteY199" fmla="*/ 770619 h 838467"/>
                <a:gd name="connsiteX200" fmla="*/ 12536 w 991608"/>
                <a:gd name="connsiteY200" fmla="*/ 771266 h 838467"/>
                <a:gd name="connsiteX201" fmla="*/ 12277 w 991608"/>
                <a:gd name="connsiteY201" fmla="*/ 773333 h 838467"/>
                <a:gd name="connsiteX202" fmla="*/ 12406 w 991608"/>
                <a:gd name="connsiteY202" fmla="*/ 774497 h 838467"/>
                <a:gd name="connsiteX203" fmla="*/ 13440 w 991608"/>
                <a:gd name="connsiteY203" fmla="*/ 775918 h 838467"/>
                <a:gd name="connsiteX204" fmla="*/ 14862 w 991608"/>
                <a:gd name="connsiteY204" fmla="*/ 776564 h 838467"/>
                <a:gd name="connsiteX205" fmla="*/ 16542 w 991608"/>
                <a:gd name="connsiteY205" fmla="*/ 777081 h 838467"/>
                <a:gd name="connsiteX206" fmla="*/ 18609 w 991608"/>
                <a:gd name="connsiteY206" fmla="*/ 777469 h 838467"/>
                <a:gd name="connsiteX207" fmla="*/ 31662 w 991608"/>
                <a:gd name="connsiteY207" fmla="*/ 784964 h 838467"/>
                <a:gd name="connsiteX208" fmla="*/ 33859 w 991608"/>
                <a:gd name="connsiteY208" fmla="*/ 786774 h 838467"/>
                <a:gd name="connsiteX209" fmla="*/ 34505 w 991608"/>
                <a:gd name="connsiteY209" fmla="*/ 787161 h 838467"/>
                <a:gd name="connsiteX210" fmla="*/ 35152 w 991608"/>
                <a:gd name="connsiteY210" fmla="*/ 787291 h 838467"/>
                <a:gd name="connsiteX211" fmla="*/ 36444 w 991608"/>
                <a:gd name="connsiteY211" fmla="*/ 786515 h 838467"/>
                <a:gd name="connsiteX212" fmla="*/ 37607 w 991608"/>
                <a:gd name="connsiteY212" fmla="*/ 785352 h 838467"/>
                <a:gd name="connsiteX213" fmla="*/ 38382 w 991608"/>
                <a:gd name="connsiteY213" fmla="*/ 785094 h 838467"/>
                <a:gd name="connsiteX214" fmla="*/ 39545 w 991608"/>
                <a:gd name="connsiteY214" fmla="*/ 784964 h 838467"/>
                <a:gd name="connsiteX215" fmla="*/ 51435 w 991608"/>
                <a:gd name="connsiteY215" fmla="*/ 788841 h 838467"/>
                <a:gd name="connsiteX216" fmla="*/ 52339 w 991608"/>
                <a:gd name="connsiteY216" fmla="*/ 788583 h 838467"/>
                <a:gd name="connsiteX217" fmla="*/ 52985 w 991608"/>
                <a:gd name="connsiteY217" fmla="*/ 787808 h 838467"/>
                <a:gd name="connsiteX218" fmla="*/ 56604 w 991608"/>
                <a:gd name="connsiteY218" fmla="*/ 782251 h 838467"/>
                <a:gd name="connsiteX219" fmla="*/ 57379 w 991608"/>
                <a:gd name="connsiteY219" fmla="*/ 781346 h 838467"/>
                <a:gd name="connsiteX220" fmla="*/ 58543 w 991608"/>
                <a:gd name="connsiteY220" fmla="*/ 780570 h 838467"/>
                <a:gd name="connsiteX221" fmla="*/ 59447 w 991608"/>
                <a:gd name="connsiteY221" fmla="*/ 780700 h 838467"/>
                <a:gd name="connsiteX222" fmla="*/ 59964 w 991608"/>
                <a:gd name="connsiteY222" fmla="*/ 781346 h 838467"/>
                <a:gd name="connsiteX223" fmla="*/ 60352 w 991608"/>
                <a:gd name="connsiteY223" fmla="*/ 782251 h 838467"/>
                <a:gd name="connsiteX224" fmla="*/ 60740 w 991608"/>
                <a:gd name="connsiteY224" fmla="*/ 783026 h 838467"/>
                <a:gd name="connsiteX225" fmla="*/ 62937 w 991608"/>
                <a:gd name="connsiteY225" fmla="*/ 784060 h 838467"/>
                <a:gd name="connsiteX226" fmla="*/ 64229 w 991608"/>
                <a:gd name="connsiteY226" fmla="*/ 781475 h 838467"/>
                <a:gd name="connsiteX227" fmla="*/ 64487 w 991608"/>
                <a:gd name="connsiteY227" fmla="*/ 780312 h 838467"/>
                <a:gd name="connsiteX228" fmla="*/ 65133 w 991608"/>
                <a:gd name="connsiteY228" fmla="*/ 779407 h 838467"/>
                <a:gd name="connsiteX229" fmla="*/ 65650 w 991608"/>
                <a:gd name="connsiteY229" fmla="*/ 779149 h 838467"/>
                <a:gd name="connsiteX230" fmla="*/ 66296 w 991608"/>
                <a:gd name="connsiteY230" fmla="*/ 779020 h 838467"/>
                <a:gd name="connsiteX231" fmla="*/ 67589 w 991608"/>
                <a:gd name="connsiteY231" fmla="*/ 778503 h 838467"/>
                <a:gd name="connsiteX232" fmla="*/ 74955 w 991608"/>
                <a:gd name="connsiteY232" fmla="*/ 773463 h 838467"/>
                <a:gd name="connsiteX233" fmla="*/ 82192 w 991608"/>
                <a:gd name="connsiteY233" fmla="*/ 769586 h 838467"/>
                <a:gd name="connsiteX234" fmla="*/ 83226 w 991608"/>
                <a:gd name="connsiteY234" fmla="*/ 768423 h 838467"/>
                <a:gd name="connsiteX235" fmla="*/ 83872 w 991608"/>
                <a:gd name="connsiteY235" fmla="*/ 767001 h 838467"/>
                <a:gd name="connsiteX236" fmla="*/ 84260 w 991608"/>
                <a:gd name="connsiteY236" fmla="*/ 765579 h 838467"/>
                <a:gd name="connsiteX237" fmla="*/ 84777 w 991608"/>
                <a:gd name="connsiteY237" fmla="*/ 764029 h 838467"/>
                <a:gd name="connsiteX238" fmla="*/ 85423 w 991608"/>
                <a:gd name="connsiteY238" fmla="*/ 763382 h 838467"/>
                <a:gd name="connsiteX239" fmla="*/ 86199 w 991608"/>
                <a:gd name="connsiteY239" fmla="*/ 763512 h 838467"/>
                <a:gd name="connsiteX240" fmla="*/ 86845 w 991608"/>
                <a:gd name="connsiteY240" fmla="*/ 764029 h 838467"/>
                <a:gd name="connsiteX241" fmla="*/ 87749 w 991608"/>
                <a:gd name="connsiteY241" fmla="*/ 764287 h 838467"/>
                <a:gd name="connsiteX242" fmla="*/ 88266 w 991608"/>
                <a:gd name="connsiteY242" fmla="*/ 763641 h 838467"/>
                <a:gd name="connsiteX243" fmla="*/ 89042 w 991608"/>
                <a:gd name="connsiteY243" fmla="*/ 761573 h 838467"/>
                <a:gd name="connsiteX244" fmla="*/ 89300 w 991608"/>
                <a:gd name="connsiteY244" fmla="*/ 760539 h 838467"/>
                <a:gd name="connsiteX245" fmla="*/ 89171 w 991608"/>
                <a:gd name="connsiteY245" fmla="*/ 757438 h 838467"/>
                <a:gd name="connsiteX246" fmla="*/ 89817 w 991608"/>
                <a:gd name="connsiteY246" fmla="*/ 755758 h 838467"/>
                <a:gd name="connsiteX247" fmla="*/ 90205 w 991608"/>
                <a:gd name="connsiteY247" fmla="*/ 754336 h 838467"/>
                <a:gd name="connsiteX248" fmla="*/ 90592 w 991608"/>
                <a:gd name="connsiteY248" fmla="*/ 753173 h 838467"/>
                <a:gd name="connsiteX249" fmla="*/ 91368 w 991608"/>
                <a:gd name="connsiteY249" fmla="*/ 751881 h 838467"/>
                <a:gd name="connsiteX250" fmla="*/ 92273 w 991608"/>
                <a:gd name="connsiteY250" fmla="*/ 751105 h 838467"/>
                <a:gd name="connsiteX251" fmla="*/ 93307 w 991608"/>
                <a:gd name="connsiteY251" fmla="*/ 750588 h 838467"/>
                <a:gd name="connsiteX252" fmla="*/ 96925 w 991608"/>
                <a:gd name="connsiteY252" fmla="*/ 749425 h 838467"/>
                <a:gd name="connsiteX253" fmla="*/ 103903 w 991608"/>
                <a:gd name="connsiteY253" fmla="*/ 746453 h 838467"/>
                <a:gd name="connsiteX254" fmla="*/ 106230 w 991608"/>
                <a:gd name="connsiteY254" fmla="*/ 745936 h 838467"/>
                <a:gd name="connsiteX255" fmla="*/ 109977 w 991608"/>
                <a:gd name="connsiteY255" fmla="*/ 745548 h 838467"/>
                <a:gd name="connsiteX256" fmla="*/ 111141 w 991608"/>
                <a:gd name="connsiteY256" fmla="*/ 745160 h 838467"/>
                <a:gd name="connsiteX257" fmla="*/ 112045 w 991608"/>
                <a:gd name="connsiteY257" fmla="*/ 744385 h 838467"/>
                <a:gd name="connsiteX258" fmla="*/ 113079 w 991608"/>
                <a:gd name="connsiteY258" fmla="*/ 743351 h 838467"/>
                <a:gd name="connsiteX259" fmla="*/ 114113 w 991608"/>
                <a:gd name="connsiteY259" fmla="*/ 742964 h 838467"/>
                <a:gd name="connsiteX260" fmla="*/ 115147 w 991608"/>
                <a:gd name="connsiteY260" fmla="*/ 742705 h 838467"/>
                <a:gd name="connsiteX261" fmla="*/ 118507 w 991608"/>
                <a:gd name="connsiteY261" fmla="*/ 742447 h 838467"/>
                <a:gd name="connsiteX262" fmla="*/ 121479 w 991608"/>
                <a:gd name="connsiteY262" fmla="*/ 741800 h 838467"/>
                <a:gd name="connsiteX263" fmla="*/ 122513 w 991608"/>
                <a:gd name="connsiteY263" fmla="*/ 741800 h 838467"/>
                <a:gd name="connsiteX264" fmla="*/ 123547 w 991608"/>
                <a:gd name="connsiteY264" fmla="*/ 742059 h 838467"/>
                <a:gd name="connsiteX265" fmla="*/ 125615 w 991608"/>
                <a:gd name="connsiteY265" fmla="*/ 742964 h 838467"/>
                <a:gd name="connsiteX266" fmla="*/ 126778 w 991608"/>
                <a:gd name="connsiteY266" fmla="*/ 743093 h 838467"/>
                <a:gd name="connsiteX267" fmla="*/ 128458 w 991608"/>
                <a:gd name="connsiteY267" fmla="*/ 742834 h 838467"/>
                <a:gd name="connsiteX268" fmla="*/ 129492 w 991608"/>
                <a:gd name="connsiteY268" fmla="*/ 741930 h 838467"/>
                <a:gd name="connsiteX269" fmla="*/ 132077 w 991608"/>
                <a:gd name="connsiteY269" fmla="*/ 741154 h 838467"/>
                <a:gd name="connsiteX270" fmla="*/ 136600 w 991608"/>
                <a:gd name="connsiteY270" fmla="*/ 738570 h 838467"/>
                <a:gd name="connsiteX271" fmla="*/ 140864 w 991608"/>
                <a:gd name="connsiteY271" fmla="*/ 737148 h 838467"/>
                <a:gd name="connsiteX272" fmla="*/ 144354 w 991608"/>
                <a:gd name="connsiteY272" fmla="*/ 735339 h 838467"/>
                <a:gd name="connsiteX273" fmla="*/ 145646 w 991608"/>
                <a:gd name="connsiteY273" fmla="*/ 735080 h 838467"/>
                <a:gd name="connsiteX274" fmla="*/ 149006 w 991608"/>
                <a:gd name="connsiteY274" fmla="*/ 735468 h 838467"/>
                <a:gd name="connsiteX275" fmla="*/ 150298 w 991608"/>
                <a:gd name="connsiteY275" fmla="*/ 735985 h 838467"/>
                <a:gd name="connsiteX276" fmla="*/ 151332 w 991608"/>
                <a:gd name="connsiteY276" fmla="*/ 736502 h 838467"/>
                <a:gd name="connsiteX277" fmla="*/ 152108 w 991608"/>
                <a:gd name="connsiteY277" fmla="*/ 737148 h 838467"/>
                <a:gd name="connsiteX278" fmla="*/ 152754 w 991608"/>
                <a:gd name="connsiteY278" fmla="*/ 737536 h 838467"/>
                <a:gd name="connsiteX279" fmla="*/ 153271 w 991608"/>
                <a:gd name="connsiteY279" fmla="*/ 738182 h 838467"/>
                <a:gd name="connsiteX280" fmla="*/ 153529 w 991608"/>
                <a:gd name="connsiteY280" fmla="*/ 745031 h 838467"/>
                <a:gd name="connsiteX281" fmla="*/ 152366 w 991608"/>
                <a:gd name="connsiteY281" fmla="*/ 747487 h 838467"/>
                <a:gd name="connsiteX282" fmla="*/ 149652 w 991608"/>
                <a:gd name="connsiteY282" fmla="*/ 750588 h 838467"/>
                <a:gd name="connsiteX283" fmla="*/ 148231 w 991608"/>
                <a:gd name="connsiteY283" fmla="*/ 752139 h 838467"/>
                <a:gd name="connsiteX284" fmla="*/ 141381 w 991608"/>
                <a:gd name="connsiteY284" fmla="*/ 762090 h 838467"/>
                <a:gd name="connsiteX285" fmla="*/ 136729 w 991608"/>
                <a:gd name="connsiteY285" fmla="*/ 766484 h 838467"/>
                <a:gd name="connsiteX286" fmla="*/ 131430 w 991608"/>
                <a:gd name="connsiteY286" fmla="*/ 772946 h 838467"/>
                <a:gd name="connsiteX287" fmla="*/ 130397 w 991608"/>
                <a:gd name="connsiteY287" fmla="*/ 774626 h 838467"/>
                <a:gd name="connsiteX288" fmla="*/ 130009 w 991608"/>
                <a:gd name="connsiteY288" fmla="*/ 775789 h 838467"/>
                <a:gd name="connsiteX289" fmla="*/ 128587 w 991608"/>
                <a:gd name="connsiteY289" fmla="*/ 783155 h 838467"/>
                <a:gd name="connsiteX290" fmla="*/ 126261 w 991608"/>
                <a:gd name="connsiteY290" fmla="*/ 789358 h 838467"/>
                <a:gd name="connsiteX291" fmla="*/ 122901 w 991608"/>
                <a:gd name="connsiteY291" fmla="*/ 791168 h 838467"/>
                <a:gd name="connsiteX292" fmla="*/ 120445 w 991608"/>
                <a:gd name="connsiteY292" fmla="*/ 791943 h 838467"/>
                <a:gd name="connsiteX293" fmla="*/ 119024 w 991608"/>
                <a:gd name="connsiteY293" fmla="*/ 792589 h 838467"/>
                <a:gd name="connsiteX294" fmla="*/ 117990 w 991608"/>
                <a:gd name="connsiteY294" fmla="*/ 793235 h 838467"/>
                <a:gd name="connsiteX295" fmla="*/ 117473 w 991608"/>
                <a:gd name="connsiteY295" fmla="*/ 794140 h 838467"/>
                <a:gd name="connsiteX296" fmla="*/ 117086 w 991608"/>
                <a:gd name="connsiteY296" fmla="*/ 795174 h 838467"/>
                <a:gd name="connsiteX297" fmla="*/ 115922 w 991608"/>
                <a:gd name="connsiteY297" fmla="*/ 800860 h 838467"/>
                <a:gd name="connsiteX298" fmla="*/ 115922 w 991608"/>
                <a:gd name="connsiteY298" fmla="*/ 803445 h 838467"/>
                <a:gd name="connsiteX299" fmla="*/ 116051 w 991608"/>
                <a:gd name="connsiteY299" fmla="*/ 804608 h 838467"/>
                <a:gd name="connsiteX300" fmla="*/ 116439 w 991608"/>
                <a:gd name="connsiteY300" fmla="*/ 805771 h 838467"/>
                <a:gd name="connsiteX301" fmla="*/ 117086 w 991608"/>
                <a:gd name="connsiteY301" fmla="*/ 806805 h 838467"/>
                <a:gd name="connsiteX302" fmla="*/ 117990 w 991608"/>
                <a:gd name="connsiteY302" fmla="*/ 807193 h 838467"/>
                <a:gd name="connsiteX303" fmla="*/ 118765 w 991608"/>
                <a:gd name="connsiteY303" fmla="*/ 807322 h 838467"/>
                <a:gd name="connsiteX304" fmla="*/ 120575 w 991608"/>
                <a:gd name="connsiteY304" fmla="*/ 807451 h 838467"/>
                <a:gd name="connsiteX305" fmla="*/ 126778 w 991608"/>
                <a:gd name="connsiteY305" fmla="*/ 808743 h 838467"/>
                <a:gd name="connsiteX306" fmla="*/ 127941 w 991608"/>
                <a:gd name="connsiteY306" fmla="*/ 808743 h 838467"/>
                <a:gd name="connsiteX307" fmla="*/ 130267 w 991608"/>
                <a:gd name="connsiteY307" fmla="*/ 808485 h 838467"/>
                <a:gd name="connsiteX308" fmla="*/ 131560 w 991608"/>
                <a:gd name="connsiteY308" fmla="*/ 808485 h 838467"/>
                <a:gd name="connsiteX309" fmla="*/ 132723 w 991608"/>
                <a:gd name="connsiteY309" fmla="*/ 808614 h 838467"/>
                <a:gd name="connsiteX310" fmla="*/ 135178 w 991608"/>
                <a:gd name="connsiteY310" fmla="*/ 808614 h 838467"/>
                <a:gd name="connsiteX311" fmla="*/ 136471 w 991608"/>
                <a:gd name="connsiteY311" fmla="*/ 808743 h 838467"/>
                <a:gd name="connsiteX312" fmla="*/ 137763 w 991608"/>
                <a:gd name="connsiteY312" fmla="*/ 809002 h 838467"/>
                <a:gd name="connsiteX313" fmla="*/ 139184 w 991608"/>
                <a:gd name="connsiteY313" fmla="*/ 809519 h 838467"/>
                <a:gd name="connsiteX314" fmla="*/ 140735 w 991608"/>
                <a:gd name="connsiteY314" fmla="*/ 810294 h 838467"/>
                <a:gd name="connsiteX315" fmla="*/ 142674 w 991608"/>
                <a:gd name="connsiteY315" fmla="*/ 811845 h 838467"/>
                <a:gd name="connsiteX316" fmla="*/ 143578 w 991608"/>
                <a:gd name="connsiteY316" fmla="*/ 813137 h 838467"/>
                <a:gd name="connsiteX317" fmla="*/ 144095 w 991608"/>
                <a:gd name="connsiteY317" fmla="*/ 814430 h 838467"/>
                <a:gd name="connsiteX318" fmla="*/ 145000 w 991608"/>
                <a:gd name="connsiteY318" fmla="*/ 817919 h 838467"/>
                <a:gd name="connsiteX319" fmla="*/ 146421 w 991608"/>
                <a:gd name="connsiteY319" fmla="*/ 820891 h 838467"/>
                <a:gd name="connsiteX320" fmla="*/ 147714 w 991608"/>
                <a:gd name="connsiteY320" fmla="*/ 821925 h 838467"/>
                <a:gd name="connsiteX321" fmla="*/ 149006 w 991608"/>
                <a:gd name="connsiteY321" fmla="*/ 822054 h 838467"/>
                <a:gd name="connsiteX322" fmla="*/ 150169 w 991608"/>
                <a:gd name="connsiteY322" fmla="*/ 821408 h 838467"/>
                <a:gd name="connsiteX323" fmla="*/ 153788 w 991608"/>
                <a:gd name="connsiteY323" fmla="*/ 818824 h 838467"/>
                <a:gd name="connsiteX324" fmla="*/ 154951 w 991608"/>
                <a:gd name="connsiteY324" fmla="*/ 818177 h 838467"/>
                <a:gd name="connsiteX325" fmla="*/ 156114 w 991608"/>
                <a:gd name="connsiteY325" fmla="*/ 817790 h 838467"/>
                <a:gd name="connsiteX326" fmla="*/ 165548 w 991608"/>
                <a:gd name="connsiteY326" fmla="*/ 815593 h 838467"/>
                <a:gd name="connsiteX327" fmla="*/ 166711 w 991608"/>
                <a:gd name="connsiteY327" fmla="*/ 815205 h 838467"/>
                <a:gd name="connsiteX328" fmla="*/ 167874 w 991608"/>
                <a:gd name="connsiteY328" fmla="*/ 814559 h 838467"/>
                <a:gd name="connsiteX329" fmla="*/ 168908 w 991608"/>
                <a:gd name="connsiteY329" fmla="*/ 813784 h 838467"/>
                <a:gd name="connsiteX330" fmla="*/ 169942 w 991608"/>
                <a:gd name="connsiteY330" fmla="*/ 812750 h 838467"/>
                <a:gd name="connsiteX331" fmla="*/ 171493 w 991608"/>
                <a:gd name="connsiteY331" fmla="*/ 810682 h 838467"/>
                <a:gd name="connsiteX332" fmla="*/ 172268 w 991608"/>
                <a:gd name="connsiteY332" fmla="*/ 809906 h 838467"/>
                <a:gd name="connsiteX333" fmla="*/ 172785 w 991608"/>
                <a:gd name="connsiteY333" fmla="*/ 809648 h 838467"/>
                <a:gd name="connsiteX334" fmla="*/ 173690 w 991608"/>
                <a:gd name="connsiteY334" fmla="*/ 809648 h 838467"/>
                <a:gd name="connsiteX335" fmla="*/ 174724 w 991608"/>
                <a:gd name="connsiteY335" fmla="*/ 810165 h 838467"/>
                <a:gd name="connsiteX336" fmla="*/ 175628 w 991608"/>
                <a:gd name="connsiteY336" fmla="*/ 810940 h 838467"/>
                <a:gd name="connsiteX337" fmla="*/ 177179 w 991608"/>
                <a:gd name="connsiteY337" fmla="*/ 813137 h 838467"/>
                <a:gd name="connsiteX338" fmla="*/ 178471 w 991608"/>
                <a:gd name="connsiteY338" fmla="*/ 814042 h 838467"/>
                <a:gd name="connsiteX339" fmla="*/ 179635 w 991608"/>
                <a:gd name="connsiteY339" fmla="*/ 813913 h 838467"/>
                <a:gd name="connsiteX340" fmla="*/ 180927 w 991608"/>
                <a:gd name="connsiteY340" fmla="*/ 813654 h 838467"/>
                <a:gd name="connsiteX341" fmla="*/ 182090 w 991608"/>
                <a:gd name="connsiteY341" fmla="*/ 813525 h 838467"/>
                <a:gd name="connsiteX342" fmla="*/ 189198 w 991608"/>
                <a:gd name="connsiteY342" fmla="*/ 814300 h 838467"/>
                <a:gd name="connsiteX343" fmla="*/ 193333 w 991608"/>
                <a:gd name="connsiteY343" fmla="*/ 815205 h 838467"/>
                <a:gd name="connsiteX344" fmla="*/ 194884 w 991608"/>
                <a:gd name="connsiteY344" fmla="*/ 815980 h 838467"/>
                <a:gd name="connsiteX345" fmla="*/ 195918 w 991608"/>
                <a:gd name="connsiteY345" fmla="*/ 817014 h 838467"/>
                <a:gd name="connsiteX346" fmla="*/ 197727 w 991608"/>
                <a:gd name="connsiteY346" fmla="*/ 819470 h 838467"/>
                <a:gd name="connsiteX347" fmla="*/ 199149 w 991608"/>
                <a:gd name="connsiteY347" fmla="*/ 820762 h 838467"/>
                <a:gd name="connsiteX348" fmla="*/ 200053 w 991608"/>
                <a:gd name="connsiteY348" fmla="*/ 821925 h 838467"/>
                <a:gd name="connsiteX349" fmla="*/ 200441 w 991608"/>
                <a:gd name="connsiteY349" fmla="*/ 823088 h 838467"/>
                <a:gd name="connsiteX350" fmla="*/ 200312 w 991608"/>
                <a:gd name="connsiteY350" fmla="*/ 824251 h 838467"/>
                <a:gd name="connsiteX351" fmla="*/ 197210 w 991608"/>
                <a:gd name="connsiteY351" fmla="*/ 831101 h 838467"/>
                <a:gd name="connsiteX352" fmla="*/ 196952 w 991608"/>
                <a:gd name="connsiteY352" fmla="*/ 832264 h 838467"/>
                <a:gd name="connsiteX353" fmla="*/ 196952 w 991608"/>
                <a:gd name="connsiteY353" fmla="*/ 833427 h 838467"/>
                <a:gd name="connsiteX354" fmla="*/ 197469 w 991608"/>
                <a:gd name="connsiteY354" fmla="*/ 834719 h 838467"/>
                <a:gd name="connsiteX355" fmla="*/ 198632 w 991608"/>
                <a:gd name="connsiteY355" fmla="*/ 836141 h 838467"/>
                <a:gd name="connsiteX356" fmla="*/ 200700 w 991608"/>
                <a:gd name="connsiteY356" fmla="*/ 837950 h 838467"/>
                <a:gd name="connsiteX357" fmla="*/ 202121 w 991608"/>
                <a:gd name="connsiteY357" fmla="*/ 838467 h 838467"/>
                <a:gd name="connsiteX358" fmla="*/ 203284 w 991608"/>
                <a:gd name="connsiteY358" fmla="*/ 838209 h 838467"/>
                <a:gd name="connsiteX359" fmla="*/ 208841 w 991608"/>
                <a:gd name="connsiteY359" fmla="*/ 833427 h 838467"/>
                <a:gd name="connsiteX360" fmla="*/ 209617 w 991608"/>
                <a:gd name="connsiteY360" fmla="*/ 832910 h 838467"/>
                <a:gd name="connsiteX361" fmla="*/ 211297 w 991608"/>
                <a:gd name="connsiteY361" fmla="*/ 832522 h 838467"/>
                <a:gd name="connsiteX362" fmla="*/ 214915 w 991608"/>
                <a:gd name="connsiteY362" fmla="*/ 833427 h 838467"/>
                <a:gd name="connsiteX363" fmla="*/ 216207 w 991608"/>
                <a:gd name="connsiteY363" fmla="*/ 833298 h 838467"/>
                <a:gd name="connsiteX364" fmla="*/ 218017 w 991608"/>
                <a:gd name="connsiteY364" fmla="*/ 832910 h 838467"/>
                <a:gd name="connsiteX365" fmla="*/ 218921 w 991608"/>
                <a:gd name="connsiteY365" fmla="*/ 832135 h 838467"/>
                <a:gd name="connsiteX366" fmla="*/ 219697 w 991608"/>
                <a:gd name="connsiteY366" fmla="*/ 831230 h 838467"/>
                <a:gd name="connsiteX367" fmla="*/ 222023 w 991608"/>
                <a:gd name="connsiteY367" fmla="*/ 827741 h 838467"/>
                <a:gd name="connsiteX368" fmla="*/ 222540 w 991608"/>
                <a:gd name="connsiteY368" fmla="*/ 826707 h 838467"/>
                <a:gd name="connsiteX369" fmla="*/ 224091 w 991608"/>
                <a:gd name="connsiteY369" fmla="*/ 822701 h 838467"/>
                <a:gd name="connsiteX370" fmla="*/ 225254 w 991608"/>
                <a:gd name="connsiteY370" fmla="*/ 820374 h 838467"/>
                <a:gd name="connsiteX371" fmla="*/ 225771 w 991608"/>
                <a:gd name="connsiteY371" fmla="*/ 818824 h 838467"/>
                <a:gd name="connsiteX372" fmla="*/ 225900 w 991608"/>
                <a:gd name="connsiteY372" fmla="*/ 817402 h 838467"/>
                <a:gd name="connsiteX373" fmla="*/ 225512 w 991608"/>
                <a:gd name="connsiteY373" fmla="*/ 816497 h 838467"/>
                <a:gd name="connsiteX374" fmla="*/ 224866 w 991608"/>
                <a:gd name="connsiteY374" fmla="*/ 815722 h 838467"/>
                <a:gd name="connsiteX375" fmla="*/ 224220 w 991608"/>
                <a:gd name="connsiteY375" fmla="*/ 814947 h 838467"/>
                <a:gd name="connsiteX376" fmla="*/ 223574 w 991608"/>
                <a:gd name="connsiteY376" fmla="*/ 814171 h 838467"/>
                <a:gd name="connsiteX377" fmla="*/ 223057 w 991608"/>
                <a:gd name="connsiteY377" fmla="*/ 813267 h 838467"/>
                <a:gd name="connsiteX378" fmla="*/ 222669 w 991608"/>
                <a:gd name="connsiteY378" fmla="*/ 812233 h 838467"/>
                <a:gd name="connsiteX379" fmla="*/ 222152 w 991608"/>
                <a:gd name="connsiteY379" fmla="*/ 810036 h 838467"/>
                <a:gd name="connsiteX380" fmla="*/ 221764 w 991608"/>
                <a:gd name="connsiteY380" fmla="*/ 807710 h 838467"/>
                <a:gd name="connsiteX381" fmla="*/ 221764 w 991608"/>
                <a:gd name="connsiteY381" fmla="*/ 805383 h 838467"/>
                <a:gd name="connsiteX382" fmla="*/ 221894 w 991608"/>
                <a:gd name="connsiteY382" fmla="*/ 804091 h 838467"/>
                <a:gd name="connsiteX383" fmla="*/ 222281 w 991608"/>
                <a:gd name="connsiteY383" fmla="*/ 802023 h 838467"/>
                <a:gd name="connsiteX384" fmla="*/ 222928 w 991608"/>
                <a:gd name="connsiteY384" fmla="*/ 800731 h 838467"/>
                <a:gd name="connsiteX385" fmla="*/ 223703 w 991608"/>
                <a:gd name="connsiteY385" fmla="*/ 799826 h 838467"/>
                <a:gd name="connsiteX386" fmla="*/ 224608 w 991608"/>
                <a:gd name="connsiteY386" fmla="*/ 799309 h 838467"/>
                <a:gd name="connsiteX387" fmla="*/ 225642 w 991608"/>
                <a:gd name="connsiteY387" fmla="*/ 799180 h 838467"/>
                <a:gd name="connsiteX388" fmla="*/ 226546 w 991608"/>
                <a:gd name="connsiteY388" fmla="*/ 799568 h 838467"/>
                <a:gd name="connsiteX389" fmla="*/ 227451 w 991608"/>
                <a:gd name="connsiteY389" fmla="*/ 800085 h 838467"/>
                <a:gd name="connsiteX390" fmla="*/ 229131 w 991608"/>
                <a:gd name="connsiteY390" fmla="*/ 801377 h 838467"/>
                <a:gd name="connsiteX391" fmla="*/ 230165 w 991608"/>
                <a:gd name="connsiteY391" fmla="*/ 801765 h 838467"/>
                <a:gd name="connsiteX392" fmla="*/ 231199 w 991608"/>
                <a:gd name="connsiteY392" fmla="*/ 801765 h 838467"/>
                <a:gd name="connsiteX393" fmla="*/ 232103 w 991608"/>
                <a:gd name="connsiteY393" fmla="*/ 801248 h 838467"/>
                <a:gd name="connsiteX394" fmla="*/ 232233 w 991608"/>
                <a:gd name="connsiteY394" fmla="*/ 800343 h 838467"/>
                <a:gd name="connsiteX395" fmla="*/ 231328 w 991608"/>
                <a:gd name="connsiteY395" fmla="*/ 797112 h 838467"/>
                <a:gd name="connsiteX396" fmla="*/ 228485 w 991608"/>
                <a:gd name="connsiteY396" fmla="*/ 791297 h 838467"/>
                <a:gd name="connsiteX397" fmla="*/ 227838 w 991608"/>
                <a:gd name="connsiteY397" fmla="*/ 790392 h 838467"/>
                <a:gd name="connsiteX398" fmla="*/ 225512 w 991608"/>
                <a:gd name="connsiteY398" fmla="*/ 788324 h 838467"/>
                <a:gd name="connsiteX399" fmla="*/ 224866 w 991608"/>
                <a:gd name="connsiteY399" fmla="*/ 787161 h 838467"/>
                <a:gd name="connsiteX400" fmla="*/ 224349 w 991608"/>
                <a:gd name="connsiteY400" fmla="*/ 785223 h 838467"/>
                <a:gd name="connsiteX401" fmla="*/ 224608 w 991608"/>
                <a:gd name="connsiteY401" fmla="*/ 781217 h 838467"/>
                <a:gd name="connsiteX402" fmla="*/ 225125 w 991608"/>
                <a:gd name="connsiteY402" fmla="*/ 777210 h 838467"/>
                <a:gd name="connsiteX403" fmla="*/ 225900 w 991608"/>
                <a:gd name="connsiteY403" fmla="*/ 775143 h 838467"/>
                <a:gd name="connsiteX404" fmla="*/ 226805 w 991608"/>
                <a:gd name="connsiteY404" fmla="*/ 774109 h 838467"/>
                <a:gd name="connsiteX405" fmla="*/ 227838 w 991608"/>
                <a:gd name="connsiteY405" fmla="*/ 773721 h 838467"/>
                <a:gd name="connsiteX406" fmla="*/ 231069 w 991608"/>
                <a:gd name="connsiteY406" fmla="*/ 772946 h 838467"/>
                <a:gd name="connsiteX407" fmla="*/ 232879 w 991608"/>
                <a:gd name="connsiteY407" fmla="*/ 771524 h 838467"/>
                <a:gd name="connsiteX408" fmla="*/ 236239 w 991608"/>
                <a:gd name="connsiteY408" fmla="*/ 767259 h 838467"/>
                <a:gd name="connsiteX409" fmla="*/ 237273 w 991608"/>
                <a:gd name="connsiteY409" fmla="*/ 766484 h 838467"/>
                <a:gd name="connsiteX410" fmla="*/ 238436 w 991608"/>
                <a:gd name="connsiteY410" fmla="*/ 766226 h 838467"/>
                <a:gd name="connsiteX411" fmla="*/ 239599 w 991608"/>
                <a:gd name="connsiteY411" fmla="*/ 766355 h 838467"/>
                <a:gd name="connsiteX412" fmla="*/ 240762 w 991608"/>
                <a:gd name="connsiteY412" fmla="*/ 766613 h 838467"/>
                <a:gd name="connsiteX413" fmla="*/ 242054 w 991608"/>
                <a:gd name="connsiteY413" fmla="*/ 766613 h 838467"/>
                <a:gd name="connsiteX414" fmla="*/ 243217 w 991608"/>
                <a:gd name="connsiteY414" fmla="*/ 766484 h 838467"/>
                <a:gd name="connsiteX415" fmla="*/ 246060 w 991608"/>
                <a:gd name="connsiteY415" fmla="*/ 765709 h 838467"/>
                <a:gd name="connsiteX416" fmla="*/ 248258 w 991608"/>
                <a:gd name="connsiteY416" fmla="*/ 766484 h 838467"/>
                <a:gd name="connsiteX417" fmla="*/ 249421 w 991608"/>
                <a:gd name="connsiteY417" fmla="*/ 767647 h 838467"/>
                <a:gd name="connsiteX418" fmla="*/ 249808 w 991608"/>
                <a:gd name="connsiteY418" fmla="*/ 768810 h 838467"/>
                <a:gd name="connsiteX419" fmla="*/ 249679 w 991608"/>
                <a:gd name="connsiteY419" fmla="*/ 769973 h 838467"/>
                <a:gd name="connsiteX420" fmla="*/ 249421 w 991608"/>
                <a:gd name="connsiteY420" fmla="*/ 771266 h 838467"/>
                <a:gd name="connsiteX421" fmla="*/ 249421 w 991608"/>
                <a:gd name="connsiteY421" fmla="*/ 772816 h 838467"/>
                <a:gd name="connsiteX422" fmla="*/ 249938 w 991608"/>
                <a:gd name="connsiteY422" fmla="*/ 775013 h 838467"/>
                <a:gd name="connsiteX423" fmla="*/ 250584 w 991608"/>
                <a:gd name="connsiteY423" fmla="*/ 776306 h 838467"/>
                <a:gd name="connsiteX424" fmla="*/ 252393 w 991608"/>
                <a:gd name="connsiteY424" fmla="*/ 777857 h 838467"/>
                <a:gd name="connsiteX425" fmla="*/ 266350 w 991608"/>
                <a:gd name="connsiteY425" fmla="*/ 780054 h 838467"/>
                <a:gd name="connsiteX426" fmla="*/ 271649 w 991608"/>
                <a:gd name="connsiteY426" fmla="*/ 781346 h 838467"/>
                <a:gd name="connsiteX427" fmla="*/ 273070 w 991608"/>
                <a:gd name="connsiteY427" fmla="*/ 781475 h 838467"/>
                <a:gd name="connsiteX428" fmla="*/ 274492 w 991608"/>
                <a:gd name="connsiteY428" fmla="*/ 781346 h 838467"/>
                <a:gd name="connsiteX429" fmla="*/ 276818 w 991608"/>
                <a:gd name="connsiteY429" fmla="*/ 781475 h 838467"/>
                <a:gd name="connsiteX430" fmla="*/ 283409 w 991608"/>
                <a:gd name="connsiteY430" fmla="*/ 783155 h 838467"/>
                <a:gd name="connsiteX431" fmla="*/ 287415 w 991608"/>
                <a:gd name="connsiteY431" fmla="*/ 783543 h 838467"/>
                <a:gd name="connsiteX432" fmla="*/ 297237 w 991608"/>
                <a:gd name="connsiteY432" fmla="*/ 782897 h 838467"/>
                <a:gd name="connsiteX433" fmla="*/ 302019 w 991608"/>
                <a:gd name="connsiteY433" fmla="*/ 781863 h 838467"/>
                <a:gd name="connsiteX434" fmla="*/ 309256 w 991608"/>
                <a:gd name="connsiteY434" fmla="*/ 781217 h 838467"/>
                <a:gd name="connsiteX435" fmla="*/ 310548 w 991608"/>
                <a:gd name="connsiteY435" fmla="*/ 780829 h 838467"/>
                <a:gd name="connsiteX436" fmla="*/ 313133 w 991608"/>
                <a:gd name="connsiteY436" fmla="*/ 779795 h 838467"/>
                <a:gd name="connsiteX437" fmla="*/ 314813 w 991608"/>
                <a:gd name="connsiteY437" fmla="*/ 779278 h 838467"/>
                <a:gd name="connsiteX438" fmla="*/ 316234 w 991608"/>
                <a:gd name="connsiteY438" fmla="*/ 779278 h 838467"/>
                <a:gd name="connsiteX439" fmla="*/ 317526 w 991608"/>
                <a:gd name="connsiteY439" fmla="*/ 779537 h 838467"/>
                <a:gd name="connsiteX440" fmla="*/ 320241 w 991608"/>
                <a:gd name="connsiteY440" fmla="*/ 780700 h 838467"/>
                <a:gd name="connsiteX441" fmla="*/ 326315 w 991608"/>
                <a:gd name="connsiteY441" fmla="*/ 782380 h 838467"/>
                <a:gd name="connsiteX442" fmla="*/ 333293 w 991608"/>
                <a:gd name="connsiteY442" fmla="*/ 782767 h 838467"/>
                <a:gd name="connsiteX443" fmla="*/ 336524 w 991608"/>
                <a:gd name="connsiteY443" fmla="*/ 783414 h 838467"/>
                <a:gd name="connsiteX444" fmla="*/ 339238 w 991608"/>
                <a:gd name="connsiteY444" fmla="*/ 784706 h 838467"/>
                <a:gd name="connsiteX445" fmla="*/ 347509 w 991608"/>
                <a:gd name="connsiteY445" fmla="*/ 788841 h 838467"/>
                <a:gd name="connsiteX446" fmla="*/ 353712 w 991608"/>
                <a:gd name="connsiteY446" fmla="*/ 790263 h 838467"/>
                <a:gd name="connsiteX447" fmla="*/ 354875 w 991608"/>
                <a:gd name="connsiteY447" fmla="*/ 790134 h 838467"/>
                <a:gd name="connsiteX448" fmla="*/ 356426 w 991608"/>
                <a:gd name="connsiteY448" fmla="*/ 789746 h 838467"/>
                <a:gd name="connsiteX449" fmla="*/ 359011 w 991608"/>
                <a:gd name="connsiteY449" fmla="*/ 787937 h 838467"/>
                <a:gd name="connsiteX450" fmla="*/ 366764 w 991608"/>
                <a:gd name="connsiteY450" fmla="*/ 788454 h 838467"/>
                <a:gd name="connsiteX451" fmla="*/ 374131 w 991608"/>
                <a:gd name="connsiteY451" fmla="*/ 789746 h 838467"/>
                <a:gd name="connsiteX452" fmla="*/ 378008 w 991608"/>
                <a:gd name="connsiteY452" fmla="*/ 789746 h 838467"/>
                <a:gd name="connsiteX453" fmla="*/ 380075 w 991608"/>
                <a:gd name="connsiteY453" fmla="*/ 790780 h 838467"/>
                <a:gd name="connsiteX454" fmla="*/ 381368 w 991608"/>
                <a:gd name="connsiteY454" fmla="*/ 791168 h 838467"/>
                <a:gd name="connsiteX455" fmla="*/ 382273 w 991608"/>
                <a:gd name="connsiteY455" fmla="*/ 790909 h 838467"/>
                <a:gd name="connsiteX456" fmla="*/ 383953 w 991608"/>
                <a:gd name="connsiteY456" fmla="*/ 789488 h 838467"/>
                <a:gd name="connsiteX457" fmla="*/ 385245 w 991608"/>
                <a:gd name="connsiteY457" fmla="*/ 788841 h 838467"/>
                <a:gd name="connsiteX458" fmla="*/ 390027 w 991608"/>
                <a:gd name="connsiteY458" fmla="*/ 787678 h 838467"/>
                <a:gd name="connsiteX459" fmla="*/ 390285 w 991608"/>
                <a:gd name="connsiteY459" fmla="*/ 787549 h 838467"/>
                <a:gd name="connsiteX460" fmla="*/ 389380 w 991608"/>
                <a:gd name="connsiteY460" fmla="*/ 780054 h 838467"/>
                <a:gd name="connsiteX461" fmla="*/ 388217 w 991608"/>
                <a:gd name="connsiteY461" fmla="*/ 775789 h 838467"/>
                <a:gd name="connsiteX462" fmla="*/ 664260 w 991608"/>
                <a:gd name="connsiteY462" fmla="*/ 503106 h 838467"/>
                <a:gd name="connsiteX463" fmla="*/ 663097 w 991608"/>
                <a:gd name="connsiteY463" fmla="*/ 503623 h 838467"/>
                <a:gd name="connsiteX464" fmla="*/ 661805 w 991608"/>
                <a:gd name="connsiteY464" fmla="*/ 504011 h 838467"/>
                <a:gd name="connsiteX465" fmla="*/ 660642 w 991608"/>
                <a:gd name="connsiteY465" fmla="*/ 504398 h 838467"/>
                <a:gd name="connsiteX466" fmla="*/ 660125 w 991608"/>
                <a:gd name="connsiteY466" fmla="*/ 505303 h 838467"/>
                <a:gd name="connsiteX467" fmla="*/ 659479 w 991608"/>
                <a:gd name="connsiteY467" fmla="*/ 505820 h 838467"/>
                <a:gd name="connsiteX468" fmla="*/ 658315 w 991608"/>
                <a:gd name="connsiteY468" fmla="*/ 506595 h 838467"/>
                <a:gd name="connsiteX469" fmla="*/ 657669 w 991608"/>
                <a:gd name="connsiteY469" fmla="*/ 507371 h 838467"/>
                <a:gd name="connsiteX470" fmla="*/ 658574 w 991608"/>
                <a:gd name="connsiteY470" fmla="*/ 507888 h 838467"/>
                <a:gd name="connsiteX471" fmla="*/ 659995 w 991608"/>
                <a:gd name="connsiteY471" fmla="*/ 507629 h 838467"/>
                <a:gd name="connsiteX472" fmla="*/ 662839 w 991608"/>
                <a:gd name="connsiteY472" fmla="*/ 505949 h 838467"/>
                <a:gd name="connsiteX473" fmla="*/ 664389 w 991608"/>
                <a:gd name="connsiteY473" fmla="*/ 505561 h 838467"/>
                <a:gd name="connsiteX474" fmla="*/ 665553 w 991608"/>
                <a:gd name="connsiteY474" fmla="*/ 504528 h 838467"/>
                <a:gd name="connsiteX475" fmla="*/ 665811 w 991608"/>
                <a:gd name="connsiteY475" fmla="*/ 503235 h 838467"/>
                <a:gd name="connsiteX476" fmla="*/ 665165 w 991608"/>
                <a:gd name="connsiteY476" fmla="*/ 502460 h 838467"/>
                <a:gd name="connsiteX477" fmla="*/ 664260 w 991608"/>
                <a:gd name="connsiteY477" fmla="*/ 503106 h 838467"/>
                <a:gd name="connsiteX478" fmla="*/ 990446 w 991608"/>
                <a:gd name="connsiteY478" fmla="*/ 905 h 838467"/>
                <a:gd name="connsiteX479" fmla="*/ 987732 w 991608"/>
                <a:gd name="connsiteY479" fmla="*/ 0 h 838467"/>
                <a:gd name="connsiteX480" fmla="*/ 984889 w 991608"/>
                <a:gd name="connsiteY480" fmla="*/ 646 h 838467"/>
                <a:gd name="connsiteX481" fmla="*/ 983209 w 991608"/>
                <a:gd name="connsiteY481" fmla="*/ 2068 h 838467"/>
                <a:gd name="connsiteX482" fmla="*/ 982950 w 991608"/>
                <a:gd name="connsiteY482" fmla="*/ 3489 h 838467"/>
                <a:gd name="connsiteX483" fmla="*/ 983467 w 991608"/>
                <a:gd name="connsiteY483" fmla="*/ 4911 h 838467"/>
                <a:gd name="connsiteX484" fmla="*/ 984630 w 991608"/>
                <a:gd name="connsiteY484" fmla="*/ 5945 h 838467"/>
                <a:gd name="connsiteX485" fmla="*/ 986827 w 991608"/>
                <a:gd name="connsiteY485" fmla="*/ 6332 h 838467"/>
                <a:gd name="connsiteX486" fmla="*/ 989024 w 991608"/>
                <a:gd name="connsiteY486" fmla="*/ 6074 h 838467"/>
                <a:gd name="connsiteX487" fmla="*/ 990316 w 991608"/>
                <a:gd name="connsiteY487" fmla="*/ 5299 h 838467"/>
                <a:gd name="connsiteX488" fmla="*/ 991221 w 991608"/>
                <a:gd name="connsiteY488" fmla="*/ 4135 h 838467"/>
                <a:gd name="connsiteX489" fmla="*/ 991609 w 991608"/>
                <a:gd name="connsiteY489" fmla="*/ 2585 h 838467"/>
                <a:gd name="connsiteX490" fmla="*/ 990446 w 991608"/>
                <a:gd name="connsiteY490" fmla="*/ 905 h 83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Lst>
              <a:rect l="l" t="t" r="r" b="b"/>
              <a:pathLst>
                <a:path w="991608" h="838467">
                  <a:moveTo>
                    <a:pt x="388217" y="775789"/>
                  </a:moveTo>
                  <a:lnTo>
                    <a:pt x="387442" y="774367"/>
                  </a:lnTo>
                  <a:lnTo>
                    <a:pt x="386667" y="773721"/>
                  </a:lnTo>
                  <a:lnTo>
                    <a:pt x="385116" y="772816"/>
                  </a:lnTo>
                  <a:lnTo>
                    <a:pt x="384470" y="772041"/>
                  </a:lnTo>
                  <a:lnTo>
                    <a:pt x="383694" y="770619"/>
                  </a:lnTo>
                  <a:lnTo>
                    <a:pt x="383565" y="769715"/>
                  </a:lnTo>
                  <a:lnTo>
                    <a:pt x="383823" y="768035"/>
                  </a:lnTo>
                  <a:lnTo>
                    <a:pt x="383565" y="765967"/>
                  </a:lnTo>
                  <a:lnTo>
                    <a:pt x="382531" y="761702"/>
                  </a:lnTo>
                  <a:lnTo>
                    <a:pt x="382273" y="759247"/>
                  </a:lnTo>
                  <a:lnTo>
                    <a:pt x="381885" y="758601"/>
                  </a:lnTo>
                  <a:lnTo>
                    <a:pt x="381110" y="758342"/>
                  </a:lnTo>
                  <a:lnTo>
                    <a:pt x="378912" y="758213"/>
                  </a:lnTo>
                  <a:lnTo>
                    <a:pt x="378008" y="757696"/>
                  </a:lnTo>
                  <a:lnTo>
                    <a:pt x="376974" y="755241"/>
                  </a:lnTo>
                  <a:lnTo>
                    <a:pt x="376069" y="754724"/>
                  </a:lnTo>
                  <a:lnTo>
                    <a:pt x="374777" y="755499"/>
                  </a:lnTo>
                  <a:lnTo>
                    <a:pt x="373485" y="757050"/>
                  </a:lnTo>
                  <a:lnTo>
                    <a:pt x="371934" y="758084"/>
                  </a:lnTo>
                  <a:lnTo>
                    <a:pt x="370125" y="757179"/>
                  </a:lnTo>
                  <a:lnTo>
                    <a:pt x="370254" y="756145"/>
                  </a:lnTo>
                  <a:lnTo>
                    <a:pt x="372968" y="753561"/>
                  </a:lnTo>
                  <a:lnTo>
                    <a:pt x="373485" y="751622"/>
                  </a:lnTo>
                  <a:lnTo>
                    <a:pt x="376457" y="753819"/>
                  </a:lnTo>
                  <a:lnTo>
                    <a:pt x="375811" y="741025"/>
                  </a:lnTo>
                  <a:lnTo>
                    <a:pt x="375423" y="740508"/>
                  </a:lnTo>
                  <a:lnTo>
                    <a:pt x="374519" y="740120"/>
                  </a:lnTo>
                  <a:lnTo>
                    <a:pt x="374519" y="739086"/>
                  </a:lnTo>
                  <a:lnTo>
                    <a:pt x="375036" y="736890"/>
                  </a:lnTo>
                  <a:lnTo>
                    <a:pt x="375165" y="733400"/>
                  </a:lnTo>
                  <a:lnTo>
                    <a:pt x="375036" y="732366"/>
                  </a:lnTo>
                  <a:lnTo>
                    <a:pt x="374390" y="731332"/>
                  </a:lnTo>
                  <a:lnTo>
                    <a:pt x="372451" y="729523"/>
                  </a:lnTo>
                  <a:lnTo>
                    <a:pt x="372063" y="729006"/>
                  </a:lnTo>
                  <a:lnTo>
                    <a:pt x="371805" y="727972"/>
                  </a:lnTo>
                  <a:lnTo>
                    <a:pt x="370771" y="726551"/>
                  </a:lnTo>
                  <a:lnTo>
                    <a:pt x="370512" y="725388"/>
                  </a:lnTo>
                  <a:lnTo>
                    <a:pt x="370642" y="721769"/>
                  </a:lnTo>
                  <a:lnTo>
                    <a:pt x="370512" y="720735"/>
                  </a:lnTo>
                  <a:lnTo>
                    <a:pt x="370254" y="720477"/>
                  </a:lnTo>
                  <a:lnTo>
                    <a:pt x="368316" y="718538"/>
                  </a:lnTo>
                  <a:lnTo>
                    <a:pt x="367928" y="717246"/>
                  </a:lnTo>
                  <a:lnTo>
                    <a:pt x="367928" y="716083"/>
                  </a:lnTo>
                  <a:lnTo>
                    <a:pt x="368316" y="714403"/>
                  </a:lnTo>
                  <a:lnTo>
                    <a:pt x="367928" y="712077"/>
                  </a:lnTo>
                  <a:lnTo>
                    <a:pt x="367152" y="710655"/>
                  </a:lnTo>
                  <a:lnTo>
                    <a:pt x="366248" y="709621"/>
                  </a:lnTo>
                  <a:lnTo>
                    <a:pt x="365472" y="708200"/>
                  </a:lnTo>
                  <a:lnTo>
                    <a:pt x="365472" y="700704"/>
                  </a:lnTo>
                  <a:lnTo>
                    <a:pt x="364438" y="699541"/>
                  </a:lnTo>
                  <a:lnTo>
                    <a:pt x="364309" y="698378"/>
                  </a:lnTo>
                  <a:lnTo>
                    <a:pt x="362242" y="690882"/>
                  </a:lnTo>
                  <a:lnTo>
                    <a:pt x="361725" y="689849"/>
                  </a:lnTo>
                  <a:lnTo>
                    <a:pt x="362500" y="689202"/>
                  </a:lnTo>
                  <a:lnTo>
                    <a:pt x="361337" y="687522"/>
                  </a:lnTo>
                  <a:lnTo>
                    <a:pt x="360174" y="685325"/>
                  </a:lnTo>
                  <a:lnTo>
                    <a:pt x="359269" y="682999"/>
                  </a:lnTo>
                  <a:lnTo>
                    <a:pt x="358364" y="678605"/>
                  </a:lnTo>
                  <a:lnTo>
                    <a:pt x="352290" y="667879"/>
                  </a:lnTo>
                  <a:lnTo>
                    <a:pt x="349060" y="664906"/>
                  </a:lnTo>
                  <a:lnTo>
                    <a:pt x="348543" y="663873"/>
                  </a:lnTo>
                  <a:lnTo>
                    <a:pt x="348284" y="661546"/>
                  </a:lnTo>
                  <a:lnTo>
                    <a:pt x="347638" y="659091"/>
                  </a:lnTo>
                  <a:lnTo>
                    <a:pt x="346733" y="656765"/>
                  </a:lnTo>
                  <a:lnTo>
                    <a:pt x="344666" y="653017"/>
                  </a:lnTo>
                  <a:lnTo>
                    <a:pt x="343244" y="651078"/>
                  </a:lnTo>
                  <a:lnTo>
                    <a:pt x="341435" y="649528"/>
                  </a:lnTo>
                  <a:lnTo>
                    <a:pt x="339496" y="648882"/>
                  </a:lnTo>
                  <a:lnTo>
                    <a:pt x="337687" y="647977"/>
                  </a:lnTo>
                  <a:lnTo>
                    <a:pt x="333681" y="643712"/>
                  </a:lnTo>
                  <a:lnTo>
                    <a:pt x="331742" y="642291"/>
                  </a:lnTo>
                  <a:lnTo>
                    <a:pt x="327607" y="640611"/>
                  </a:lnTo>
                  <a:lnTo>
                    <a:pt x="324118" y="639577"/>
                  </a:lnTo>
                  <a:lnTo>
                    <a:pt x="315846" y="638801"/>
                  </a:lnTo>
                  <a:lnTo>
                    <a:pt x="304215" y="636217"/>
                  </a:lnTo>
                  <a:lnTo>
                    <a:pt x="288191" y="633115"/>
                  </a:lnTo>
                  <a:lnTo>
                    <a:pt x="279661" y="631952"/>
                  </a:lnTo>
                  <a:lnTo>
                    <a:pt x="277593" y="632340"/>
                  </a:lnTo>
                  <a:lnTo>
                    <a:pt x="274750" y="633761"/>
                  </a:lnTo>
                  <a:lnTo>
                    <a:pt x="270873" y="634537"/>
                  </a:lnTo>
                  <a:lnTo>
                    <a:pt x="267126" y="636604"/>
                  </a:lnTo>
                  <a:lnTo>
                    <a:pt x="265187" y="637121"/>
                  </a:lnTo>
                  <a:lnTo>
                    <a:pt x="247999" y="636346"/>
                  </a:lnTo>
                  <a:lnTo>
                    <a:pt x="247999" y="637121"/>
                  </a:lnTo>
                  <a:lnTo>
                    <a:pt x="251747" y="637121"/>
                  </a:lnTo>
                  <a:lnTo>
                    <a:pt x="251747" y="637767"/>
                  </a:lnTo>
                  <a:lnTo>
                    <a:pt x="249162" y="638026"/>
                  </a:lnTo>
                  <a:lnTo>
                    <a:pt x="247223" y="637638"/>
                  </a:lnTo>
                  <a:lnTo>
                    <a:pt x="242959" y="636346"/>
                  </a:lnTo>
                  <a:lnTo>
                    <a:pt x="234171" y="635441"/>
                  </a:lnTo>
                  <a:lnTo>
                    <a:pt x="220989" y="636346"/>
                  </a:lnTo>
                  <a:lnTo>
                    <a:pt x="217242" y="635441"/>
                  </a:lnTo>
                  <a:lnTo>
                    <a:pt x="218275" y="636604"/>
                  </a:lnTo>
                  <a:lnTo>
                    <a:pt x="222281" y="637638"/>
                  </a:lnTo>
                  <a:lnTo>
                    <a:pt x="223186" y="638155"/>
                  </a:lnTo>
                  <a:lnTo>
                    <a:pt x="222540" y="639964"/>
                  </a:lnTo>
                  <a:lnTo>
                    <a:pt x="221118" y="640481"/>
                  </a:lnTo>
                  <a:lnTo>
                    <a:pt x="219309" y="639964"/>
                  </a:lnTo>
                  <a:lnTo>
                    <a:pt x="216207" y="637767"/>
                  </a:lnTo>
                  <a:lnTo>
                    <a:pt x="214269" y="637380"/>
                  </a:lnTo>
                  <a:lnTo>
                    <a:pt x="210521" y="636604"/>
                  </a:lnTo>
                  <a:lnTo>
                    <a:pt x="206127" y="636992"/>
                  </a:lnTo>
                  <a:lnTo>
                    <a:pt x="204706" y="636734"/>
                  </a:lnTo>
                  <a:lnTo>
                    <a:pt x="204706" y="635183"/>
                  </a:lnTo>
                  <a:lnTo>
                    <a:pt x="202250" y="635183"/>
                  </a:lnTo>
                  <a:lnTo>
                    <a:pt x="198244" y="634278"/>
                  </a:lnTo>
                  <a:lnTo>
                    <a:pt x="194626" y="632598"/>
                  </a:lnTo>
                  <a:lnTo>
                    <a:pt x="193075" y="630401"/>
                  </a:lnTo>
                  <a:lnTo>
                    <a:pt x="192558" y="629367"/>
                  </a:lnTo>
                  <a:lnTo>
                    <a:pt x="191395" y="628075"/>
                  </a:lnTo>
                  <a:lnTo>
                    <a:pt x="190102" y="626912"/>
                  </a:lnTo>
                  <a:lnTo>
                    <a:pt x="188939" y="626395"/>
                  </a:lnTo>
                  <a:lnTo>
                    <a:pt x="188552" y="625619"/>
                  </a:lnTo>
                  <a:lnTo>
                    <a:pt x="184933" y="621613"/>
                  </a:lnTo>
                  <a:lnTo>
                    <a:pt x="182994" y="620579"/>
                  </a:lnTo>
                  <a:lnTo>
                    <a:pt x="173948" y="619675"/>
                  </a:lnTo>
                  <a:lnTo>
                    <a:pt x="170847" y="619804"/>
                  </a:lnTo>
                  <a:lnTo>
                    <a:pt x="168004" y="620579"/>
                  </a:lnTo>
                  <a:lnTo>
                    <a:pt x="166711" y="620450"/>
                  </a:lnTo>
                  <a:lnTo>
                    <a:pt x="163222" y="619029"/>
                  </a:lnTo>
                  <a:lnTo>
                    <a:pt x="161542" y="618641"/>
                  </a:lnTo>
                  <a:lnTo>
                    <a:pt x="159732" y="618770"/>
                  </a:lnTo>
                  <a:lnTo>
                    <a:pt x="157665" y="619804"/>
                  </a:lnTo>
                  <a:lnTo>
                    <a:pt x="152495" y="617607"/>
                  </a:lnTo>
                  <a:lnTo>
                    <a:pt x="147326" y="610241"/>
                  </a:lnTo>
                  <a:lnTo>
                    <a:pt x="146809" y="608948"/>
                  </a:lnTo>
                  <a:lnTo>
                    <a:pt x="114242" y="619675"/>
                  </a:lnTo>
                  <a:lnTo>
                    <a:pt x="109719" y="621743"/>
                  </a:lnTo>
                  <a:lnTo>
                    <a:pt x="108427" y="622518"/>
                  </a:lnTo>
                  <a:lnTo>
                    <a:pt x="94857" y="633890"/>
                  </a:lnTo>
                  <a:lnTo>
                    <a:pt x="94082" y="635054"/>
                  </a:lnTo>
                  <a:lnTo>
                    <a:pt x="86199" y="651725"/>
                  </a:lnTo>
                  <a:lnTo>
                    <a:pt x="74051" y="676537"/>
                  </a:lnTo>
                  <a:lnTo>
                    <a:pt x="73275" y="677830"/>
                  </a:lnTo>
                  <a:lnTo>
                    <a:pt x="65392" y="687264"/>
                  </a:lnTo>
                  <a:lnTo>
                    <a:pt x="63324" y="689073"/>
                  </a:lnTo>
                  <a:lnTo>
                    <a:pt x="61903" y="690107"/>
                  </a:lnTo>
                  <a:lnTo>
                    <a:pt x="59835" y="692433"/>
                  </a:lnTo>
                  <a:lnTo>
                    <a:pt x="56604" y="700316"/>
                  </a:lnTo>
                  <a:lnTo>
                    <a:pt x="56216" y="702255"/>
                  </a:lnTo>
                  <a:lnTo>
                    <a:pt x="56216" y="702901"/>
                  </a:lnTo>
                  <a:lnTo>
                    <a:pt x="57121" y="706390"/>
                  </a:lnTo>
                  <a:lnTo>
                    <a:pt x="56863" y="708329"/>
                  </a:lnTo>
                  <a:lnTo>
                    <a:pt x="54407" y="711560"/>
                  </a:lnTo>
                  <a:lnTo>
                    <a:pt x="52081" y="715178"/>
                  </a:lnTo>
                  <a:lnTo>
                    <a:pt x="51693" y="716212"/>
                  </a:lnTo>
                  <a:lnTo>
                    <a:pt x="51564" y="717375"/>
                  </a:lnTo>
                  <a:lnTo>
                    <a:pt x="51693" y="719831"/>
                  </a:lnTo>
                  <a:lnTo>
                    <a:pt x="51564" y="720994"/>
                  </a:lnTo>
                  <a:lnTo>
                    <a:pt x="50401" y="722674"/>
                  </a:lnTo>
                  <a:lnTo>
                    <a:pt x="38253" y="735080"/>
                  </a:lnTo>
                  <a:lnTo>
                    <a:pt x="37219" y="736760"/>
                  </a:lnTo>
                  <a:lnTo>
                    <a:pt x="36444" y="738311"/>
                  </a:lnTo>
                  <a:lnTo>
                    <a:pt x="36056" y="739474"/>
                  </a:lnTo>
                  <a:lnTo>
                    <a:pt x="35022" y="740767"/>
                  </a:lnTo>
                  <a:lnTo>
                    <a:pt x="33213" y="741930"/>
                  </a:lnTo>
                  <a:lnTo>
                    <a:pt x="29336" y="743480"/>
                  </a:lnTo>
                  <a:lnTo>
                    <a:pt x="27397" y="743997"/>
                  </a:lnTo>
                  <a:lnTo>
                    <a:pt x="25976" y="743997"/>
                  </a:lnTo>
                  <a:lnTo>
                    <a:pt x="25200" y="743480"/>
                  </a:lnTo>
                  <a:lnTo>
                    <a:pt x="22874" y="741413"/>
                  </a:lnTo>
                  <a:lnTo>
                    <a:pt x="21969" y="740896"/>
                  </a:lnTo>
                  <a:lnTo>
                    <a:pt x="20936" y="740637"/>
                  </a:lnTo>
                  <a:lnTo>
                    <a:pt x="19902" y="740637"/>
                  </a:lnTo>
                  <a:lnTo>
                    <a:pt x="18351" y="741413"/>
                  </a:lnTo>
                  <a:lnTo>
                    <a:pt x="16542" y="742834"/>
                  </a:lnTo>
                  <a:lnTo>
                    <a:pt x="13957" y="745677"/>
                  </a:lnTo>
                  <a:lnTo>
                    <a:pt x="12665" y="747487"/>
                  </a:lnTo>
                  <a:lnTo>
                    <a:pt x="11760" y="749684"/>
                  </a:lnTo>
                  <a:lnTo>
                    <a:pt x="11631" y="751105"/>
                  </a:lnTo>
                  <a:lnTo>
                    <a:pt x="11114" y="752527"/>
                  </a:lnTo>
                  <a:lnTo>
                    <a:pt x="10597" y="753431"/>
                  </a:lnTo>
                  <a:lnTo>
                    <a:pt x="7495" y="754853"/>
                  </a:lnTo>
                  <a:lnTo>
                    <a:pt x="6978" y="756145"/>
                  </a:lnTo>
                  <a:lnTo>
                    <a:pt x="6720" y="758342"/>
                  </a:lnTo>
                  <a:lnTo>
                    <a:pt x="6332" y="759376"/>
                  </a:lnTo>
                  <a:lnTo>
                    <a:pt x="5686" y="760152"/>
                  </a:lnTo>
                  <a:lnTo>
                    <a:pt x="3877" y="761185"/>
                  </a:lnTo>
                  <a:lnTo>
                    <a:pt x="3101" y="761832"/>
                  </a:lnTo>
                  <a:lnTo>
                    <a:pt x="2584" y="762865"/>
                  </a:lnTo>
                  <a:lnTo>
                    <a:pt x="2326" y="764287"/>
                  </a:lnTo>
                  <a:lnTo>
                    <a:pt x="2455" y="766355"/>
                  </a:lnTo>
                  <a:lnTo>
                    <a:pt x="2197" y="769198"/>
                  </a:lnTo>
                  <a:lnTo>
                    <a:pt x="2326" y="770749"/>
                  </a:lnTo>
                  <a:lnTo>
                    <a:pt x="2197" y="772041"/>
                  </a:lnTo>
                  <a:lnTo>
                    <a:pt x="1680" y="773075"/>
                  </a:lnTo>
                  <a:lnTo>
                    <a:pt x="1034" y="773850"/>
                  </a:lnTo>
                  <a:lnTo>
                    <a:pt x="388" y="774497"/>
                  </a:lnTo>
                  <a:lnTo>
                    <a:pt x="0" y="775272"/>
                  </a:lnTo>
                  <a:lnTo>
                    <a:pt x="258" y="776047"/>
                  </a:lnTo>
                  <a:lnTo>
                    <a:pt x="1034" y="776564"/>
                  </a:lnTo>
                  <a:lnTo>
                    <a:pt x="1938" y="776823"/>
                  </a:lnTo>
                  <a:lnTo>
                    <a:pt x="3231" y="776823"/>
                  </a:lnTo>
                  <a:lnTo>
                    <a:pt x="4652" y="776564"/>
                  </a:lnTo>
                  <a:lnTo>
                    <a:pt x="6462" y="776047"/>
                  </a:lnTo>
                  <a:lnTo>
                    <a:pt x="9046" y="774367"/>
                  </a:lnTo>
                  <a:lnTo>
                    <a:pt x="10468" y="771395"/>
                  </a:lnTo>
                  <a:lnTo>
                    <a:pt x="11243" y="770878"/>
                  </a:lnTo>
                  <a:lnTo>
                    <a:pt x="12148" y="770619"/>
                  </a:lnTo>
                  <a:lnTo>
                    <a:pt x="12536" y="771266"/>
                  </a:lnTo>
                  <a:lnTo>
                    <a:pt x="12277" y="773333"/>
                  </a:lnTo>
                  <a:lnTo>
                    <a:pt x="12406" y="774497"/>
                  </a:lnTo>
                  <a:lnTo>
                    <a:pt x="13440" y="775918"/>
                  </a:lnTo>
                  <a:lnTo>
                    <a:pt x="14862" y="776564"/>
                  </a:lnTo>
                  <a:lnTo>
                    <a:pt x="16542" y="777081"/>
                  </a:lnTo>
                  <a:lnTo>
                    <a:pt x="18609" y="777469"/>
                  </a:lnTo>
                  <a:lnTo>
                    <a:pt x="31662" y="784964"/>
                  </a:lnTo>
                  <a:lnTo>
                    <a:pt x="33859" y="786774"/>
                  </a:lnTo>
                  <a:lnTo>
                    <a:pt x="34505" y="787161"/>
                  </a:lnTo>
                  <a:lnTo>
                    <a:pt x="35152" y="787291"/>
                  </a:lnTo>
                  <a:lnTo>
                    <a:pt x="36444" y="786515"/>
                  </a:lnTo>
                  <a:lnTo>
                    <a:pt x="37607" y="785352"/>
                  </a:lnTo>
                  <a:lnTo>
                    <a:pt x="38382" y="785094"/>
                  </a:lnTo>
                  <a:lnTo>
                    <a:pt x="39545" y="784964"/>
                  </a:lnTo>
                  <a:lnTo>
                    <a:pt x="51435" y="788841"/>
                  </a:lnTo>
                  <a:lnTo>
                    <a:pt x="52339" y="788583"/>
                  </a:lnTo>
                  <a:lnTo>
                    <a:pt x="52985" y="787808"/>
                  </a:lnTo>
                  <a:lnTo>
                    <a:pt x="56604" y="782251"/>
                  </a:lnTo>
                  <a:lnTo>
                    <a:pt x="57379" y="781346"/>
                  </a:lnTo>
                  <a:lnTo>
                    <a:pt x="58543" y="780570"/>
                  </a:lnTo>
                  <a:lnTo>
                    <a:pt x="59447" y="780700"/>
                  </a:lnTo>
                  <a:lnTo>
                    <a:pt x="59964" y="781346"/>
                  </a:lnTo>
                  <a:lnTo>
                    <a:pt x="60352" y="782251"/>
                  </a:lnTo>
                  <a:lnTo>
                    <a:pt x="60740" y="783026"/>
                  </a:lnTo>
                  <a:lnTo>
                    <a:pt x="62937" y="784060"/>
                  </a:lnTo>
                  <a:lnTo>
                    <a:pt x="64229" y="781475"/>
                  </a:lnTo>
                  <a:lnTo>
                    <a:pt x="64487" y="780312"/>
                  </a:lnTo>
                  <a:lnTo>
                    <a:pt x="65133" y="779407"/>
                  </a:lnTo>
                  <a:lnTo>
                    <a:pt x="65650" y="779149"/>
                  </a:lnTo>
                  <a:lnTo>
                    <a:pt x="66296" y="779020"/>
                  </a:lnTo>
                  <a:lnTo>
                    <a:pt x="67589" y="778503"/>
                  </a:lnTo>
                  <a:lnTo>
                    <a:pt x="74955" y="773463"/>
                  </a:lnTo>
                  <a:lnTo>
                    <a:pt x="82192" y="769586"/>
                  </a:lnTo>
                  <a:lnTo>
                    <a:pt x="83226" y="768423"/>
                  </a:lnTo>
                  <a:lnTo>
                    <a:pt x="83872" y="767001"/>
                  </a:lnTo>
                  <a:lnTo>
                    <a:pt x="84260" y="765579"/>
                  </a:lnTo>
                  <a:lnTo>
                    <a:pt x="84777" y="764029"/>
                  </a:lnTo>
                  <a:lnTo>
                    <a:pt x="85423" y="763382"/>
                  </a:lnTo>
                  <a:lnTo>
                    <a:pt x="86199" y="763512"/>
                  </a:lnTo>
                  <a:lnTo>
                    <a:pt x="86845" y="764029"/>
                  </a:lnTo>
                  <a:lnTo>
                    <a:pt x="87749" y="764287"/>
                  </a:lnTo>
                  <a:lnTo>
                    <a:pt x="88266" y="763641"/>
                  </a:lnTo>
                  <a:lnTo>
                    <a:pt x="89042" y="761573"/>
                  </a:lnTo>
                  <a:lnTo>
                    <a:pt x="89300" y="760539"/>
                  </a:lnTo>
                  <a:lnTo>
                    <a:pt x="89171" y="757438"/>
                  </a:lnTo>
                  <a:lnTo>
                    <a:pt x="89817" y="755758"/>
                  </a:lnTo>
                  <a:lnTo>
                    <a:pt x="90205" y="754336"/>
                  </a:lnTo>
                  <a:lnTo>
                    <a:pt x="90592" y="753173"/>
                  </a:lnTo>
                  <a:lnTo>
                    <a:pt x="91368" y="751881"/>
                  </a:lnTo>
                  <a:lnTo>
                    <a:pt x="92273" y="751105"/>
                  </a:lnTo>
                  <a:lnTo>
                    <a:pt x="93307" y="750588"/>
                  </a:lnTo>
                  <a:lnTo>
                    <a:pt x="96925" y="749425"/>
                  </a:lnTo>
                  <a:lnTo>
                    <a:pt x="103903" y="746453"/>
                  </a:lnTo>
                  <a:lnTo>
                    <a:pt x="106230" y="745936"/>
                  </a:lnTo>
                  <a:lnTo>
                    <a:pt x="109977" y="745548"/>
                  </a:lnTo>
                  <a:lnTo>
                    <a:pt x="111141" y="745160"/>
                  </a:lnTo>
                  <a:lnTo>
                    <a:pt x="112045" y="744385"/>
                  </a:lnTo>
                  <a:lnTo>
                    <a:pt x="113079" y="743351"/>
                  </a:lnTo>
                  <a:lnTo>
                    <a:pt x="114113" y="742964"/>
                  </a:lnTo>
                  <a:lnTo>
                    <a:pt x="115147" y="742705"/>
                  </a:lnTo>
                  <a:lnTo>
                    <a:pt x="118507" y="742447"/>
                  </a:lnTo>
                  <a:lnTo>
                    <a:pt x="121479" y="741800"/>
                  </a:lnTo>
                  <a:lnTo>
                    <a:pt x="122513" y="741800"/>
                  </a:lnTo>
                  <a:lnTo>
                    <a:pt x="123547" y="742059"/>
                  </a:lnTo>
                  <a:lnTo>
                    <a:pt x="125615" y="742964"/>
                  </a:lnTo>
                  <a:lnTo>
                    <a:pt x="126778" y="743093"/>
                  </a:lnTo>
                  <a:lnTo>
                    <a:pt x="128458" y="742834"/>
                  </a:lnTo>
                  <a:lnTo>
                    <a:pt x="129492" y="741930"/>
                  </a:lnTo>
                  <a:lnTo>
                    <a:pt x="132077" y="741154"/>
                  </a:lnTo>
                  <a:lnTo>
                    <a:pt x="136600" y="738570"/>
                  </a:lnTo>
                  <a:lnTo>
                    <a:pt x="140864" y="737148"/>
                  </a:lnTo>
                  <a:lnTo>
                    <a:pt x="144354" y="735339"/>
                  </a:lnTo>
                  <a:lnTo>
                    <a:pt x="145646" y="735080"/>
                  </a:lnTo>
                  <a:lnTo>
                    <a:pt x="149006" y="735468"/>
                  </a:lnTo>
                  <a:lnTo>
                    <a:pt x="150298" y="735985"/>
                  </a:lnTo>
                  <a:lnTo>
                    <a:pt x="151332" y="736502"/>
                  </a:lnTo>
                  <a:lnTo>
                    <a:pt x="152108" y="737148"/>
                  </a:lnTo>
                  <a:lnTo>
                    <a:pt x="152754" y="737536"/>
                  </a:lnTo>
                  <a:lnTo>
                    <a:pt x="153271" y="738182"/>
                  </a:lnTo>
                  <a:lnTo>
                    <a:pt x="153529" y="745031"/>
                  </a:lnTo>
                  <a:lnTo>
                    <a:pt x="152366" y="747487"/>
                  </a:lnTo>
                  <a:lnTo>
                    <a:pt x="149652" y="750588"/>
                  </a:lnTo>
                  <a:lnTo>
                    <a:pt x="148231" y="752139"/>
                  </a:lnTo>
                  <a:lnTo>
                    <a:pt x="141381" y="762090"/>
                  </a:lnTo>
                  <a:lnTo>
                    <a:pt x="136729" y="766484"/>
                  </a:lnTo>
                  <a:lnTo>
                    <a:pt x="131430" y="772946"/>
                  </a:lnTo>
                  <a:lnTo>
                    <a:pt x="130397" y="774626"/>
                  </a:lnTo>
                  <a:lnTo>
                    <a:pt x="130009" y="775789"/>
                  </a:lnTo>
                  <a:lnTo>
                    <a:pt x="128587" y="783155"/>
                  </a:lnTo>
                  <a:lnTo>
                    <a:pt x="126261" y="789358"/>
                  </a:lnTo>
                  <a:lnTo>
                    <a:pt x="122901" y="791168"/>
                  </a:lnTo>
                  <a:lnTo>
                    <a:pt x="120445" y="791943"/>
                  </a:lnTo>
                  <a:lnTo>
                    <a:pt x="119024" y="792589"/>
                  </a:lnTo>
                  <a:lnTo>
                    <a:pt x="117990" y="793235"/>
                  </a:lnTo>
                  <a:lnTo>
                    <a:pt x="117473" y="794140"/>
                  </a:lnTo>
                  <a:lnTo>
                    <a:pt x="117086" y="795174"/>
                  </a:lnTo>
                  <a:lnTo>
                    <a:pt x="115922" y="800860"/>
                  </a:lnTo>
                  <a:lnTo>
                    <a:pt x="115922" y="803445"/>
                  </a:lnTo>
                  <a:lnTo>
                    <a:pt x="116051" y="804608"/>
                  </a:lnTo>
                  <a:lnTo>
                    <a:pt x="116439" y="805771"/>
                  </a:lnTo>
                  <a:lnTo>
                    <a:pt x="117086" y="806805"/>
                  </a:lnTo>
                  <a:lnTo>
                    <a:pt x="117990" y="807193"/>
                  </a:lnTo>
                  <a:lnTo>
                    <a:pt x="118765" y="807322"/>
                  </a:lnTo>
                  <a:lnTo>
                    <a:pt x="120575" y="807451"/>
                  </a:lnTo>
                  <a:lnTo>
                    <a:pt x="126778" y="808743"/>
                  </a:lnTo>
                  <a:lnTo>
                    <a:pt x="127941" y="808743"/>
                  </a:lnTo>
                  <a:lnTo>
                    <a:pt x="130267" y="808485"/>
                  </a:lnTo>
                  <a:lnTo>
                    <a:pt x="131560" y="808485"/>
                  </a:lnTo>
                  <a:lnTo>
                    <a:pt x="132723" y="808614"/>
                  </a:lnTo>
                  <a:lnTo>
                    <a:pt x="135178" y="808614"/>
                  </a:lnTo>
                  <a:lnTo>
                    <a:pt x="136471" y="808743"/>
                  </a:lnTo>
                  <a:lnTo>
                    <a:pt x="137763" y="809002"/>
                  </a:lnTo>
                  <a:lnTo>
                    <a:pt x="139184" y="809519"/>
                  </a:lnTo>
                  <a:lnTo>
                    <a:pt x="140735" y="810294"/>
                  </a:lnTo>
                  <a:lnTo>
                    <a:pt x="142674" y="811845"/>
                  </a:lnTo>
                  <a:lnTo>
                    <a:pt x="143578" y="813137"/>
                  </a:lnTo>
                  <a:lnTo>
                    <a:pt x="144095" y="814430"/>
                  </a:lnTo>
                  <a:lnTo>
                    <a:pt x="145000" y="817919"/>
                  </a:lnTo>
                  <a:lnTo>
                    <a:pt x="146421" y="820891"/>
                  </a:lnTo>
                  <a:lnTo>
                    <a:pt x="147714" y="821925"/>
                  </a:lnTo>
                  <a:lnTo>
                    <a:pt x="149006" y="822054"/>
                  </a:lnTo>
                  <a:lnTo>
                    <a:pt x="150169" y="821408"/>
                  </a:lnTo>
                  <a:lnTo>
                    <a:pt x="153788" y="818824"/>
                  </a:lnTo>
                  <a:lnTo>
                    <a:pt x="154951" y="818177"/>
                  </a:lnTo>
                  <a:lnTo>
                    <a:pt x="156114" y="817790"/>
                  </a:lnTo>
                  <a:lnTo>
                    <a:pt x="165548" y="815593"/>
                  </a:lnTo>
                  <a:lnTo>
                    <a:pt x="166711" y="815205"/>
                  </a:lnTo>
                  <a:lnTo>
                    <a:pt x="167874" y="814559"/>
                  </a:lnTo>
                  <a:lnTo>
                    <a:pt x="168908" y="813784"/>
                  </a:lnTo>
                  <a:lnTo>
                    <a:pt x="169942" y="812750"/>
                  </a:lnTo>
                  <a:lnTo>
                    <a:pt x="171493" y="810682"/>
                  </a:lnTo>
                  <a:lnTo>
                    <a:pt x="172268" y="809906"/>
                  </a:lnTo>
                  <a:lnTo>
                    <a:pt x="172785" y="809648"/>
                  </a:lnTo>
                  <a:lnTo>
                    <a:pt x="173690" y="809648"/>
                  </a:lnTo>
                  <a:lnTo>
                    <a:pt x="174724" y="810165"/>
                  </a:lnTo>
                  <a:lnTo>
                    <a:pt x="175628" y="810940"/>
                  </a:lnTo>
                  <a:lnTo>
                    <a:pt x="177179" y="813137"/>
                  </a:lnTo>
                  <a:lnTo>
                    <a:pt x="178471" y="814042"/>
                  </a:lnTo>
                  <a:lnTo>
                    <a:pt x="179635" y="813913"/>
                  </a:lnTo>
                  <a:lnTo>
                    <a:pt x="180927" y="813654"/>
                  </a:lnTo>
                  <a:lnTo>
                    <a:pt x="182090" y="813525"/>
                  </a:lnTo>
                  <a:lnTo>
                    <a:pt x="189198" y="814300"/>
                  </a:lnTo>
                  <a:lnTo>
                    <a:pt x="193333" y="815205"/>
                  </a:lnTo>
                  <a:lnTo>
                    <a:pt x="194884" y="815980"/>
                  </a:lnTo>
                  <a:lnTo>
                    <a:pt x="195918" y="817014"/>
                  </a:lnTo>
                  <a:lnTo>
                    <a:pt x="197727" y="819470"/>
                  </a:lnTo>
                  <a:lnTo>
                    <a:pt x="199149" y="820762"/>
                  </a:lnTo>
                  <a:lnTo>
                    <a:pt x="200053" y="821925"/>
                  </a:lnTo>
                  <a:lnTo>
                    <a:pt x="200441" y="823088"/>
                  </a:lnTo>
                  <a:lnTo>
                    <a:pt x="200312" y="824251"/>
                  </a:lnTo>
                  <a:lnTo>
                    <a:pt x="197210" y="831101"/>
                  </a:lnTo>
                  <a:lnTo>
                    <a:pt x="196952" y="832264"/>
                  </a:lnTo>
                  <a:lnTo>
                    <a:pt x="196952" y="833427"/>
                  </a:lnTo>
                  <a:lnTo>
                    <a:pt x="197469" y="834719"/>
                  </a:lnTo>
                  <a:lnTo>
                    <a:pt x="198632" y="836141"/>
                  </a:lnTo>
                  <a:lnTo>
                    <a:pt x="200700" y="837950"/>
                  </a:lnTo>
                  <a:lnTo>
                    <a:pt x="202121" y="838467"/>
                  </a:lnTo>
                  <a:lnTo>
                    <a:pt x="203284" y="838209"/>
                  </a:lnTo>
                  <a:lnTo>
                    <a:pt x="208841" y="833427"/>
                  </a:lnTo>
                  <a:lnTo>
                    <a:pt x="209617" y="832910"/>
                  </a:lnTo>
                  <a:lnTo>
                    <a:pt x="211297" y="832522"/>
                  </a:lnTo>
                  <a:lnTo>
                    <a:pt x="214915" y="833427"/>
                  </a:lnTo>
                  <a:lnTo>
                    <a:pt x="216207" y="833298"/>
                  </a:lnTo>
                  <a:lnTo>
                    <a:pt x="218017" y="832910"/>
                  </a:lnTo>
                  <a:lnTo>
                    <a:pt x="218921" y="832135"/>
                  </a:lnTo>
                  <a:lnTo>
                    <a:pt x="219697" y="831230"/>
                  </a:lnTo>
                  <a:lnTo>
                    <a:pt x="222023" y="827741"/>
                  </a:lnTo>
                  <a:lnTo>
                    <a:pt x="222540" y="826707"/>
                  </a:lnTo>
                  <a:lnTo>
                    <a:pt x="224091" y="822701"/>
                  </a:lnTo>
                  <a:lnTo>
                    <a:pt x="225254" y="820374"/>
                  </a:lnTo>
                  <a:lnTo>
                    <a:pt x="225771" y="818824"/>
                  </a:lnTo>
                  <a:lnTo>
                    <a:pt x="225900" y="817402"/>
                  </a:lnTo>
                  <a:lnTo>
                    <a:pt x="225512" y="816497"/>
                  </a:lnTo>
                  <a:lnTo>
                    <a:pt x="224866" y="815722"/>
                  </a:lnTo>
                  <a:lnTo>
                    <a:pt x="224220" y="814947"/>
                  </a:lnTo>
                  <a:lnTo>
                    <a:pt x="223574" y="814171"/>
                  </a:lnTo>
                  <a:lnTo>
                    <a:pt x="223057" y="813267"/>
                  </a:lnTo>
                  <a:lnTo>
                    <a:pt x="222669" y="812233"/>
                  </a:lnTo>
                  <a:lnTo>
                    <a:pt x="222152" y="810036"/>
                  </a:lnTo>
                  <a:lnTo>
                    <a:pt x="221764" y="807710"/>
                  </a:lnTo>
                  <a:lnTo>
                    <a:pt x="221764" y="805383"/>
                  </a:lnTo>
                  <a:lnTo>
                    <a:pt x="221894" y="804091"/>
                  </a:lnTo>
                  <a:lnTo>
                    <a:pt x="222281" y="802023"/>
                  </a:lnTo>
                  <a:lnTo>
                    <a:pt x="222928" y="800731"/>
                  </a:lnTo>
                  <a:lnTo>
                    <a:pt x="223703" y="799826"/>
                  </a:lnTo>
                  <a:lnTo>
                    <a:pt x="224608" y="799309"/>
                  </a:lnTo>
                  <a:lnTo>
                    <a:pt x="225642" y="799180"/>
                  </a:lnTo>
                  <a:lnTo>
                    <a:pt x="226546" y="799568"/>
                  </a:lnTo>
                  <a:lnTo>
                    <a:pt x="227451" y="800085"/>
                  </a:lnTo>
                  <a:lnTo>
                    <a:pt x="229131" y="801377"/>
                  </a:lnTo>
                  <a:lnTo>
                    <a:pt x="230165" y="801765"/>
                  </a:lnTo>
                  <a:lnTo>
                    <a:pt x="231199" y="801765"/>
                  </a:lnTo>
                  <a:lnTo>
                    <a:pt x="232103" y="801248"/>
                  </a:lnTo>
                  <a:lnTo>
                    <a:pt x="232233" y="800343"/>
                  </a:lnTo>
                  <a:lnTo>
                    <a:pt x="231328" y="797112"/>
                  </a:lnTo>
                  <a:lnTo>
                    <a:pt x="228485" y="791297"/>
                  </a:lnTo>
                  <a:lnTo>
                    <a:pt x="227838" y="790392"/>
                  </a:lnTo>
                  <a:lnTo>
                    <a:pt x="225512" y="788324"/>
                  </a:lnTo>
                  <a:lnTo>
                    <a:pt x="224866" y="787161"/>
                  </a:lnTo>
                  <a:lnTo>
                    <a:pt x="224349" y="785223"/>
                  </a:lnTo>
                  <a:lnTo>
                    <a:pt x="224608" y="781217"/>
                  </a:lnTo>
                  <a:lnTo>
                    <a:pt x="225125" y="777210"/>
                  </a:lnTo>
                  <a:lnTo>
                    <a:pt x="225900" y="775143"/>
                  </a:lnTo>
                  <a:lnTo>
                    <a:pt x="226805" y="774109"/>
                  </a:lnTo>
                  <a:lnTo>
                    <a:pt x="227838" y="773721"/>
                  </a:lnTo>
                  <a:lnTo>
                    <a:pt x="231069" y="772946"/>
                  </a:lnTo>
                  <a:lnTo>
                    <a:pt x="232879" y="771524"/>
                  </a:lnTo>
                  <a:lnTo>
                    <a:pt x="236239" y="767259"/>
                  </a:lnTo>
                  <a:lnTo>
                    <a:pt x="237273" y="766484"/>
                  </a:lnTo>
                  <a:lnTo>
                    <a:pt x="238436" y="766226"/>
                  </a:lnTo>
                  <a:lnTo>
                    <a:pt x="239599" y="766355"/>
                  </a:lnTo>
                  <a:lnTo>
                    <a:pt x="240762" y="766613"/>
                  </a:lnTo>
                  <a:lnTo>
                    <a:pt x="242054" y="766613"/>
                  </a:lnTo>
                  <a:lnTo>
                    <a:pt x="243217" y="766484"/>
                  </a:lnTo>
                  <a:lnTo>
                    <a:pt x="246060" y="765709"/>
                  </a:lnTo>
                  <a:lnTo>
                    <a:pt x="248258" y="766484"/>
                  </a:lnTo>
                  <a:lnTo>
                    <a:pt x="249421" y="767647"/>
                  </a:lnTo>
                  <a:lnTo>
                    <a:pt x="249808" y="768810"/>
                  </a:lnTo>
                  <a:lnTo>
                    <a:pt x="249679" y="769973"/>
                  </a:lnTo>
                  <a:lnTo>
                    <a:pt x="249421" y="771266"/>
                  </a:lnTo>
                  <a:lnTo>
                    <a:pt x="249421" y="772816"/>
                  </a:lnTo>
                  <a:lnTo>
                    <a:pt x="249938" y="775013"/>
                  </a:lnTo>
                  <a:lnTo>
                    <a:pt x="250584" y="776306"/>
                  </a:lnTo>
                  <a:lnTo>
                    <a:pt x="252393" y="777857"/>
                  </a:lnTo>
                  <a:lnTo>
                    <a:pt x="266350" y="780054"/>
                  </a:lnTo>
                  <a:lnTo>
                    <a:pt x="271649" y="781346"/>
                  </a:lnTo>
                  <a:lnTo>
                    <a:pt x="273070" y="781475"/>
                  </a:lnTo>
                  <a:lnTo>
                    <a:pt x="274492" y="781346"/>
                  </a:lnTo>
                  <a:lnTo>
                    <a:pt x="276818" y="781475"/>
                  </a:lnTo>
                  <a:lnTo>
                    <a:pt x="283409" y="783155"/>
                  </a:lnTo>
                  <a:lnTo>
                    <a:pt x="287415" y="783543"/>
                  </a:lnTo>
                  <a:lnTo>
                    <a:pt x="297237" y="782897"/>
                  </a:lnTo>
                  <a:lnTo>
                    <a:pt x="302019" y="781863"/>
                  </a:lnTo>
                  <a:lnTo>
                    <a:pt x="309256" y="781217"/>
                  </a:lnTo>
                  <a:lnTo>
                    <a:pt x="310548" y="780829"/>
                  </a:lnTo>
                  <a:lnTo>
                    <a:pt x="313133" y="779795"/>
                  </a:lnTo>
                  <a:lnTo>
                    <a:pt x="314813" y="779278"/>
                  </a:lnTo>
                  <a:lnTo>
                    <a:pt x="316234" y="779278"/>
                  </a:lnTo>
                  <a:lnTo>
                    <a:pt x="317526" y="779537"/>
                  </a:lnTo>
                  <a:lnTo>
                    <a:pt x="320241" y="780700"/>
                  </a:lnTo>
                  <a:lnTo>
                    <a:pt x="326315" y="782380"/>
                  </a:lnTo>
                  <a:lnTo>
                    <a:pt x="333293" y="782767"/>
                  </a:lnTo>
                  <a:lnTo>
                    <a:pt x="336524" y="783414"/>
                  </a:lnTo>
                  <a:lnTo>
                    <a:pt x="339238" y="784706"/>
                  </a:lnTo>
                  <a:lnTo>
                    <a:pt x="347509" y="788841"/>
                  </a:lnTo>
                  <a:lnTo>
                    <a:pt x="353712" y="790263"/>
                  </a:lnTo>
                  <a:lnTo>
                    <a:pt x="354875" y="790134"/>
                  </a:lnTo>
                  <a:lnTo>
                    <a:pt x="356426" y="789746"/>
                  </a:lnTo>
                  <a:lnTo>
                    <a:pt x="359011" y="787937"/>
                  </a:lnTo>
                  <a:lnTo>
                    <a:pt x="366764" y="788454"/>
                  </a:lnTo>
                  <a:lnTo>
                    <a:pt x="374131" y="789746"/>
                  </a:lnTo>
                  <a:lnTo>
                    <a:pt x="378008" y="789746"/>
                  </a:lnTo>
                  <a:lnTo>
                    <a:pt x="380075" y="790780"/>
                  </a:lnTo>
                  <a:lnTo>
                    <a:pt x="381368" y="791168"/>
                  </a:lnTo>
                  <a:lnTo>
                    <a:pt x="382273" y="790909"/>
                  </a:lnTo>
                  <a:lnTo>
                    <a:pt x="383953" y="789488"/>
                  </a:lnTo>
                  <a:lnTo>
                    <a:pt x="385245" y="788841"/>
                  </a:lnTo>
                  <a:lnTo>
                    <a:pt x="390027" y="787678"/>
                  </a:lnTo>
                  <a:lnTo>
                    <a:pt x="390285" y="787549"/>
                  </a:lnTo>
                  <a:lnTo>
                    <a:pt x="389380" y="780054"/>
                  </a:lnTo>
                  <a:lnTo>
                    <a:pt x="388217" y="775789"/>
                  </a:lnTo>
                  <a:close/>
                  <a:moveTo>
                    <a:pt x="664260" y="503106"/>
                  </a:moveTo>
                  <a:lnTo>
                    <a:pt x="663097" y="503623"/>
                  </a:lnTo>
                  <a:lnTo>
                    <a:pt x="661805" y="504011"/>
                  </a:lnTo>
                  <a:lnTo>
                    <a:pt x="660642" y="504398"/>
                  </a:lnTo>
                  <a:lnTo>
                    <a:pt x="660125" y="505303"/>
                  </a:lnTo>
                  <a:lnTo>
                    <a:pt x="659479" y="505820"/>
                  </a:lnTo>
                  <a:lnTo>
                    <a:pt x="658315" y="506595"/>
                  </a:lnTo>
                  <a:lnTo>
                    <a:pt x="657669" y="507371"/>
                  </a:lnTo>
                  <a:lnTo>
                    <a:pt x="658574" y="507888"/>
                  </a:lnTo>
                  <a:lnTo>
                    <a:pt x="659995" y="507629"/>
                  </a:lnTo>
                  <a:lnTo>
                    <a:pt x="662839" y="505949"/>
                  </a:lnTo>
                  <a:lnTo>
                    <a:pt x="664389" y="505561"/>
                  </a:lnTo>
                  <a:lnTo>
                    <a:pt x="665553" y="504528"/>
                  </a:lnTo>
                  <a:lnTo>
                    <a:pt x="665811" y="503235"/>
                  </a:lnTo>
                  <a:lnTo>
                    <a:pt x="665165" y="502460"/>
                  </a:lnTo>
                  <a:lnTo>
                    <a:pt x="664260" y="503106"/>
                  </a:lnTo>
                  <a:close/>
                  <a:moveTo>
                    <a:pt x="990446" y="905"/>
                  </a:moveTo>
                  <a:lnTo>
                    <a:pt x="987732" y="0"/>
                  </a:lnTo>
                  <a:lnTo>
                    <a:pt x="984889" y="646"/>
                  </a:lnTo>
                  <a:lnTo>
                    <a:pt x="983209" y="2068"/>
                  </a:lnTo>
                  <a:lnTo>
                    <a:pt x="982950" y="3489"/>
                  </a:lnTo>
                  <a:lnTo>
                    <a:pt x="983467" y="4911"/>
                  </a:lnTo>
                  <a:lnTo>
                    <a:pt x="984630" y="5945"/>
                  </a:lnTo>
                  <a:lnTo>
                    <a:pt x="986827" y="6332"/>
                  </a:lnTo>
                  <a:lnTo>
                    <a:pt x="989024" y="6074"/>
                  </a:lnTo>
                  <a:lnTo>
                    <a:pt x="990316" y="5299"/>
                  </a:lnTo>
                  <a:lnTo>
                    <a:pt x="991221" y="4135"/>
                  </a:lnTo>
                  <a:lnTo>
                    <a:pt x="991609" y="2585"/>
                  </a:lnTo>
                  <a:lnTo>
                    <a:pt x="990446" y="905"/>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1" name="Graphic 2">
              <a:extLst>
                <a:ext uri="{FF2B5EF4-FFF2-40B4-BE49-F238E27FC236}">
                  <a16:creationId xmlns:a16="http://schemas.microsoft.com/office/drawing/2014/main" id="{7E1D8F1E-0FF2-52BA-9870-18D4A5EBA5A1}"/>
                </a:ext>
              </a:extLst>
            </p:cNvPr>
            <p:cNvSpPr/>
            <p:nvPr/>
          </p:nvSpPr>
          <p:spPr>
            <a:xfrm>
              <a:off x="6802519" y="4060951"/>
              <a:ext cx="417166" cy="296203"/>
            </a:xfrm>
            <a:custGeom>
              <a:avLst/>
              <a:gdLst>
                <a:gd name="connsiteX0" fmla="*/ 417166 w 417166"/>
                <a:gd name="connsiteY0" fmla="*/ 59964 h 296203"/>
                <a:gd name="connsiteX1" fmla="*/ 417037 w 417166"/>
                <a:gd name="connsiteY1" fmla="*/ 58155 h 296203"/>
                <a:gd name="connsiteX2" fmla="*/ 416520 w 417166"/>
                <a:gd name="connsiteY2" fmla="*/ 56734 h 296203"/>
                <a:gd name="connsiteX3" fmla="*/ 416520 w 417166"/>
                <a:gd name="connsiteY3" fmla="*/ 56604 h 296203"/>
                <a:gd name="connsiteX4" fmla="*/ 414969 w 417166"/>
                <a:gd name="connsiteY4" fmla="*/ 55570 h 296203"/>
                <a:gd name="connsiteX5" fmla="*/ 414064 w 417166"/>
                <a:gd name="connsiteY5" fmla="*/ 53891 h 296203"/>
                <a:gd name="connsiteX6" fmla="*/ 413676 w 417166"/>
                <a:gd name="connsiteY6" fmla="*/ 53503 h 296203"/>
                <a:gd name="connsiteX7" fmla="*/ 413289 w 417166"/>
                <a:gd name="connsiteY7" fmla="*/ 53244 h 296203"/>
                <a:gd name="connsiteX8" fmla="*/ 408378 w 417166"/>
                <a:gd name="connsiteY8" fmla="*/ 51564 h 296203"/>
                <a:gd name="connsiteX9" fmla="*/ 407602 w 417166"/>
                <a:gd name="connsiteY9" fmla="*/ 51177 h 296203"/>
                <a:gd name="connsiteX10" fmla="*/ 406181 w 417166"/>
                <a:gd name="connsiteY10" fmla="*/ 50143 h 296203"/>
                <a:gd name="connsiteX11" fmla="*/ 405535 w 417166"/>
                <a:gd name="connsiteY11" fmla="*/ 49884 h 296203"/>
                <a:gd name="connsiteX12" fmla="*/ 401787 w 417166"/>
                <a:gd name="connsiteY12" fmla="*/ 50014 h 296203"/>
                <a:gd name="connsiteX13" fmla="*/ 394033 w 417166"/>
                <a:gd name="connsiteY13" fmla="*/ 51693 h 296203"/>
                <a:gd name="connsiteX14" fmla="*/ 388864 w 417166"/>
                <a:gd name="connsiteY14" fmla="*/ 51693 h 296203"/>
                <a:gd name="connsiteX15" fmla="*/ 386279 w 417166"/>
                <a:gd name="connsiteY15" fmla="*/ 52210 h 296203"/>
                <a:gd name="connsiteX16" fmla="*/ 385374 w 417166"/>
                <a:gd name="connsiteY16" fmla="*/ 52210 h 296203"/>
                <a:gd name="connsiteX17" fmla="*/ 384341 w 417166"/>
                <a:gd name="connsiteY17" fmla="*/ 51952 h 296203"/>
                <a:gd name="connsiteX18" fmla="*/ 380851 w 417166"/>
                <a:gd name="connsiteY18" fmla="*/ 50401 h 296203"/>
                <a:gd name="connsiteX19" fmla="*/ 380463 w 417166"/>
                <a:gd name="connsiteY19" fmla="*/ 50143 h 296203"/>
                <a:gd name="connsiteX20" fmla="*/ 380205 w 417166"/>
                <a:gd name="connsiteY20" fmla="*/ 49755 h 296203"/>
                <a:gd name="connsiteX21" fmla="*/ 379947 w 417166"/>
                <a:gd name="connsiteY21" fmla="*/ 49238 h 296203"/>
                <a:gd name="connsiteX22" fmla="*/ 379430 w 417166"/>
                <a:gd name="connsiteY22" fmla="*/ 48721 h 296203"/>
                <a:gd name="connsiteX23" fmla="*/ 378525 w 417166"/>
                <a:gd name="connsiteY23" fmla="*/ 48333 h 296203"/>
                <a:gd name="connsiteX24" fmla="*/ 374131 w 417166"/>
                <a:gd name="connsiteY24" fmla="*/ 47300 h 296203"/>
                <a:gd name="connsiteX25" fmla="*/ 371159 w 417166"/>
                <a:gd name="connsiteY25" fmla="*/ 46912 h 296203"/>
                <a:gd name="connsiteX26" fmla="*/ 370125 w 417166"/>
                <a:gd name="connsiteY26" fmla="*/ 47041 h 296203"/>
                <a:gd name="connsiteX27" fmla="*/ 369479 w 417166"/>
                <a:gd name="connsiteY27" fmla="*/ 47300 h 296203"/>
                <a:gd name="connsiteX28" fmla="*/ 367928 w 417166"/>
                <a:gd name="connsiteY28" fmla="*/ 48592 h 296203"/>
                <a:gd name="connsiteX29" fmla="*/ 367023 w 417166"/>
                <a:gd name="connsiteY29" fmla="*/ 48721 h 296203"/>
                <a:gd name="connsiteX30" fmla="*/ 366506 w 417166"/>
                <a:gd name="connsiteY30" fmla="*/ 48592 h 296203"/>
                <a:gd name="connsiteX31" fmla="*/ 365860 w 417166"/>
                <a:gd name="connsiteY31" fmla="*/ 48463 h 296203"/>
                <a:gd name="connsiteX32" fmla="*/ 364051 w 417166"/>
                <a:gd name="connsiteY32" fmla="*/ 47687 h 296203"/>
                <a:gd name="connsiteX33" fmla="*/ 363405 w 417166"/>
                <a:gd name="connsiteY33" fmla="*/ 47300 h 296203"/>
                <a:gd name="connsiteX34" fmla="*/ 361078 w 417166"/>
                <a:gd name="connsiteY34" fmla="*/ 45619 h 296203"/>
                <a:gd name="connsiteX35" fmla="*/ 359399 w 417166"/>
                <a:gd name="connsiteY35" fmla="*/ 44844 h 296203"/>
                <a:gd name="connsiteX36" fmla="*/ 359011 w 417166"/>
                <a:gd name="connsiteY36" fmla="*/ 44844 h 296203"/>
                <a:gd name="connsiteX37" fmla="*/ 358623 w 417166"/>
                <a:gd name="connsiteY37" fmla="*/ 44844 h 296203"/>
                <a:gd name="connsiteX38" fmla="*/ 358236 w 417166"/>
                <a:gd name="connsiteY38" fmla="*/ 45103 h 296203"/>
                <a:gd name="connsiteX39" fmla="*/ 357719 w 417166"/>
                <a:gd name="connsiteY39" fmla="*/ 45361 h 296203"/>
                <a:gd name="connsiteX40" fmla="*/ 357072 w 417166"/>
                <a:gd name="connsiteY40" fmla="*/ 45490 h 296203"/>
                <a:gd name="connsiteX41" fmla="*/ 355134 w 417166"/>
                <a:gd name="connsiteY41" fmla="*/ 45232 h 296203"/>
                <a:gd name="connsiteX42" fmla="*/ 354488 w 417166"/>
                <a:gd name="connsiteY42" fmla="*/ 44973 h 296203"/>
                <a:gd name="connsiteX43" fmla="*/ 353712 w 417166"/>
                <a:gd name="connsiteY43" fmla="*/ 44715 h 296203"/>
                <a:gd name="connsiteX44" fmla="*/ 352937 w 417166"/>
                <a:gd name="connsiteY44" fmla="*/ 44586 h 296203"/>
                <a:gd name="connsiteX45" fmla="*/ 352032 w 417166"/>
                <a:gd name="connsiteY45" fmla="*/ 44327 h 296203"/>
                <a:gd name="connsiteX46" fmla="*/ 350998 w 417166"/>
                <a:gd name="connsiteY46" fmla="*/ 43810 h 296203"/>
                <a:gd name="connsiteX47" fmla="*/ 349189 w 417166"/>
                <a:gd name="connsiteY47" fmla="*/ 42647 h 296203"/>
                <a:gd name="connsiteX48" fmla="*/ 347251 w 417166"/>
                <a:gd name="connsiteY48" fmla="*/ 41743 h 296203"/>
                <a:gd name="connsiteX49" fmla="*/ 346088 w 417166"/>
                <a:gd name="connsiteY49" fmla="*/ 41226 h 296203"/>
                <a:gd name="connsiteX50" fmla="*/ 343373 w 417166"/>
                <a:gd name="connsiteY50" fmla="*/ 40450 h 296203"/>
                <a:gd name="connsiteX51" fmla="*/ 342727 w 417166"/>
                <a:gd name="connsiteY51" fmla="*/ 40062 h 296203"/>
                <a:gd name="connsiteX52" fmla="*/ 340530 w 417166"/>
                <a:gd name="connsiteY52" fmla="*/ 38253 h 296203"/>
                <a:gd name="connsiteX53" fmla="*/ 340272 w 417166"/>
                <a:gd name="connsiteY53" fmla="*/ 38124 h 296203"/>
                <a:gd name="connsiteX54" fmla="*/ 339238 w 417166"/>
                <a:gd name="connsiteY54" fmla="*/ 37736 h 296203"/>
                <a:gd name="connsiteX55" fmla="*/ 338592 w 417166"/>
                <a:gd name="connsiteY55" fmla="*/ 37607 h 296203"/>
                <a:gd name="connsiteX56" fmla="*/ 337946 w 417166"/>
                <a:gd name="connsiteY56" fmla="*/ 37607 h 296203"/>
                <a:gd name="connsiteX57" fmla="*/ 337429 w 417166"/>
                <a:gd name="connsiteY57" fmla="*/ 37736 h 296203"/>
                <a:gd name="connsiteX58" fmla="*/ 336912 w 417166"/>
                <a:gd name="connsiteY58" fmla="*/ 37995 h 296203"/>
                <a:gd name="connsiteX59" fmla="*/ 336524 w 417166"/>
                <a:gd name="connsiteY59" fmla="*/ 37995 h 296203"/>
                <a:gd name="connsiteX60" fmla="*/ 336266 w 417166"/>
                <a:gd name="connsiteY60" fmla="*/ 37736 h 296203"/>
                <a:gd name="connsiteX61" fmla="*/ 336395 w 417166"/>
                <a:gd name="connsiteY61" fmla="*/ 36961 h 296203"/>
                <a:gd name="connsiteX62" fmla="*/ 336395 w 417166"/>
                <a:gd name="connsiteY62" fmla="*/ 36444 h 296203"/>
                <a:gd name="connsiteX63" fmla="*/ 336136 w 417166"/>
                <a:gd name="connsiteY63" fmla="*/ 35927 h 296203"/>
                <a:gd name="connsiteX64" fmla="*/ 335490 w 417166"/>
                <a:gd name="connsiteY64" fmla="*/ 35539 h 296203"/>
                <a:gd name="connsiteX65" fmla="*/ 335103 w 417166"/>
                <a:gd name="connsiteY65" fmla="*/ 35022 h 296203"/>
                <a:gd name="connsiteX66" fmla="*/ 335103 w 417166"/>
                <a:gd name="connsiteY66" fmla="*/ 33988 h 296203"/>
                <a:gd name="connsiteX67" fmla="*/ 335232 w 417166"/>
                <a:gd name="connsiteY67" fmla="*/ 33213 h 296203"/>
                <a:gd name="connsiteX68" fmla="*/ 335232 w 417166"/>
                <a:gd name="connsiteY68" fmla="*/ 32308 h 296203"/>
                <a:gd name="connsiteX69" fmla="*/ 334844 w 417166"/>
                <a:gd name="connsiteY69" fmla="*/ 30499 h 296203"/>
                <a:gd name="connsiteX70" fmla="*/ 334973 w 417166"/>
                <a:gd name="connsiteY70" fmla="*/ 29982 h 296203"/>
                <a:gd name="connsiteX71" fmla="*/ 335361 w 417166"/>
                <a:gd name="connsiteY71" fmla="*/ 29595 h 296203"/>
                <a:gd name="connsiteX72" fmla="*/ 335620 w 417166"/>
                <a:gd name="connsiteY72" fmla="*/ 28948 h 296203"/>
                <a:gd name="connsiteX73" fmla="*/ 335749 w 417166"/>
                <a:gd name="connsiteY73" fmla="*/ 28044 h 296203"/>
                <a:gd name="connsiteX74" fmla="*/ 335878 w 417166"/>
                <a:gd name="connsiteY74" fmla="*/ 27398 h 296203"/>
                <a:gd name="connsiteX75" fmla="*/ 336007 w 417166"/>
                <a:gd name="connsiteY75" fmla="*/ 26751 h 296203"/>
                <a:gd name="connsiteX76" fmla="*/ 336007 w 417166"/>
                <a:gd name="connsiteY76" fmla="*/ 25588 h 296203"/>
                <a:gd name="connsiteX77" fmla="*/ 336395 w 417166"/>
                <a:gd name="connsiteY77" fmla="*/ 24167 h 296203"/>
                <a:gd name="connsiteX78" fmla="*/ 336524 w 417166"/>
                <a:gd name="connsiteY78" fmla="*/ 23521 h 296203"/>
                <a:gd name="connsiteX79" fmla="*/ 336524 w 417166"/>
                <a:gd name="connsiteY79" fmla="*/ 22874 h 296203"/>
                <a:gd name="connsiteX80" fmla="*/ 335878 w 417166"/>
                <a:gd name="connsiteY80" fmla="*/ 20807 h 296203"/>
                <a:gd name="connsiteX81" fmla="*/ 334973 w 417166"/>
                <a:gd name="connsiteY81" fmla="*/ 18739 h 296203"/>
                <a:gd name="connsiteX82" fmla="*/ 334715 w 417166"/>
                <a:gd name="connsiteY82" fmla="*/ 17576 h 296203"/>
                <a:gd name="connsiteX83" fmla="*/ 334715 w 417166"/>
                <a:gd name="connsiteY83" fmla="*/ 16671 h 296203"/>
                <a:gd name="connsiteX84" fmla="*/ 335232 w 417166"/>
                <a:gd name="connsiteY84" fmla="*/ 15508 h 296203"/>
                <a:gd name="connsiteX85" fmla="*/ 335361 w 417166"/>
                <a:gd name="connsiteY85" fmla="*/ 14733 h 296203"/>
                <a:gd name="connsiteX86" fmla="*/ 335361 w 417166"/>
                <a:gd name="connsiteY86" fmla="*/ 12794 h 296203"/>
                <a:gd name="connsiteX87" fmla="*/ 335490 w 417166"/>
                <a:gd name="connsiteY87" fmla="*/ 12148 h 296203"/>
                <a:gd name="connsiteX88" fmla="*/ 335749 w 417166"/>
                <a:gd name="connsiteY88" fmla="*/ 11631 h 296203"/>
                <a:gd name="connsiteX89" fmla="*/ 335878 w 417166"/>
                <a:gd name="connsiteY89" fmla="*/ 11114 h 296203"/>
                <a:gd name="connsiteX90" fmla="*/ 335620 w 417166"/>
                <a:gd name="connsiteY90" fmla="*/ 10597 h 296203"/>
                <a:gd name="connsiteX91" fmla="*/ 334586 w 417166"/>
                <a:gd name="connsiteY91" fmla="*/ 10210 h 296203"/>
                <a:gd name="connsiteX92" fmla="*/ 333940 w 417166"/>
                <a:gd name="connsiteY92" fmla="*/ 9822 h 296203"/>
                <a:gd name="connsiteX93" fmla="*/ 333423 w 417166"/>
                <a:gd name="connsiteY93" fmla="*/ 9047 h 296203"/>
                <a:gd name="connsiteX94" fmla="*/ 333293 w 417166"/>
                <a:gd name="connsiteY94" fmla="*/ 8271 h 296203"/>
                <a:gd name="connsiteX95" fmla="*/ 333552 w 417166"/>
                <a:gd name="connsiteY95" fmla="*/ 6203 h 296203"/>
                <a:gd name="connsiteX96" fmla="*/ 333552 w 417166"/>
                <a:gd name="connsiteY96" fmla="*/ 5557 h 296203"/>
                <a:gd name="connsiteX97" fmla="*/ 333423 w 417166"/>
                <a:gd name="connsiteY97" fmla="*/ 5040 h 296203"/>
                <a:gd name="connsiteX98" fmla="*/ 333035 w 417166"/>
                <a:gd name="connsiteY98" fmla="*/ 4652 h 296203"/>
                <a:gd name="connsiteX99" fmla="*/ 332647 w 417166"/>
                <a:gd name="connsiteY99" fmla="*/ 4265 h 296203"/>
                <a:gd name="connsiteX100" fmla="*/ 331742 w 417166"/>
                <a:gd name="connsiteY100" fmla="*/ 3877 h 296203"/>
                <a:gd name="connsiteX101" fmla="*/ 325927 w 417166"/>
                <a:gd name="connsiteY101" fmla="*/ 2326 h 296203"/>
                <a:gd name="connsiteX102" fmla="*/ 320241 w 417166"/>
                <a:gd name="connsiteY102" fmla="*/ 0 h 296203"/>
                <a:gd name="connsiteX103" fmla="*/ 319336 w 417166"/>
                <a:gd name="connsiteY103" fmla="*/ 1422 h 296203"/>
                <a:gd name="connsiteX104" fmla="*/ 318819 w 417166"/>
                <a:gd name="connsiteY104" fmla="*/ 1809 h 296203"/>
                <a:gd name="connsiteX105" fmla="*/ 318044 w 417166"/>
                <a:gd name="connsiteY105" fmla="*/ 2326 h 296203"/>
                <a:gd name="connsiteX106" fmla="*/ 316622 w 417166"/>
                <a:gd name="connsiteY106" fmla="*/ 2714 h 296203"/>
                <a:gd name="connsiteX107" fmla="*/ 315588 w 417166"/>
                <a:gd name="connsiteY107" fmla="*/ 2714 h 296203"/>
                <a:gd name="connsiteX108" fmla="*/ 314167 w 417166"/>
                <a:gd name="connsiteY108" fmla="*/ 3102 h 296203"/>
                <a:gd name="connsiteX109" fmla="*/ 313392 w 417166"/>
                <a:gd name="connsiteY109" fmla="*/ 5686 h 296203"/>
                <a:gd name="connsiteX110" fmla="*/ 313520 w 417166"/>
                <a:gd name="connsiteY110" fmla="*/ 6979 h 296203"/>
                <a:gd name="connsiteX111" fmla="*/ 313262 w 417166"/>
                <a:gd name="connsiteY111" fmla="*/ 7754 h 296203"/>
                <a:gd name="connsiteX112" fmla="*/ 311582 w 417166"/>
                <a:gd name="connsiteY112" fmla="*/ 10726 h 296203"/>
                <a:gd name="connsiteX113" fmla="*/ 309773 w 417166"/>
                <a:gd name="connsiteY113" fmla="*/ 14991 h 296203"/>
                <a:gd name="connsiteX114" fmla="*/ 309256 w 417166"/>
                <a:gd name="connsiteY114" fmla="*/ 15767 h 296203"/>
                <a:gd name="connsiteX115" fmla="*/ 308222 w 417166"/>
                <a:gd name="connsiteY115" fmla="*/ 16671 h 296203"/>
                <a:gd name="connsiteX116" fmla="*/ 307446 w 417166"/>
                <a:gd name="connsiteY116" fmla="*/ 17059 h 296203"/>
                <a:gd name="connsiteX117" fmla="*/ 306800 w 417166"/>
                <a:gd name="connsiteY117" fmla="*/ 17317 h 296203"/>
                <a:gd name="connsiteX118" fmla="*/ 306154 w 417166"/>
                <a:gd name="connsiteY118" fmla="*/ 17447 h 296203"/>
                <a:gd name="connsiteX119" fmla="*/ 305508 w 417166"/>
                <a:gd name="connsiteY119" fmla="*/ 17576 h 296203"/>
                <a:gd name="connsiteX120" fmla="*/ 304862 w 417166"/>
                <a:gd name="connsiteY120" fmla="*/ 17576 h 296203"/>
                <a:gd name="connsiteX121" fmla="*/ 304345 w 417166"/>
                <a:gd name="connsiteY121" fmla="*/ 17317 h 296203"/>
                <a:gd name="connsiteX122" fmla="*/ 303828 w 417166"/>
                <a:gd name="connsiteY122" fmla="*/ 16930 h 296203"/>
                <a:gd name="connsiteX123" fmla="*/ 303440 w 417166"/>
                <a:gd name="connsiteY123" fmla="*/ 16542 h 296203"/>
                <a:gd name="connsiteX124" fmla="*/ 303053 w 417166"/>
                <a:gd name="connsiteY124" fmla="*/ 16284 h 296203"/>
                <a:gd name="connsiteX125" fmla="*/ 302407 w 417166"/>
                <a:gd name="connsiteY125" fmla="*/ 16284 h 296203"/>
                <a:gd name="connsiteX126" fmla="*/ 300597 w 417166"/>
                <a:gd name="connsiteY126" fmla="*/ 16930 h 296203"/>
                <a:gd name="connsiteX127" fmla="*/ 299434 w 417166"/>
                <a:gd name="connsiteY127" fmla="*/ 17188 h 296203"/>
                <a:gd name="connsiteX128" fmla="*/ 298788 w 417166"/>
                <a:gd name="connsiteY128" fmla="*/ 17188 h 296203"/>
                <a:gd name="connsiteX129" fmla="*/ 298142 w 417166"/>
                <a:gd name="connsiteY129" fmla="*/ 17059 h 296203"/>
                <a:gd name="connsiteX130" fmla="*/ 297625 w 417166"/>
                <a:gd name="connsiteY130" fmla="*/ 16800 h 296203"/>
                <a:gd name="connsiteX131" fmla="*/ 296591 w 417166"/>
                <a:gd name="connsiteY131" fmla="*/ 16154 h 296203"/>
                <a:gd name="connsiteX132" fmla="*/ 296074 w 417166"/>
                <a:gd name="connsiteY132" fmla="*/ 16154 h 296203"/>
                <a:gd name="connsiteX133" fmla="*/ 295428 w 417166"/>
                <a:gd name="connsiteY133" fmla="*/ 16542 h 296203"/>
                <a:gd name="connsiteX134" fmla="*/ 294653 w 417166"/>
                <a:gd name="connsiteY134" fmla="*/ 17576 h 296203"/>
                <a:gd name="connsiteX135" fmla="*/ 293489 w 417166"/>
                <a:gd name="connsiteY135" fmla="*/ 18739 h 296203"/>
                <a:gd name="connsiteX136" fmla="*/ 292455 w 417166"/>
                <a:gd name="connsiteY136" fmla="*/ 19385 h 296203"/>
                <a:gd name="connsiteX137" fmla="*/ 291422 w 417166"/>
                <a:gd name="connsiteY137" fmla="*/ 19902 h 296203"/>
                <a:gd name="connsiteX138" fmla="*/ 291034 w 417166"/>
                <a:gd name="connsiteY138" fmla="*/ 20419 h 296203"/>
                <a:gd name="connsiteX139" fmla="*/ 290776 w 417166"/>
                <a:gd name="connsiteY139" fmla="*/ 21194 h 296203"/>
                <a:gd name="connsiteX140" fmla="*/ 290905 w 417166"/>
                <a:gd name="connsiteY140" fmla="*/ 22745 h 296203"/>
                <a:gd name="connsiteX141" fmla="*/ 291163 w 417166"/>
                <a:gd name="connsiteY141" fmla="*/ 23650 h 296203"/>
                <a:gd name="connsiteX142" fmla="*/ 291551 w 417166"/>
                <a:gd name="connsiteY142" fmla="*/ 24296 h 296203"/>
                <a:gd name="connsiteX143" fmla="*/ 292068 w 417166"/>
                <a:gd name="connsiteY143" fmla="*/ 24684 h 296203"/>
                <a:gd name="connsiteX144" fmla="*/ 292585 w 417166"/>
                <a:gd name="connsiteY144" fmla="*/ 24942 h 296203"/>
                <a:gd name="connsiteX145" fmla="*/ 293231 w 417166"/>
                <a:gd name="connsiteY145" fmla="*/ 25071 h 296203"/>
                <a:gd name="connsiteX146" fmla="*/ 294653 w 417166"/>
                <a:gd name="connsiteY146" fmla="*/ 25201 h 296203"/>
                <a:gd name="connsiteX147" fmla="*/ 295428 w 417166"/>
                <a:gd name="connsiteY147" fmla="*/ 25330 h 296203"/>
                <a:gd name="connsiteX148" fmla="*/ 295557 w 417166"/>
                <a:gd name="connsiteY148" fmla="*/ 25459 h 296203"/>
                <a:gd name="connsiteX149" fmla="*/ 295686 w 417166"/>
                <a:gd name="connsiteY149" fmla="*/ 25588 h 296203"/>
                <a:gd name="connsiteX150" fmla="*/ 295557 w 417166"/>
                <a:gd name="connsiteY150" fmla="*/ 26751 h 296203"/>
                <a:gd name="connsiteX151" fmla="*/ 294911 w 417166"/>
                <a:gd name="connsiteY151" fmla="*/ 28690 h 296203"/>
                <a:gd name="connsiteX152" fmla="*/ 292972 w 417166"/>
                <a:gd name="connsiteY152" fmla="*/ 33084 h 296203"/>
                <a:gd name="connsiteX153" fmla="*/ 291939 w 417166"/>
                <a:gd name="connsiteY153" fmla="*/ 34893 h 296203"/>
                <a:gd name="connsiteX154" fmla="*/ 290517 w 417166"/>
                <a:gd name="connsiteY154" fmla="*/ 36702 h 296203"/>
                <a:gd name="connsiteX155" fmla="*/ 289871 w 417166"/>
                <a:gd name="connsiteY155" fmla="*/ 37736 h 296203"/>
                <a:gd name="connsiteX156" fmla="*/ 288966 w 417166"/>
                <a:gd name="connsiteY156" fmla="*/ 39933 h 296203"/>
                <a:gd name="connsiteX157" fmla="*/ 288449 w 417166"/>
                <a:gd name="connsiteY157" fmla="*/ 40967 h 296203"/>
                <a:gd name="connsiteX158" fmla="*/ 287933 w 417166"/>
                <a:gd name="connsiteY158" fmla="*/ 41743 h 296203"/>
                <a:gd name="connsiteX159" fmla="*/ 287157 w 417166"/>
                <a:gd name="connsiteY159" fmla="*/ 42518 h 296203"/>
                <a:gd name="connsiteX160" fmla="*/ 286898 w 417166"/>
                <a:gd name="connsiteY160" fmla="*/ 43293 h 296203"/>
                <a:gd name="connsiteX161" fmla="*/ 286640 w 417166"/>
                <a:gd name="connsiteY161" fmla="*/ 44198 h 296203"/>
                <a:gd name="connsiteX162" fmla="*/ 286640 w 417166"/>
                <a:gd name="connsiteY162" fmla="*/ 46007 h 296203"/>
                <a:gd name="connsiteX163" fmla="*/ 286769 w 417166"/>
                <a:gd name="connsiteY163" fmla="*/ 47041 h 296203"/>
                <a:gd name="connsiteX164" fmla="*/ 286898 w 417166"/>
                <a:gd name="connsiteY164" fmla="*/ 47817 h 296203"/>
                <a:gd name="connsiteX165" fmla="*/ 286898 w 417166"/>
                <a:gd name="connsiteY165" fmla="*/ 48721 h 296203"/>
                <a:gd name="connsiteX166" fmla="*/ 286640 w 417166"/>
                <a:gd name="connsiteY166" fmla="*/ 50014 h 296203"/>
                <a:gd name="connsiteX167" fmla="*/ 283926 w 417166"/>
                <a:gd name="connsiteY167" fmla="*/ 55570 h 296203"/>
                <a:gd name="connsiteX168" fmla="*/ 283280 w 417166"/>
                <a:gd name="connsiteY168" fmla="*/ 58026 h 296203"/>
                <a:gd name="connsiteX169" fmla="*/ 282505 w 417166"/>
                <a:gd name="connsiteY169" fmla="*/ 63971 h 296203"/>
                <a:gd name="connsiteX170" fmla="*/ 276560 w 417166"/>
                <a:gd name="connsiteY170" fmla="*/ 68235 h 296203"/>
                <a:gd name="connsiteX171" fmla="*/ 275913 w 417166"/>
                <a:gd name="connsiteY171" fmla="*/ 69140 h 296203"/>
                <a:gd name="connsiteX172" fmla="*/ 274621 w 417166"/>
                <a:gd name="connsiteY172" fmla="*/ 71854 h 296203"/>
                <a:gd name="connsiteX173" fmla="*/ 274492 w 417166"/>
                <a:gd name="connsiteY173" fmla="*/ 72500 h 296203"/>
                <a:gd name="connsiteX174" fmla="*/ 274492 w 417166"/>
                <a:gd name="connsiteY174" fmla="*/ 73534 h 296203"/>
                <a:gd name="connsiteX175" fmla="*/ 274750 w 417166"/>
                <a:gd name="connsiteY175" fmla="*/ 77540 h 296203"/>
                <a:gd name="connsiteX176" fmla="*/ 274492 w 417166"/>
                <a:gd name="connsiteY176" fmla="*/ 79608 h 296203"/>
                <a:gd name="connsiteX177" fmla="*/ 274234 w 417166"/>
                <a:gd name="connsiteY177" fmla="*/ 80642 h 296203"/>
                <a:gd name="connsiteX178" fmla="*/ 273975 w 417166"/>
                <a:gd name="connsiteY178" fmla="*/ 81159 h 296203"/>
                <a:gd name="connsiteX179" fmla="*/ 269064 w 417166"/>
                <a:gd name="connsiteY179" fmla="*/ 89042 h 296203"/>
                <a:gd name="connsiteX180" fmla="*/ 266996 w 417166"/>
                <a:gd name="connsiteY180" fmla="*/ 93436 h 296203"/>
                <a:gd name="connsiteX181" fmla="*/ 266609 w 417166"/>
                <a:gd name="connsiteY181" fmla="*/ 96796 h 296203"/>
                <a:gd name="connsiteX182" fmla="*/ 266609 w 417166"/>
                <a:gd name="connsiteY182" fmla="*/ 97571 h 296203"/>
                <a:gd name="connsiteX183" fmla="*/ 266738 w 417166"/>
                <a:gd name="connsiteY183" fmla="*/ 98088 h 296203"/>
                <a:gd name="connsiteX184" fmla="*/ 267513 w 417166"/>
                <a:gd name="connsiteY184" fmla="*/ 98347 h 296203"/>
                <a:gd name="connsiteX185" fmla="*/ 268160 w 417166"/>
                <a:gd name="connsiteY185" fmla="*/ 98347 h 296203"/>
                <a:gd name="connsiteX186" fmla="*/ 268935 w 417166"/>
                <a:gd name="connsiteY186" fmla="*/ 98347 h 296203"/>
                <a:gd name="connsiteX187" fmla="*/ 269711 w 417166"/>
                <a:gd name="connsiteY187" fmla="*/ 98605 h 296203"/>
                <a:gd name="connsiteX188" fmla="*/ 270874 w 417166"/>
                <a:gd name="connsiteY188" fmla="*/ 99122 h 296203"/>
                <a:gd name="connsiteX189" fmla="*/ 271649 w 417166"/>
                <a:gd name="connsiteY189" fmla="*/ 99122 h 296203"/>
                <a:gd name="connsiteX190" fmla="*/ 272295 w 417166"/>
                <a:gd name="connsiteY190" fmla="*/ 98993 h 296203"/>
                <a:gd name="connsiteX191" fmla="*/ 272812 w 417166"/>
                <a:gd name="connsiteY191" fmla="*/ 98734 h 296203"/>
                <a:gd name="connsiteX192" fmla="*/ 273458 w 417166"/>
                <a:gd name="connsiteY192" fmla="*/ 98605 h 296203"/>
                <a:gd name="connsiteX193" fmla="*/ 274104 w 417166"/>
                <a:gd name="connsiteY193" fmla="*/ 98605 h 296203"/>
                <a:gd name="connsiteX194" fmla="*/ 274750 w 417166"/>
                <a:gd name="connsiteY194" fmla="*/ 98734 h 296203"/>
                <a:gd name="connsiteX195" fmla="*/ 275397 w 417166"/>
                <a:gd name="connsiteY195" fmla="*/ 98993 h 296203"/>
                <a:gd name="connsiteX196" fmla="*/ 275913 w 417166"/>
                <a:gd name="connsiteY196" fmla="*/ 99251 h 296203"/>
                <a:gd name="connsiteX197" fmla="*/ 276431 w 417166"/>
                <a:gd name="connsiteY197" fmla="*/ 99639 h 296203"/>
                <a:gd name="connsiteX198" fmla="*/ 276948 w 417166"/>
                <a:gd name="connsiteY198" fmla="*/ 100156 h 296203"/>
                <a:gd name="connsiteX199" fmla="*/ 277465 w 417166"/>
                <a:gd name="connsiteY199" fmla="*/ 100802 h 296203"/>
                <a:gd name="connsiteX200" fmla="*/ 277981 w 417166"/>
                <a:gd name="connsiteY200" fmla="*/ 102095 h 296203"/>
                <a:gd name="connsiteX201" fmla="*/ 278111 w 417166"/>
                <a:gd name="connsiteY201" fmla="*/ 102741 h 296203"/>
                <a:gd name="connsiteX202" fmla="*/ 277981 w 417166"/>
                <a:gd name="connsiteY202" fmla="*/ 104421 h 296203"/>
                <a:gd name="connsiteX203" fmla="*/ 276301 w 417166"/>
                <a:gd name="connsiteY203" fmla="*/ 107393 h 296203"/>
                <a:gd name="connsiteX204" fmla="*/ 275009 w 417166"/>
                <a:gd name="connsiteY204" fmla="*/ 107910 h 296203"/>
                <a:gd name="connsiteX205" fmla="*/ 272941 w 417166"/>
                <a:gd name="connsiteY205" fmla="*/ 109848 h 296203"/>
                <a:gd name="connsiteX206" fmla="*/ 271778 w 417166"/>
                <a:gd name="connsiteY206" fmla="*/ 110495 h 296203"/>
                <a:gd name="connsiteX207" fmla="*/ 270486 w 417166"/>
                <a:gd name="connsiteY207" fmla="*/ 110495 h 296203"/>
                <a:gd name="connsiteX208" fmla="*/ 268418 w 417166"/>
                <a:gd name="connsiteY208" fmla="*/ 109719 h 296203"/>
                <a:gd name="connsiteX209" fmla="*/ 267255 w 417166"/>
                <a:gd name="connsiteY209" fmla="*/ 109719 h 296203"/>
                <a:gd name="connsiteX210" fmla="*/ 266221 w 417166"/>
                <a:gd name="connsiteY210" fmla="*/ 110495 h 296203"/>
                <a:gd name="connsiteX211" fmla="*/ 264800 w 417166"/>
                <a:gd name="connsiteY211" fmla="*/ 111916 h 296203"/>
                <a:gd name="connsiteX212" fmla="*/ 263119 w 417166"/>
                <a:gd name="connsiteY212" fmla="*/ 113209 h 296203"/>
                <a:gd name="connsiteX213" fmla="*/ 257304 w 417166"/>
                <a:gd name="connsiteY213" fmla="*/ 114630 h 296203"/>
                <a:gd name="connsiteX214" fmla="*/ 246965 w 417166"/>
                <a:gd name="connsiteY214" fmla="*/ 120704 h 296203"/>
                <a:gd name="connsiteX215" fmla="*/ 233654 w 417166"/>
                <a:gd name="connsiteY215" fmla="*/ 125486 h 296203"/>
                <a:gd name="connsiteX216" fmla="*/ 225771 w 417166"/>
                <a:gd name="connsiteY216" fmla="*/ 130009 h 296203"/>
                <a:gd name="connsiteX217" fmla="*/ 211555 w 417166"/>
                <a:gd name="connsiteY217" fmla="*/ 135695 h 296203"/>
                <a:gd name="connsiteX218" fmla="*/ 209746 w 417166"/>
                <a:gd name="connsiteY218" fmla="*/ 136858 h 296203"/>
                <a:gd name="connsiteX219" fmla="*/ 206386 w 417166"/>
                <a:gd name="connsiteY219" fmla="*/ 139960 h 296203"/>
                <a:gd name="connsiteX220" fmla="*/ 204706 w 417166"/>
                <a:gd name="connsiteY220" fmla="*/ 140865 h 296203"/>
                <a:gd name="connsiteX221" fmla="*/ 197986 w 417166"/>
                <a:gd name="connsiteY221" fmla="*/ 141899 h 296203"/>
                <a:gd name="connsiteX222" fmla="*/ 195530 w 417166"/>
                <a:gd name="connsiteY222" fmla="*/ 143191 h 296203"/>
                <a:gd name="connsiteX223" fmla="*/ 194755 w 417166"/>
                <a:gd name="connsiteY223" fmla="*/ 144612 h 296203"/>
                <a:gd name="connsiteX224" fmla="*/ 194367 w 417166"/>
                <a:gd name="connsiteY224" fmla="*/ 146422 h 296203"/>
                <a:gd name="connsiteX225" fmla="*/ 193204 w 417166"/>
                <a:gd name="connsiteY225" fmla="*/ 148619 h 296203"/>
                <a:gd name="connsiteX226" fmla="*/ 192429 w 417166"/>
                <a:gd name="connsiteY226" fmla="*/ 148877 h 296203"/>
                <a:gd name="connsiteX227" fmla="*/ 189844 w 417166"/>
                <a:gd name="connsiteY227" fmla="*/ 148102 h 296203"/>
                <a:gd name="connsiteX228" fmla="*/ 188552 w 417166"/>
                <a:gd name="connsiteY228" fmla="*/ 148102 h 296203"/>
                <a:gd name="connsiteX229" fmla="*/ 187389 w 417166"/>
                <a:gd name="connsiteY229" fmla="*/ 148877 h 296203"/>
                <a:gd name="connsiteX230" fmla="*/ 186096 w 417166"/>
                <a:gd name="connsiteY230" fmla="*/ 150816 h 296203"/>
                <a:gd name="connsiteX231" fmla="*/ 184804 w 417166"/>
                <a:gd name="connsiteY231" fmla="*/ 151203 h 296203"/>
                <a:gd name="connsiteX232" fmla="*/ 184545 w 417166"/>
                <a:gd name="connsiteY232" fmla="*/ 150816 h 296203"/>
                <a:gd name="connsiteX233" fmla="*/ 184287 w 417166"/>
                <a:gd name="connsiteY233" fmla="*/ 150299 h 296203"/>
                <a:gd name="connsiteX234" fmla="*/ 183899 w 417166"/>
                <a:gd name="connsiteY234" fmla="*/ 149394 h 296203"/>
                <a:gd name="connsiteX235" fmla="*/ 183770 w 417166"/>
                <a:gd name="connsiteY235" fmla="*/ 149006 h 296203"/>
                <a:gd name="connsiteX236" fmla="*/ 183770 w 417166"/>
                <a:gd name="connsiteY236" fmla="*/ 148489 h 296203"/>
                <a:gd name="connsiteX237" fmla="*/ 183899 w 417166"/>
                <a:gd name="connsiteY237" fmla="*/ 147973 h 296203"/>
                <a:gd name="connsiteX238" fmla="*/ 184158 w 417166"/>
                <a:gd name="connsiteY238" fmla="*/ 147455 h 296203"/>
                <a:gd name="connsiteX239" fmla="*/ 184545 w 417166"/>
                <a:gd name="connsiteY239" fmla="*/ 147068 h 296203"/>
                <a:gd name="connsiteX240" fmla="*/ 184933 w 417166"/>
                <a:gd name="connsiteY240" fmla="*/ 146551 h 296203"/>
                <a:gd name="connsiteX241" fmla="*/ 185192 w 417166"/>
                <a:gd name="connsiteY241" fmla="*/ 146034 h 296203"/>
                <a:gd name="connsiteX242" fmla="*/ 185321 w 417166"/>
                <a:gd name="connsiteY242" fmla="*/ 145388 h 296203"/>
                <a:gd name="connsiteX243" fmla="*/ 185450 w 417166"/>
                <a:gd name="connsiteY243" fmla="*/ 144612 h 296203"/>
                <a:gd name="connsiteX244" fmla="*/ 185450 w 417166"/>
                <a:gd name="connsiteY244" fmla="*/ 143966 h 296203"/>
                <a:gd name="connsiteX245" fmla="*/ 185321 w 417166"/>
                <a:gd name="connsiteY245" fmla="*/ 143320 h 296203"/>
                <a:gd name="connsiteX246" fmla="*/ 185063 w 417166"/>
                <a:gd name="connsiteY246" fmla="*/ 142932 h 296203"/>
                <a:gd name="connsiteX247" fmla="*/ 184545 w 417166"/>
                <a:gd name="connsiteY247" fmla="*/ 142674 h 296203"/>
                <a:gd name="connsiteX248" fmla="*/ 181444 w 417166"/>
                <a:gd name="connsiteY248" fmla="*/ 142415 h 296203"/>
                <a:gd name="connsiteX249" fmla="*/ 178989 w 417166"/>
                <a:gd name="connsiteY249" fmla="*/ 142803 h 296203"/>
                <a:gd name="connsiteX250" fmla="*/ 177567 w 417166"/>
                <a:gd name="connsiteY250" fmla="*/ 142803 h 296203"/>
                <a:gd name="connsiteX251" fmla="*/ 175758 w 417166"/>
                <a:gd name="connsiteY251" fmla="*/ 142674 h 296203"/>
                <a:gd name="connsiteX252" fmla="*/ 174853 w 417166"/>
                <a:gd name="connsiteY252" fmla="*/ 142415 h 296203"/>
                <a:gd name="connsiteX253" fmla="*/ 174207 w 417166"/>
                <a:gd name="connsiteY253" fmla="*/ 142028 h 296203"/>
                <a:gd name="connsiteX254" fmla="*/ 173302 w 417166"/>
                <a:gd name="connsiteY254" fmla="*/ 141381 h 296203"/>
                <a:gd name="connsiteX255" fmla="*/ 172785 w 417166"/>
                <a:gd name="connsiteY255" fmla="*/ 141123 h 296203"/>
                <a:gd name="connsiteX256" fmla="*/ 172139 w 417166"/>
                <a:gd name="connsiteY256" fmla="*/ 140865 h 296203"/>
                <a:gd name="connsiteX257" fmla="*/ 171105 w 417166"/>
                <a:gd name="connsiteY257" fmla="*/ 140865 h 296203"/>
                <a:gd name="connsiteX258" fmla="*/ 167487 w 417166"/>
                <a:gd name="connsiteY258" fmla="*/ 141123 h 296203"/>
                <a:gd name="connsiteX259" fmla="*/ 166323 w 417166"/>
                <a:gd name="connsiteY259" fmla="*/ 141123 h 296203"/>
                <a:gd name="connsiteX260" fmla="*/ 165548 w 417166"/>
                <a:gd name="connsiteY260" fmla="*/ 140994 h 296203"/>
                <a:gd name="connsiteX261" fmla="*/ 165031 w 417166"/>
                <a:gd name="connsiteY261" fmla="*/ 140735 h 296203"/>
                <a:gd name="connsiteX262" fmla="*/ 164644 w 417166"/>
                <a:gd name="connsiteY262" fmla="*/ 140606 h 296203"/>
                <a:gd name="connsiteX263" fmla="*/ 164127 w 417166"/>
                <a:gd name="connsiteY263" fmla="*/ 140477 h 296203"/>
                <a:gd name="connsiteX264" fmla="*/ 162447 w 417166"/>
                <a:gd name="connsiteY264" fmla="*/ 140477 h 296203"/>
                <a:gd name="connsiteX265" fmla="*/ 159733 w 417166"/>
                <a:gd name="connsiteY265" fmla="*/ 141381 h 296203"/>
                <a:gd name="connsiteX266" fmla="*/ 151333 w 417166"/>
                <a:gd name="connsiteY266" fmla="*/ 145775 h 296203"/>
                <a:gd name="connsiteX267" fmla="*/ 149782 w 417166"/>
                <a:gd name="connsiteY267" fmla="*/ 146680 h 296203"/>
                <a:gd name="connsiteX268" fmla="*/ 149006 w 417166"/>
                <a:gd name="connsiteY268" fmla="*/ 146939 h 296203"/>
                <a:gd name="connsiteX269" fmla="*/ 147326 w 417166"/>
                <a:gd name="connsiteY269" fmla="*/ 146939 h 296203"/>
                <a:gd name="connsiteX270" fmla="*/ 145259 w 417166"/>
                <a:gd name="connsiteY270" fmla="*/ 146809 h 296203"/>
                <a:gd name="connsiteX271" fmla="*/ 144612 w 417166"/>
                <a:gd name="connsiteY271" fmla="*/ 146809 h 296203"/>
                <a:gd name="connsiteX272" fmla="*/ 142674 w 417166"/>
                <a:gd name="connsiteY272" fmla="*/ 147326 h 296203"/>
                <a:gd name="connsiteX273" fmla="*/ 140994 w 417166"/>
                <a:gd name="connsiteY273" fmla="*/ 147973 h 296203"/>
                <a:gd name="connsiteX274" fmla="*/ 139701 w 417166"/>
                <a:gd name="connsiteY274" fmla="*/ 147973 h 296203"/>
                <a:gd name="connsiteX275" fmla="*/ 138797 w 417166"/>
                <a:gd name="connsiteY275" fmla="*/ 147843 h 296203"/>
                <a:gd name="connsiteX276" fmla="*/ 138280 w 417166"/>
                <a:gd name="connsiteY276" fmla="*/ 147455 h 296203"/>
                <a:gd name="connsiteX277" fmla="*/ 137892 w 417166"/>
                <a:gd name="connsiteY277" fmla="*/ 147068 h 296203"/>
                <a:gd name="connsiteX278" fmla="*/ 136858 w 417166"/>
                <a:gd name="connsiteY278" fmla="*/ 145775 h 296203"/>
                <a:gd name="connsiteX279" fmla="*/ 136341 w 417166"/>
                <a:gd name="connsiteY279" fmla="*/ 145646 h 296203"/>
                <a:gd name="connsiteX280" fmla="*/ 135695 w 417166"/>
                <a:gd name="connsiteY280" fmla="*/ 145775 h 296203"/>
                <a:gd name="connsiteX281" fmla="*/ 134920 w 417166"/>
                <a:gd name="connsiteY281" fmla="*/ 146422 h 296203"/>
                <a:gd name="connsiteX282" fmla="*/ 134274 w 417166"/>
                <a:gd name="connsiteY282" fmla="*/ 146809 h 296203"/>
                <a:gd name="connsiteX283" fmla="*/ 133627 w 417166"/>
                <a:gd name="connsiteY283" fmla="*/ 147068 h 296203"/>
                <a:gd name="connsiteX284" fmla="*/ 132723 w 417166"/>
                <a:gd name="connsiteY284" fmla="*/ 146809 h 296203"/>
                <a:gd name="connsiteX285" fmla="*/ 131430 w 417166"/>
                <a:gd name="connsiteY285" fmla="*/ 146292 h 296203"/>
                <a:gd name="connsiteX286" fmla="*/ 130784 w 417166"/>
                <a:gd name="connsiteY286" fmla="*/ 146292 h 296203"/>
                <a:gd name="connsiteX287" fmla="*/ 130009 w 417166"/>
                <a:gd name="connsiteY287" fmla="*/ 146551 h 296203"/>
                <a:gd name="connsiteX288" fmla="*/ 129104 w 417166"/>
                <a:gd name="connsiteY288" fmla="*/ 147197 h 296203"/>
                <a:gd name="connsiteX289" fmla="*/ 128070 w 417166"/>
                <a:gd name="connsiteY289" fmla="*/ 148231 h 296203"/>
                <a:gd name="connsiteX290" fmla="*/ 127553 w 417166"/>
                <a:gd name="connsiteY290" fmla="*/ 148360 h 296203"/>
                <a:gd name="connsiteX291" fmla="*/ 126907 w 417166"/>
                <a:gd name="connsiteY291" fmla="*/ 148102 h 296203"/>
                <a:gd name="connsiteX292" fmla="*/ 126003 w 417166"/>
                <a:gd name="connsiteY292" fmla="*/ 147326 h 296203"/>
                <a:gd name="connsiteX293" fmla="*/ 125227 w 417166"/>
                <a:gd name="connsiteY293" fmla="*/ 147197 h 296203"/>
                <a:gd name="connsiteX294" fmla="*/ 124193 w 417166"/>
                <a:gd name="connsiteY294" fmla="*/ 147455 h 296203"/>
                <a:gd name="connsiteX295" fmla="*/ 122384 w 417166"/>
                <a:gd name="connsiteY295" fmla="*/ 148231 h 296203"/>
                <a:gd name="connsiteX296" fmla="*/ 121092 w 417166"/>
                <a:gd name="connsiteY296" fmla="*/ 148619 h 296203"/>
                <a:gd name="connsiteX297" fmla="*/ 119541 w 417166"/>
                <a:gd name="connsiteY297" fmla="*/ 148748 h 296203"/>
                <a:gd name="connsiteX298" fmla="*/ 118766 w 417166"/>
                <a:gd name="connsiteY298" fmla="*/ 148619 h 296203"/>
                <a:gd name="connsiteX299" fmla="*/ 118119 w 417166"/>
                <a:gd name="connsiteY299" fmla="*/ 148360 h 296203"/>
                <a:gd name="connsiteX300" fmla="*/ 117732 w 417166"/>
                <a:gd name="connsiteY300" fmla="*/ 147973 h 296203"/>
                <a:gd name="connsiteX301" fmla="*/ 117473 w 417166"/>
                <a:gd name="connsiteY301" fmla="*/ 147455 h 296203"/>
                <a:gd name="connsiteX302" fmla="*/ 117086 w 417166"/>
                <a:gd name="connsiteY302" fmla="*/ 147068 h 296203"/>
                <a:gd name="connsiteX303" fmla="*/ 116569 w 417166"/>
                <a:gd name="connsiteY303" fmla="*/ 146809 h 296203"/>
                <a:gd name="connsiteX304" fmla="*/ 115922 w 417166"/>
                <a:gd name="connsiteY304" fmla="*/ 146680 h 296203"/>
                <a:gd name="connsiteX305" fmla="*/ 115276 w 417166"/>
                <a:gd name="connsiteY305" fmla="*/ 146680 h 296203"/>
                <a:gd name="connsiteX306" fmla="*/ 112175 w 417166"/>
                <a:gd name="connsiteY306" fmla="*/ 147585 h 296203"/>
                <a:gd name="connsiteX307" fmla="*/ 106359 w 417166"/>
                <a:gd name="connsiteY307" fmla="*/ 150040 h 296203"/>
                <a:gd name="connsiteX308" fmla="*/ 104679 w 417166"/>
                <a:gd name="connsiteY308" fmla="*/ 151203 h 296203"/>
                <a:gd name="connsiteX309" fmla="*/ 103516 w 417166"/>
                <a:gd name="connsiteY309" fmla="*/ 152237 h 296203"/>
                <a:gd name="connsiteX310" fmla="*/ 101836 w 417166"/>
                <a:gd name="connsiteY310" fmla="*/ 152883 h 296203"/>
                <a:gd name="connsiteX311" fmla="*/ 98088 w 417166"/>
                <a:gd name="connsiteY311" fmla="*/ 153788 h 296203"/>
                <a:gd name="connsiteX312" fmla="*/ 85294 w 417166"/>
                <a:gd name="connsiteY312" fmla="*/ 158957 h 296203"/>
                <a:gd name="connsiteX313" fmla="*/ 84519 w 417166"/>
                <a:gd name="connsiteY313" fmla="*/ 159216 h 296203"/>
                <a:gd name="connsiteX314" fmla="*/ 83743 w 417166"/>
                <a:gd name="connsiteY314" fmla="*/ 159345 h 296203"/>
                <a:gd name="connsiteX315" fmla="*/ 82968 w 417166"/>
                <a:gd name="connsiteY315" fmla="*/ 159474 h 296203"/>
                <a:gd name="connsiteX316" fmla="*/ 82193 w 417166"/>
                <a:gd name="connsiteY316" fmla="*/ 159862 h 296203"/>
                <a:gd name="connsiteX317" fmla="*/ 79866 w 417166"/>
                <a:gd name="connsiteY317" fmla="*/ 162576 h 296203"/>
                <a:gd name="connsiteX318" fmla="*/ 78962 w 417166"/>
                <a:gd name="connsiteY318" fmla="*/ 163481 h 296203"/>
                <a:gd name="connsiteX319" fmla="*/ 69011 w 417166"/>
                <a:gd name="connsiteY319" fmla="*/ 168779 h 296203"/>
                <a:gd name="connsiteX320" fmla="*/ 66555 w 417166"/>
                <a:gd name="connsiteY320" fmla="*/ 169684 h 296203"/>
                <a:gd name="connsiteX321" fmla="*/ 64746 w 417166"/>
                <a:gd name="connsiteY321" fmla="*/ 169555 h 296203"/>
                <a:gd name="connsiteX322" fmla="*/ 64229 w 417166"/>
                <a:gd name="connsiteY322" fmla="*/ 169296 h 296203"/>
                <a:gd name="connsiteX323" fmla="*/ 63454 w 417166"/>
                <a:gd name="connsiteY323" fmla="*/ 168521 h 296203"/>
                <a:gd name="connsiteX324" fmla="*/ 62937 w 417166"/>
                <a:gd name="connsiteY324" fmla="*/ 168133 h 296203"/>
                <a:gd name="connsiteX325" fmla="*/ 62420 w 417166"/>
                <a:gd name="connsiteY325" fmla="*/ 167874 h 296203"/>
                <a:gd name="connsiteX326" fmla="*/ 61774 w 417166"/>
                <a:gd name="connsiteY326" fmla="*/ 167745 h 296203"/>
                <a:gd name="connsiteX327" fmla="*/ 61127 w 417166"/>
                <a:gd name="connsiteY327" fmla="*/ 167745 h 296203"/>
                <a:gd name="connsiteX328" fmla="*/ 56475 w 417166"/>
                <a:gd name="connsiteY328" fmla="*/ 168521 h 296203"/>
                <a:gd name="connsiteX329" fmla="*/ 54924 w 417166"/>
                <a:gd name="connsiteY329" fmla="*/ 168521 h 296203"/>
                <a:gd name="connsiteX330" fmla="*/ 49367 w 417166"/>
                <a:gd name="connsiteY330" fmla="*/ 169296 h 296203"/>
                <a:gd name="connsiteX331" fmla="*/ 48075 w 417166"/>
                <a:gd name="connsiteY331" fmla="*/ 169167 h 296203"/>
                <a:gd name="connsiteX332" fmla="*/ 47170 w 417166"/>
                <a:gd name="connsiteY332" fmla="*/ 168908 h 296203"/>
                <a:gd name="connsiteX333" fmla="*/ 46266 w 417166"/>
                <a:gd name="connsiteY333" fmla="*/ 168908 h 296203"/>
                <a:gd name="connsiteX334" fmla="*/ 44973 w 417166"/>
                <a:gd name="connsiteY334" fmla="*/ 169296 h 296203"/>
                <a:gd name="connsiteX335" fmla="*/ 36702 w 417166"/>
                <a:gd name="connsiteY335" fmla="*/ 174207 h 296203"/>
                <a:gd name="connsiteX336" fmla="*/ 36315 w 417166"/>
                <a:gd name="connsiteY336" fmla="*/ 174595 h 296203"/>
                <a:gd name="connsiteX337" fmla="*/ 35410 w 417166"/>
                <a:gd name="connsiteY337" fmla="*/ 174982 h 296203"/>
                <a:gd name="connsiteX338" fmla="*/ 34118 w 417166"/>
                <a:gd name="connsiteY338" fmla="*/ 175370 h 296203"/>
                <a:gd name="connsiteX339" fmla="*/ 31404 w 417166"/>
                <a:gd name="connsiteY339" fmla="*/ 175887 h 296203"/>
                <a:gd name="connsiteX340" fmla="*/ 28173 w 417166"/>
                <a:gd name="connsiteY340" fmla="*/ 176016 h 296203"/>
                <a:gd name="connsiteX341" fmla="*/ 27268 w 417166"/>
                <a:gd name="connsiteY341" fmla="*/ 176275 h 296203"/>
                <a:gd name="connsiteX342" fmla="*/ 26364 w 417166"/>
                <a:gd name="connsiteY342" fmla="*/ 176921 h 296203"/>
                <a:gd name="connsiteX343" fmla="*/ 25071 w 417166"/>
                <a:gd name="connsiteY343" fmla="*/ 178342 h 296203"/>
                <a:gd name="connsiteX344" fmla="*/ 23391 w 417166"/>
                <a:gd name="connsiteY344" fmla="*/ 181056 h 296203"/>
                <a:gd name="connsiteX345" fmla="*/ 23004 w 417166"/>
                <a:gd name="connsiteY345" fmla="*/ 181573 h 296203"/>
                <a:gd name="connsiteX346" fmla="*/ 22616 w 417166"/>
                <a:gd name="connsiteY346" fmla="*/ 181961 h 296203"/>
                <a:gd name="connsiteX347" fmla="*/ 21453 w 417166"/>
                <a:gd name="connsiteY347" fmla="*/ 182348 h 296203"/>
                <a:gd name="connsiteX348" fmla="*/ 18997 w 417166"/>
                <a:gd name="connsiteY348" fmla="*/ 181832 h 296203"/>
                <a:gd name="connsiteX349" fmla="*/ 16800 w 417166"/>
                <a:gd name="connsiteY349" fmla="*/ 181315 h 296203"/>
                <a:gd name="connsiteX350" fmla="*/ 15250 w 417166"/>
                <a:gd name="connsiteY350" fmla="*/ 181056 h 296203"/>
                <a:gd name="connsiteX351" fmla="*/ 14216 w 417166"/>
                <a:gd name="connsiteY351" fmla="*/ 181185 h 296203"/>
                <a:gd name="connsiteX352" fmla="*/ 9563 w 417166"/>
                <a:gd name="connsiteY352" fmla="*/ 182866 h 296203"/>
                <a:gd name="connsiteX353" fmla="*/ 7625 w 417166"/>
                <a:gd name="connsiteY353" fmla="*/ 183899 h 296203"/>
                <a:gd name="connsiteX354" fmla="*/ 3489 w 417166"/>
                <a:gd name="connsiteY354" fmla="*/ 186743 h 296203"/>
                <a:gd name="connsiteX355" fmla="*/ 5040 w 417166"/>
                <a:gd name="connsiteY355" fmla="*/ 186872 h 296203"/>
                <a:gd name="connsiteX356" fmla="*/ 6333 w 417166"/>
                <a:gd name="connsiteY356" fmla="*/ 187130 h 296203"/>
                <a:gd name="connsiteX357" fmla="*/ 9822 w 417166"/>
                <a:gd name="connsiteY357" fmla="*/ 188552 h 296203"/>
                <a:gd name="connsiteX358" fmla="*/ 11243 w 417166"/>
                <a:gd name="connsiteY358" fmla="*/ 189586 h 296203"/>
                <a:gd name="connsiteX359" fmla="*/ 12019 w 417166"/>
                <a:gd name="connsiteY359" fmla="*/ 190361 h 296203"/>
                <a:gd name="connsiteX360" fmla="*/ 12923 w 417166"/>
                <a:gd name="connsiteY360" fmla="*/ 191653 h 296203"/>
                <a:gd name="connsiteX361" fmla="*/ 15767 w 417166"/>
                <a:gd name="connsiteY361" fmla="*/ 197081 h 296203"/>
                <a:gd name="connsiteX362" fmla="*/ 16283 w 417166"/>
                <a:gd name="connsiteY362" fmla="*/ 197857 h 296203"/>
                <a:gd name="connsiteX363" fmla="*/ 17059 w 417166"/>
                <a:gd name="connsiteY363" fmla="*/ 198761 h 296203"/>
                <a:gd name="connsiteX364" fmla="*/ 18480 w 417166"/>
                <a:gd name="connsiteY364" fmla="*/ 199924 h 296203"/>
                <a:gd name="connsiteX365" fmla="*/ 20160 w 417166"/>
                <a:gd name="connsiteY365" fmla="*/ 201992 h 296203"/>
                <a:gd name="connsiteX366" fmla="*/ 20548 w 417166"/>
                <a:gd name="connsiteY366" fmla="*/ 202897 h 296203"/>
                <a:gd name="connsiteX367" fmla="*/ 20807 w 417166"/>
                <a:gd name="connsiteY367" fmla="*/ 203284 h 296203"/>
                <a:gd name="connsiteX368" fmla="*/ 21324 w 417166"/>
                <a:gd name="connsiteY368" fmla="*/ 203543 h 296203"/>
                <a:gd name="connsiteX369" fmla="*/ 22099 w 417166"/>
                <a:gd name="connsiteY369" fmla="*/ 203543 h 296203"/>
                <a:gd name="connsiteX370" fmla="*/ 22745 w 417166"/>
                <a:gd name="connsiteY370" fmla="*/ 203672 h 296203"/>
                <a:gd name="connsiteX371" fmla="*/ 23262 w 417166"/>
                <a:gd name="connsiteY371" fmla="*/ 204318 h 296203"/>
                <a:gd name="connsiteX372" fmla="*/ 23908 w 417166"/>
                <a:gd name="connsiteY372" fmla="*/ 207808 h 296203"/>
                <a:gd name="connsiteX373" fmla="*/ 24167 w 417166"/>
                <a:gd name="connsiteY373" fmla="*/ 208325 h 296203"/>
                <a:gd name="connsiteX374" fmla="*/ 24425 w 417166"/>
                <a:gd name="connsiteY374" fmla="*/ 208841 h 296203"/>
                <a:gd name="connsiteX375" fmla="*/ 24813 w 417166"/>
                <a:gd name="connsiteY375" fmla="*/ 209229 h 296203"/>
                <a:gd name="connsiteX376" fmla="*/ 25330 w 417166"/>
                <a:gd name="connsiteY376" fmla="*/ 209488 h 296203"/>
                <a:gd name="connsiteX377" fmla="*/ 27785 w 417166"/>
                <a:gd name="connsiteY377" fmla="*/ 210392 h 296203"/>
                <a:gd name="connsiteX378" fmla="*/ 28561 w 417166"/>
                <a:gd name="connsiteY378" fmla="*/ 210522 h 296203"/>
                <a:gd name="connsiteX379" fmla="*/ 29465 w 417166"/>
                <a:gd name="connsiteY379" fmla="*/ 210522 h 296203"/>
                <a:gd name="connsiteX380" fmla="*/ 30887 w 417166"/>
                <a:gd name="connsiteY380" fmla="*/ 210263 h 296203"/>
                <a:gd name="connsiteX381" fmla="*/ 31792 w 417166"/>
                <a:gd name="connsiteY381" fmla="*/ 210004 h 296203"/>
                <a:gd name="connsiteX382" fmla="*/ 32567 w 417166"/>
                <a:gd name="connsiteY382" fmla="*/ 209875 h 296203"/>
                <a:gd name="connsiteX383" fmla="*/ 33213 w 417166"/>
                <a:gd name="connsiteY383" fmla="*/ 210004 h 296203"/>
                <a:gd name="connsiteX384" fmla="*/ 34764 w 417166"/>
                <a:gd name="connsiteY384" fmla="*/ 211426 h 296203"/>
                <a:gd name="connsiteX385" fmla="*/ 35539 w 417166"/>
                <a:gd name="connsiteY385" fmla="*/ 211685 h 296203"/>
                <a:gd name="connsiteX386" fmla="*/ 36573 w 417166"/>
                <a:gd name="connsiteY386" fmla="*/ 211685 h 296203"/>
                <a:gd name="connsiteX387" fmla="*/ 38124 w 417166"/>
                <a:gd name="connsiteY387" fmla="*/ 211555 h 296203"/>
                <a:gd name="connsiteX388" fmla="*/ 38899 w 417166"/>
                <a:gd name="connsiteY388" fmla="*/ 211297 h 296203"/>
                <a:gd name="connsiteX389" fmla="*/ 39416 w 417166"/>
                <a:gd name="connsiteY389" fmla="*/ 211038 h 296203"/>
                <a:gd name="connsiteX390" fmla="*/ 39804 w 417166"/>
                <a:gd name="connsiteY390" fmla="*/ 210780 h 296203"/>
                <a:gd name="connsiteX391" fmla="*/ 40321 w 417166"/>
                <a:gd name="connsiteY391" fmla="*/ 210522 h 296203"/>
                <a:gd name="connsiteX392" fmla="*/ 40838 w 417166"/>
                <a:gd name="connsiteY392" fmla="*/ 210392 h 296203"/>
                <a:gd name="connsiteX393" fmla="*/ 45103 w 417166"/>
                <a:gd name="connsiteY393" fmla="*/ 210392 h 296203"/>
                <a:gd name="connsiteX394" fmla="*/ 45878 w 417166"/>
                <a:gd name="connsiteY394" fmla="*/ 210004 h 296203"/>
                <a:gd name="connsiteX395" fmla="*/ 46266 w 417166"/>
                <a:gd name="connsiteY395" fmla="*/ 209488 h 296203"/>
                <a:gd name="connsiteX396" fmla="*/ 46782 w 417166"/>
                <a:gd name="connsiteY396" fmla="*/ 209100 h 296203"/>
                <a:gd name="connsiteX397" fmla="*/ 47816 w 417166"/>
                <a:gd name="connsiteY397" fmla="*/ 208971 h 296203"/>
                <a:gd name="connsiteX398" fmla="*/ 49884 w 417166"/>
                <a:gd name="connsiteY398" fmla="*/ 208971 h 296203"/>
                <a:gd name="connsiteX399" fmla="*/ 50918 w 417166"/>
                <a:gd name="connsiteY399" fmla="*/ 208712 h 296203"/>
                <a:gd name="connsiteX400" fmla="*/ 51564 w 417166"/>
                <a:gd name="connsiteY400" fmla="*/ 208325 h 296203"/>
                <a:gd name="connsiteX401" fmla="*/ 52210 w 417166"/>
                <a:gd name="connsiteY401" fmla="*/ 207291 h 296203"/>
                <a:gd name="connsiteX402" fmla="*/ 52598 w 417166"/>
                <a:gd name="connsiteY402" fmla="*/ 207161 h 296203"/>
                <a:gd name="connsiteX403" fmla="*/ 53244 w 417166"/>
                <a:gd name="connsiteY403" fmla="*/ 207291 h 296203"/>
                <a:gd name="connsiteX404" fmla="*/ 54407 w 417166"/>
                <a:gd name="connsiteY404" fmla="*/ 208583 h 296203"/>
                <a:gd name="connsiteX405" fmla="*/ 55053 w 417166"/>
                <a:gd name="connsiteY405" fmla="*/ 208971 h 296203"/>
                <a:gd name="connsiteX406" fmla="*/ 56087 w 417166"/>
                <a:gd name="connsiteY406" fmla="*/ 208841 h 296203"/>
                <a:gd name="connsiteX407" fmla="*/ 57638 w 417166"/>
                <a:gd name="connsiteY407" fmla="*/ 208454 h 296203"/>
                <a:gd name="connsiteX408" fmla="*/ 58930 w 417166"/>
                <a:gd name="connsiteY408" fmla="*/ 208195 h 296203"/>
                <a:gd name="connsiteX409" fmla="*/ 61903 w 417166"/>
                <a:gd name="connsiteY409" fmla="*/ 208066 h 296203"/>
                <a:gd name="connsiteX410" fmla="*/ 65392 w 417166"/>
                <a:gd name="connsiteY410" fmla="*/ 208583 h 296203"/>
                <a:gd name="connsiteX411" fmla="*/ 66814 w 417166"/>
                <a:gd name="connsiteY411" fmla="*/ 208583 h 296203"/>
                <a:gd name="connsiteX412" fmla="*/ 67460 w 417166"/>
                <a:gd name="connsiteY412" fmla="*/ 208325 h 296203"/>
                <a:gd name="connsiteX413" fmla="*/ 67977 w 417166"/>
                <a:gd name="connsiteY413" fmla="*/ 208066 h 296203"/>
                <a:gd name="connsiteX414" fmla="*/ 68494 w 417166"/>
                <a:gd name="connsiteY414" fmla="*/ 207678 h 296203"/>
                <a:gd name="connsiteX415" fmla="*/ 69011 w 417166"/>
                <a:gd name="connsiteY415" fmla="*/ 207549 h 296203"/>
                <a:gd name="connsiteX416" fmla="*/ 69528 w 417166"/>
                <a:gd name="connsiteY416" fmla="*/ 207678 h 296203"/>
                <a:gd name="connsiteX417" fmla="*/ 70691 w 417166"/>
                <a:gd name="connsiteY417" fmla="*/ 209746 h 296203"/>
                <a:gd name="connsiteX418" fmla="*/ 72629 w 417166"/>
                <a:gd name="connsiteY418" fmla="*/ 212331 h 296203"/>
                <a:gd name="connsiteX419" fmla="*/ 74826 w 417166"/>
                <a:gd name="connsiteY419" fmla="*/ 216466 h 296203"/>
                <a:gd name="connsiteX420" fmla="*/ 75085 w 417166"/>
                <a:gd name="connsiteY420" fmla="*/ 217242 h 296203"/>
                <a:gd name="connsiteX421" fmla="*/ 75214 w 417166"/>
                <a:gd name="connsiteY421" fmla="*/ 218017 h 296203"/>
                <a:gd name="connsiteX422" fmla="*/ 75214 w 417166"/>
                <a:gd name="connsiteY422" fmla="*/ 218663 h 296203"/>
                <a:gd name="connsiteX423" fmla="*/ 75085 w 417166"/>
                <a:gd name="connsiteY423" fmla="*/ 219309 h 296203"/>
                <a:gd name="connsiteX424" fmla="*/ 74697 w 417166"/>
                <a:gd name="connsiteY424" fmla="*/ 219955 h 296203"/>
                <a:gd name="connsiteX425" fmla="*/ 74180 w 417166"/>
                <a:gd name="connsiteY425" fmla="*/ 220473 h 296203"/>
                <a:gd name="connsiteX426" fmla="*/ 73146 w 417166"/>
                <a:gd name="connsiteY426" fmla="*/ 220989 h 296203"/>
                <a:gd name="connsiteX427" fmla="*/ 72241 w 417166"/>
                <a:gd name="connsiteY427" fmla="*/ 221119 h 296203"/>
                <a:gd name="connsiteX428" fmla="*/ 70691 w 417166"/>
                <a:gd name="connsiteY428" fmla="*/ 221248 h 296203"/>
                <a:gd name="connsiteX429" fmla="*/ 69786 w 417166"/>
                <a:gd name="connsiteY429" fmla="*/ 221765 h 296203"/>
                <a:gd name="connsiteX430" fmla="*/ 68752 w 417166"/>
                <a:gd name="connsiteY430" fmla="*/ 222540 h 296203"/>
                <a:gd name="connsiteX431" fmla="*/ 65909 w 417166"/>
                <a:gd name="connsiteY431" fmla="*/ 225513 h 296203"/>
                <a:gd name="connsiteX432" fmla="*/ 65521 w 417166"/>
                <a:gd name="connsiteY432" fmla="*/ 226546 h 296203"/>
                <a:gd name="connsiteX433" fmla="*/ 66038 w 417166"/>
                <a:gd name="connsiteY433" fmla="*/ 227710 h 296203"/>
                <a:gd name="connsiteX434" fmla="*/ 66168 w 417166"/>
                <a:gd name="connsiteY434" fmla="*/ 228356 h 296203"/>
                <a:gd name="connsiteX435" fmla="*/ 66168 w 417166"/>
                <a:gd name="connsiteY435" fmla="*/ 229002 h 296203"/>
                <a:gd name="connsiteX436" fmla="*/ 66038 w 417166"/>
                <a:gd name="connsiteY436" fmla="*/ 229648 h 296203"/>
                <a:gd name="connsiteX437" fmla="*/ 64488 w 417166"/>
                <a:gd name="connsiteY437" fmla="*/ 232879 h 296203"/>
                <a:gd name="connsiteX438" fmla="*/ 63841 w 417166"/>
                <a:gd name="connsiteY438" fmla="*/ 233654 h 296203"/>
                <a:gd name="connsiteX439" fmla="*/ 63325 w 417166"/>
                <a:gd name="connsiteY439" fmla="*/ 234042 h 296203"/>
                <a:gd name="connsiteX440" fmla="*/ 59835 w 417166"/>
                <a:gd name="connsiteY440" fmla="*/ 235076 h 296203"/>
                <a:gd name="connsiteX441" fmla="*/ 54149 w 417166"/>
                <a:gd name="connsiteY441" fmla="*/ 238307 h 296203"/>
                <a:gd name="connsiteX442" fmla="*/ 52986 w 417166"/>
                <a:gd name="connsiteY442" fmla="*/ 238694 h 296203"/>
                <a:gd name="connsiteX443" fmla="*/ 52340 w 417166"/>
                <a:gd name="connsiteY443" fmla="*/ 238565 h 296203"/>
                <a:gd name="connsiteX444" fmla="*/ 51177 w 417166"/>
                <a:gd name="connsiteY444" fmla="*/ 238048 h 296203"/>
                <a:gd name="connsiteX445" fmla="*/ 50660 w 417166"/>
                <a:gd name="connsiteY445" fmla="*/ 237790 h 296203"/>
                <a:gd name="connsiteX446" fmla="*/ 50013 w 417166"/>
                <a:gd name="connsiteY446" fmla="*/ 237790 h 296203"/>
                <a:gd name="connsiteX447" fmla="*/ 46782 w 417166"/>
                <a:gd name="connsiteY447" fmla="*/ 239211 h 296203"/>
                <a:gd name="connsiteX448" fmla="*/ 45749 w 417166"/>
                <a:gd name="connsiteY448" fmla="*/ 239470 h 296203"/>
                <a:gd name="connsiteX449" fmla="*/ 44844 w 417166"/>
                <a:gd name="connsiteY449" fmla="*/ 239599 h 296203"/>
                <a:gd name="connsiteX450" fmla="*/ 44198 w 417166"/>
                <a:gd name="connsiteY450" fmla="*/ 239470 h 296203"/>
                <a:gd name="connsiteX451" fmla="*/ 43681 w 417166"/>
                <a:gd name="connsiteY451" fmla="*/ 239082 h 296203"/>
                <a:gd name="connsiteX452" fmla="*/ 43422 w 417166"/>
                <a:gd name="connsiteY452" fmla="*/ 238565 h 296203"/>
                <a:gd name="connsiteX453" fmla="*/ 43293 w 417166"/>
                <a:gd name="connsiteY453" fmla="*/ 237919 h 296203"/>
                <a:gd name="connsiteX454" fmla="*/ 43035 w 417166"/>
                <a:gd name="connsiteY454" fmla="*/ 237402 h 296203"/>
                <a:gd name="connsiteX455" fmla="*/ 42647 w 417166"/>
                <a:gd name="connsiteY455" fmla="*/ 237144 h 296203"/>
                <a:gd name="connsiteX456" fmla="*/ 41742 w 417166"/>
                <a:gd name="connsiteY456" fmla="*/ 237402 h 296203"/>
                <a:gd name="connsiteX457" fmla="*/ 36056 w 417166"/>
                <a:gd name="connsiteY457" fmla="*/ 240891 h 296203"/>
                <a:gd name="connsiteX458" fmla="*/ 34764 w 417166"/>
                <a:gd name="connsiteY458" fmla="*/ 241279 h 296203"/>
                <a:gd name="connsiteX459" fmla="*/ 33988 w 417166"/>
                <a:gd name="connsiteY459" fmla="*/ 241279 h 296203"/>
                <a:gd name="connsiteX460" fmla="*/ 32308 w 417166"/>
                <a:gd name="connsiteY460" fmla="*/ 240504 h 296203"/>
                <a:gd name="connsiteX461" fmla="*/ 31662 w 417166"/>
                <a:gd name="connsiteY461" fmla="*/ 240374 h 296203"/>
                <a:gd name="connsiteX462" fmla="*/ 31016 w 417166"/>
                <a:gd name="connsiteY462" fmla="*/ 240374 h 296203"/>
                <a:gd name="connsiteX463" fmla="*/ 30370 w 417166"/>
                <a:gd name="connsiteY463" fmla="*/ 240504 h 296203"/>
                <a:gd name="connsiteX464" fmla="*/ 29724 w 417166"/>
                <a:gd name="connsiteY464" fmla="*/ 240633 h 296203"/>
                <a:gd name="connsiteX465" fmla="*/ 27010 w 417166"/>
                <a:gd name="connsiteY465" fmla="*/ 241925 h 296203"/>
                <a:gd name="connsiteX466" fmla="*/ 23262 w 417166"/>
                <a:gd name="connsiteY466" fmla="*/ 244639 h 296203"/>
                <a:gd name="connsiteX467" fmla="*/ 21324 w 417166"/>
                <a:gd name="connsiteY467" fmla="*/ 245673 h 296203"/>
                <a:gd name="connsiteX468" fmla="*/ 20160 w 417166"/>
                <a:gd name="connsiteY468" fmla="*/ 246061 h 296203"/>
                <a:gd name="connsiteX469" fmla="*/ 16671 w 417166"/>
                <a:gd name="connsiteY469" fmla="*/ 246448 h 296203"/>
                <a:gd name="connsiteX470" fmla="*/ 16025 w 417166"/>
                <a:gd name="connsiteY470" fmla="*/ 246578 h 296203"/>
                <a:gd name="connsiteX471" fmla="*/ 15379 w 417166"/>
                <a:gd name="connsiteY471" fmla="*/ 246965 h 296203"/>
                <a:gd name="connsiteX472" fmla="*/ 14733 w 417166"/>
                <a:gd name="connsiteY472" fmla="*/ 247482 h 296203"/>
                <a:gd name="connsiteX473" fmla="*/ 13957 w 417166"/>
                <a:gd name="connsiteY473" fmla="*/ 248258 h 296203"/>
                <a:gd name="connsiteX474" fmla="*/ 13440 w 417166"/>
                <a:gd name="connsiteY474" fmla="*/ 248904 h 296203"/>
                <a:gd name="connsiteX475" fmla="*/ 12019 w 417166"/>
                <a:gd name="connsiteY475" fmla="*/ 251230 h 296203"/>
                <a:gd name="connsiteX476" fmla="*/ 11502 w 417166"/>
                <a:gd name="connsiteY476" fmla="*/ 251747 h 296203"/>
                <a:gd name="connsiteX477" fmla="*/ 10985 w 417166"/>
                <a:gd name="connsiteY477" fmla="*/ 252135 h 296203"/>
                <a:gd name="connsiteX478" fmla="*/ 10339 w 417166"/>
                <a:gd name="connsiteY478" fmla="*/ 252264 h 296203"/>
                <a:gd name="connsiteX479" fmla="*/ 8271 w 417166"/>
                <a:gd name="connsiteY479" fmla="*/ 252522 h 296203"/>
                <a:gd name="connsiteX480" fmla="*/ 7754 w 417166"/>
                <a:gd name="connsiteY480" fmla="*/ 252910 h 296203"/>
                <a:gd name="connsiteX481" fmla="*/ 7366 w 417166"/>
                <a:gd name="connsiteY481" fmla="*/ 253427 h 296203"/>
                <a:gd name="connsiteX482" fmla="*/ 7366 w 417166"/>
                <a:gd name="connsiteY482" fmla="*/ 254719 h 296203"/>
                <a:gd name="connsiteX483" fmla="*/ 7366 w 417166"/>
                <a:gd name="connsiteY483" fmla="*/ 254978 h 296203"/>
                <a:gd name="connsiteX484" fmla="*/ 7496 w 417166"/>
                <a:gd name="connsiteY484" fmla="*/ 255366 h 296203"/>
                <a:gd name="connsiteX485" fmla="*/ 7625 w 417166"/>
                <a:gd name="connsiteY485" fmla="*/ 256658 h 296203"/>
                <a:gd name="connsiteX486" fmla="*/ 7625 w 417166"/>
                <a:gd name="connsiteY486" fmla="*/ 257433 h 296203"/>
                <a:gd name="connsiteX487" fmla="*/ 6333 w 417166"/>
                <a:gd name="connsiteY487" fmla="*/ 263766 h 296203"/>
                <a:gd name="connsiteX488" fmla="*/ 6333 w 417166"/>
                <a:gd name="connsiteY488" fmla="*/ 266092 h 296203"/>
                <a:gd name="connsiteX489" fmla="*/ 6462 w 417166"/>
                <a:gd name="connsiteY489" fmla="*/ 267514 h 296203"/>
                <a:gd name="connsiteX490" fmla="*/ 6720 w 417166"/>
                <a:gd name="connsiteY490" fmla="*/ 268806 h 296203"/>
                <a:gd name="connsiteX491" fmla="*/ 6720 w 417166"/>
                <a:gd name="connsiteY491" fmla="*/ 269710 h 296203"/>
                <a:gd name="connsiteX492" fmla="*/ 6462 w 417166"/>
                <a:gd name="connsiteY492" fmla="*/ 270874 h 296203"/>
                <a:gd name="connsiteX493" fmla="*/ 5428 w 417166"/>
                <a:gd name="connsiteY493" fmla="*/ 272941 h 296203"/>
                <a:gd name="connsiteX494" fmla="*/ 4652 w 417166"/>
                <a:gd name="connsiteY494" fmla="*/ 273975 h 296203"/>
                <a:gd name="connsiteX495" fmla="*/ 3748 w 417166"/>
                <a:gd name="connsiteY495" fmla="*/ 274621 h 296203"/>
                <a:gd name="connsiteX496" fmla="*/ 3231 w 417166"/>
                <a:gd name="connsiteY496" fmla="*/ 274751 h 296203"/>
                <a:gd name="connsiteX497" fmla="*/ 2197 w 417166"/>
                <a:gd name="connsiteY497" fmla="*/ 275655 h 296203"/>
                <a:gd name="connsiteX498" fmla="*/ 388 w 417166"/>
                <a:gd name="connsiteY498" fmla="*/ 278886 h 296203"/>
                <a:gd name="connsiteX499" fmla="*/ 129 w 417166"/>
                <a:gd name="connsiteY499" fmla="*/ 279661 h 296203"/>
                <a:gd name="connsiteX500" fmla="*/ 0 w 417166"/>
                <a:gd name="connsiteY500" fmla="*/ 280178 h 296203"/>
                <a:gd name="connsiteX501" fmla="*/ 0 w 417166"/>
                <a:gd name="connsiteY501" fmla="*/ 280954 h 296203"/>
                <a:gd name="connsiteX502" fmla="*/ 129 w 417166"/>
                <a:gd name="connsiteY502" fmla="*/ 281600 h 296203"/>
                <a:gd name="connsiteX503" fmla="*/ 646 w 417166"/>
                <a:gd name="connsiteY503" fmla="*/ 282634 h 296203"/>
                <a:gd name="connsiteX504" fmla="*/ 3489 w 417166"/>
                <a:gd name="connsiteY504" fmla="*/ 286511 h 296203"/>
                <a:gd name="connsiteX505" fmla="*/ 5169 w 417166"/>
                <a:gd name="connsiteY505" fmla="*/ 289354 h 296203"/>
                <a:gd name="connsiteX506" fmla="*/ 5557 w 417166"/>
                <a:gd name="connsiteY506" fmla="*/ 289742 h 296203"/>
                <a:gd name="connsiteX507" fmla="*/ 6333 w 417166"/>
                <a:gd name="connsiteY507" fmla="*/ 289742 h 296203"/>
                <a:gd name="connsiteX508" fmla="*/ 6849 w 417166"/>
                <a:gd name="connsiteY508" fmla="*/ 289483 h 296203"/>
                <a:gd name="connsiteX509" fmla="*/ 7237 w 417166"/>
                <a:gd name="connsiteY509" fmla="*/ 289096 h 296203"/>
                <a:gd name="connsiteX510" fmla="*/ 7754 w 417166"/>
                <a:gd name="connsiteY510" fmla="*/ 288966 h 296203"/>
                <a:gd name="connsiteX511" fmla="*/ 8400 w 417166"/>
                <a:gd name="connsiteY511" fmla="*/ 289354 h 296203"/>
                <a:gd name="connsiteX512" fmla="*/ 9305 w 417166"/>
                <a:gd name="connsiteY512" fmla="*/ 290646 h 296203"/>
                <a:gd name="connsiteX513" fmla="*/ 10468 w 417166"/>
                <a:gd name="connsiteY513" fmla="*/ 292714 h 296203"/>
                <a:gd name="connsiteX514" fmla="*/ 11631 w 417166"/>
                <a:gd name="connsiteY514" fmla="*/ 293877 h 296203"/>
                <a:gd name="connsiteX515" fmla="*/ 14862 w 417166"/>
                <a:gd name="connsiteY515" fmla="*/ 295945 h 296203"/>
                <a:gd name="connsiteX516" fmla="*/ 14862 w 417166"/>
                <a:gd name="connsiteY516" fmla="*/ 295816 h 296203"/>
                <a:gd name="connsiteX517" fmla="*/ 17317 w 417166"/>
                <a:gd name="connsiteY517" fmla="*/ 294782 h 296203"/>
                <a:gd name="connsiteX518" fmla="*/ 20548 w 417166"/>
                <a:gd name="connsiteY518" fmla="*/ 294265 h 296203"/>
                <a:gd name="connsiteX519" fmla="*/ 23521 w 417166"/>
                <a:gd name="connsiteY519" fmla="*/ 294394 h 296203"/>
                <a:gd name="connsiteX520" fmla="*/ 25200 w 417166"/>
                <a:gd name="connsiteY520" fmla="*/ 295170 h 296203"/>
                <a:gd name="connsiteX521" fmla="*/ 26881 w 417166"/>
                <a:gd name="connsiteY521" fmla="*/ 294911 h 296203"/>
                <a:gd name="connsiteX522" fmla="*/ 28561 w 417166"/>
                <a:gd name="connsiteY522" fmla="*/ 295816 h 296203"/>
                <a:gd name="connsiteX523" fmla="*/ 30370 w 417166"/>
                <a:gd name="connsiteY523" fmla="*/ 296203 h 296203"/>
                <a:gd name="connsiteX524" fmla="*/ 32567 w 417166"/>
                <a:gd name="connsiteY524" fmla="*/ 294394 h 296203"/>
                <a:gd name="connsiteX525" fmla="*/ 34893 w 417166"/>
                <a:gd name="connsiteY525" fmla="*/ 290388 h 296203"/>
                <a:gd name="connsiteX526" fmla="*/ 36832 w 417166"/>
                <a:gd name="connsiteY526" fmla="*/ 288966 h 296203"/>
                <a:gd name="connsiteX527" fmla="*/ 39287 w 417166"/>
                <a:gd name="connsiteY527" fmla="*/ 289612 h 296203"/>
                <a:gd name="connsiteX528" fmla="*/ 38253 w 417166"/>
                <a:gd name="connsiteY528" fmla="*/ 286899 h 296203"/>
                <a:gd name="connsiteX529" fmla="*/ 35798 w 417166"/>
                <a:gd name="connsiteY529" fmla="*/ 286123 h 296203"/>
                <a:gd name="connsiteX530" fmla="*/ 33084 w 417166"/>
                <a:gd name="connsiteY530" fmla="*/ 285735 h 296203"/>
                <a:gd name="connsiteX531" fmla="*/ 31145 w 417166"/>
                <a:gd name="connsiteY531" fmla="*/ 284055 h 296203"/>
                <a:gd name="connsiteX532" fmla="*/ 32050 w 417166"/>
                <a:gd name="connsiteY532" fmla="*/ 283538 h 296203"/>
                <a:gd name="connsiteX533" fmla="*/ 32567 w 417166"/>
                <a:gd name="connsiteY533" fmla="*/ 283022 h 296203"/>
                <a:gd name="connsiteX534" fmla="*/ 33342 w 417166"/>
                <a:gd name="connsiteY534" fmla="*/ 281600 h 296203"/>
                <a:gd name="connsiteX535" fmla="*/ 30499 w 417166"/>
                <a:gd name="connsiteY535" fmla="*/ 281858 h 296203"/>
                <a:gd name="connsiteX536" fmla="*/ 28690 w 417166"/>
                <a:gd name="connsiteY536" fmla="*/ 282504 h 296203"/>
                <a:gd name="connsiteX537" fmla="*/ 27268 w 417166"/>
                <a:gd name="connsiteY537" fmla="*/ 283668 h 296203"/>
                <a:gd name="connsiteX538" fmla="*/ 25718 w 417166"/>
                <a:gd name="connsiteY538" fmla="*/ 285348 h 296203"/>
                <a:gd name="connsiteX539" fmla="*/ 23650 w 417166"/>
                <a:gd name="connsiteY539" fmla="*/ 288191 h 296203"/>
                <a:gd name="connsiteX540" fmla="*/ 23133 w 417166"/>
                <a:gd name="connsiteY540" fmla="*/ 288449 h 296203"/>
                <a:gd name="connsiteX541" fmla="*/ 23004 w 417166"/>
                <a:gd name="connsiteY541" fmla="*/ 287028 h 296203"/>
                <a:gd name="connsiteX542" fmla="*/ 23391 w 417166"/>
                <a:gd name="connsiteY542" fmla="*/ 285865 h 296203"/>
                <a:gd name="connsiteX543" fmla="*/ 24296 w 417166"/>
                <a:gd name="connsiteY543" fmla="*/ 284572 h 296203"/>
                <a:gd name="connsiteX544" fmla="*/ 25976 w 417166"/>
                <a:gd name="connsiteY544" fmla="*/ 282763 h 296203"/>
                <a:gd name="connsiteX545" fmla="*/ 24296 w 417166"/>
                <a:gd name="connsiteY545" fmla="*/ 281988 h 296203"/>
                <a:gd name="connsiteX546" fmla="*/ 22616 w 417166"/>
                <a:gd name="connsiteY546" fmla="*/ 282246 h 296203"/>
                <a:gd name="connsiteX547" fmla="*/ 21065 w 417166"/>
                <a:gd name="connsiteY547" fmla="*/ 283151 h 296203"/>
                <a:gd name="connsiteX548" fmla="*/ 20031 w 417166"/>
                <a:gd name="connsiteY548" fmla="*/ 284314 h 296203"/>
                <a:gd name="connsiteX549" fmla="*/ 20807 w 417166"/>
                <a:gd name="connsiteY549" fmla="*/ 282117 h 296203"/>
                <a:gd name="connsiteX550" fmla="*/ 25718 w 417166"/>
                <a:gd name="connsiteY550" fmla="*/ 278111 h 296203"/>
                <a:gd name="connsiteX551" fmla="*/ 23779 w 417166"/>
                <a:gd name="connsiteY551" fmla="*/ 277077 h 296203"/>
                <a:gd name="connsiteX552" fmla="*/ 21582 w 417166"/>
                <a:gd name="connsiteY552" fmla="*/ 278111 h 296203"/>
                <a:gd name="connsiteX553" fmla="*/ 18997 w 417166"/>
                <a:gd name="connsiteY553" fmla="*/ 279920 h 296203"/>
                <a:gd name="connsiteX554" fmla="*/ 17059 w 417166"/>
                <a:gd name="connsiteY554" fmla="*/ 280308 h 296203"/>
                <a:gd name="connsiteX555" fmla="*/ 16413 w 417166"/>
                <a:gd name="connsiteY555" fmla="*/ 277077 h 296203"/>
                <a:gd name="connsiteX556" fmla="*/ 16671 w 417166"/>
                <a:gd name="connsiteY556" fmla="*/ 275784 h 296203"/>
                <a:gd name="connsiteX557" fmla="*/ 17705 w 417166"/>
                <a:gd name="connsiteY557" fmla="*/ 272295 h 296203"/>
                <a:gd name="connsiteX558" fmla="*/ 18739 w 417166"/>
                <a:gd name="connsiteY558" fmla="*/ 270357 h 296203"/>
                <a:gd name="connsiteX559" fmla="*/ 18610 w 417166"/>
                <a:gd name="connsiteY559" fmla="*/ 269581 h 296203"/>
                <a:gd name="connsiteX560" fmla="*/ 18222 w 417166"/>
                <a:gd name="connsiteY560" fmla="*/ 268806 h 296203"/>
                <a:gd name="connsiteX561" fmla="*/ 17963 w 417166"/>
                <a:gd name="connsiteY561" fmla="*/ 268030 h 296203"/>
                <a:gd name="connsiteX562" fmla="*/ 20936 w 417166"/>
                <a:gd name="connsiteY562" fmla="*/ 262473 h 296203"/>
                <a:gd name="connsiteX563" fmla="*/ 22874 w 417166"/>
                <a:gd name="connsiteY563" fmla="*/ 260664 h 296203"/>
                <a:gd name="connsiteX564" fmla="*/ 25588 w 417166"/>
                <a:gd name="connsiteY564" fmla="*/ 259759 h 296203"/>
                <a:gd name="connsiteX565" fmla="*/ 29078 w 417166"/>
                <a:gd name="connsiteY565" fmla="*/ 259889 h 296203"/>
                <a:gd name="connsiteX566" fmla="*/ 28819 w 417166"/>
                <a:gd name="connsiteY566" fmla="*/ 260535 h 296203"/>
                <a:gd name="connsiteX567" fmla="*/ 28561 w 417166"/>
                <a:gd name="connsiteY567" fmla="*/ 261569 h 296203"/>
                <a:gd name="connsiteX568" fmla="*/ 28431 w 417166"/>
                <a:gd name="connsiteY568" fmla="*/ 262215 h 296203"/>
                <a:gd name="connsiteX569" fmla="*/ 35927 w 417166"/>
                <a:gd name="connsiteY569" fmla="*/ 258726 h 296203"/>
                <a:gd name="connsiteX570" fmla="*/ 40967 w 417166"/>
                <a:gd name="connsiteY570" fmla="*/ 257950 h 296203"/>
                <a:gd name="connsiteX571" fmla="*/ 44069 w 417166"/>
                <a:gd name="connsiteY571" fmla="*/ 256916 h 296203"/>
                <a:gd name="connsiteX572" fmla="*/ 46395 w 417166"/>
                <a:gd name="connsiteY572" fmla="*/ 255495 h 296203"/>
                <a:gd name="connsiteX573" fmla="*/ 46007 w 417166"/>
                <a:gd name="connsiteY573" fmla="*/ 253815 h 296203"/>
                <a:gd name="connsiteX574" fmla="*/ 47816 w 417166"/>
                <a:gd name="connsiteY574" fmla="*/ 249938 h 296203"/>
                <a:gd name="connsiteX575" fmla="*/ 49109 w 417166"/>
                <a:gd name="connsiteY575" fmla="*/ 248775 h 296203"/>
                <a:gd name="connsiteX576" fmla="*/ 50401 w 417166"/>
                <a:gd name="connsiteY576" fmla="*/ 249938 h 296203"/>
                <a:gd name="connsiteX577" fmla="*/ 50789 w 417166"/>
                <a:gd name="connsiteY577" fmla="*/ 249550 h 296203"/>
                <a:gd name="connsiteX578" fmla="*/ 51177 w 417166"/>
                <a:gd name="connsiteY578" fmla="*/ 249421 h 296203"/>
                <a:gd name="connsiteX579" fmla="*/ 51952 w 417166"/>
                <a:gd name="connsiteY579" fmla="*/ 249162 h 296203"/>
                <a:gd name="connsiteX580" fmla="*/ 52210 w 417166"/>
                <a:gd name="connsiteY580" fmla="*/ 249938 h 296203"/>
                <a:gd name="connsiteX581" fmla="*/ 52986 w 417166"/>
                <a:gd name="connsiteY581" fmla="*/ 250972 h 296203"/>
                <a:gd name="connsiteX582" fmla="*/ 53374 w 417166"/>
                <a:gd name="connsiteY582" fmla="*/ 251618 h 296203"/>
                <a:gd name="connsiteX583" fmla="*/ 54149 w 417166"/>
                <a:gd name="connsiteY583" fmla="*/ 250455 h 296203"/>
                <a:gd name="connsiteX584" fmla="*/ 55053 w 417166"/>
                <a:gd name="connsiteY584" fmla="*/ 249679 h 296203"/>
                <a:gd name="connsiteX585" fmla="*/ 55441 w 417166"/>
                <a:gd name="connsiteY585" fmla="*/ 248645 h 296203"/>
                <a:gd name="connsiteX586" fmla="*/ 54795 w 417166"/>
                <a:gd name="connsiteY586" fmla="*/ 246836 h 296203"/>
                <a:gd name="connsiteX587" fmla="*/ 55958 w 417166"/>
                <a:gd name="connsiteY587" fmla="*/ 246707 h 296203"/>
                <a:gd name="connsiteX588" fmla="*/ 57121 w 417166"/>
                <a:gd name="connsiteY588" fmla="*/ 246836 h 296203"/>
                <a:gd name="connsiteX589" fmla="*/ 58155 w 417166"/>
                <a:gd name="connsiteY589" fmla="*/ 247095 h 296203"/>
                <a:gd name="connsiteX590" fmla="*/ 59060 w 417166"/>
                <a:gd name="connsiteY590" fmla="*/ 247611 h 296203"/>
                <a:gd name="connsiteX591" fmla="*/ 57767 w 417166"/>
                <a:gd name="connsiteY591" fmla="*/ 248645 h 296203"/>
                <a:gd name="connsiteX592" fmla="*/ 57897 w 417166"/>
                <a:gd name="connsiteY592" fmla="*/ 249292 h 296203"/>
                <a:gd name="connsiteX593" fmla="*/ 58672 w 417166"/>
                <a:gd name="connsiteY593" fmla="*/ 249679 h 296203"/>
                <a:gd name="connsiteX594" fmla="*/ 59060 w 417166"/>
                <a:gd name="connsiteY594" fmla="*/ 250067 h 296203"/>
                <a:gd name="connsiteX595" fmla="*/ 59577 w 417166"/>
                <a:gd name="connsiteY595" fmla="*/ 251747 h 296203"/>
                <a:gd name="connsiteX596" fmla="*/ 59577 w 417166"/>
                <a:gd name="connsiteY596" fmla="*/ 252781 h 296203"/>
                <a:gd name="connsiteX597" fmla="*/ 58672 w 417166"/>
                <a:gd name="connsiteY597" fmla="*/ 253298 h 296203"/>
                <a:gd name="connsiteX598" fmla="*/ 56346 w 417166"/>
                <a:gd name="connsiteY598" fmla="*/ 253685 h 296203"/>
                <a:gd name="connsiteX599" fmla="*/ 54924 w 417166"/>
                <a:gd name="connsiteY599" fmla="*/ 254719 h 296203"/>
                <a:gd name="connsiteX600" fmla="*/ 55183 w 417166"/>
                <a:gd name="connsiteY600" fmla="*/ 256270 h 296203"/>
                <a:gd name="connsiteX601" fmla="*/ 57638 w 417166"/>
                <a:gd name="connsiteY601" fmla="*/ 258079 h 296203"/>
                <a:gd name="connsiteX602" fmla="*/ 58284 w 417166"/>
                <a:gd name="connsiteY602" fmla="*/ 257175 h 296203"/>
                <a:gd name="connsiteX603" fmla="*/ 59060 w 417166"/>
                <a:gd name="connsiteY603" fmla="*/ 256529 h 296203"/>
                <a:gd name="connsiteX604" fmla="*/ 60611 w 417166"/>
                <a:gd name="connsiteY604" fmla="*/ 255624 h 296203"/>
                <a:gd name="connsiteX605" fmla="*/ 60998 w 417166"/>
                <a:gd name="connsiteY605" fmla="*/ 257692 h 296203"/>
                <a:gd name="connsiteX606" fmla="*/ 62032 w 417166"/>
                <a:gd name="connsiteY606" fmla="*/ 257433 h 296203"/>
                <a:gd name="connsiteX607" fmla="*/ 63971 w 417166"/>
                <a:gd name="connsiteY607" fmla="*/ 255624 h 296203"/>
                <a:gd name="connsiteX608" fmla="*/ 66168 w 417166"/>
                <a:gd name="connsiteY608" fmla="*/ 255753 h 296203"/>
                <a:gd name="connsiteX609" fmla="*/ 67072 w 417166"/>
                <a:gd name="connsiteY609" fmla="*/ 256141 h 296203"/>
                <a:gd name="connsiteX610" fmla="*/ 67201 w 417166"/>
                <a:gd name="connsiteY610" fmla="*/ 257175 h 296203"/>
                <a:gd name="connsiteX611" fmla="*/ 66943 w 417166"/>
                <a:gd name="connsiteY611" fmla="*/ 261052 h 296203"/>
                <a:gd name="connsiteX612" fmla="*/ 67589 w 417166"/>
                <a:gd name="connsiteY612" fmla="*/ 261569 h 296203"/>
                <a:gd name="connsiteX613" fmla="*/ 69398 w 417166"/>
                <a:gd name="connsiteY613" fmla="*/ 261827 h 296203"/>
                <a:gd name="connsiteX614" fmla="*/ 70820 w 417166"/>
                <a:gd name="connsiteY614" fmla="*/ 260535 h 296203"/>
                <a:gd name="connsiteX615" fmla="*/ 71854 w 417166"/>
                <a:gd name="connsiteY615" fmla="*/ 260018 h 296203"/>
                <a:gd name="connsiteX616" fmla="*/ 72241 w 417166"/>
                <a:gd name="connsiteY616" fmla="*/ 260664 h 296203"/>
                <a:gd name="connsiteX617" fmla="*/ 72371 w 417166"/>
                <a:gd name="connsiteY617" fmla="*/ 261827 h 296203"/>
                <a:gd name="connsiteX618" fmla="*/ 72888 w 417166"/>
                <a:gd name="connsiteY618" fmla="*/ 261827 h 296203"/>
                <a:gd name="connsiteX619" fmla="*/ 73534 w 417166"/>
                <a:gd name="connsiteY619" fmla="*/ 261310 h 296203"/>
                <a:gd name="connsiteX620" fmla="*/ 74309 w 417166"/>
                <a:gd name="connsiteY620" fmla="*/ 261052 h 296203"/>
                <a:gd name="connsiteX621" fmla="*/ 75989 w 417166"/>
                <a:gd name="connsiteY621" fmla="*/ 259759 h 296203"/>
                <a:gd name="connsiteX622" fmla="*/ 76636 w 417166"/>
                <a:gd name="connsiteY622" fmla="*/ 259372 h 296203"/>
                <a:gd name="connsiteX623" fmla="*/ 79220 w 417166"/>
                <a:gd name="connsiteY623" fmla="*/ 259372 h 296203"/>
                <a:gd name="connsiteX624" fmla="*/ 80642 w 417166"/>
                <a:gd name="connsiteY624" fmla="*/ 258596 h 296203"/>
                <a:gd name="connsiteX625" fmla="*/ 83485 w 417166"/>
                <a:gd name="connsiteY625" fmla="*/ 255236 h 296203"/>
                <a:gd name="connsiteX626" fmla="*/ 84519 w 417166"/>
                <a:gd name="connsiteY626" fmla="*/ 254461 h 296203"/>
                <a:gd name="connsiteX627" fmla="*/ 86328 w 417166"/>
                <a:gd name="connsiteY627" fmla="*/ 249938 h 296203"/>
                <a:gd name="connsiteX628" fmla="*/ 86974 w 417166"/>
                <a:gd name="connsiteY628" fmla="*/ 248904 h 296203"/>
                <a:gd name="connsiteX629" fmla="*/ 88525 w 417166"/>
                <a:gd name="connsiteY629" fmla="*/ 248516 h 296203"/>
                <a:gd name="connsiteX630" fmla="*/ 88913 w 417166"/>
                <a:gd name="connsiteY630" fmla="*/ 249421 h 296203"/>
                <a:gd name="connsiteX631" fmla="*/ 88525 w 417166"/>
                <a:gd name="connsiteY631" fmla="*/ 251101 h 296203"/>
                <a:gd name="connsiteX632" fmla="*/ 87879 w 417166"/>
                <a:gd name="connsiteY632" fmla="*/ 252910 h 296203"/>
                <a:gd name="connsiteX633" fmla="*/ 89817 w 417166"/>
                <a:gd name="connsiteY633" fmla="*/ 252522 h 296203"/>
                <a:gd name="connsiteX634" fmla="*/ 90981 w 417166"/>
                <a:gd name="connsiteY634" fmla="*/ 251101 h 296203"/>
                <a:gd name="connsiteX635" fmla="*/ 91756 w 417166"/>
                <a:gd name="connsiteY635" fmla="*/ 249550 h 296203"/>
                <a:gd name="connsiteX636" fmla="*/ 92531 w 417166"/>
                <a:gd name="connsiteY636" fmla="*/ 248775 h 296203"/>
                <a:gd name="connsiteX637" fmla="*/ 93436 w 417166"/>
                <a:gd name="connsiteY637" fmla="*/ 248387 h 296203"/>
                <a:gd name="connsiteX638" fmla="*/ 96537 w 417166"/>
                <a:gd name="connsiteY638" fmla="*/ 246836 h 296203"/>
                <a:gd name="connsiteX639" fmla="*/ 97830 w 417166"/>
                <a:gd name="connsiteY639" fmla="*/ 246448 h 296203"/>
                <a:gd name="connsiteX640" fmla="*/ 103387 w 417166"/>
                <a:gd name="connsiteY640" fmla="*/ 245544 h 296203"/>
                <a:gd name="connsiteX641" fmla="*/ 104421 w 417166"/>
                <a:gd name="connsiteY641" fmla="*/ 245156 h 296203"/>
                <a:gd name="connsiteX642" fmla="*/ 107393 w 417166"/>
                <a:gd name="connsiteY642" fmla="*/ 243605 h 296203"/>
                <a:gd name="connsiteX643" fmla="*/ 108944 w 417166"/>
                <a:gd name="connsiteY643" fmla="*/ 243218 h 296203"/>
                <a:gd name="connsiteX644" fmla="*/ 108944 w 417166"/>
                <a:gd name="connsiteY644" fmla="*/ 243993 h 296203"/>
                <a:gd name="connsiteX645" fmla="*/ 107393 w 417166"/>
                <a:gd name="connsiteY645" fmla="*/ 244768 h 296203"/>
                <a:gd name="connsiteX646" fmla="*/ 109590 w 417166"/>
                <a:gd name="connsiteY646" fmla="*/ 245285 h 296203"/>
                <a:gd name="connsiteX647" fmla="*/ 111787 w 417166"/>
                <a:gd name="connsiteY647" fmla="*/ 244898 h 296203"/>
                <a:gd name="connsiteX648" fmla="*/ 113467 w 417166"/>
                <a:gd name="connsiteY648" fmla="*/ 245156 h 296203"/>
                <a:gd name="connsiteX649" fmla="*/ 114113 w 417166"/>
                <a:gd name="connsiteY649" fmla="*/ 247482 h 296203"/>
                <a:gd name="connsiteX650" fmla="*/ 115147 w 417166"/>
                <a:gd name="connsiteY650" fmla="*/ 247224 h 296203"/>
                <a:gd name="connsiteX651" fmla="*/ 119929 w 417166"/>
                <a:gd name="connsiteY651" fmla="*/ 247999 h 296203"/>
                <a:gd name="connsiteX652" fmla="*/ 121480 w 417166"/>
                <a:gd name="connsiteY652" fmla="*/ 248645 h 296203"/>
                <a:gd name="connsiteX653" fmla="*/ 121996 w 417166"/>
                <a:gd name="connsiteY653" fmla="*/ 249421 h 296203"/>
                <a:gd name="connsiteX654" fmla="*/ 123289 w 417166"/>
                <a:gd name="connsiteY654" fmla="*/ 251747 h 296203"/>
                <a:gd name="connsiteX655" fmla="*/ 124323 w 417166"/>
                <a:gd name="connsiteY655" fmla="*/ 252781 h 296203"/>
                <a:gd name="connsiteX656" fmla="*/ 125098 w 417166"/>
                <a:gd name="connsiteY656" fmla="*/ 253039 h 296203"/>
                <a:gd name="connsiteX657" fmla="*/ 126390 w 417166"/>
                <a:gd name="connsiteY657" fmla="*/ 253298 h 296203"/>
                <a:gd name="connsiteX658" fmla="*/ 127553 w 417166"/>
                <a:gd name="connsiteY658" fmla="*/ 253427 h 296203"/>
                <a:gd name="connsiteX659" fmla="*/ 128070 w 417166"/>
                <a:gd name="connsiteY659" fmla="*/ 253169 h 296203"/>
                <a:gd name="connsiteX660" fmla="*/ 128846 w 417166"/>
                <a:gd name="connsiteY660" fmla="*/ 254332 h 296203"/>
                <a:gd name="connsiteX661" fmla="*/ 130784 w 417166"/>
                <a:gd name="connsiteY661" fmla="*/ 255495 h 296203"/>
                <a:gd name="connsiteX662" fmla="*/ 133240 w 417166"/>
                <a:gd name="connsiteY662" fmla="*/ 256270 h 296203"/>
                <a:gd name="connsiteX663" fmla="*/ 135308 w 417166"/>
                <a:gd name="connsiteY663" fmla="*/ 256529 h 296203"/>
                <a:gd name="connsiteX664" fmla="*/ 132981 w 417166"/>
                <a:gd name="connsiteY664" fmla="*/ 258467 h 296203"/>
                <a:gd name="connsiteX665" fmla="*/ 128329 w 417166"/>
                <a:gd name="connsiteY665" fmla="*/ 260018 h 296203"/>
                <a:gd name="connsiteX666" fmla="*/ 119541 w 417166"/>
                <a:gd name="connsiteY666" fmla="*/ 261440 h 296203"/>
                <a:gd name="connsiteX667" fmla="*/ 110882 w 417166"/>
                <a:gd name="connsiteY667" fmla="*/ 261181 h 296203"/>
                <a:gd name="connsiteX668" fmla="*/ 106876 w 417166"/>
                <a:gd name="connsiteY668" fmla="*/ 260276 h 296203"/>
                <a:gd name="connsiteX669" fmla="*/ 104421 w 417166"/>
                <a:gd name="connsiteY669" fmla="*/ 258209 h 296203"/>
                <a:gd name="connsiteX670" fmla="*/ 103516 w 417166"/>
                <a:gd name="connsiteY670" fmla="*/ 261569 h 296203"/>
                <a:gd name="connsiteX671" fmla="*/ 102999 w 417166"/>
                <a:gd name="connsiteY671" fmla="*/ 262215 h 296203"/>
                <a:gd name="connsiteX672" fmla="*/ 101836 w 417166"/>
                <a:gd name="connsiteY672" fmla="*/ 262344 h 296203"/>
                <a:gd name="connsiteX673" fmla="*/ 99251 w 417166"/>
                <a:gd name="connsiteY673" fmla="*/ 261052 h 296203"/>
                <a:gd name="connsiteX674" fmla="*/ 98218 w 417166"/>
                <a:gd name="connsiteY674" fmla="*/ 260664 h 296203"/>
                <a:gd name="connsiteX675" fmla="*/ 94211 w 417166"/>
                <a:gd name="connsiteY675" fmla="*/ 260535 h 296203"/>
                <a:gd name="connsiteX676" fmla="*/ 92660 w 417166"/>
                <a:gd name="connsiteY676" fmla="*/ 261440 h 296203"/>
                <a:gd name="connsiteX677" fmla="*/ 91885 w 417166"/>
                <a:gd name="connsiteY677" fmla="*/ 263766 h 296203"/>
                <a:gd name="connsiteX678" fmla="*/ 92402 w 417166"/>
                <a:gd name="connsiteY678" fmla="*/ 266221 h 296203"/>
                <a:gd name="connsiteX679" fmla="*/ 93953 w 417166"/>
                <a:gd name="connsiteY679" fmla="*/ 266996 h 296203"/>
                <a:gd name="connsiteX680" fmla="*/ 96021 w 417166"/>
                <a:gd name="connsiteY680" fmla="*/ 266480 h 296203"/>
                <a:gd name="connsiteX681" fmla="*/ 98088 w 417166"/>
                <a:gd name="connsiteY681" fmla="*/ 265058 h 296203"/>
                <a:gd name="connsiteX682" fmla="*/ 99768 w 417166"/>
                <a:gd name="connsiteY682" fmla="*/ 264153 h 296203"/>
                <a:gd name="connsiteX683" fmla="*/ 101965 w 417166"/>
                <a:gd name="connsiteY683" fmla="*/ 263766 h 296203"/>
                <a:gd name="connsiteX684" fmla="*/ 106489 w 417166"/>
                <a:gd name="connsiteY684" fmla="*/ 263766 h 296203"/>
                <a:gd name="connsiteX685" fmla="*/ 133369 w 417166"/>
                <a:gd name="connsiteY685" fmla="*/ 260664 h 296203"/>
                <a:gd name="connsiteX686" fmla="*/ 137763 w 417166"/>
                <a:gd name="connsiteY686" fmla="*/ 261440 h 296203"/>
                <a:gd name="connsiteX687" fmla="*/ 138022 w 417166"/>
                <a:gd name="connsiteY687" fmla="*/ 261698 h 296203"/>
                <a:gd name="connsiteX688" fmla="*/ 139185 w 417166"/>
                <a:gd name="connsiteY688" fmla="*/ 263378 h 296203"/>
                <a:gd name="connsiteX689" fmla="*/ 139831 w 417166"/>
                <a:gd name="connsiteY689" fmla="*/ 263507 h 296203"/>
                <a:gd name="connsiteX690" fmla="*/ 140477 w 417166"/>
                <a:gd name="connsiteY690" fmla="*/ 262861 h 296203"/>
                <a:gd name="connsiteX691" fmla="*/ 141123 w 417166"/>
                <a:gd name="connsiteY691" fmla="*/ 261956 h 296203"/>
                <a:gd name="connsiteX692" fmla="*/ 141769 w 417166"/>
                <a:gd name="connsiteY692" fmla="*/ 261310 h 296203"/>
                <a:gd name="connsiteX693" fmla="*/ 146680 w 417166"/>
                <a:gd name="connsiteY693" fmla="*/ 259243 h 296203"/>
                <a:gd name="connsiteX694" fmla="*/ 151849 w 417166"/>
                <a:gd name="connsiteY694" fmla="*/ 257692 h 296203"/>
                <a:gd name="connsiteX695" fmla="*/ 176145 w 417166"/>
                <a:gd name="connsiteY695" fmla="*/ 255107 h 296203"/>
                <a:gd name="connsiteX696" fmla="*/ 178601 w 417166"/>
                <a:gd name="connsiteY696" fmla="*/ 254073 h 296203"/>
                <a:gd name="connsiteX697" fmla="*/ 181444 w 417166"/>
                <a:gd name="connsiteY697" fmla="*/ 252264 h 296203"/>
                <a:gd name="connsiteX698" fmla="*/ 183382 w 417166"/>
                <a:gd name="connsiteY698" fmla="*/ 250067 h 296203"/>
                <a:gd name="connsiteX699" fmla="*/ 183512 w 417166"/>
                <a:gd name="connsiteY699" fmla="*/ 247999 h 296203"/>
                <a:gd name="connsiteX700" fmla="*/ 182349 w 417166"/>
                <a:gd name="connsiteY700" fmla="*/ 248775 h 296203"/>
                <a:gd name="connsiteX701" fmla="*/ 182219 w 417166"/>
                <a:gd name="connsiteY701" fmla="*/ 247353 h 296203"/>
                <a:gd name="connsiteX702" fmla="*/ 182478 w 417166"/>
                <a:gd name="connsiteY702" fmla="*/ 245156 h 296203"/>
                <a:gd name="connsiteX703" fmla="*/ 182349 w 417166"/>
                <a:gd name="connsiteY703" fmla="*/ 243605 h 296203"/>
                <a:gd name="connsiteX704" fmla="*/ 181185 w 417166"/>
                <a:gd name="connsiteY704" fmla="*/ 242571 h 296203"/>
                <a:gd name="connsiteX705" fmla="*/ 176921 w 417166"/>
                <a:gd name="connsiteY705" fmla="*/ 239987 h 296203"/>
                <a:gd name="connsiteX706" fmla="*/ 177308 w 417166"/>
                <a:gd name="connsiteY706" fmla="*/ 239728 h 296203"/>
                <a:gd name="connsiteX707" fmla="*/ 177567 w 417166"/>
                <a:gd name="connsiteY707" fmla="*/ 239470 h 296203"/>
                <a:gd name="connsiteX708" fmla="*/ 177825 w 417166"/>
                <a:gd name="connsiteY708" fmla="*/ 239211 h 296203"/>
                <a:gd name="connsiteX709" fmla="*/ 178342 w 417166"/>
                <a:gd name="connsiteY709" fmla="*/ 239082 h 296203"/>
                <a:gd name="connsiteX710" fmla="*/ 177308 w 417166"/>
                <a:gd name="connsiteY710" fmla="*/ 238565 h 296203"/>
                <a:gd name="connsiteX711" fmla="*/ 176662 w 417166"/>
                <a:gd name="connsiteY711" fmla="*/ 237919 h 296203"/>
                <a:gd name="connsiteX712" fmla="*/ 176275 w 417166"/>
                <a:gd name="connsiteY712" fmla="*/ 237014 h 296203"/>
                <a:gd name="connsiteX713" fmla="*/ 176145 w 417166"/>
                <a:gd name="connsiteY713" fmla="*/ 235851 h 296203"/>
                <a:gd name="connsiteX714" fmla="*/ 175758 w 417166"/>
                <a:gd name="connsiteY714" fmla="*/ 236239 h 296203"/>
                <a:gd name="connsiteX715" fmla="*/ 175370 w 417166"/>
                <a:gd name="connsiteY715" fmla="*/ 236497 h 296203"/>
                <a:gd name="connsiteX716" fmla="*/ 174982 w 417166"/>
                <a:gd name="connsiteY716" fmla="*/ 236885 h 296203"/>
                <a:gd name="connsiteX717" fmla="*/ 174594 w 417166"/>
                <a:gd name="connsiteY717" fmla="*/ 237531 h 296203"/>
                <a:gd name="connsiteX718" fmla="*/ 173819 w 417166"/>
                <a:gd name="connsiteY718" fmla="*/ 237531 h 296203"/>
                <a:gd name="connsiteX719" fmla="*/ 170588 w 417166"/>
                <a:gd name="connsiteY719" fmla="*/ 231199 h 296203"/>
                <a:gd name="connsiteX720" fmla="*/ 170071 w 417166"/>
                <a:gd name="connsiteY720" fmla="*/ 228743 h 296203"/>
                <a:gd name="connsiteX721" fmla="*/ 170588 w 417166"/>
                <a:gd name="connsiteY721" fmla="*/ 226288 h 296203"/>
                <a:gd name="connsiteX722" fmla="*/ 172139 w 417166"/>
                <a:gd name="connsiteY722" fmla="*/ 225125 h 296203"/>
                <a:gd name="connsiteX723" fmla="*/ 174207 w 417166"/>
                <a:gd name="connsiteY723" fmla="*/ 224737 h 296203"/>
                <a:gd name="connsiteX724" fmla="*/ 176275 w 417166"/>
                <a:gd name="connsiteY724" fmla="*/ 224737 h 296203"/>
                <a:gd name="connsiteX725" fmla="*/ 180668 w 417166"/>
                <a:gd name="connsiteY725" fmla="*/ 221765 h 296203"/>
                <a:gd name="connsiteX726" fmla="*/ 183253 w 417166"/>
                <a:gd name="connsiteY726" fmla="*/ 220343 h 296203"/>
                <a:gd name="connsiteX727" fmla="*/ 184416 w 417166"/>
                <a:gd name="connsiteY727" fmla="*/ 220085 h 296203"/>
                <a:gd name="connsiteX728" fmla="*/ 185709 w 417166"/>
                <a:gd name="connsiteY728" fmla="*/ 220214 h 296203"/>
                <a:gd name="connsiteX729" fmla="*/ 186484 w 417166"/>
                <a:gd name="connsiteY729" fmla="*/ 220473 h 296203"/>
                <a:gd name="connsiteX730" fmla="*/ 187259 w 417166"/>
                <a:gd name="connsiteY730" fmla="*/ 220473 h 296203"/>
                <a:gd name="connsiteX731" fmla="*/ 188423 w 417166"/>
                <a:gd name="connsiteY731" fmla="*/ 219955 h 296203"/>
                <a:gd name="connsiteX732" fmla="*/ 189327 w 417166"/>
                <a:gd name="connsiteY732" fmla="*/ 219180 h 296203"/>
                <a:gd name="connsiteX733" fmla="*/ 190490 w 417166"/>
                <a:gd name="connsiteY733" fmla="*/ 217371 h 296203"/>
                <a:gd name="connsiteX734" fmla="*/ 191395 w 417166"/>
                <a:gd name="connsiteY734" fmla="*/ 216725 h 296203"/>
                <a:gd name="connsiteX735" fmla="*/ 192429 w 417166"/>
                <a:gd name="connsiteY735" fmla="*/ 217371 h 296203"/>
                <a:gd name="connsiteX736" fmla="*/ 195143 w 417166"/>
                <a:gd name="connsiteY736" fmla="*/ 217112 h 296203"/>
                <a:gd name="connsiteX737" fmla="*/ 196435 w 417166"/>
                <a:gd name="connsiteY737" fmla="*/ 217500 h 296203"/>
                <a:gd name="connsiteX738" fmla="*/ 196823 w 417166"/>
                <a:gd name="connsiteY738" fmla="*/ 218275 h 296203"/>
                <a:gd name="connsiteX739" fmla="*/ 197210 w 417166"/>
                <a:gd name="connsiteY739" fmla="*/ 221248 h 296203"/>
                <a:gd name="connsiteX740" fmla="*/ 197210 w 417166"/>
                <a:gd name="connsiteY740" fmla="*/ 222282 h 296203"/>
                <a:gd name="connsiteX741" fmla="*/ 196823 w 417166"/>
                <a:gd name="connsiteY741" fmla="*/ 224866 h 296203"/>
                <a:gd name="connsiteX742" fmla="*/ 196435 w 417166"/>
                <a:gd name="connsiteY742" fmla="*/ 225513 h 296203"/>
                <a:gd name="connsiteX743" fmla="*/ 195789 w 417166"/>
                <a:gd name="connsiteY743" fmla="*/ 226029 h 296203"/>
                <a:gd name="connsiteX744" fmla="*/ 193463 w 417166"/>
                <a:gd name="connsiteY744" fmla="*/ 227063 h 296203"/>
                <a:gd name="connsiteX745" fmla="*/ 192946 w 417166"/>
                <a:gd name="connsiteY745" fmla="*/ 228356 h 296203"/>
                <a:gd name="connsiteX746" fmla="*/ 192946 w 417166"/>
                <a:gd name="connsiteY746" fmla="*/ 229260 h 296203"/>
                <a:gd name="connsiteX747" fmla="*/ 193850 w 417166"/>
                <a:gd name="connsiteY747" fmla="*/ 229648 h 296203"/>
                <a:gd name="connsiteX748" fmla="*/ 195789 w 417166"/>
                <a:gd name="connsiteY748" fmla="*/ 229389 h 296203"/>
                <a:gd name="connsiteX749" fmla="*/ 190749 w 417166"/>
                <a:gd name="connsiteY749" fmla="*/ 233784 h 296203"/>
                <a:gd name="connsiteX750" fmla="*/ 188552 w 417166"/>
                <a:gd name="connsiteY750" fmla="*/ 236368 h 296203"/>
                <a:gd name="connsiteX751" fmla="*/ 187647 w 417166"/>
                <a:gd name="connsiteY751" fmla="*/ 239211 h 296203"/>
                <a:gd name="connsiteX752" fmla="*/ 185967 w 417166"/>
                <a:gd name="connsiteY752" fmla="*/ 241796 h 296203"/>
                <a:gd name="connsiteX753" fmla="*/ 185709 w 417166"/>
                <a:gd name="connsiteY753" fmla="*/ 243088 h 296203"/>
                <a:gd name="connsiteX754" fmla="*/ 187389 w 417166"/>
                <a:gd name="connsiteY754" fmla="*/ 243605 h 296203"/>
                <a:gd name="connsiteX755" fmla="*/ 188940 w 417166"/>
                <a:gd name="connsiteY755" fmla="*/ 243864 h 296203"/>
                <a:gd name="connsiteX756" fmla="*/ 189844 w 417166"/>
                <a:gd name="connsiteY756" fmla="*/ 244639 h 296203"/>
                <a:gd name="connsiteX757" fmla="*/ 189715 w 417166"/>
                <a:gd name="connsiteY757" fmla="*/ 245673 h 296203"/>
                <a:gd name="connsiteX758" fmla="*/ 188423 w 417166"/>
                <a:gd name="connsiteY758" fmla="*/ 246707 h 296203"/>
                <a:gd name="connsiteX759" fmla="*/ 187647 w 417166"/>
                <a:gd name="connsiteY759" fmla="*/ 246319 h 296203"/>
                <a:gd name="connsiteX760" fmla="*/ 187001 w 417166"/>
                <a:gd name="connsiteY760" fmla="*/ 246190 h 296203"/>
                <a:gd name="connsiteX761" fmla="*/ 185450 w 417166"/>
                <a:gd name="connsiteY761" fmla="*/ 246061 h 296203"/>
                <a:gd name="connsiteX762" fmla="*/ 186484 w 417166"/>
                <a:gd name="connsiteY762" fmla="*/ 247224 h 296203"/>
                <a:gd name="connsiteX763" fmla="*/ 188552 w 417166"/>
                <a:gd name="connsiteY763" fmla="*/ 248775 h 296203"/>
                <a:gd name="connsiteX764" fmla="*/ 189844 w 417166"/>
                <a:gd name="connsiteY764" fmla="*/ 250067 h 296203"/>
                <a:gd name="connsiteX765" fmla="*/ 191524 w 417166"/>
                <a:gd name="connsiteY765" fmla="*/ 249033 h 296203"/>
                <a:gd name="connsiteX766" fmla="*/ 193333 w 417166"/>
                <a:gd name="connsiteY766" fmla="*/ 249938 h 296203"/>
                <a:gd name="connsiteX767" fmla="*/ 196047 w 417166"/>
                <a:gd name="connsiteY767" fmla="*/ 252393 h 296203"/>
                <a:gd name="connsiteX768" fmla="*/ 206644 w 417166"/>
                <a:gd name="connsiteY768" fmla="*/ 252135 h 296203"/>
                <a:gd name="connsiteX769" fmla="*/ 214140 w 417166"/>
                <a:gd name="connsiteY769" fmla="*/ 252781 h 296203"/>
                <a:gd name="connsiteX770" fmla="*/ 224091 w 417166"/>
                <a:gd name="connsiteY770" fmla="*/ 251747 h 296203"/>
                <a:gd name="connsiteX771" fmla="*/ 231974 w 417166"/>
                <a:gd name="connsiteY771" fmla="*/ 251618 h 296203"/>
                <a:gd name="connsiteX772" fmla="*/ 232879 w 417166"/>
                <a:gd name="connsiteY772" fmla="*/ 251230 h 296203"/>
                <a:gd name="connsiteX773" fmla="*/ 234171 w 417166"/>
                <a:gd name="connsiteY773" fmla="*/ 249679 h 296203"/>
                <a:gd name="connsiteX774" fmla="*/ 234817 w 417166"/>
                <a:gd name="connsiteY774" fmla="*/ 249292 h 296203"/>
                <a:gd name="connsiteX775" fmla="*/ 236110 w 417166"/>
                <a:gd name="connsiteY775" fmla="*/ 249162 h 296203"/>
                <a:gd name="connsiteX776" fmla="*/ 239470 w 417166"/>
                <a:gd name="connsiteY776" fmla="*/ 248387 h 296203"/>
                <a:gd name="connsiteX777" fmla="*/ 249421 w 417166"/>
                <a:gd name="connsiteY777" fmla="*/ 247741 h 296203"/>
                <a:gd name="connsiteX778" fmla="*/ 266092 w 417166"/>
                <a:gd name="connsiteY778" fmla="*/ 248129 h 296203"/>
                <a:gd name="connsiteX779" fmla="*/ 287674 w 417166"/>
                <a:gd name="connsiteY779" fmla="*/ 249679 h 296203"/>
                <a:gd name="connsiteX780" fmla="*/ 300080 w 417166"/>
                <a:gd name="connsiteY780" fmla="*/ 250067 h 296203"/>
                <a:gd name="connsiteX781" fmla="*/ 301373 w 417166"/>
                <a:gd name="connsiteY781" fmla="*/ 250584 h 296203"/>
                <a:gd name="connsiteX782" fmla="*/ 303440 w 417166"/>
                <a:gd name="connsiteY782" fmla="*/ 252781 h 296203"/>
                <a:gd name="connsiteX783" fmla="*/ 304862 w 417166"/>
                <a:gd name="connsiteY783" fmla="*/ 253427 h 296203"/>
                <a:gd name="connsiteX784" fmla="*/ 305896 w 417166"/>
                <a:gd name="connsiteY784" fmla="*/ 250842 h 296203"/>
                <a:gd name="connsiteX785" fmla="*/ 306025 w 417166"/>
                <a:gd name="connsiteY785" fmla="*/ 249550 h 296203"/>
                <a:gd name="connsiteX786" fmla="*/ 305508 w 417166"/>
                <a:gd name="connsiteY786" fmla="*/ 247870 h 296203"/>
                <a:gd name="connsiteX787" fmla="*/ 304862 w 417166"/>
                <a:gd name="connsiteY787" fmla="*/ 247870 h 296203"/>
                <a:gd name="connsiteX788" fmla="*/ 303828 w 417166"/>
                <a:gd name="connsiteY788" fmla="*/ 249162 h 296203"/>
                <a:gd name="connsiteX789" fmla="*/ 303053 w 417166"/>
                <a:gd name="connsiteY789" fmla="*/ 247870 h 296203"/>
                <a:gd name="connsiteX790" fmla="*/ 302794 w 417166"/>
                <a:gd name="connsiteY790" fmla="*/ 245415 h 296203"/>
                <a:gd name="connsiteX791" fmla="*/ 303311 w 417166"/>
                <a:gd name="connsiteY791" fmla="*/ 243088 h 296203"/>
                <a:gd name="connsiteX792" fmla="*/ 303699 w 417166"/>
                <a:gd name="connsiteY792" fmla="*/ 242313 h 296203"/>
                <a:gd name="connsiteX793" fmla="*/ 304087 w 417166"/>
                <a:gd name="connsiteY793" fmla="*/ 241796 h 296203"/>
                <a:gd name="connsiteX794" fmla="*/ 304733 w 417166"/>
                <a:gd name="connsiteY794" fmla="*/ 241537 h 296203"/>
                <a:gd name="connsiteX795" fmla="*/ 305896 w 417166"/>
                <a:gd name="connsiteY795" fmla="*/ 241408 h 296203"/>
                <a:gd name="connsiteX796" fmla="*/ 306671 w 417166"/>
                <a:gd name="connsiteY796" fmla="*/ 241150 h 296203"/>
                <a:gd name="connsiteX797" fmla="*/ 306930 w 417166"/>
                <a:gd name="connsiteY797" fmla="*/ 240374 h 296203"/>
                <a:gd name="connsiteX798" fmla="*/ 306930 w 417166"/>
                <a:gd name="connsiteY798" fmla="*/ 239341 h 296203"/>
                <a:gd name="connsiteX799" fmla="*/ 307318 w 417166"/>
                <a:gd name="connsiteY799" fmla="*/ 237402 h 296203"/>
                <a:gd name="connsiteX800" fmla="*/ 307318 w 417166"/>
                <a:gd name="connsiteY800" fmla="*/ 236368 h 296203"/>
                <a:gd name="connsiteX801" fmla="*/ 307446 w 417166"/>
                <a:gd name="connsiteY801" fmla="*/ 235463 h 296203"/>
                <a:gd name="connsiteX802" fmla="*/ 308093 w 417166"/>
                <a:gd name="connsiteY802" fmla="*/ 235076 h 296203"/>
                <a:gd name="connsiteX803" fmla="*/ 308868 w 417166"/>
                <a:gd name="connsiteY803" fmla="*/ 234947 h 296203"/>
                <a:gd name="connsiteX804" fmla="*/ 312099 w 417166"/>
                <a:gd name="connsiteY804" fmla="*/ 233525 h 296203"/>
                <a:gd name="connsiteX805" fmla="*/ 314555 w 417166"/>
                <a:gd name="connsiteY805" fmla="*/ 230423 h 296203"/>
                <a:gd name="connsiteX806" fmla="*/ 315976 w 417166"/>
                <a:gd name="connsiteY806" fmla="*/ 229648 h 296203"/>
                <a:gd name="connsiteX807" fmla="*/ 318044 w 417166"/>
                <a:gd name="connsiteY807" fmla="*/ 230294 h 296203"/>
                <a:gd name="connsiteX808" fmla="*/ 318561 w 417166"/>
                <a:gd name="connsiteY808" fmla="*/ 228873 h 296203"/>
                <a:gd name="connsiteX809" fmla="*/ 319466 w 417166"/>
                <a:gd name="connsiteY809" fmla="*/ 227968 h 296203"/>
                <a:gd name="connsiteX810" fmla="*/ 320241 w 417166"/>
                <a:gd name="connsiteY810" fmla="*/ 226805 h 296203"/>
                <a:gd name="connsiteX811" fmla="*/ 320241 w 417166"/>
                <a:gd name="connsiteY811" fmla="*/ 224737 h 296203"/>
                <a:gd name="connsiteX812" fmla="*/ 319207 w 417166"/>
                <a:gd name="connsiteY812" fmla="*/ 225254 h 296203"/>
                <a:gd name="connsiteX813" fmla="*/ 316881 w 417166"/>
                <a:gd name="connsiteY813" fmla="*/ 225771 h 296203"/>
                <a:gd name="connsiteX814" fmla="*/ 315847 w 417166"/>
                <a:gd name="connsiteY814" fmla="*/ 226159 h 296203"/>
                <a:gd name="connsiteX815" fmla="*/ 314296 w 417166"/>
                <a:gd name="connsiteY815" fmla="*/ 227839 h 296203"/>
                <a:gd name="connsiteX816" fmla="*/ 313262 w 417166"/>
                <a:gd name="connsiteY816" fmla="*/ 228614 h 296203"/>
                <a:gd name="connsiteX817" fmla="*/ 312745 w 417166"/>
                <a:gd name="connsiteY817" fmla="*/ 228226 h 296203"/>
                <a:gd name="connsiteX818" fmla="*/ 311970 w 417166"/>
                <a:gd name="connsiteY818" fmla="*/ 226934 h 296203"/>
                <a:gd name="connsiteX819" fmla="*/ 308093 w 417166"/>
                <a:gd name="connsiteY819" fmla="*/ 222669 h 296203"/>
                <a:gd name="connsiteX820" fmla="*/ 307059 w 417166"/>
                <a:gd name="connsiteY820" fmla="*/ 220731 h 296203"/>
                <a:gd name="connsiteX821" fmla="*/ 306542 w 417166"/>
                <a:gd name="connsiteY821" fmla="*/ 215949 h 296203"/>
                <a:gd name="connsiteX822" fmla="*/ 306800 w 417166"/>
                <a:gd name="connsiteY822" fmla="*/ 210392 h 296203"/>
                <a:gd name="connsiteX823" fmla="*/ 307834 w 417166"/>
                <a:gd name="connsiteY823" fmla="*/ 205223 h 296203"/>
                <a:gd name="connsiteX824" fmla="*/ 309902 w 417166"/>
                <a:gd name="connsiteY824" fmla="*/ 201863 h 296203"/>
                <a:gd name="connsiteX825" fmla="*/ 313779 w 417166"/>
                <a:gd name="connsiteY825" fmla="*/ 200054 h 296203"/>
                <a:gd name="connsiteX826" fmla="*/ 315718 w 417166"/>
                <a:gd name="connsiteY826" fmla="*/ 198761 h 296203"/>
                <a:gd name="connsiteX827" fmla="*/ 316493 w 417166"/>
                <a:gd name="connsiteY827" fmla="*/ 196823 h 296203"/>
                <a:gd name="connsiteX828" fmla="*/ 316881 w 417166"/>
                <a:gd name="connsiteY828" fmla="*/ 196306 h 296203"/>
                <a:gd name="connsiteX829" fmla="*/ 317785 w 417166"/>
                <a:gd name="connsiteY829" fmla="*/ 195660 h 296203"/>
                <a:gd name="connsiteX830" fmla="*/ 318819 w 417166"/>
                <a:gd name="connsiteY830" fmla="*/ 195143 h 296203"/>
                <a:gd name="connsiteX831" fmla="*/ 319724 w 417166"/>
                <a:gd name="connsiteY831" fmla="*/ 194884 h 296203"/>
                <a:gd name="connsiteX832" fmla="*/ 320241 w 417166"/>
                <a:gd name="connsiteY832" fmla="*/ 194238 h 296203"/>
                <a:gd name="connsiteX833" fmla="*/ 322308 w 417166"/>
                <a:gd name="connsiteY833" fmla="*/ 190103 h 296203"/>
                <a:gd name="connsiteX834" fmla="*/ 323859 w 417166"/>
                <a:gd name="connsiteY834" fmla="*/ 188552 h 296203"/>
                <a:gd name="connsiteX835" fmla="*/ 327349 w 417166"/>
                <a:gd name="connsiteY835" fmla="*/ 186484 h 296203"/>
                <a:gd name="connsiteX836" fmla="*/ 329287 w 417166"/>
                <a:gd name="connsiteY836" fmla="*/ 184933 h 296203"/>
                <a:gd name="connsiteX837" fmla="*/ 329933 w 417166"/>
                <a:gd name="connsiteY837" fmla="*/ 184029 h 296203"/>
                <a:gd name="connsiteX838" fmla="*/ 330192 w 417166"/>
                <a:gd name="connsiteY838" fmla="*/ 181961 h 296203"/>
                <a:gd name="connsiteX839" fmla="*/ 330709 w 417166"/>
                <a:gd name="connsiteY839" fmla="*/ 181056 h 296203"/>
                <a:gd name="connsiteX840" fmla="*/ 333810 w 417166"/>
                <a:gd name="connsiteY840" fmla="*/ 178213 h 296203"/>
                <a:gd name="connsiteX841" fmla="*/ 341823 w 417166"/>
                <a:gd name="connsiteY841" fmla="*/ 172785 h 296203"/>
                <a:gd name="connsiteX842" fmla="*/ 353712 w 417166"/>
                <a:gd name="connsiteY842" fmla="*/ 167099 h 296203"/>
                <a:gd name="connsiteX843" fmla="*/ 363275 w 417166"/>
                <a:gd name="connsiteY843" fmla="*/ 163739 h 296203"/>
                <a:gd name="connsiteX844" fmla="*/ 376069 w 417166"/>
                <a:gd name="connsiteY844" fmla="*/ 160250 h 296203"/>
                <a:gd name="connsiteX845" fmla="*/ 386925 w 417166"/>
                <a:gd name="connsiteY845" fmla="*/ 157148 h 296203"/>
                <a:gd name="connsiteX846" fmla="*/ 397910 w 417166"/>
                <a:gd name="connsiteY846" fmla="*/ 151591 h 296203"/>
                <a:gd name="connsiteX847" fmla="*/ 413548 w 417166"/>
                <a:gd name="connsiteY847" fmla="*/ 142157 h 296203"/>
                <a:gd name="connsiteX848" fmla="*/ 416003 w 417166"/>
                <a:gd name="connsiteY848" fmla="*/ 139055 h 296203"/>
                <a:gd name="connsiteX849" fmla="*/ 416520 w 417166"/>
                <a:gd name="connsiteY849" fmla="*/ 134532 h 296203"/>
                <a:gd name="connsiteX850" fmla="*/ 412255 w 417166"/>
                <a:gd name="connsiteY850" fmla="*/ 120317 h 296203"/>
                <a:gd name="connsiteX851" fmla="*/ 410317 w 417166"/>
                <a:gd name="connsiteY851" fmla="*/ 108427 h 296203"/>
                <a:gd name="connsiteX852" fmla="*/ 411480 w 417166"/>
                <a:gd name="connsiteY852" fmla="*/ 100673 h 296203"/>
                <a:gd name="connsiteX853" fmla="*/ 410963 w 417166"/>
                <a:gd name="connsiteY853" fmla="*/ 95633 h 296203"/>
                <a:gd name="connsiteX854" fmla="*/ 406569 w 417166"/>
                <a:gd name="connsiteY854" fmla="*/ 90205 h 296203"/>
                <a:gd name="connsiteX855" fmla="*/ 405276 w 417166"/>
                <a:gd name="connsiteY855" fmla="*/ 85940 h 296203"/>
                <a:gd name="connsiteX856" fmla="*/ 406827 w 417166"/>
                <a:gd name="connsiteY856" fmla="*/ 81417 h 296203"/>
                <a:gd name="connsiteX857" fmla="*/ 407602 w 417166"/>
                <a:gd name="connsiteY857" fmla="*/ 79737 h 296203"/>
                <a:gd name="connsiteX858" fmla="*/ 410963 w 417166"/>
                <a:gd name="connsiteY858" fmla="*/ 76636 h 296203"/>
                <a:gd name="connsiteX859" fmla="*/ 414711 w 417166"/>
                <a:gd name="connsiteY859" fmla="*/ 70820 h 296203"/>
                <a:gd name="connsiteX860" fmla="*/ 416778 w 417166"/>
                <a:gd name="connsiteY860" fmla="*/ 67718 h 296203"/>
                <a:gd name="connsiteX861" fmla="*/ 416649 w 417166"/>
                <a:gd name="connsiteY861" fmla="*/ 64358 h 296203"/>
                <a:gd name="connsiteX862" fmla="*/ 417037 w 417166"/>
                <a:gd name="connsiteY862" fmla="*/ 62549 h 296203"/>
                <a:gd name="connsiteX863" fmla="*/ 417166 w 417166"/>
                <a:gd name="connsiteY863" fmla="*/ 59964 h 296203"/>
                <a:gd name="connsiteX864" fmla="*/ 80900 w 417166"/>
                <a:gd name="connsiteY864" fmla="*/ 272166 h 296203"/>
                <a:gd name="connsiteX865" fmla="*/ 79866 w 417166"/>
                <a:gd name="connsiteY865" fmla="*/ 271132 h 296203"/>
                <a:gd name="connsiteX866" fmla="*/ 79091 w 417166"/>
                <a:gd name="connsiteY866" fmla="*/ 270098 h 296203"/>
                <a:gd name="connsiteX867" fmla="*/ 79220 w 417166"/>
                <a:gd name="connsiteY867" fmla="*/ 269581 h 296203"/>
                <a:gd name="connsiteX868" fmla="*/ 79608 w 417166"/>
                <a:gd name="connsiteY868" fmla="*/ 268935 h 296203"/>
                <a:gd name="connsiteX869" fmla="*/ 79608 w 417166"/>
                <a:gd name="connsiteY869" fmla="*/ 268289 h 296203"/>
                <a:gd name="connsiteX870" fmla="*/ 78445 w 417166"/>
                <a:gd name="connsiteY870" fmla="*/ 267772 h 296203"/>
                <a:gd name="connsiteX871" fmla="*/ 78186 w 417166"/>
                <a:gd name="connsiteY871" fmla="*/ 268160 h 296203"/>
                <a:gd name="connsiteX872" fmla="*/ 77799 w 417166"/>
                <a:gd name="connsiteY872" fmla="*/ 268935 h 296203"/>
                <a:gd name="connsiteX873" fmla="*/ 77282 w 417166"/>
                <a:gd name="connsiteY873" fmla="*/ 269710 h 296203"/>
                <a:gd name="connsiteX874" fmla="*/ 76636 w 417166"/>
                <a:gd name="connsiteY874" fmla="*/ 270098 h 296203"/>
                <a:gd name="connsiteX875" fmla="*/ 75214 w 417166"/>
                <a:gd name="connsiteY875" fmla="*/ 269452 h 296203"/>
                <a:gd name="connsiteX876" fmla="*/ 74438 w 417166"/>
                <a:gd name="connsiteY876" fmla="*/ 268289 h 296203"/>
                <a:gd name="connsiteX877" fmla="*/ 73534 w 417166"/>
                <a:gd name="connsiteY877" fmla="*/ 267643 h 296203"/>
                <a:gd name="connsiteX878" fmla="*/ 71854 w 417166"/>
                <a:gd name="connsiteY878" fmla="*/ 268547 h 296203"/>
                <a:gd name="connsiteX879" fmla="*/ 69657 w 417166"/>
                <a:gd name="connsiteY879" fmla="*/ 266996 h 296203"/>
                <a:gd name="connsiteX880" fmla="*/ 70174 w 417166"/>
                <a:gd name="connsiteY880" fmla="*/ 266738 h 296203"/>
                <a:gd name="connsiteX881" fmla="*/ 70562 w 417166"/>
                <a:gd name="connsiteY881" fmla="*/ 266480 h 296203"/>
                <a:gd name="connsiteX882" fmla="*/ 71078 w 417166"/>
                <a:gd name="connsiteY882" fmla="*/ 266221 h 296203"/>
                <a:gd name="connsiteX883" fmla="*/ 71854 w 417166"/>
                <a:gd name="connsiteY883" fmla="*/ 266092 h 296203"/>
                <a:gd name="connsiteX884" fmla="*/ 71854 w 417166"/>
                <a:gd name="connsiteY884" fmla="*/ 265446 h 296203"/>
                <a:gd name="connsiteX885" fmla="*/ 70820 w 417166"/>
                <a:gd name="connsiteY885" fmla="*/ 264800 h 296203"/>
                <a:gd name="connsiteX886" fmla="*/ 69528 w 417166"/>
                <a:gd name="connsiteY886" fmla="*/ 264283 h 296203"/>
                <a:gd name="connsiteX887" fmla="*/ 68365 w 417166"/>
                <a:gd name="connsiteY887" fmla="*/ 263895 h 296203"/>
                <a:gd name="connsiteX888" fmla="*/ 67460 w 417166"/>
                <a:gd name="connsiteY888" fmla="*/ 263766 h 296203"/>
                <a:gd name="connsiteX889" fmla="*/ 67460 w 417166"/>
                <a:gd name="connsiteY889" fmla="*/ 263507 h 296203"/>
                <a:gd name="connsiteX890" fmla="*/ 67201 w 417166"/>
                <a:gd name="connsiteY890" fmla="*/ 263119 h 296203"/>
                <a:gd name="connsiteX891" fmla="*/ 66685 w 417166"/>
                <a:gd name="connsiteY891" fmla="*/ 262861 h 296203"/>
                <a:gd name="connsiteX892" fmla="*/ 66038 w 417166"/>
                <a:gd name="connsiteY892" fmla="*/ 262990 h 296203"/>
                <a:gd name="connsiteX893" fmla="*/ 65651 w 417166"/>
                <a:gd name="connsiteY893" fmla="*/ 264929 h 296203"/>
                <a:gd name="connsiteX894" fmla="*/ 65263 w 417166"/>
                <a:gd name="connsiteY894" fmla="*/ 265446 h 296203"/>
                <a:gd name="connsiteX895" fmla="*/ 62808 w 417166"/>
                <a:gd name="connsiteY895" fmla="*/ 268289 h 296203"/>
                <a:gd name="connsiteX896" fmla="*/ 61386 w 417166"/>
                <a:gd name="connsiteY896" fmla="*/ 269193 h 296203"/>
                <a:gd name="connsiteX897" fmla="*/ 60094 w 417166"/>
                <a:gd name="connsiteY897" fmla="*/ 268547 h 296203"/>
                <a:gd name="connsiteX898" fmla="*/ 57251 w 417166"/>
                <a:gd name="connsiteY898" fmla="*/ 271778 h 296203"/>
                <a:gd name="connsiteX899" fmla="*/ 53244 w 417166"/>
                <a:gd name="connsiteY899" fmla="*/ 273846 h 296203"/>
                <a:gd name="connsiteX900" fmla="*/ 52598 w 417166"/>
                <a:gd name="connsiteY900" fmla="*/ 273846 h 296203"/>
                <a:gd name="connsiteX901" fmla="*/ 52469 w 417166"/>
                <a:gd name="connsiteY901" fmla="*/ 273975 h 296203"/>
                <a:gd name="connsiteX902" fmla="*/ 52727 w 417166"/>
                <a:gd name="connsiteY902" fmla="*/ 274880 h 296203"/>
                <a:gd name="connsiteX903" fmla="*/ 53115 w 417166"/>
                <a:gd name="connsiteY903" fmla="*/ 275526 h 296203"/>
                <a:gd name="connsiteX904" fmla="*/ 53761 w 417166"/>
                <a:gd name="connsiteY904" fmla="*/ 275784 h 296203"/>
                <a:gd name="connsiteX905" fmla="*/ 55570 w 417166"/>
                <a:gd name="connsiteY905" fmla="*/ 275655 h 296203"/>
                <a:gd name="connsiteX906" fmla="*/ 55183 w 417166"/>
                <a:gd name="connsiteY906" fmla="*/ 276818 h 296203"/>
                <a:gd name="connsiteX907" fmla="*/ 55183 w 417166"/>
                <a:gd name="connsiteY907" fmla="*/ 277852 h 296203"/>
                <a:gd name="connsiteX908" fmla="*/ 55570 w 417166"/>
                <a:gd name="connsiteY908" fmla="*/ 278757 h 296203"/>
                <a:gd name="connsiteX909" fmla="*/ 56475 w 417166"/>
                <a:gd name="connsiteY909" fmla="*/ 279532 h 296203"/>
                <a:gd name="connsiteX910" fmla="*/ 56604 w 417166"/>
                <a:gd name="connsiteY910" fmla="*/ 279920 h 296203"/>
                <a:gd name="connsiteX911" fmla="*/ 56604 w 417166"/>
                <a:gd name="connsiteY911" fmla="*/ 280178 h 296203"/>
                <a:gd name="connsiteX912" fmla="*/ 56734 w 417166"/>
                <a:gd name="connsiteY912" fmla="*/ 280308 h 296203"/>
                <a:gd name="connsiteX913" fmla="*/ 57251 w 417166"/>
                <a:gd name="connsiteY913" fmla="*/ 280178 h 296203"/>
                <a:gd name="connsiteX914" fmla="*/ 57638 w 417166"/>
                <a:gd name="connsiteY914" fmla="*/ 278628 h 296203"/>
                <a:gd name="connsiteX915" fmla="*/ 58414 w 417166"/>
                <a:gd name="connsiteY915" fmla="*/ 276818 h 296203"/>
                <a:gd name="connsiteX916" fmla="*/ 59448 w 417166"/>
                <a:gd name="connsiteY916" fmla="*/ 275267 h 296203"/>
                <a:gd name="connsiteX917" fmla="*/ 60352 w 417166"/>
                <a:gd name="connsiteY917" fmla="*/ 274621 h 296203"/>
                <a:gd name="connsiteX918" fmla="*/ 62161 w 417166"/>
                <a:gd name="connsiteY918" fmla="*/ 274880 h 296203"/>
                <a:gd name="connsiteX919" fmla="*/ 63325 w 417166"/>
                <a:gd name="connsiteY919" fmla="*/ 275526 h 296203"/>
                <a:gd name="connsiteX920" fmla="*/ 64358 w 417166"/>
                <a:gd name="connsiteY920" fmla="*/ 276301 h 296203"/>
                <a:gd name="connsiteX921" fmla="*/ 65909 w 417166"/>
                <a:gd name="connsiteY921" fmla="*/ 276948 h 296203"/>
                <a:gd name="connsiteX922" fmla="*/ 67072 w 417166"/>
                <a:gd name="connsiteY922" fmla="*/ 276948 h 296203"/>
                <a:gd name="connsiteX923" fmla="*/ 71466 w 417166"/>
                <a:gd name="connsiteY923" fmla="*/ 276172 h 296203"/>
                <a:gd name="connsiteX924" fmla="*/ 72888 w 417166"/>
                <a:gd name="connsiteY924" fmla="*/ 275526 h 296203"/>
                <a:gd name="connsiteX925" fmla="*/ 73792 w 417166"/>
                <a:gd name="connsiteY925" fmla="*/ 274363 h 296203"/>
                <a:gd name="connsiteX926" fmla="*/ 74697 w 417166"/>
                <a:gd name="connsiteY926" fmla="*/ 273717 h 296203"/>
                <a:gd name="connsiteX927" fmla="*/ 76119 w 417166"/>
                <a:gd name="connsiteY927" fmla="*/ 274492 h 296203"/>
                <a:gd name="connsiteX928" fmla="*/ 76636 w 417166"/>
                <a:gd name="connsiteY928" fmla="*/ 273846 h 296203"/>
                <a:gd name="connsiteX929" fmla="*/ 77282 w 417166"/>
                <a:gd name="connsiteY929" fmla="*/ 273588 h 296203"/>
                <a:gd name="connsiteX930" fmla="*/ 78057 w 417166"/>
                <a:gd name="connsiteY930" fmla="*/ 273588 h 296203"/>
                <a:gd name="connsiteX931" fmla="*/ 79091 w 417166"/>
                <a:gd name="connsiteY931" fmla="*/ 273588 h 296203"/>
                <a:gd name="connsiteX932" fmla="*/ 79091 w 417166"/>
                <a:gd name="connsiteY932" fmla="*/ 273846 h 296203"/>
                <a:gd name="connsiteX933" fmla="*/ 79220 w 417166"/>
                <a:gd name="connsiteY933" fmla="*/ 274363 h 296203"/>
                <a:gd name="connsiteX934" fmla="*/ 79608 w 417166"/>
                <a:gd name="connsiteY934" fmla="*/ 274880 h 296203"/>
                <a:gd name="connsiteX935" fmla="*/ 80125 w 417166"/>
                <a:gd name="connsiteY935" fmla="*/ 275138 h 296203"/>
                <a:gd name="connsiteX936" fmla="*/ 80512 w 417166"/>
                <a:gd name="connsiteY936" fmla="*/ 275009 h 296203"/>
                <a:gd name="connsiteX937" fmla="*/ 81159 w 417166"/>
                <a:gd name="connsiteY937" fmla="*/ 274492 h 296203"/>
                <a:gd name="connsiteX938" fmla="*/ 82839 w 417166"/>
                <a:gd name="connsiteY938" fmla="*/ 273975 h 296203"/>
                <a:gd name="connsiteX939" fmla="*/ 82451 w 417166"/>
                <a:gd name="connsiteY939" fmla="*/ 273070 h 296203"/>
                <a:gd name="connsiteX940" fmla="*/ 80900 w 417166"/>
                <a:gd name="connsiteY940" fmla="*/ 272166 h 29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Lst>
              <a:rect l="l" t="t" r="r" b="b"/>
              <a:pathLst>
                <a:path w="417166" h="296203">
                  <a:moveTo>
                    <a:pt x="417166" y="59964"/>
                  </a:moveTo>
                  <a:lnTo>
                    <a:pt x="417037" y="58155"/>
                  </a:lnTo>
                  <a:lnTo>
                    <a:pt x="416520" y="56734"/>
                  </a:lnTo>
                  <a:lnTo>
                    <a:pt x="416520" y="56604"/>
                  </a:lnTo>
                  <a:lnTo>
                    <a:pt x="414969" y="55570"/>
                  </a:lnTo>
                  <a:lnTo>
                    <a:pt x="414064" y="53891"/>
                  </a:lnTo>
                  <a:lnTo>
                    <a:pt x="413676" y="53503"/>
                  </a:lnTo>
                  <a:lnTo>
                    <a:pt x="413289" y="53244"/>
                  </a:lnTo>
                  <a:lnTo>
                    <a:pt x="408378" y="51564"/>
                  </a:lnTo>
                  <a:lnTo>
                    <a:pt x="407602" y="51177"/>
                  </a:lnTo>
                  <a:lnTo>
                    <a:pt x="406181" y="50143"/>
                  </a:lnTo>
                  <a:lnTo>
                    <a:pt x="405535" y="49884"/>
                  </a:lnTo>
                  <a:lnTo>
                    <a:pt x="401787" y="50014"/>
                  </a:lnTo>
                  <a:lnTo>
                    <a:pt x="394033" y="51693"/>
                  </a:lnTo>
                  <a:lnTo>
                    <a:pt x="388864" y="51693"/>
                  </a:lnTo>
                  <a:lnTo>
                    <a:pt x="386279" y="52210"/>
                  </a:lnTo>
                  <a:lnTo>
                    <a:pt x="385374" y="52210"/>
                  </a:lnTo>
                  <a:lnTo>
                    <a:pt x="384341" y="51952"/>
                  </a:lnTo>
                  <a:lnTo>
                    <a:pt x="380851" y="50401"/>
                  </a:lnTo>
                  <a:lnTo>
                    <a:pt x="380463" y="50143"/>
                  </a:lnTo>
                  <a:lnTo>
                    <a:pt x="380205" y="49755"/>
                  </a:lnTo>
                  <a:lnTo>
                    <a:pt x="379947" y="49238"/>
                  </a:lnTo>
                  <a:lnTo>
                    <a:pt x="379430" y="48721"/>
                  </a:lnTo>
                  <a:lnTo>
                    <a:pt x="378525" y="48333"/>
                  </a:lnTo>
                  <a:lnTo>
                    <a:pt x="374131" y="47300"/>
                  </a:lnTo>
                  <a:lnTo>
                    <a:pt x="371159" y="46912"/>
                  </a:lnTo>
                  <a:lnTo>
                    <a:pt x="370125" y="47041"/>
                  </a:lnTo>
                  <a:lnTo>
                    <a:pt x="369479" y="47300"/>
                  </a:lnTo>
                  <a:lnTo>
                    <a:pt x="367928" y="48592"/>
                  </a:lnTo>
                  <a:lnTo>
                    <a:pt x="367023" y="48721"/>
                  </a:lnTo>
                  <a:lnTo>
                    <a:pt x="366506" y="48592"/>
                  </a:lnTo>
                  <a:lnTo>
                    <a:pt x="365860" y="48463"/>
                  </a:lnTo>
                  <a:lnTo>
                    <a:pt x="364051" y="47687"/>
                  </a:lnTo>
                  <a:lnTo>
                    <a:pt x="363405" y="47300"/>
                  </a:lnTo>
                  <a:lnTo>
                    <a:pt x="361078" y="45619"/>
                  </a:lnTo>
                  <a:lnTo>
                    <a:pt x="359399" y="44844"/>
                  </a:lnTo>
                  <a:lnTo>
                    <a:pt x="359011" y="44844"/>
                  </a:lnTo>
                  <a:lnTo>
                    <a:pt x="358623" y="44844"/>
                  </a:lnTo>
                  <a:lnTo>
                    <a:pt x="358236" y="45103"/>
                  </a:lnTo>
                  <a:lnTo>
                    <a:pt x="357719" y="45361"/>
                  </a:lnTo>
                  <a:lnTo>
                    <a:pt x="357072" y="45490"/>
                  </a:lnTo>
                  <a:lnTo>
                    <a:pt x="355134" y="45232"/>
                  </a:lnTo>
                  <a:lnTo>
                    <a:pt x="354488" y="44973"/>
                  </a:lnTo>
                  <a:lnTo>
                    <a:pt x="353712" y="44715"/>
                  </a:lnTo>
                  <a:lnTo>
                    <a:pt x="352937" y="44586"/>
                  </a:lnTo>
                  <a:lnTo>
                    <a:pt x="352032" y="44327"/>
                  </a:lnTo>
                  <a:lnTo>
                    <a:pt x="350998" y="43810"/>
                  </a:lnTo>
                  <a:lnTo>
                    <a:pt x="349189" y="42647"/>
                  </a:lnTo>
                  <a:lnTo>
                    <a:pt x="347251" y="41743"/>
                  </a:lnTo>
                  <a:lnTo>
                    <a:pt x="346088" y="41226"/>
                  </a:lnTo>
                  <a:lnTo>
                    <a:pt x="343373" y="40450"/>
                  </a:lnTo>
                  <a:lnTo>
                    <a:pt x="342727" y="40062"/>
                  </a:lnTo>
                  <a:lnTo>
                    <a:pt x="340530" y="38253"/>
                  </a:lnTo>
                  <a:lnTo>
                    <a:pt x="340272" y="38124"/>
                  </a:lnTo>
                  <a:lnTo>
                    <a:pt x="339238" y="37736"/>
                  </a:lnTo>
                  <a:lnTo>
                    <a:pt x="338592" y="37607"/>
                  </a:lnTo>
                  <a:lnTo>
                    <a:pt x="337946" y="37607"/>
                  </a:lnTo>
                  <a:lnTo>
                    <a:pt x="337429" y="37736"/>
                  </a:lnTo>
                  <a:lnTo>
                    <a:pt x="336912" y="37995"/>
                  </a:lnTo>
                  <a:lnTo>
                    <a:pt x="336524" y="37995"/>
                  </a:lnTo>
                  <a:lnTo>
                    <a:pt x="336266" y="37736"/>
                  </a:lnTo>
                  <a:lnTo>
                    <a:pt x="336395" y="36961"/>
                  </a:lnTo>
                  <a:lnTo>
                    <a:pt x="336395" y="36444"/>
                  </a:lnTo>
                  <a:lnTo>
                    <a:pt x="336136" y="35927"/>
                  </a:lnTo>
                  <a:lnTo>
                    <a:pt x="335490" y="35539"/>
                  </a:lnTo>
                  <a:lnTo>
                    <a:pt x="335103" y="35022"/>
                  </a:lnTo>
                  <a:lnTo>
                    <a:pt x="335103" y="33988"/>
                  </a:lnTo>
                  <a:lnTo>
                    <a:pt x="335232" y="33213"/>
                  </a:lnTo>
                  <a:lnTo>
                    <a:pt x="335232" y="32308"/>
                  </a:lnTo>
                  <a:lnTo>
                    <a:pt x="334844" y="30499"/>
                  </a:lnTo>
                  <a:lnTo>
                    <a:pt x="334973" y="29982"/>
                  </a:lnTo>
                  <a:lnTo>
                    <a:pt x="335361" y="29595"/>
                  </a:lnTo>
                  <a:lnTo>
                    <a:pt x="335620" y="28948"/>
                  </a:lnTo>
                  <a:lnTo>
                    <a:pt x="335749" y="28044"/>
                  </a:lnTo>
                  <a:lnTo>
                    <a:pt x="335878" y="27398"/>
                  </a:lnTo>
                  <a:lnTo>
                    <a:pt x="336007" y="26751"/>
                  </a:lnTo>
                  <a:lnTo>
                    <a:pt x="336007" y="25588"/>
                  </a:lnTo>
                  <a:lnTo>
                    <a:pt x="336395" y="24167"/>
                  </a:lnTo>
                  <a:lnTo>
                    <a:pt x="336524" y="23521"/>
                  </a:lnTo>
                  <a:lnTo>
                    <a:pt x="336524" y="22874"/>
                  </a:lnTo>
                  <a:lnTo>
                    <a:pt x="335878" y="20807"/>
                  </a:lnTo>
                  <a:lnTo>
                    <a:pt x="334973" y="18739"/>
                  </a:lnTo>
                  <a:lnTo>
                    <a:pt x="334715" y="17576"/>
                  </a:lnTo>
                  <a:lnTo>
                    <a:pt x="334715" y="16671"/>
                  </a:lnTo>
                  <a:lnTo>
                    <a:pt x="335232" y="15508"/>
                  </a:lnTo>
                  <a:lnTo>
                    <a:pt x="335361" y="14733"/>
                  </a:lnTo>
                  <a:lnTo>
                    <a:pt x="335361" y="12794"/>
                  </a:lnTo>
                  <a:lnTo>
                    <a:pt x="335490" y="12148"/>
                  </a:lnTo>
                  <a:lnTo>
                    <a:pt x="335749" y="11631"/>
                  </a:lnTo>
                  <a:lnTo>
                    <a:pt x="335878" y="11114"/>
                  </a:lnTo>
                  <a:lnTo>
                    <a:pt x="335620" y="10597"/>
                  </a:lnTo>
                  <a:lnTo>
                    <a:pt x="334586" y="10210"/>
                  </a:lnTo>
                  <a:lnTo>
                    <a:pt x="333940" y="9822"/>
                  </a:lnTo>
                  <a:lnTo>
                    <a:pt x="333423" y="9047"/>
                  </a:lnTo>
                  <a:lnTo>
                    <a:pt x="333293" y="8271"/>
                  </a:lnTo>
                  <a:lnTo>
                    <a:pt x="333552" y="6203"/>
                  </a:lnTo>
                  <a:lnTo>
                    <a:pt x="333552" y="5557"/>
                  </a:lnTo>
                  <a:lnTo>
                    <a:pt x="333423" y="5040"/>
                  </a:lnTo>
                  <a:lnTo>
                    <a:pt x="333035" y="4652"/>
                  </a:lnTo>
                  <a:lnTo>
                    <a:pt x="332647" y="4265"/>
                  </a:lnTo>
                  <a:lnTo>
                    <a:pt x="331742" y="3877"/>
                  </a:lnTo>
                  <a:lnTo>
                    <a:pt x="325927" y="2326"/>
                  </a:lnTo>
                  <a:lnTo>
                    <a:pt x="320241" y="0"/>
                  </a:lnTo>
                  <a:lnTo>
                    <a:pt x="319336" y="1422"/>
                  </a:lnTo>
                  <a:lnTo>
                    <a:pt x="318819" y="1809"/>
                  </a:lnTo>
                  <a:lnTo>
                    <a:pt x="318044" y="2326"/>
                  </a:lnTo>
                  <a:lnTo>
                    <a:pt x="316622" y="2714"/>
                  </a:lnTo>
                  <a:lnTo>
                    <a:pt x="315588" y="2714"/>
                  </a:lnTo>
                  <a:lnTo>
                    <a:pt x="314167" y="3102"/>
                  </a:lnTo>
                  <a:lnTo>
                    <a:pt x="313392" y="5686"/>
                  </a:lnTo>
                  <a:lnTo>
                    <a:pt x="313520" y="6979"/>
                  </a:lnTo>
                  <a:lnTo>
                    <a:pt x="313262" y="7754"/>
                  </a:lnTo>
                  <a:lnTo>
                    <a:pt x="311582" y="10726"/>
                  </a:lnTo>
                  <a:lnTo>
                    <a:pt x="309773" y="14991"/>
                  </a:lnTo>
                  <a:lnTo>
                    <a:pt x="309256" y="15767"/>
                  </a:lnTo>
                  <a:lnTo>
                    <a:pt x="308222" y="16671"/>
                  </a:lnTo>
                  <a:lnTo>
                    <a:pt x="307446" y="17059"/>
                  </a:lnTo>
                  <a:lnTo>
                    <a:pt x="306800" y="17317"/>
                  </a:lnTo>
                  <a:lnTo>
                    <a:pt x="306154" y="17447"/>
                  </a:lnTo>
                  <a:lnTo>
                    <a:pt x="305508" y="17576"/>
                  </a:lnTo>
                  <a:lnTo>
                    <a:pt x="304862" y="17576"/>
                  </a:lnTo>
                  <a:lnTo>
                    <a:pt x="304345" y="17317"/>
                  </a:lnTo>
                  <a:lnTo>
                    <a:pt x="303828" y="16930"/>
                  </a:lnTo>
                  <a:lnTo>
                    <a:pt x="303440" y="16542"/>
                  </a:lnTo>
                  <a:lnTo>
                    <a:pt x="303053" y="16284"/>
                  </a:lnTo>
                  <a:lnTo>
                    <a:pt x="302407" y="16284"/>
                  </a:lnTo>
                  <a:lnTo>
                    <a:pt x="300597" y="16930"/>
                  </a:lnTo>
                  <a:lnTo>
                    <a:pt x="299434" y="17188"/>
                  </a:lnTo>
                  <a:lnTo>
                    <a:pt x="298788" y="17188"/>
                  </a:lnTo>
                  <a:lnTo>
                    <a:pt x="298142" y="17059"/>
                  </a:lnTo>
                  <a:lnTo>
                    <a:pt x="297625" y="16800"/>
                  </a:lnTo>
                  <a:lnTo>
                    <a:pt x="296591" y="16154"/>
                  </a:lnTo>
                  <a:lnTo>
                    <a:pt x="296074" y="16154"/>
                  </a:lnTo>
                  <a:lnTo>
                    <a:pt x="295428" y="16542"/>
                  </a:lnTo>
                  <a:lnTo>
                    <a:pt x="294653" y="17576"/>
                  </a:lnTo>
                  <a:lnTo>
                    <a:pt x="293489" y="18739"/>
                  </a:lnTo>
                  <a:lnTo>
                    <a:pt x="292455" y="19385"/>
                  </a:lnTo>
                  <a:lnTo>
                    <a:pt x="291422" y="19902"/>
                  </a:lnTo>
                  <a:lnTo>
                    <a:pt x="291034" y="20419"/>
                  </a:lnTo>
                  <a:lnTo>
                    <a:pt x="290776" y="21194"/>
                  </a:lnTo>
                  <a:lnTo>
                    <a:pt x="290905" y="22745"/>
                  </a:lnTo>
                  <a:lnTo>
                    <a:pt x="291163" y="23650"/>
                  </a:lnTo>
                  <a:lnTo>
                    <a:pt x="291551" y="24296"/>
                  </a:lnTo>
                  <a:lnTo>
                    <a:pt x="292068" y="24684"/>
                  </a:lnTo>
                  <a:lnTo>
                    <a:pt x="292585" y="24942"/>
                  </a:lnTo>
                  <a:lnTo>
                    <a:pt x="293231" y="25071"/>
                  </a:lnTo>
                  <a:lnTo>
                    <a:pt x="294653" y="25201"/>
                  </a:lnTo>
                  <a:lnTo>
                    <a:pt x="295428" y="25330"/>
                  </a:lnTo>
                  <a:lnTo>
                    <a:pt x="295557" y="25459"/>
                  </a:lnTo>
                  <a:lnTo>
                    <a:pt x="295686" y="25588"/>
                  </a:lnTo>
                  <a:lnTo>
                    <a:pt x="295557" y="26751"/>
                  </a:lnTo>
                  <a:lnTo>
                    <a:pt x="294911" y="28690"/>
                  </a:lnTo>
                  <a:lnTo>
                    <a:pt x="292972" y="33084"/>
                  </a:lnTo>
                  <a:lnTo>
                    <a:pt x="291939" y="34893"/>
                  </a:lnTo>
                  <a:lnTo>
                    <a:pt x="290517" y="36702"/>
                  </a:lnTo>
                  <a:lnTo>
                    <a:pt x="289871" y="37736"/>
                  </a:lnTo>
                  <a:lnTo>
                    <a:pt x="288966" y="39933"/>
                  </a:lnTo>
                  <a:lnTo>
                    <a:pt x="288449" y="40967"/>
                  </a:lnTo>
                  <a:lnTo>
                    <a:pt x="287933" y="41743"/>
                  </a:lnTo>
                  <a:lnTo>
                    <a:pt x="287157" y="42518"/>
                  </a:lnTo>
                  <a:lnTo>
                    <a:pt x="286898" y="43293"/>
                  </a:lnTo>
                  <a:lnTo>
                    <a:pt x="286640" y="44198"/>
                  </a:lnTo>
                  <a:lnTo>
                    <a:pt x="286640" y="46007"/>
                  </a:lnTo>
                  <a:lnTo>
                    <a:pt x="286769" y="47041"/>
                  </a:lnTo>
                  <a:lnTo>
                    <a:pt x="286898" y="47817"/>
                  </a:lnTo>
                  <a:lnTo>
                    <a:pt x="286898" y="48721"/>
                  </a:lnTo>
                  <a:lnTo>
                    <a:pt x="286640" y="50014"/>
                  </a:lnTo>
                  <a:lnTo>
                    <a:pt x="283926" y="55570"/>
                  </a:lnTo>
                  <a:lnTo>
                    <a:pt x="283280" y="58026"/>
                  </a:lnTo>
                  <a:lnTo>
                    <a:pt x="282505" y="63971"/>
                  </a:lnTo>
                  <a:lnTo>
                    <a:pt x="276560" y="68235"/>
                  </a:lnTo>
                  <a:lnTo>
                    <a:pt x="275913" y="69140"/>
                  </a:lnTo>
                  <a:lnTo>
                    <a:pt x="274621" y="71854"/>
                  </a:lnTo>
                  <a:lnTo>
                    <a:pt x="274492" y="72500"/>
                  </a:lnTo>
                  <a:lnTo>
                    <a:pt x="274492" y="73534"/>
                  </a:lnTo>
                  <a:lnTo>
                    <a:pt x="274750" y="77540"/>
                  </a:lnTo>
                  <a:lnTo>
                    <a:pt x="274492" y="79608"/>
                  </a:lnTo>
                  <a:lnTo>
                    <a:pt x="274234" y="80642"/>
                  </a:lnTo>
                  <a:lnTo>
                    <a:pt x="273975" y="81159"/>
                  </a:lnTo>
                  <a:lnTo>
                    <a:pt x="269064" y="89042"/>
                  </a:lnTo>
                  <a:lnTo>
                    <a:pt x="266996" y="93436"/>
                  </a:lnTo>
                  <a:lnTo>
                    <a:pt x="266609" y="96796"/>
                  </a:lnTo>
                  <a:lnTo>
                    <a:pt x="266609" y="97571"/>
                  </a:lnTo>
                  <a:lnTo>
                    <a:pt x="266738" y="98088"/>
                  </a:lnTo>
                  <a:lnTo>
                    <a:pt x="267513" y="98347"/>
                  </a:lnTo>
                  <a:lnTo>
                    <a:pt x="268160" y="98347"/>
                  </a:lnTo>
                  <a:lnTo>
                    <a:pt x="268935" y="98347"/>
                  </a:lnTo>
                  <a:lnTo>
                    <a:pt x="269711" y="98605"/>
                  </a:lnTo>
                  <a:lnTo>
                    <a:pt x="270874" y="99122"/>
                  </a:lnTo>
                  <a:lnTo>
                    <a:pt x="271649" y="99122"/>
                  </a:lnTo>
                  <a:lnTo>
                    <a:pt x="272295" y="98993"/>
                  </a:lnTo>
                  <a:lnTo>
                    <a:pt x="272812" y="98734"/>
                  </a:lnTo>
                  <a:lnTo>
                    <a:pt x="273458" y="98605"/>
                  </a:lnTo>
                  <a:lnTo>
                    <a:pt x="274104" y="98605"/>
                  </a:lnTo>
                  <a:lnTo>
                    <a:pt x="274750" y="98734"/>
                  </a:lnTo>
                  <a:lnTo>
                    <a:pt x="275397" y="98993"/>
                  </a:lnTo>
                  <a:lnTo>
                    <a:pt x="275913" y="99251"/>
                  </a:lnTo>
                  <a:lnTo>
                    <a:pt x="276431" y="99639"/>
                  </a:lnTo>
                  <a:lnTo>
                    <a:pt x="276948" y="100156"/>
                  </a:lnTo>
                  <a:lnTo>
                    <a:pt x="277465" y="100802"/>
                  </a:lnTo>
                  <a:lnTo>
                    <a:pt x="277981" y="102095"/>
                  </a:lnTo>
                  <a:lnTo>
                    <a:pt x="278111" y="102741"/>
                  </a:lnTo>
                  <a:lnTo>
                    <a:pt x="277981" y="104421"/>
                  </a:lnTo>
                  <a:lnTo>
                    <a:pt x="276301" y="107393"/>
                  </a:lnTo>
                  <a:lnTo>
                    <a:pt x="275009" y="107910"/>
                  </a:lnTo>
                  <a:lnTo>
                    <a:pt x="272941" y="109848"/>
                  </a:lnTo>
                  <a:lnTo>
                    <a:pt x="271778" y="110495"/>
                  </a:lnTo>
                  <a:lnTo>
                    <a:pt x="270486" y="110495"/>
                  </a:lnTo>
                  <a:lnTo>
                    <a:pt x="268418" y="109719"/>
                  </a:lnTo>
                  <a:lnTo>
                    <a:pt x="267255" y="109719"/>
                  </a:lnTo>
                  <a:lnTo>
                    <a:pt x="266221" y="110495"/>
                  </a:lnTo>
                  <a:lnTo>
                    <a:pt x="264800" y="111916"/>
                  </a:lnTo>
                  <a:lnTo>
                    <a:pt x="263119" y="113209"/>
                  </a:lnTo>
                  <a:lnTo>
                    <a:pt x="257304" y="114630"/>
                  </a:lnTo>
                  <a:lnTo>
                    <a:pt x="246965" y="120704"/>
                  </a:lnTo>
                  <a:lnTo>
                    <a:pt x="233654" y="125486"/>
                  </a:lnTo>
                  <a:lnTo>
                    <a:pt x="225771" y="130009"/>
                  </a:lnTo>
                  <a:lnTo>
                    <a:pt x="211555" y="135695"/>
                  </a:lnTo>
                  <a:lnTo>
                    <a:pt x="209746" y="136858"/>
                  </a:lnTo>
                  <a:lnTo>
                    <a:pt x="206386" y="139960"/>
                  </a:lnTo>
                  <a:lnTo>
                    <a:pt x="204706" y="140865"/>
                  </a:lnTo>
                  <a:lnTo>
                    <a:pt x="197986" y="141899"/>
                  </a:lnTo>
                  <a:lnTo>
                    <a:pt x="195530" y="143191"/>
                  </a:lnTo>
                  <a:lnTo>
                    <a:pt x="194755" y="144612"/>
                  </a:lnTo>
                  <a:lnTo>
                    <a:pt x="194367" y="146422"/>
                  </a:lnTo>
                  <a:lnTo>
                    <a:pt x="193204" y="148619"/>
                  </a:lnTo>
                  <a:lnTo>
                    <a:pt x="192429" y="148877"/>
                  </a:lnTo>
                  <a:lnTo>
                    <a:pt x="189844" y="148102"/>
                  </a:lnTo>
                  <a:lnTo>
                    <a:pt x="188552" y="148102"/>
                  </a:lnTo>
                  <a:lnTo>
                    <a:pt x="187389" y="148877"/>
                  </a:lnTo>
                  <a:lnTo>
                    <a:pt x="186096" y="150816"/>
                  </a:lnTo>
                  <a:lnTo>
                    <a:pt x="184804" y="151203"/>
                  </a:lnTo>
                  <a:lnTo>
                    <a:pt x="184545" y="150816"/>
                  </a:lnTo>
                  <a:lnTo>
                    <a:pt x="184287" y="150299"/>
                  </a:lnTo>
                  <a:lnTo>
                    <a:pt x="183899" y="149394"/>
                  </a:lnTo>
                  <a:lnTo>
                    <a:pt x="183770" y="149006"/>
                  </a:lnTo>
                  <a:lnTo>
                    <a:pt x="183770" y="148489"/>
                  </a:lnTo>
                  <a:lnTo>
                    <a:pt x="183899" y="147973"/>
                  </a:lnTo>
                  <a:lnTo>
                    <a:pt x="184158" y="147455"/>
                  </a:lnTo>
                  <a:lnTo>
                    <a:pt x="184545" y="147068"/>
                  </a:lnTo>
                  <a:lnTo>
                    <a:pt x="184933" y="146551"/>
                  </a:lnTo>
                  <a:lnTo>
                    <a:pt x="185192" y="146034"/>
                  </a:lnTo>
                  <a:lnTo>
                    <a:pt x="185321" y="145388"/>
                  </a:lnTo>
                  <a:lnTo>
                    <a:pt x="185450" y="144612"/>
                  </a:lnTo>
                  <a:lnTo>
                    <a:pt x="185450" y="143966"/>
                  </a:lnTo>
                  <a:lnTo>
                    <a:pt x="185321" y="143320"/>
                  </a:lnTo>
                  <a:lnTo>
                    <a:pt x="185063" y="142932"/>
                  </a:lnTo>
                  <a:lnTo>
                    <a:pt x="184545" y="142674"/>
                  </a:lnTo>
                  <a:lnTo>
                    <a:pt x="181444" y="142415"/>
                  </a:lnTo>
                  <a:lnTo>
                    <a:pt x="178989" y="142803"/>
                  </a:lnTo>
                  <a:lnTo>
                    <a:pt x="177567" y="142803"/>
                  </a:lnTo>
                  <a:lnTo>
                    <a:pt x="175758" y="142674"/>
                  </a:lnTo>
                  <a:lnTo>
                    <a:pt x="174853" y="142415"/>
                  </a:lnTo>
                  <a:lnTo>
                    <a:pt x="174207" y="142028"/>
                  </a:lnTo>
                  <a:lnTo>
                    <a:pt x="173302" y="141381"/>
                  </a:lnTo>
                  <a:lnTo>
                    <a:pt x="172785" y="141123"/>
                  </a:lnTo>
                  <a:lnTo>
                    <a:pt x="172139" y="140865"/>
                  </a:lnTo>
                  <a:lnTo>
                    <a:pt x="171105" y="140865"/>
                  </a:lnTo>
                  <a:lnTo>
                    <a:pt x="167487" y="141123"/>
                  </a:lnTo>
                  <a:lnTo>
                    <a:pt x="166323" y="141123"/>
                  </a:lnTo>
                  <a:lnTo>
                    <a:pt x="165548" y="140994"/>
                  </a:lnTo>
                  <a:lnTo>
                    <a:pt x="165031" y="140735"/>
                  </a:lnTo>
                  <a:lnTo>
                    <a:pt x="164644" y="140606"/>
                  </a:lnTo>
                  <a:lnTo>
                    <a:pt x="164127" y="140477"/>
                  </a:lnTo>
                  <a:lnTo>
                    <a:pt x="162447" y="140477"/>
                  </a:lnTo>
                  <a:lnTo>
                    <a:pt x="159733" y="141381"/>
                  </a:lnTo>
                  <a:lnTo>
                    <a:pt x="151333" y="145775"/>
                  </a:lnTo>
                  <a:lnTo>
                    <a:pt x="149782" y="146680"/>
                  </a:lnTo>
                  <a:lnTo>
                    <a:pt x="149006" y="146939"/>
                  </a:lnTo>
                  <a:lnTo>
                    <a:pt x="147326" y="146939"/>
                  </a:lnTo>
                  <a:lnTo>
                    <a:pt x="145259" y="146809"/>
                  </a:lnTo>
                  <a:lnTo>
                    <a:pt x="144612" y="146809"/>
                  </a:lnTo>
                  <a:lnTo>
                    <a:pt x="142674" y="147326"/>
                  </a:lnTo>
                  <a:lnTo>
                    <a:pt x="140994" y="147973"/>
                  </a:lnTo>
                  <a:lnTo>
                    <a:pt x="139701" y="147973"/>
                  </a:lnTo>
                  <a:lnTo>
                    <a:pt x="138797" y="147843"/>
                  </a:lnTo>
                  <a:lnTo>
                    <a:pt x="138280" y="147455"/>
                  </a:lnTo>
                  <a:lnTo>
                    <a:pt x="137892" y="147068"/>
                  </a:lnTo>
                  <a:lnTo>
                    <a:pt x="136858" y="145775"/>
                  </a:lnTo>
                  <a:lnTo>
                    <a:pt x="136341" y="145646"/>
                  </a:lnTo>
                  <a:lnTo>
                    <a:pt x="135695" y="145775"/>
                  </a:lnTo>
                  <a:lnTo>
                    <a:pt x="134920" y="146422"/>
                  </a:lnTo>
                  <a:lnTo>
                    <a:pt x="134274" y="146809"/>
                  </a:lnTo>
                  <a:lnTo>
                    <a:pt x="133627" y="147068"/>
                  </a:lnTo>
                  <a:lnTo>
                    <a:pt x="132723" y="146809"/>
                  </a:lnTo>
                  <a:lnTo>
                    <a:pt x="131430" y="146292"/>
                  </a:lnTo>
                  <a:lnTo>
                    <a:pt x="130784" y="146292"/>
                  </a:lnTo>
                  <a:lnTo>
                    <a:pt x="130009" y="146551"/>
                  </a:lnTo>
                  <a:lnTo>
                    <a:pt x="129104" y="147197"/>
                  </a:lnTo>
                  <a:lnTo>
                    <a:pt x="128070" y="148231"/>
                  </a:lnTo>
                  <a:lnTo>
                    <a:pt x="127553" y="148360"/>
                  </a:lnTo>
                  <a:lnTo>
                    <a:pt x="126907" y="148102"/>
                  </a:lnTo>
                  <a:lnTo>
                    <a:pt x="126003" y="147326"/>
                  </a:lnTo>
                  <a:lnTo>
                    <a:pt x="125227" y="147197"/>
                  </a:lnTo>
                  <a:lnTo>
                    <a:pt x="124193" y="147455"/>
                  </a:lnTo>
                  <a:lnTo>
                    <a:pt x="122384" y="148231"/>
                  </a:lnTo>
                  <a:lnTo>
                    <a:pt x="121092" y="148619"/>
                  </a:lnTo>
                  <a:lnTo>
                    <a:pt x="119541" y="148748"/>
                  </a:lnTo>
                  <a:lnTo>
                    <a:pt x="118766" y="148619"/>
                  </a:lnTo>
                  <a:lnTo>
                    <a:pt x="118119" y="148360"/>
                  </a:lnTo>
                  <a:lnTo>
                    <a:pt x="117732" y="147973"/>
                  </a:lnTo>
                  <a:lnTo>
                    <a:pt x="117473" y="147455"/>
                  </a:lnTo>
                  <a:lnTo>
                    <a:pt x="117086" y="147068"/>
                  </a:lnTo>
                  <a:lnTo>
                    <a:pt x="116569" y="146809"/>
                  </a:lnTo>
                  <a:lnTo>
                    <a:pt x="115922" y="146680"/>
                  </a:lnTo>
                  <a:lnTo>
                    <a:pt x="115276" y="146680"/>
                  </a:lnTo>
                  <a:lnTo>
                    <a:pt x="112175" y="147585"/>
                  </a:lnTo>
                  <a:lnTo>
                    <a:pt x="106359" y="150040"/>
                  </a:lnTo>
                  <a:lnTo>
                    <a:pt x="104679" y="151203"/>
                  </a:lnTo>
                  <a:lnTo>
                    <a:pt x="103516" y="152237"/>
                  </a:lnTo>
                  <a:lnTo>
                    <a:pt x="101836" y="152883"/>
                  </a:lnTo>
                  <a:lnTo>
                    <a:pt x="98088" y="153788"/>
                  </a:lnTo>
                  <a:lnTo>
                    <a:pt x="85294" y="158957"/>
                  </a:lnTo>
                  <a:lnTo>
                    <a:pt x="84519" y="159216"/>
                  </a:lnTo>
                  <a:lnTo>
                    <a:pt x="83743" y="159345"/>
                  </a:lnTo>
                  <a:lnTo>
                    <a:pt x="82968" y="159474"/>
                  </a:lnTo>
                  <a:lnTo>
                    <a:pt x="82193" y="159862"/>
                  </a:lnTo>
                  <a:lnTo>
                    <a:pt x="79866" y="162576"/>
                  </a:lnTo>
                  <a:lnTo>
                    <a:pt x="78962" y="163481"/>
                  </a:lnTo>
                  <a:lnTo>
                    <a:pt x="69011" y="168779"/>
                  </a:lnTo>
                  <a:lnTo>
                    <a:pt x="66555" y="169684"/>
                  </a:lnTo>
                  <a:lnTo>
                    <a:pt x="64746" y="169555"/>
                  </a:lnTo>
                  <a:lnTo>
                    <a:pt x="64229" y="169296"/>
                  </a:lnTo>
                  <a:lnTo>
                    <a:pt x="63454" y="168521"/>
                  </a:lnTo>
                  <a:lnTo>
                    <a:pt x="62937" y="168133"/>
                  </a:lnTo>
                  <a:lnTo>
                    <a:pt x="62420" y="167874"/>
                  </a:lnTo>
                  <a:lnTo>
                    <a:pt x="61774" y="167745"/>
                  </a:lnTo>
                  <a:lnTo>
                    <a:pt x="61127" y="167745"/>
                  </a:lnTo>
                  <a:lnTo>
                    <a:pt x="56475" y="168521"/>
                  </a:lnTo>
                  <a:lnTo>
                    <a:pt x="54924" y="168521"/>
                  </a:lnTo>
                  <a:lnTo>
                    <a:pt x="49367" y="169296"/>
                  </a:lnTo>
                  <a:lnTo>
                    <a:pt x="48075" y="169167"/>
                  </a:lnTo>
                  <a:lnTo>
                    <a:pt x="47170" y="168908"/>
                  </a:lnTo>
                  <a:lnTo>
                    <a:pt x="46266" y="168908"/>
                  </a:lnTo>
                  <a:lnTo>
                    <a:pt x="44973" y="169296"/>
                  </a:lnTo>
                  <a:lnTo>
                    <a:pt x="36702" y="174207"/>
                  </a:lnTo>
                  <a:lnTo>
                    <a:pt x="36315" y="174595"/>
                  </a:lnTo>
                  <a:lnTo>
                    <a:pt x="35410" y="174982"/>
                  </a:lnTo>
                  <a:lnTo>
                    <a:pt x="34118" y="175370"/>
                  </a:lnTo>
                  <a:lnTo>
                    <a:pt x="31404" y="175887"/>
                  </a:lnTo>
                  <a:lnTo>
                    <a:pt x="28173" y="176016"/>
                  </a:lnTo>
                  <a:lnTo>
                    <a:pt x="27268" y="176275"/>
                  </a:lnTo>
                  <a:lnTo>
                    <a:pt x="26364" y="176921"/>
                  </a:lnTo>
                  <a:lnTo>
                    <a:pt x="25071" y="178342"/>
                  </a:lnTo>
                  <a:lnTo>
                    <a:pt x="23391" y="181056"/>
                  </a:lnTo>
                  <a:lnTo>
                    <a:pt x="23004" y="181573"/>
                  </a:lnTo>
                  <a:lnTo>
                    <a:pt x="22616" y="181961"/>
                  </a:lnTo>
                  <a:lnTo>
                    <a:pt x="21453" y="182348"/>
                  </a:lnTo>
                  <a:lnTo>
                    <a:pt x="18997" y="181832"/>
                  </a:lnTo>
                  <a:lnTo>
                    <a:pt x="16800" y="181315"/>
                  </a:lnTo>
                  <a:lnTo>
                    <a:pt x="15250" y="181056"/>
                  </a:lnTo>
                  <a:lnTo>
                    <a:pt x="14216" y="181185"/>
                  </a:lnTo>
                  <a:lnTo>
                    <a:pt x="9563" y="182866"/>
                  </a:lnTo>
                  <a:lnTo>
                    <a:pt x="7625" y="183899"/>
                  </a:lnTo>
                  <a:lnTo>
                    <a:pt x="3489" y="186743"/>
                  </a:lnTo>
                  <a:lnTo>
                    <a:pt x="5040" y="186872"/>
                  </a:lnTo>
                  <a:lnTo>
                    <a:pt x="6333" y="187130"/>
                  </a:lnTo>
                  <a:lnTo>
                    <a:pt x="9822" y="188552"/>
                  </a:lnTo>
                  <a:lnTo>
                    <a:pt x="11243" y="189586"/>
                  </a:lnTo>
                  <a:lnTo>
                    <a:pt x="12019" y="190361"/>
                  </a:lnTo>
                  <a:lnTo>
                    <a:pt x="12923" y="191653"/>
                  </a:lnTo>
                  <a:lnTo>
                    <a:pt x="15767" y="197081"/>
                  </a:lnTo>
                  <a:lnTo>
                    <a:pt x="16283" y="197857"/>
                  </a:lnTo>
                  <a:lnTo>
                    <a:pt x="17059" y="198761"/>
                  </a:lnTo>
                  <a:lnTo>
                    <a:pt x="18480" y="199924"/>
                  </a:lnTo>
                  <a:lnTo>
                    <a:pt x="20160" y="201992"/>
                  </a:lnTo>
                  <a:lnTo>
                    <a:pt x="20548" y="202897"/>
                  </a:lnTo>
                  <a:lnTo>
                    <a:pt x="20807" y="203284"/>
                  </a:lnTo>
                  <a:lnTo>
                    <a:pt x="21324" y="203543"/>
                  </a:lnTo>
                  <a:lnTo>
                    <a:pt x="22099" y="203543"/>
                  </a:lnTo>
                  <a:lnTo>
                    <a:pt x="22745" y="203672"/>
                  </a:lnTo>
                  <a:lnTo>
                    <a:pt x="23262" y="204318"/>
                  </a:lnTo>
                  <a:lnTo>
                    <a:pt x="23908" y="207808"/>
                  </a:lnTo>
                  <a:lnTo>
                    <a:pt x="24167" y="208325"/>
                  </a:lnTo>
                  <a:lnTo>
                    <a:pt x="24425" y="208841"/>
                  </a:lnTo>
                  <a:lnTo>
                    <a:pt x="24813" y="209229"/>
                  </a:lnTo>
                  <a:lnTo>
                    <a:pt x="25330" y="209488"/>
                  </a:lnTo>
                  <a:lnTo>
                    <a:pt x="27785" y="210392"/>
                  </a:lnTo>
                  <a:lnTo>
                    <a:pt x="28561" y="210522"/>
                  </a:lnTo>
                  <a:lnTo>
                    <a:pt x="29465" y="210522"/>
                  </a:lnTo>
                  <a:lnTo>
                    <a:pt x="30887" y="210263"/>
                  </a:lnTo>
                  <a:lnTo>
                    <a:pt x="31792" y="210004"/>
                  </a:lnTo>
                  <a:lnTo>
                    <a:pt x="32567" y="209875"/>
                  </a:lnTo>
                  <a:lnTo>
                    <a:pt x="33213" y="210004"/>
                  </a:lnTo>
                  <a:lnTo>
                    <a:pt x="34764" y="211426"/>
                  </a:lnTo>
                  <a:lnTo>
                    <a:pt x="35539" y="211685"/>
                  </a:lnTo>
                  <a:lnTo>
                    <a:pt x="36573" y="211685"/>
                  </a:lnTo>
                  <a:lnTo>
                    <a:pt x="38124" y="211555"/>
                  </a:lnTo>
                  <a:lnTo>
                    <a:pt x="38899" y="211297"/>
                  </a:lnTo>
                  <a:lnTo>
                    <a:pt x="39416" y="211038"/>
                  </a:lnTo>
                  <a:lnTo>
                    <a:pt x="39804" y="210780"/>
                  </a:lnTo>
                  <a:lnTo>
                    <a:pt x="40321" y="210522"/>
                  </a:lnTo>
                  <a:lnTo>
                    <a:pt x="40838" y="210392"/>
                  </a:lnTo>
                  <a:lnTo>
                    <a:pt x="45103" y="210392"/>
                  </a:lnTo>
                  <a:lnTo>
                    <a:pt x="45878" y="210004"/>
                  </a:lnTo>
                  <a:lnTo>
                    <a:pt x="46266" y="209488"/>
                  </a:lnTo>
                  <a:lnTo>
                    <a:pt x="46782" y="209100"/>
                  </a:lnTo>
                  <a:lnTo>
                    <a:pt x="47816" y="208971"/>
                  </a:lnTo>
                  <a:lnTo>
                    <a:pt x="49884" y="208971"/>
                  </a:lnTo>
                  <a:lnTo>
                    <a:pt x="50918" y="208712"/>
                  </a:lnTo>
                  <a:lnTo>
                    <a:pt x="51564" y="208325"/>
                  </a:lnTo>
                  <a:lnTo>
                    <a:pt x="52210" y="207291"/>
                  </a:lnTo>
                  <a:lnTo>
                    <a:pt x="52598" y="207161"/>
                  </a:lnTo>
                  <a:lnTo>
                    <a:pt x="53244" y="207291"/>
                  </a:lnTo>
                  <a:lnTo>
                    <a:pt x="54407" y="208583"/>
                  </a:lnTo>
                  <a:lnTo>
                    <a:pt x="55053" y="208971"/>
                  </a:lnTo>
                  <a:lnTo>
                    <a:pt x="56087" y="208841"/>
                  </a:lnTo>
                  <a:lnTo>
                    <a:pt x="57638" y="208454"/>
                  </a:lnTo>
                  <a:lnTo>
                    <a:pt x="58930" y="208195"/>
                  </a:lnTo>
                  <a:lnTo>
                    <a:pt x="61903" y="208066"/>
                  </a:lnTo>
                  <a:lnTo>
                    <a:pt x="65392" y="208583"/>
                  </a:lnTo>
                  <a:lnTo>
                    <a:pt x="66814" y="208583"/>
                  </a:lnTo>
                  <a:lnTo>
                    <a:pt x="67460" y="208325"/>
                  </a:lnTo>
                  <a:lnTo>
                    <a:pt x="67977" y="208066"/>
                  </a:lnTo>
                  <a:lnTo>
                    <a:pt x="68494" y="207678"/>
                  </a:lnTo>
                  <a:lnTo>
                    <a:pt x="69011" y="207549"/>
                  </a:lnTo>
                  <a:lnTo>
                    <a:pt x="69528" y="207678"/>
                  </a:lnTo>
                  <a:lnTo>
                    <a:pt x="70691" y="209746"/>
                  </a:lnTo>
                  <a:lnTo>
                    <a:pt x="72629" y="212331"/>
                  </a:lnTo>
                  <a:lnTo>
                    <a:pt x="74826" y="216466"/>
                  </a:lnTo>
                  <a:lnTo>
                    <a:pt x="75085" y="217242"/>
                  </a:lnTo>
                  <a:lnTo>
                    <a:pt x="75214" y="218017"/>
                  </a:lnTo>
                  <a:lnTo>
                    <a:pt x="75214" y="218663"/>
                  </a:lnTo>
                  <a:lnTo>
                    <a:pt x="75085" y="219309"/>
                  </a:lnTo>
                  <a:lnTo>
                    <a:pt x="74697" y="219955"/>
                  </a:lnTo>
                  <a:lnTo>
                    <a:pt x="74180" y="220473"/>
                  </a:lnTo>
                  <a:lnTo>
                    <a:pt x="73146" y="220989"/>
                  </a:lnTo>
                  <a:lnTo>
                    <a:pt x="72241" y="221119"/>
                  </a:lnTo>
                  <a:lnTo>
                    <a:pt x="70691" y="221248"/>
                  </a:lnTo>
                  <a:lnTo>
                    <a:pt x="69786" y="221765"/>
                  </a:lnTo>
                  <a:lnTo>
                    <a:pt x="68752" y="222540"/>
                  </a:lnTo>
                  <a:lnTo>
                    <a:pt x="65909" y="225513"/>
                  </a:lnTo>
                  <a:lnTo>
                    <a:pt x="65521" y="226546"/>
                  </a:lnTo>
                  <a:lnTo>
                    <a:pt x="66038" y="227710"/>
                  </a:lnTo>
                  <a:lnTo>
                    <a:pt x="66168" y="228356"/>
                  </a:lnTo>
                  <a:lnTo>
                    <a:pt x="66168" y="229002"/>
                  </a:lnTo>
                  <a:lnTo>
                    <a:pt x="66038" y="229648"/>
                  </a:lnTo>
                  <a:lnTo>
                    <a:pt x="64488" y="232879"/>
                  </a:lnTo>
                  <a:lnTo>
                    <a:pt x="63841" y="233654"/>
                  </a:lnTo>
                  <a:lnTo>
                    <a:pt x="63325" y="234042"/>
                  </a:lnTo>
                  <a:lnTo>
                    <a:pt x="59835" y="235076"/>
                  </a:lnTo>
                  <a:lnTo>
                    <a:pt x="54149" y="238307"/>
                  </a:lnTo>
                  <a:lnTo>
                    <a:pt x="52986" y="238694"/>
                  </a:lnTo>
                  <a:lnTo>
                    <a:pt x="52340" y="238565"/>
                  </a:lnTo>
                  <a:lnTo>
                    <a:pt x="51177" y="238048"/>
                  </a:lnTo>
                  <a:lnTo>
                    <a:pt x="50660" y="237790"/>
                  </a:lnTo>
                  <a:lnTo>
                    <a:pt x="50013" y="237790"/>
                  </a:lnTo>
                  <a:lnTo>
                    <a:pt x="46782" y="239211"/>
                  </a:lnTo>
                  <a:lnTo>
                    <a:pt x="45749" y="239470"/>
                  </a:lnTo>
                  <a:lnTo>
                    <a:pt x="44844" y="239599"/>
                  </a:lnTo>
                  <a:lnTo>
                    <a:pt x="44198" y="239470"/>
                  </a:lnTo>
                  <a:lnTo>
                    <a:pt x="43681" y="239082"/>
                  </a:lnTo>
                  <a:lnTo>
                    <a:pt x="43422" y="238565"/>
                  </a:lnTo>
                  <a:lnTo>
                    <a:pt x="43293" y="237919"/>
                  </a:lnTo>
                  <a:lnTo>
                    <a:pt x="43035" y="237402"/>
                  </a:lnTo>
                  <a:lnTo>
                    <a:pt x="42647" y="237144"/>
                  </a:lnTo>
                  <a:lnTo>
                    <a:pt x="41742" y="237402"/>
                  </a:lnTo>
                  <a:lnTo>
                    <a:pt x="36056" y="240891"/>
                  </a:lnTo>
                  <a:lnTo>
                    <a:pt x="34764" y="241279"/>
                  </a:lnTo>
                  <a:lnTo>
                    <a:pt x="33988" y="241279"/>
                  </a:lnTo>
                  <a:lnTo>
                    <a:pt x="32308" y="240504"/>
                  </a:lnTo>
                  <a:lnTo>
                    <a:pt x="31662" y="240374"/>
                  </a:lnTo>
                  <a:lnTo>
                    <a:pt x="31016" y="240374"/>
                  </a:lnTo>
                  <a:lnTo>
                    <a:pt x="30370" y="240504"/>
                  </a:lnTo>
                  <a:lnTo>
                    <a:pt x="29724" y="240633"/>
                  </a:lnTo>
                  <a:lnTo>
                    <a:pt x="27010" y="241925"/>
                  </a:lnTo>
                  <a:lnTo>
                    <a:pt x="23262" y="244639"/>
                  </a:lnTo>
                  <a:lnTo>
                    <a:pt x="21324" y="245673"/>
                  </a:lnTo>
                  <a:lnTo>
                    <a:pt x="20160" y="246061"/>
                  </a:lnTo>
                  <a:lnTo>
                    <a:pt x="16671" y="246448"/>
                  </a:lnTo>
                  <a:lnTo>
                    <a:pt x="16025" y="246578"/>
                  </a:lnTo>
                  <a:lnTo>
                    <a:pt x="15379" y="246965"/>
                  </a:lnTo>
                  <a:lnTo>
                    <a:pt x="14733" y="247482"/>
                  </a:lnTo>
                  <a:lnTo>
                    <a:pt x="13957" y="248258"/>
                  </a:lnTo>
                  <a:lnTo>
                    <a:pt x="13440" y="248904"/>
                  </a:lnTo>
                  <a:lnTo>
                    <a:pt x="12019" y="251230"/>
                  </a:lnTo>
                  <a:lnTo>
                    <a:pt x="11502" y="251747"/>
                  </a:lnTo>
                  <a:lnTo>
                    <a:pt x="10985" y="252135"/>
                  </a:lnTo>
                  <a:lnTo>
                    <a:pt x="10339" y="252264"/>
                  </a:lnTo>
                  <a:lnTo>
                    <a:pt x="8271" y="252522"/>
                  </a:lnTo>
                  <a:lnTo>
                    <a:pt x="7754" y="252910"/>
                  </a:lnTo>
                  <a:lnTo>
                    <a:pt x="7366" y="253427"/>
                  </a:lnTo>
                  <a:lnTo>
                    <a:pt x="7366" y="254719"/>
                  </a:lnTo>
                  <a:lnTo>
                    <a:pt x="7366" y="254978"/>
                  </a:lnTo>
                  <a:lnTo>
                    <a:pt x="7496" y="255366"/>
                  </a:lnTo>
                  <a:lnTo>
                    <a:pt x="7625" y="256658"/>
                  </a:lnTo>
                  <a:lnTo>
                    <a:pt x="7625" y="257433"/>
                  </a:lnTo>
                  <a:lnTo>
                    <a:pt x="6333" y="263766"/>
                  </a:lnTo>
                  <a:lnTo>
                    <a:pt x="6333" y="266092"/>
                  </a:lnTo>
                  <a:lnTo>
                    <a:pt x="6462" y="267514"/>
                  </a:lnTo>
                  <a:lnTo>
                    <a:pt x="6720" y="268806"/>
                  </a:lnTo>
                  <a:lnTo>
                    <a:pt x="6720" y="269710"/>
                  </a:lnTo>
                  <a:lnTo>
                    <a:pt x="6462" y="270874"/>
                  </a:lnTo>
                  <a:lnTo>
                    <a:pt x="5428" y="272941"/>
                  </a:lnTo>
                  <a:lnTo>
                    <a:pt x="4652" y="273975"/>
                  </a:lnTo>
                  <a:lnTo>
                    <a:pt x="3748" y="274621"/>
                  </a:lnTo>
                  <a:lnTo>
                    <a:pt x="3231" y="274751"/>
                  </a:lnTo>
                  <a:lnTo>
                    <a:pt x="2197" y="275655"/>
                  </a:lnTo>
                  <a:lnTo>
                    <a:pt x="388" y="278886"/>
                  </a:lnTo>
                  <a:lnTo>
                    <a:pt x="129" y="279661"/>
                  </a:lnTo>
                  <a:lnTo>
                    <a:pt x="0" y="280178"/>
                  </a:lnTo>
                  <a:lnTo>
                    <a:pt x="0" y="280954"/>
                  </a:lnTo>
                  <a:lnTo>
                    <a:pt x="129" y="281600"/>
                  </a:lnTo>
                  <a:lnTo>
                    <a:pt x="646" y="282634"/>
                  </a:lnTo>
                  <a:lnTo>
                    <a:pt x="3489" y="286511"/>
                  </a:lnTo>
                  <a:lnTo>
                    <a:pt x="5169" y="289354"/>
                  </a:lnTo>
                  <a:lnTo>
                    <a:pt x="5557" y="289742"/>
                  </a:lnTo>
                  <a:lnTo>
                    <a:pt x="6333" y="289742"/>
                  </a:lnTo>
                  <a:lnTo>
                    <a:pt x="6849" y="289483"/>
                  </a:lnTo>
                  <a:lnTo>
                    <a:pt x="7237" y="289096"/>
                  </a:lnTo>
                  <a:lnTo>
                    <a:pt x="7754" y="288966"/>
                  </a:lnTo>
                  <a:lnTo>
                    <a:pt x="8400" y="289354"/>
                  </a:lnTo>
                  <a:lnTo>
                    <a:pt x="9305" y="290646"/>
                  </a:lnTo>
                  <a:lnTo>
                    <a:pt x="10468" y="292714"/>
                  </a:lnTo>
                  <a:lnTo>
                    <a:pt x="11631" y="293877"/>
                  </a:lnTo>
                  <a:lnTo>
                    <a:pt x="14862" y="295945"/>
                  </a:lnTo>
                  <a:lnTo>
                    <a:pt x="14862" y="295816"/>
                  </a:lnTo>
                  <a:lnTo>
                    <a:pt x="17317" y="294782"/>
                  </a:lnTo>
                  <a:lnTo>
                    <a:pt x="20548" y="294265"/>
                  </a:lnTo>
                  <a:lnTo>
                    <a:pt x="23521" y="294394"/>
                  </a:lnTo>
                  <a:lnTo>
                    <a:pt x="25200" y="295170"/>
                  </a:lnTo>
                  <a:lnTo>
                    <a:pt x="26881" y="294911"/>
                  </a:lnTo>
                  <a:lnTo>
                    <a:pt x="28561" y="295816"/>
                  </a:lnTo>
                  <a:lnTo>
                    <a:pt x="30370" y="296203"/>
                  </a:lnTo>
                  <a:lnTo>
                    <a:pt x="32567" y="294394"/>
                  </a:lnTo>
                  <a:lnTo>
                    <a:pt x="34893" y="290388"/>
                  </a:lnTo>
                  <a:lnTo>
                    <a:pt x="36832" y="288966"/>
                  </a:lnTo>
                  <a:lnTo>
                    <a:pt x="39287" y="289612"/>
                  </a:lnTo>
                  <a:lnTo>
                    <a:pt x="38253" y="286899"/>
                  </a:lnTo>
                  <a:lnTo>
                    <a:pt x="35798" y="286123"/>
                  </a:lnTo>
                  <a:lnTo>
                    <a:pt x="33084" y="285735"/>
                  </a:lnTo>
                  <a:lnTo>
                    <a:pt x="31145" y="284055"/>
                  </a:lnTo>
                  <a:lnTo>
                    <a:pt x="32050" y="283538"/>
                  </a:lnTo>
                  <a:lnTo>
                    <a:pt x="32567" y="283022"/>
                  </a:lnTo>
                  <a:lnTo>
                    <a:pt x="33342" y="281600"/>
                  </a:lnTo>
                  <a:lnTo>
                    <a:pt x="30499" y="281858"/>
                  </a:lnTo>
                  <a:lnTo>
                    <a:pt x="28690" y="282504"/>
                  </a:lnTo>
                  <a:lnTo>
                    <a:pt x="27268" y="283668"/>
                  </a:lnTo>
                  <a:lnTo>
                    <a:pt x="25718" y="285348"/>
                  </a:lnTo>
                  <a:lnTo>
                    <a:pt x="23650" y="288191"/>
                  </a:lnTo>
                  <a:lnTo>
                    <a:pt x="23133" y="288449"/>
                  </a:lnTo>
                  <a:lnTo>
                    <a:pt x="23004" y="287028"/>
                  </a:lnTo>
                  <a:lnTo>
                    <a:pt x="23391" y="285865"/>
                  </a:lnTo>
                  <a:lnTo>
                    <a:pt x="24296" y="284572"/>
                  </a:lnTo>
                  <a:lnTo>
                    <a:pt x="25976" y="282763"/>
                  </a:lnTo>
                  <a:lnTo>
                    <a:pt x="24296" y="281988"/>
                  </a:lnTo>
                  <a:lnTo>
                    <a:pt x="22616" y="282246"/>
                  </a:lnTo>
                  <a:lnTo>
                    <a:pt x="21065" y="283151"/>
                  </a:lnTo>
                  <a:lnTo>
                    <a:pt x="20031" y="284314"/>
                  </a:lnTo>
                  <a:lnTo>
                    <a:pt x="20807" y="282117"/>
                  </a:lnTo>
                  <a:lnTo>
                    <a:pt x="25718" y="278111"/>
                  </a:lnTo>
                  <a:lnTo>
                    <a:pt x="23779" y="277077"/>
                  </a:lnTo>
                  <a:lnTo>
                    <a:pt x="21582" y="278111"/>
                  </a:lnTo>
                  <a:lnTo>
                    <a:pt x="18997" y="279920"/>
                  </a:lnTo>
                  <a:lnTo>
                    <a:pt x="17059" y="280308"/>
                  </a:lnTo>
                  <a:lnTo>
                    <a:pt x="16413" y="277077"/>
                  </a:lnTo>
                  <a:lnTo>
                    <a:pt x="16671" y="275784"/>
                  </a:lnTo>
                  <a:lnTo>
                    <a:pt x="17705" y="272295"/>
                  </a:lnTo>
                  <a:lnTo>
                    <a:pt x="18739" y="270357"/>
                  </a:lnTo>
                  <a:lnTo>
                    <a:pt x="18610" y="269581"/>
                  </a:lnTo>
                  <a:lnTo>
                    <a:pt x="18222" y="268806"/>
                  </a:lnTo>
                  <a:lnTo>
                    <a:pt x="17963" y="268030"/>
                  </a:lnTo>
                  <a:lnTo>
                    <a:pt x="20936" y="262473"/>
                  </a:lnTo>
                  <a:lnTo>
                    <a:pt x="22874" y="260664"/>
                  </a:lnTo>
                  <a:lnTo>
                    <a:pt x="25588" y="259759"/>
                  </a:lnTo>
                  <a:lnTo>
                    <a:pt x="29078" y="259889"/>
                  </a:lnTo>
                  <a:lnTo>
                    <a:pt x="28819" y="260535"/>
                  </a:lnTo>
                  <a:lnTo>
                    <a:pt x="28561" y="261569"/>
                  </a:lnTo>
                  <a:lnTo>
                    <a:pt x="28431" y="262215"/>
                  </a:lnTo>
                  <a:lnTo>
                    <a:pt x="35927" y="258726"/>
                  </a:lnTo>
                  <a:lnTo>
                    <a:pt x="40967" y="257950"/>
                  </a:lnTo>
                  <a:lnTo>
                    <a:pt x="44069" y="256916"/>
                  </a:lnTo>
                  <a:lnTo>
                    <a:pt x="46395" y="255495"/>
                  </a:lnTo>
                  <a:lnTo>
                    <a:pt x="46007" y="253815"/>
                  </a:lnTo>
                  <a:lnTo>
                    <a:pt x="47816" y="249938"/>
                  </a:lnTo>
                  <a:lnTo>
                    <a:pt x="49109" y="248775"/>
                  </a:lnTo>
                  <a:lnTo>
                    <a:pt x="50401" y="249938"/>
                  </a:lnTo>
                  <a:lnTo>
                    <a:pt x="50789" y="249550"/>
                  </a:lnTo>
                  <a:lnTo>
                    <a:pt x="51177" y="249421"/>
                  </a:lnTo>
                  <a:lnTo>
                    <a:pt x="51952" y="249162"/>
                  </a:lnTo>
                  <a:lnTo>
                    <a:pt x="52210" y="249938"/>
                  </a:lnTo>
                  <a:lnTo>
                    <a:pt x="52986" y="250972"/>
                  </a:lnTo>
                  <a:lnTo>
                    <a:pt x="53374" y="251618"/>
                  </a:lnTo>
                  <a:lnTo>
                    <a:pt x="54149" y="250455"/>
                  </a:lnTo>
                  <a:lnTo>
                    <a:pt x="55053" y="249679"/>
                  </a:lnTo>
                  <a:lnTo>
                    <a:pt x="55441" y="248645"/>
                  </a:lnTo>
                  <a:lnTo>
                    <a:pt x="54795" y="246836"/>
                  </a:lnTo>
                  <a:lnTo>
                    <a:pt x="55958" y="246707"/>
                  </a:lnTo>
                  <a:lnTo>
                    <a:pt x="57121" y="246836"/>
                  </a:lnTo>
                  <a:lnTo>
                    <a:pt x="58155" y="247095"/>
                  </a:lnTo>
                  <a:lnTo>
                    <a:pt x="59060" y="247611"/>
                  </a:lnTo>
                  <a:lnTo>
                    <a:pt x="57767" y="248645"/>
                  </a:lnTo>
                  <a:lnTo>
                    <a:pt x="57897" y="249292"/>
                  </a:lnTo>
                  <a:lnTo>
                    <a:pt x="58672" y="249679"/>
                  </a:lnTo>
                  <a:lnTo>
                    <a:pt x="59060" y="250067"/>
                  </a:lnTo>
                  <a:lnTo>
                    <a:pt x="59577" y="251747"/>
                  </a:lnTo>
                  <a:lnTo>
                    <a:pt x="59577" y="252781"/>
                  </a:lnTo>
                  <a:lnTo>
                    <a:pt x="58672" y="253298"/>
                  </a:lnTo>
                  <a:lnTo>
                    <a:pt x="56346" y="253685"/>
                  </a:lnTo>
                  <a:lnTo>
                    <a:pt x="54924" y="254719"/>
                  </a:lnTo>
                  <a:lnTo>
                    <a:pt x="55183" y="256270"/>
                  </a:lnTo>
                  <a:lnTo>
                    <a:pt x="57638" y="258079"/>
                  </a:lnTo>
                  <a:lnTo>
                    <a:pt x="58284" y="257175"/>
                  </a:lnTo>
                  <a:lnTo>
                    <a:pt x="59060" y="256529"/>
                  </a:lnTo>
                  <a:lnTo>
                    <a:pt x="60611" y="255624"/>
                  </a:lnTo>
                  <a:lnTo>
                    <a:pt x="60998" y="257692"/>
                  </a:lnTo>
                  <a:lnTo>
                    <a:pt x="62032" y="257433"/>
                  </a:lnTo>
                  <a:lnTo>
                    <a:pt x="63971" y="255624"/>
                  </a:lnTo>
                  <a:lnTo>
                    <a:pt x="66168" y="255753"/>
                  </a:lnTo>
                  <a:lnTo>
                    <a:pt x="67072" y="256141"/>
                  </a:lnTo>
                  <a:lnTo>
                    <a:pt x="67201" y="257175"/>
                  </a:lnTo>
                  <a:lnTo>
                    <a:pt x="66943" y="261052"/>
                  </a:lnTo>
                  <a:lnTo>
                    <a:pt x="67589" y="261569"/>
                  </a:lnTo>
                  <a:lnTo>
                    <a:pt x="69398" y="261827"/>
                  </a:lnTo>
                  <a:lnTo>
                    <a:pt x="70820" y="260535"/>
                  </a:lnTo>
                  <a:lnTo>
                    <a:pt x="71854" y="260018"/>
                  </a:lnTo>
                  <a:lnTo>
                    <a:pt x="72241" y="260664"/>
                  </a:lnTo>
                  <a:lnTo>
                    <a:pt x="72371" y="261827"/>
                  </a:lnTo>
                  <a:lnTo>
                    <a:pt x="72888" y="261827"/>
                  </a:lnTo>
                  <a:lnTo>
                    <a:pt x="73534" y="261310"/>
                  </a:lnTo>
                  <a:lnTo>
                    <a:pt x="74309" y="261052"/>
                  </a:lnTo>
                  <a:lnTo>
                    <a:pt x="75989" y="259759"/>
                  </a:lnTo>
                  <a:lnTo>
                    <a:pt x="76636" y="259372"/>
                  </a:lnTo>
                  <a:lnTo>
                    <a:pt x="79220" y="259372"/>
                  </a:lnTo>
                  <a:lnTo>
                    <a:pt x="80642" y="258596"/>
                  </a:lnTo>
                  <a:lnTo>
                    <a:pt x="83485" y="255236"/>
                  </a:lnTo>
                  <a:lnTo>
                    <a:pt x="84519" y="254461"/>
                  </a:lnTo>
                  <a:lnTo>
                    <a:pt x="86328" y="249938"/>
                  </a:lnTo>
                  <a:lnTo>
                    <a:pt x="86974" y="248904"/>
                  </a:lnTo>
                  <a:lnTo>
                    <a:pt x="88525" y="248516"/>
                  </a:lnTo>
                  <a:lnTo>
                    <a:pt x="88913" y="249421"/>
                  </a:lnTo>
                  <a:lnTo>
                    <a:pt x="88525" y="251101"/>
                  </a:lnTo>
                  <a:lnTo>
                    <a:pt x="87879" y="252910"/>
                  </a:lnTo>
                  <a:lnTo>
                    <a:pt x="89817" y="252522"/>
                  </a:lnTo>
                  <a:lnTo>
                    <a:pt x="90981" y="251101"/>
                  </a:lnTo>
                  <a:lnTo>
                    <a:pt x="91756" y="249550"/>
                  </a:lnTo>
                  <a:lnTo>
                    <a:pt x="92531" y="248775"/>
                  </a:lnTo>
                  <a:lnTo>
                    <a:pt x="93436" y="248387"/>
                  </a:lnTo>
                  <a:lnTo>
                    <a:pt x="96537" y="246836"/>
                  </a:lnTo>
                  <a:lnTo>
                    <a:pt x="97830" y="246448"/>
                  </a:lnTo>
                  <a:lnTo>
                    <a:pt x="103387" y="245544"/>
                  </a:lnTo>
                  <a:lnTo>
                    <a:pt x="104421" y="245156"/>
                  </a:lnTo>
                  <a:lnTo>
                    <a:pt x="107393" y="243605"/>
                  </a:lnTo>
                  <a:lnTo>
                    <a:pt x="108944" y="243218"/>
                  </a:lnTo>
                  <a:lnTo>
                    <a:pt x="108944" y="243993"/>
                  </a:lnTo>
                  <a:lnTo>
                    <a:pt x="107393" y="244768"/>
                  </a:lnTo>
                  <a:lnTo>
                    <a:pt x="109590" y="245285"/>
                  </a:lnTo>
                  <a:lnTo>
                    <a:pt x="111787" y="244898"/>
                  </a:lnTo>
                  <a:lnTo>
                    <a:pt x="113467" y="245156"/>
                  </a:lnTo>
                  <a:lnTo>
                    <a:pt x="114113" y="247482"/>
                  </a:lnTo>
                  <a:lnTo>
                    <a:pt x="115147" y="247224"/>
                  </a:lnTo>
                  <a:lnTo>
                    <a:pt x="119929" y="247999"/>
                  </a:lnTo>
                  <a:lnTo>
                    <a:pt x="121480" y="248645"/>
                  </a:lnTo>
                  <a:lnTo>
                    <a:pt x="121996" y="249421"/>
                  </a:lnTo>
                  <a:lnTo>
                    <a:pt x="123289" y="251747"/>
                  </a:lnTo>
                  <a:lnTo>
                    <a:pt x="124323" y="252781"/>
                  </a:lnTo>
                  <a:lnTo>
                    <a:pt x="125098" y="253039"/>
                  </a:lnTo>
                  <a:lnTo>
                    <a:pt x="126390" y="253298"/>
                  </a:lnTo>
                  <a:lnTo>
                    <a:pt x="127553" y="253427"/>
                  </a:lnTo>
                  <a:lnTo>
                    <a:pt x="128070" y="253169"/>
                  </a:lnTo>
                  <a:lnTo>
                    <a:pt x="128846" y="254332"/>
                  </a:lnTo>
                  <a:lnTo>
                    <a:pt x="130784" y="255495"/>
                  </a:lnTo>
                  <a:lnTo>
                    <a:pt x="133240" y="256270"/>
                  </a:lnTo>
                  <a:lnTo>
                    <a:pt x="135308" y="256529"/>
                  </a:lnTo>
                  <a:lnTo>
                    <a:pt x="132981" y="258467"/>
                  </a:lnTo>
                  <a:lnTo>
                    <a:pt x="128329" y="260018"/>
                  </a:lnTo>
                  <a:lnTo>
                    <a:pt x="119541" y="261440"/>
                  </a:lnTo>
                  <a:lnTo>
                    <a:pt x="110882" y="261181"/>
                  </a:lnTo>
                  <a:lnTo>
                    <a:pt x="106876" y="260276"/>
                  </a:lnTo>
                  <a:lnTo>
                    <a:pt x="104421" y="258209"/>
                  </a:lnTo>
                  <a:lnTo>
                    <a:pt x="103516" y="261569"/>
                  </a:lnTo>
                  <a:lnTo>
                    <a:pt x="102999" y="262215"/>
                  </a:lnTo>
                  <a:lnTo>
                    <a:pt x="101836" y="262344"/>
                  </a:lnTo>
                  <a:lnTo>
                    <a:pt x="99251" y="261052"/>
                  </a:lnTo>
                  <a:lnTo>
                    <a:pt x="98218" y="260664"/>
                  </a:lnTo>
                  <a:lnTo>
                    <a:pt x="94211" y="260535"/>
                  </a:lnTo>
                  <a:lnTo>
                    <a:pt x="92660" y="261440"/>
                  </a:lnTo>
                  <a:lnTo>
                    <a:pt x="91885" y="263766"/>
                  </a:lnTo>
                  <a:lnTo>
                    <a:pt x="92402" y="266221"/>
                  </a:lnTo>
                  <a:lnTo>
                    <a:pt x="93953" y="266996"/>
                  </a:lnTo>
                  <a:lnTo>
                    <a:pt x="96021" y="266480"/>
                  </a:lnTo>
                  <a:lnTo>
                    <a:pt x="98088" y="265058"/>
                  </a:lnTo>
                  <a:lnTo>
                    <a:pt x="99768" y="264153"/>
                  </a:lnTo>
                  <a:lnTo>
                    <a:pt x="101965" y="263766"/>
                  </a:lnTo>
                  <a:lnTo>
                    <a:pt x="106489" y="263766"/>
                  </a:lnTo>
                  <a:lnTo>
                    <a:pt x="133369" y="260664"/>
                  </a:lnTo>
                  <a:lnTo>
                    <a:pt x="137763" y="261440"/>
                  </a:lnTo>
                  <a:lnTo>
                    <a:pt x="138022" y="261698"/>
                  </a:lnTo>
                  <a:lnTo>
                    <a:pt x="139185" y="263378"/>
                  </a:lnTo>
                  <a:lnTo>
                    <a:pt x="139831" y="263507"/>
                  </a:lnTo>
                  <a:lnTo>
                    <a:pt x="140477" y="262861"/>
                  </a:lnTo>
                  <a:lnTo>
                    <a:pt x="141123" y="261956"/>
                  </a:lnTo>
                  <a:lnTo>
                    <a:pt x="141769" y="261310"/>
                  </a:lnTo>
                  <a:lnTo>
                    <a:pt x="146680" y="259243"/>
                  </a:lnTo>
                  <a:lnTo>
                    <a:pt x="151849" y="257692"/>
                  </a:lnTo>
                  <a:lnTo>
                    <a:pt x="176145" y="255107"/>
                  </a:lnTo>
                  <a:lnTo>
                    <a:pt x="178601" y="254073"/>
                  </a:lnTo>
                  <a:lnTo>
                    <a:pt x="181444" y="252264"/>
                  </a:lnTo>
                  <a:lnTo>
                    <a:pt x="183382" y="250067"/>
                  </a:lnTo>
                  <a:lnTo>
                    <a:pt x="183512" y="247999"/>
                  </a:lnTo>
                  <a:lnTo>
                    <a:pt x="182349" y="248775"/>
                  </a:lnTo>
                  <a:lnTo>
                    <a:pt x="182219" y="247353"/>
                  </a:lnTo>
                  <a:lnTo>
                    <a:pt x="182478" y="245156"/>
                  </a:lnTo>
                  <a:lnTo>
                    <a:pt x="182349" y="243605"/>
                  </a:lnTo>
                  <a:lnTo>
                    <a:pt x="181185" y="242571"/>
                  </a:lnTo>
                  <a:lnTo>
                    <a:pt x="176921" y="239987"/>
                  </a:lnTo>
                  <a:lnTo>
                    <a:pt x="177308" y="239728"/>
                  </a:lnTo>
                  <a:lnTo>
                    <a:pt x="177567" y="239470"/>
                  </a:lnTo>
                  <a:lnTo>
                    <a:pt x="177825" y="239211"/>
                  </a:lnTo>
                  <a:lnTo>
                    <a:pt x="178342" y="239082"/>
                  </a:lnTo>
                  <a:lnTo>
                    <a:pt x="177308" y="238565"/>
                  </a:lnTo>
                  <a:lnTo>
                    <a:pt x="176662" y="237919"/>
                  </a:lnTo>
                  <a:lnTo>
                    <a:pt x="176275" y="237014"/>
                  </a:lnTo>
                  <a:lnTo>
                    <a:pt x="176145" y="235851"/>
                  </a:lnTo>
                  <a:lnTo>
                    <a:pt x="175758" y="236239"/>
                  </a:lnTo>
                  <a:lnTo>
                    <a:pt x="175370" y="236497"/>
                  </a:lnTo>
                  <a:lnTo>
                    <a:pt x="174982" y="236885"/>
                  </a:lnTo>
                  <a:lnTo>
                    <a:pt x="174594" y="237531"/>
                  </a:lnTo>
                  <a:lnTo>
                    <a:pt x="173819" y="237531"/>
                  </a:lnTo>
                  <a:lnTo>
                    <a:pt x="170588" y="231199"/>
                  </a:lnTo>
                  <a:lnTo>
                    <a:pt x="170071" y="228743"/>
                  </a:lnTo>
                  <a:lnTo>
                    <a:pt x="170588" y="226288"/>
                  </a:lnTo>
                  <a:lnTo>
                    <a:pt x="172139" y="225125"/>
                  </a:lnTo>
                  <a:lnTo>
                    <a:pt x="174207" y="224737"/>
                  </a:lnTo>
                  <a:lnTo>
                    <a:pt x="176275" y="224737"/>
                  </a:lnTo>
                  <a:lnTo>
                    <a:pt x="180668" y="221765"/>
                  </a:lnTo>
                  <a:lnTo>
                    <a:pt x="183253" y="220343"/>
                  </a:lnTo>
                  <a:lnTo>
                    <a:pt x="184416" y="220085"/>
                  </a:lnTo>
                  <a:lnTo>
                    <a:pt x="185709" y="220214"/>
                  </a:lnTo>
                  <a:lnTo>
                    <a:pt x="186484" y="220473"/>
                  </a:lnTo>
                  <a:lnTo>
                    <a:pt x="187259" y="220473"/>
                  </a:lnTo>
                  <a:lnTo>
                    <a:pt x="188423" y="219955"/>
                  </a:lnTo>
                  <a:lnTo>
                    <a:pt x="189327" y="219180"/>
                  </a:lnTo>
                  <a:lnTo>
                    <a:pt x="190490" y="217371"/>
                  </a:lnTo>
                  <a:lnTo>
                    <a:pt x="191395" y="216725"/>
                  </a:lnTo>
                  <a:lnTo>
                    <a:pt x="192429" y="217371"/>
                  </a:lnTo>
                  <a:lnTo>
                    <a:pt x="195143" y="217112"/>
                  </a:lnTo>
                  <a:lnTo>
                    <a:pt x="196435" y="217500"/>
                  </a:lnTo>
                  <a:lnTo>
                    <a:pt x="196823" y="218275"/>
                  </a:lnTo>
                  <a:lnTo>
                    <a:pt x="197210" y="221248"/>
                  </a:lnTo>
                  <a:lnTo>
                    <a:pt x="197210" y="222282"/>
                  </a:lnTo>
                  <a:lnTo>
                    <a:pt x="196823" y="224866"/>
                  </a:lnTo>
                  <a:lnTo>
                    <a:pt x="196435" y="225513"/>
                  </a:lnTo>
                  <a:lnTo>
                    <a:pt x="195789" y="226029"/>
                  </a:lnTo>
                  <a:lnTo>
                    <a:pt x="193463" y="227063"/>
                  </a:lnTo>
                  <a:lnTo>
                    <a:pt x="192946" y="228356"/>
                  </a:lnTo>
                  <a:lnTo>
                    <a:pt x="192946" y="229260"/>
                  </a:lnTo>
                  <a:lnTo>
                    <a:pt x="193850" y="229648"/>
                  </a:lnTo>
                  <a:lnTo>
                    <a:pt x="195789" y="229389"/>
                  </a:lnTo>
                  <a:lnTo>
                    <a:pt x="190749" y="233784"/>
                  </a:lnTo>
                  <a:lnTo>
                    <a:pt x="188552" y="236368"/>
                  </a:lnTo>
                  <a:lnTo>
                    <a:pt x="187647" y="239211"/>
                  </a:lnTo>
                  <a:lnTo>
                    <a:pt x="185967" y="241796"/>
                  </a:lnTo>
                  <a:lnTo>
                    <a:pt x="185709" y="243088"/>
                  </a:lnTo>
                  <a:lnTo>
                    <a:pt x="187389" y="243605"/>
                  </a:lnTo>
                  <a:lnTo>
                    <a:pt x="188940" y="243864"/>
                  </a:lnTo>
                  <a:lnTo>
                    <a:pt x="189844" y="244639"/>
                  </a:lnTo>
                  <a:lnTo>
                    <a:pt x="189715" y="245673"/>
                  </a:lnTo>
                  <a:lnTo>
                    <a:pt x="188423" y="246707"/>
                  </a:lnTo>
                  <a:lnTo>
                    <a:pt x="187647" y="246319"/>
                  </a:lnTo>
                  <a:lnTo>
                    <a:pt x="187001" y="246190"/>
                  </a:lnTo>
                  <a:lnTo>
                    <a:pt x="185450" y="246061"/>
                  </a:lnTo>
                  <a:lnTo>
                    <a:pt x="186484" y="247224"/>
                  </a:lnTo>
                  <a:lnTo>
                    <a:pt x="188552" y="248775"/>
                  </a:lnTo>
                  <a:lnTo>
                    <a:pt x="189844" y="250067"/>
                  </a:lnTo>
                  <a:lnTo>
                    <a:pt x="191524" y="249033"/>
                  </a:lnTo>
                  <a:lnTo>
                    <a:pt x="193333" y="249938"/>
                  </a:lnTo>
                  <a:lnTo>
                    <a:pt x="196047" y="252393"/>
                  </a:lnTo>
                  <a:lnTo>
                    <a:pt x="206644" y="252135"/>
                  </a:lnTo>
                  <a:lnTo>
                    <a:pt x="214140" y="252781"/>
                  </a:lnTo>
                  <a:lnTo>
                    <a:pt x="224091" y="251747"/>
                  </a:lnTo>
                  <a:lnTo>
                    <a:pt x="231974" y="251618"/>
                  </a:lnTo>
                  <a:lnTo>
                    <a:pt x="232879" y="251230"/>
                  </a:lnTo>
                  <a:lnTo>
                    <a:pt x="234171" y="249679"/>
                  </a:lnTo>
                  <a:lnTo>
                    <a:pt x="234817" y="249292"/>
                  </a:lnTo>
                  <a:lnTo>
                    <a:pt x="236110" y="249162"/>
                  </a:lnTo>
                  <a:lnTo>
                    <a:pt x="239470" y="248387"/>
                  </a:lnTo>
                  <a:lnTo>
                    <a:pt x="249421" y="247741"/>
                  </a:lnTo>
                  <a:lnTo>
                    <a:pt x="266092" y="248129"/>
                  </a:lnTo>
                  <a:lnTo>
                    <a:pt x="287674" y="249679"/>
                  </a:lnTo>
                  <a:lnTo>
                    <a:pt x="300080" y="250067"/>
                  </a:lnTo>
                  <a:lnTo>
                    <a:pt x="301373" y="250584"/>
                  </a:lnTo>
                  <a:lnTo>
                    <a:pt x="303440" y="252781"/>
                  </a:lnTo>
                  <a:lnTo>
                    <a:pt x="304862" y="253427"/>
                  </a:lnTo>
                  <a:lnTo>
                    <a:pt x="305896" y="250842"/>
                  </a:lnTo>
                  <a:lnTo>
                    <a:pt x="306025" y="249550"/>
                  </a:lnTo>
                  <a:lnTo>
                    <a:pt x="305508" y="247870"/>
                  </a:lnTo>
                  <a:lnTo>
                    <a:pt x="304862" y="247870"/>
                  </a:lnTo>
                  <a:lnTo>
                    <a:pt x="303828" y="249162"/>
                  </a:lnTo>
                  <a:lnTo>
                    <a:pt x="303053" y="247870"/>
                  </a:lnTo>
                  <a:lnTo>
                    <a:pt x="302794" y="245415"/>
                  </a:lnTo>
                  <a:lnTo>
                    <a:pt x="303311" y="243088"/>
                  </a:lnTo>
                  <a:lnTo>
                    <a:pt x="303699" y="242313"/>
                  </a:lnTo>
                  <a:lnTo>
                    <a:pt x="304087" y="241796"/>
                  </a:lnTo>
                  <a:lnTo>
                    <a:pt x="304733" y="241537"/>
                  </a:lnTo>
                  <a:lnTo>
                    <a:pt x="305896" y="241408"/>
                  </a:lnTo>
                  <a:lnTo>
                    <a:pt x="306671" y="241150"/>
                  </a:lnTo>
                  <a:lnTo>
                    <a:pt x="306930" y="240374"/>
                  </a:lnTo>
                  <a:lnTo>
                    <a:pt x="306930" y="239341"/>
                  </a:lnTo>
                  <a:lnTo>
                    <a:pt x="307318" y="237402"/>
                  </a:lnTo>
                  <a:lnTo>
                    <a:pt x="307318" y="236368"/>
                  </a:lnTo>
                  <a:lnTo>
                    <a:pt x="307446" y="235463"/>
                  </a:lnTo>
                  <a:lnTo>
                    <a:pt x="308093" y="235076"/>
                  </a:lnTo>
                  <a:lnTo>
                    <a:pt x="308868" y="234947"/>
                  </a:lnTo>
                  <a:lnTo>
                    <a:pt x="312099" y="233525"/>
                  </a:lnTo>
                  <a:lnTo>
                    <a:pt x="314555" y="230423"/>
                  </a:lnTo>
                  <a:lnTo>
                    <a:pt x="315976" y="229648"/>
                  </a:lnTo>
                  <a:lnTo>
                    <a:pt x="318044" y="230294"/>
                  </a:lnTo>
                  <a:lnTo>
                    <a:pt x="318561" y="228873"/>
                  </a:lnTo>
                  <a:lnTo>
                    <a:pt x="319466" y="227968"/>
                  </a:lnTo>
                  <a:lnTo>
                    <a:pt x="320241" y="226805"/>
                  </a:lnTo>
                  <a:lnTo>
                    <a:pt x="320241" y="224737"/>
                  </a:lnTo>
                  <a:lnTo>
                    <a:pt x="319207" y="225254"/>
                  </a:lnTo>
                  <a:lnTo>
                    <a:pt x="316881" y="225771"/>
                  </a:lnTo>
                  <a:lnTo>
                    <a:pt x="315847" y="226159"/>
                  </a:lnTo>
                  <a:lnTo>
                    <a:pt x="314296" y="227839"/>
                  </a:lnTo>
                  <a:lnTo>
                    <a:pt x="313262" y="228614"/>
                  </a:lnTo>
                  <a:lnTo>
                    <a:pt x="312745" y="228226"/>
                  </a:lnTo>
                  <a:lnTo>
                    <a:pt x="311970" y="226934"/>
                  </a:lnTo>
                  <a:lnTo>
                    <a:pt x="308093" y="222669"/>
                  </a:lnTo>
                  <a:lnTo>
                    <a:pt x="307059" y="220731"/>
                  </a:lnTo>
                  <a:lnTo>
                    <a:pt x="306542" y="215949"/>
                  </a:lnTo>
                  <a:lnTo>
                    <a:pt x="306800" y="210392"/>
                  </a:lnTo>
                  <a:lnTo>
                    <a:pt x="307834" y="205223"/>
                  </a:lnTo>
                  <a:lnTo>
                    <a:pt x="309902" y="201863"/>
                  </a:lnTo>
                  <a:lnTo>
                    <a:pt x="313779" y="200054"/>
                  </a:lnTo>
                  <a:lnTo>
                    <a:pt x="315718" y="198761"/>
                  </a:lnTo>
                  <a:lnTo>
                    <a:pt x="316493" y="196823"/>
                  </a:lnTo>
                  <a:lnTo>
                    <a:pt x="316881" y="196306"/>
                  </a:lnTo>
                  <a:lnTo>
                    <a:pt x="317785" y="195660"/>
                  </a:lnTo>
                  <a:lnTo>
                    <a:pt x="318819" y="195143"/>
                  </a:lnTo>
                  <a:lnTo>
                    <a:pt x="319724" y="194884"/>
                  </a:lnTo>
                  <a:lnTo>
                    <a:pt x="320241" y="194238"/>
                  </a:lnTo>
                  <a:lnTo>
                    <a:pt x="322308" y="190103"/>
                  </a:lnTo>
                  <a:lnTo>
                    <a:pt x="323859" y="188552"/>
                  </a:lnTo>
                  <a:lnTo>
                    <a:pt x="327349" y="186484"/>
                  </a:lnTo>
                  <a:lnTo>
                    <a:pt x="329287" y="184933"/>
                  </a:lnTo>
                  <a:lnTo>
                    <a:pt x="329933" y="184029"/>
                  </a:lnTo>
                  <a:lnTo>
                    <a:pt x="330192" y="181961"/>
                  </a:lnTo>
                  <a:lnTo>
                    <a:pt x="330709" y="181056"/>
                  </a:lnTo>
                  <a:lnTo>
                    <a:pt x="333810" y="178213"/>
                  </a:lnTo>
                  <a:lnTo>
                    <a:pt x="341823" y="172785"/>
                  </a:lnTo>
                  <a:lnTo>
                    <a:pt x="353712" y="167099"/>
                  </a:lnTo>
                  <a:lnTo>
                    <a:pt x="363275" y="163739"/>
                  </a:lnTo>
                  <a:lnTo>
                    <a:pt x="376069" y="160250"/>
                  </a:lnTo>
                  <a:lnTo>
                    <a:pt x="386925" y="157148"/>
                  </a:lnTo>
                  <a:lnTo>
                    <a:pt x="397910" y="151591"/>
                  </a:lnTo>
                  <a:lnTo>
                    <a:pt x="413548" y="142157"/>
                  </a:lnTo>
                  <a:lnTo>
                    <a:pt x="416003" y="139055"/>
                  </a:lnTo>
                  <a:lnTo>
                    <a:pt x="416520" y="134532"/>
                  </a:lnTo>
                  <a:lnTo>
                    <a:pt x="412255" y="120317"/>
                  </a:lnTo>
                  <a:lnTo>
                    <a:pt x="410317" y="108427"/>
                  </a:lnTo>
                  <a:lnTo>
                    <a:pt x="411480" y="100673"/>
                  </a:lnTo>
                  <a:lnTo>
                    <a:pt x="410963" y="95633"/>
                  </a:lnTo>
                  <a:lnTo>
                    <a:pt x="406569" y="90205"/>
                  </a:lnTo>
                  <a:lnTo>
                    <a:pt x="405276" y="85940"/>
                  </a:lnTo>
                  <a:lnTo>
                    <a:pt x="406827" y="81417"/>
                  </a:lnTo>
                  <a:lnTo>
                    <a:pt x="407602" y="79737"/>
                  </a:lnTo>
                  <a:lnTo>
                    <a:pt x="410963" y="76636"/>
                  </a:lnTo>
                  <a:lnTo>
                    <a:pt x="414711" y="70820"/>
                  </a:lnTo>
                  <a:lnTo>
                    <a:pt x="416778" y="67718"/>
                  </a:lnTo>
                  <a:lnTo>
                    <a:pt x="416649" y="64358"/>
                  </a:lnTo>
                  <a:lnTo>
                    <a:pt x="417037" y="62549"/>
                  </a:lnTo>
                  <a:lnTo>
                    <a:pt x="417166" y="59964"/>
                  </a:lnTo>
                  <a:close/>
                  <a:moveTo>
                    <a:pt x="80900" y="272166"/>
                  </a:moveTo>
                  <a:lnTo>
                    <a:pt x="79866" y="271132"/>
                  </a:lnTo>
                  <a:lnTo>
                    <a:pt x="79091" y="270098"/>
                  </a:lnTo>
                  <a:lnTo>
                    <a:pt x="79220" y="269581"/>
                  </a:lnTo>
                  <a:lnTo>
                    <a:pt x="79608" y="268935"/>
                  </a:lnTo>
                  <a:lnTo>
                    <a:pt x="79608" y="268289"/>
                  </a:lnTo>
                  <a:lnTo>
                    <a:pt x="78445" y="267772"/>
                  </a:lnTo>
                  <a:lnTo>
                    <a:pt x="78186" y="268160"/>
                  </a:lnTo>
                  <a:lnTo>
                    <a:pt x="77799" y="268935"/>
                  </a:lnTo>
                  <a:lnTo>
                    <a:pt x="77282" y="269710"/>
                  </a:lnTo>
                  <a:lnTo>
                    <a:pt x="76636" y="270098"/>
                  </a:lnTo>
                  <a:lnTo>
                    <a:pt x="75214" y="269452"/>
                  </a:lnTo>
                  <a:lnTo>
                    <a:pt x="74438" y="268289"/>
                  </a:lnTo>
                  <a:lnTo>
                    <a:pt x="73534" y="267643"/>
                  </a:lnTo>
                  <a:lnTo>
                    <a:pt x="71854" y="268547"/>
                  </a:lnTo>
                  <a:lnTo>
                    <a:pt x="69657" y="266996"/>
                  </a:lnTo>
                  <a:lnTo>
                    <a:pt x="70174" y="266738"/>
                  </a:lnTo>
                  <a:lnTo>
                    <a:pt x="70562" y="266480"/>
                  </a:lnTo>
                  <a:lnTo>
                    <a:pt x="71078" y="266221"/>
                  </a:lnTo>
                  <a:lnTo>
                    <a:pt x="71854" y="266092"/>
                  </a:lnTo>
                  <a:lnTo>
                    <a:pt x="71854" y="265446"/>
                  </a:lnTo>
                  <a:lnTo>
                    <a:pt x="70820" y="264800"/>
                  </a:lnTo>
                  <a:lnTo>
                    <a:pt x="69528" y="264283"/>
                  </a:lnTo>
                  <a:lnTo>
                    <a:pt x="68365" y="263895"/>
                  </a:lnTo>
                  <a:lnTo>
                    <a:pt x="67460" y="263766"/>
                  </a:lnTo>
                  <a:lnTo>
                    <a:pt x="67460" y="263507"/>
                  </a:lnTo>
                  <a:lnTo>
                    <a:pt x="67201" y="263119"/>
                  </a:lnTo>
                  <a:lnTo>
                    <a:pt x="66685" y="262861"/>
                  </a:lnTo>
                  <a:lnTo>
                    <a:pt x="66038" y="262990"/>
                  </a:lnTo>
                  <a:lnTo>
                    <a:pt x="65651" y="264929"/>
                  </a:lnTo>
                  <a:lnTo>
                    <a:pt x="65263" y="265446"/>
                  </a:lnTo>
                  <a:lnTo>
                    <a:pt x="62808" y="268289"/>
                  </a:lnTo>
                  <a:lnTo>
                    <a:pt x="61386" y="269193"/>
                  </a:lnTo>
                  <a:lnTo>
                    <a:pt x="60094" y="268547"/>
                  </a:lnTo>
                  <a:lnTo>
                    <a:pt x="57251" y="271778"/>
                  </a:lnTo>
                  <a:lnTo>
                    <a:pt x="53244" y="273846"/>
                  </a:lnTo>
                  <a:lnTo>
                    <a:pt x="52598" y="273846"/>
                  </a:lnTo>
                  <a:lnTo>
                    <a:pt x="52469" y="273975"/>
                  </a:lnTo>
                  <a:lnTo>
                    <a:pt x="52727" y="274880"/>
                  </a:lnTo>
                  <a:lnTo>
                    <a:pt x="53115" y="275526"/>
                  </a:lnTo>
                  <a:lnTo>
                    <a:pt x="53761" y="275784"/>
                  </a:lnTo>
                  <a:lnTo>
                    <a:pt x="55570" y="275655"/>
                  </a:lnTo>
                  <a:lnTo>
                    <a:pt x="55183" y="276818"/>
                  </a:lnTo>
                  <a:lnTo>
                    <a:pt x="55183" y="277852"/>
                  </a:lnTo>
                  <a:lnTo>
                    <a:pt x="55570" y="278757"/>
                  </a:lnTo>
                  <a:lnTo>
                    <a:pt x="56475" y="279532"/>
                  </a:lnTo>
                  <a:lnTo>
                    <a:pt x="56604" y="279920"/>
                  </a:lnTo>
                  <a:lnTo>
                    <a:pt x="56604" y="280178"/>
                  </a:lnTo>
                  <a:lnTo>
                    <a:pt x="56734" y="280308"/>
                  </a:lnTo>
                  <a:lnTo>
                    <a:pt x="57251" y="280178"/>
                  </a:lnTo>
                  <a:lnTo>
                    <a:pt x="57638" y="278628"/>
                  </a:lnTo>
                  <a:lnTo>
                    <a:pt x="58414" y="276818"/>
                  </a:lnTo>
                  <a:lnTo>
                    <a:pt x="59448" y="275267"/>
                  </a:lnTo>
                  <a:lnTo>
                    <a:pt x="60352" y="274621"/>
                  </a:lnTo>
                  <a:lnTo>
                    <a:pt x="62161" y="274880"/>
                  </a:lnTo>
                  <a:lnTo>
                    <a:pt x="63325" y="275526"/>
                  </a:lnTo>
                  <a:lnTo>
                    <a:pt x="64358" y="276301"/>
                  </a:lnTo>
                  <a:lnTo>
                    <a:pt x="65909" y="276948"/>
                  </a:lnTo>
                  <a:lnTo>
                    <a:pt x="67072" y="276948"/>
                  </a:lnTo>
                  <a:lnTo>
                    <a:pt x="71466" y="276172"/>
                  </a:lnTo>
                  <a:lnTo>
                    <a:pt x="72888" y="275526"/>
                  </a:lnTo>
                  <a:lnTo>
                    <a:pt x="73792" y="274363"/>
                  </a:lnTo>
                  <a:lnTo>
                    <a:pt x="74697" y="273717"/>
                  </a:lnTo>
                  <a:lnTo>
                    <a:pt x="76119" y="274492"/>
                  </a:lnTo>
                  <a:lnTo>
                    <a:pt x="76636" y="273846"/>
                  </a:lnTo>
                  <a:lnTo>
                    <a:pt x="77282" y="273588"/>
                  </a:lnTo>
                  <a:lnTo>
                    <a:pt x="78057" y="273588"/>
                  </a:lnTo>
                  <a:lnTo>
                    <a:pt x="79091" y="273588"/>
                  </a:lnTo>
                  <a:lnTo>
                    <a:pt x="79091" y="273846"/>
                  </a:lnTo>
                  <a:lnTo>
                    <a:pt x="79220" y="274363"/>
                  </a:lnTo>
                  <a:lnTo>
                    <a:pt x="79608" y="274880"/>
                  </a:lnTo>
                  <a:lnTo>
                    <a:pt x="80125" y="275138"/>
                  </a:lnTo>
                  <a:lnTo>
                    <a:pt x="80512" y="275009"/>
                  </a:lnTo>
                  <a:lnTo>
                    <a:pt x="81159" y="274492"/>
                  </a:lnTo>
                  <a:lnTo>
                    <a:pt x="82839" y="273975"/>
                  </a:lnTo>
                  <a:lnTo>
                    <a:pt x="82451" y="273070"/>
                  </a:lnTo>
                  <a:lnTo>
                    <a:pt x="80900" y="272166"/>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2" name="Graphic 2">
              <a:extLst>
                <a:ext uri="{FF2B5EF4-FFF2-40B4-BE49-F238E27FC236}">
                  <a16:creationId xmlns:a16="http://schemas.microsoft.com/office/drawing/2014/main" id="{CD90F679-16A4-87F8-D326-89F92801D688}"/>
                </a:ext>
              </a:extLst>
            </p:cNvPr>
            <p:cNvSpPr/>
            <p:nvPr/>
          </p:nvSpPr>
          <p:spPr>
            <a:xfrm>
              <a:off x="6682074" y="2092854"/>
              <a:ext cx="596154" cy="873747"/>
            </a:xfrm>
            <a:custGeom>
              <a:avLst/>
              <a:gdLst>
                <a:gd name="connsiteX0" fmla="*/ 596025 w 596154"/>
                <a:gd name="connsiteY0" fmla="*/ 434742 h 873747"/>
                <a:gd name="connsiteX1" fmla="*/ 595767 w 596154"/>
                <a:gd name="connsiteY1" fmla="*/ 433966 h 873747"/>
                <a:gd name="connsiteX2" fmla="*/ 595120 w 596154"/>
                <a:gd name="connsiteY2" fmla="*/ 433449 h 873747"/>
                <a:gd name="connsiteX3" fmla="*/ 594087 w 596154"/>
                <a:gd name="connsiteY3" fmla="*/ 432932 h 873747"/>
                <a:gd name="connsiteX4" fmla="*/ 593182 w 596154"/>
                <a:gd name="connsiteY4" fmla="*/ 432157 h 873747"/>
                <a:gd name="connsiteX5" fmla="*/ 592665 w 596154"/>
                <a:gd name="connsiteY5" fmla="*/ 431381 h 873747"/>
                <a:gd name="connsiteX6" fmla="*/ 592148 w 596154"/>
                <a:gd name="connsiteY6" fmla="*/ 429572 h 873747"/>
                <a:gd name="connsiteX7" fmla="*/ 591114 w 596154"/>
                <a:gd name="connsiteY7" fmla="*/ 426988 h 873747"/>
                <a:gd name="connsiteX8" fmla="*/ 590209 w 596154"/>
                <a:gd name="connsiteY8" fmla="*/ 426341 h 873747"/>
                <a:gd name="connsiteX9" fmla="*/ 589176 w 596154"/>
                <a:gd name="connsiteY9" fmla="*/ 425954 h 873747"/>
                <a:gd name="connsiteX10" fmla="*/ 574314 w 596154"/>
                <a:gd name="connsiteY10" fmla="*/ 423111 h 873747"/>
                <a:gd name="connsiteX11" fmla="*/ 572634 w 596154"/>
                <a:gd name="connsiteY11" fmla="*/ 422335 h 873747"/>
                <a:gd name="connsiteX12" fmla="*/ 570178 w 596154"/>
                <a:gd name="connsiteY12" fmla="*/ 420526 h 873747"/>
                <a:gd name="connsiteX13" fmla="*/ 565784 w 596154"/>
                <a:gd name="connsiteY13" fmla="*/ 418975 h 873747"/>
                <a:gd name="connsiteX14" fmla="*/ 564363 w 596154"/>
                <a:gd name="connsiteY14" fmla="*/ 417941 h 873747"/>
                <a:gd name="connsiteX15" fmla="*/ 563458 w 596154"/>
                <a:gd name="connsiteY15" fmla="*/ 416778 h 873747"/>
                <a:gd name="connsiteX16" fmla="*/ 563200 w 596154"/>
                <a:gd name="connsiteY16" fmla="*/ 415744 h 873747"/>
                <a:gd name="connsiteX17" fmla="*/ 563587 w 596154"/>
                <a:gd name="connsiteY17" fmla="*/ 411092 h 873747"/>
                <a:gd name="connsiteX18" fmla="*/ 563329 w 596154"/>
                <a:gd name="connsiteY18" fmla="*/ 408507 h 873747"/>
                <a:gd name="connsiteX19" fmla="*/ 561132 w 596154"/>
                <a:gd name="connsiteY19" fmla="*/ 404889 h 873747"/>
                <a:gd name="connsiteX20" fmla="*/ 557643 w 596154"/>
                <a:gd name="connsiteY20" fmla="*/ 400107 h 873747"/>
                <a:gd name="connsiteX21" fmla="*/ 556609 w 596154"/>
                <a:gd name="connsiteY21" fmla="*/ 397264 h 873747"/>
                <a:gd name="connsiteX22" fmla="*/ 554929 w 596154"/>
                <a:gd name="connsiteY22" fmla="*/ 389381 h 873747"/>
                <a:gd name="connsiteX23" fmla="*/ 554929 w 596154"/>
                <a:gd name="connsiteY23" fmla="*/ 387830 h 873747"/>
                <a:gd name="connsiteX24" fmla="*/ 555704 w 596154"/>
                <a:gd name="connsiteY24" fmla="*/ 383824 h 873747"/>
                <a:gd name="connsiteX25" fmla="*/ 555833 w 596154"/>
                <a:gd name="connsiteY25" fmla="*/ 382144 h 873747"/>
                <a:gd name="connsiteX26" fmla="*/ 555704 w 596154"/>
                <a:gd name="connsiteY26" fmla="*/ 379171 h 873747"/>
                <a:gd name="connsiteX27" fmla="*/ 555317 w 596154"/>
                <a:gd name="connsiteY27" fmla="*/ 377362 h 873747"/>
                <a:gd name="connsiteX28" fmla="*/ 554799 w 596154"/>
                <a:gd name="connsiteY28" fmla="*/ 375682 h 873747"/>
                <a:gd name="connsiteX29" fmla="*/ 554153 w 596154"/>
                <a:gd name="connsiteY29" fmla="*/ 374519 h 873747"/>
                <a:gd name="connsiteX30" fmla="*/ 547692 w 596154"/>
                <a:gd name="connsiteY30" fmla="*/ 355392 h 873747"/>
                <a:gd name="connsiteX31" fmla="*/ 547175 w 596154"/>
                <a:gd name="connsiteY31" fmla="*/ 353583 h 873747"/>
                <a:gd name="connsiteX32" fmla="*/ 544978 w 596154"/>
                <a:gd name="connsiteY32" fmla="*/ 348414 h 873747"/>
                <a:gd name="connsiteX33" fmla="*/ 544978 w 596154"/>
                <a:gd name="connsiteY33" fmla="*/ 347897 h 873747"/>
                <a:gd name="connsiteX34" fmla="*/ 544849 w 596154"/>
                <a:gd name="connsiteY34" fmla="*/ 347121 h 873747"/>
                <a:gd name="connsiteX35" fmla="*/ 546141 w 596154"/>
                <a:gd name="connsiteY35" fmla="*/ 344537 h 873747"/>
                <a:gd name="connsiteX36" fmla="*/ 546399 w 596154"/>
                <a:gd name="connsiteY36" fmla="*/ 343373 h 873747"/>
                <a:gd name="connsiteX37" fmla="*/ 546141 w 596154"/>
                <a:gd name="connsiteY37" fmla="*/ 341952 h 873747"/>
                <a:gd name="connsiteX38" fmla="*/ 544719 w 596154"/>
                <a:gd name="connsiteY38" fmla="*/ 336912 h 873747"/>
                <a:gd name="connsiteX39" fmla="*/ 543298 w 596154"/>
                <a:gd name="connsiteY39" fmla="*/ 322438 h 873747"/>
                <a:gd name="connsiteX40" fmla="*/ 541747 w 596154"/>
                <a:gd name="connsiteY40" fmla="*/ 316364 h 873747"/>
                <a:gd name="connsiteX41" fmla="*/ 541488 w 596154"/>
                <a:gd name="connsiteY41" fmla="*/ 313262 h 873747"/>
                <a:gd name="connsiteX42" fmla="*/ 542393 w 596154"/>
                <a:gd name="connsiteY42" fmla="*/ 306283 h 873747"/>
                <a:gd name="connsiteX43" fmla="*/ 542264 w 596154"/>
                <a:gd name="connsiteY43" fmla="*/ 304862 h 873747"/>
                <a:gd name="connsiteX44" fmla="*/ 539808 w 596154"/>
                <a:gd name="connsiteY44" fmla="*/ 293877 h 873747"/>
                <a:gd name="connsiteX45" fmla="*/ 539808 w 596154"/>
                <a:gd name="connsiteY45" fmla="*/ 288320 h 873747"/>
                <a:gd name="connsiteX46" fmla="*/ 539550 w 596154"/>
                <a:gd name="connsiteY46" fmla="*/ 286381 h 873747"/>
                <a:gd name="connsiteX47" fmla="*/ 538775 w 596154"/>
                <a:gd name="connsiteY47" fmla="*/ 284960 h 873747"/>
                <a:gd name="connsiteX48" fmla="*/ 537741 w 596154"/>
                <a:gd name="connsiteY48" fmla="*/ 284055 h 873747"/>
                <a:gd name="connsiteX49" fmla="*/ 534639 w 596154"/>
                <a:gd name="connsiteY49" fmla="*/ 282375 h 873747"/>
                <a:gd name="connsiteX50" fmla="*/ 533088 w 596154"/>
                <a:gd name="connsiteY50" fmla="*/ 280695 h 873747"/>
                <a:gd name="connsiteX51" fmla="*/ 530633 w 596154"/>
                <a:gd name="connsiteY51" fmla="*/ 279532 h 873747"/>
                <a:gd name="connsiteX52" fmla="*/ 529082 w 596154"/>
                <a:gd name="connsiteY52" fmla="*/ 276947 h 873747"/>
                <a:gd name="connsiteX53" fmla="*/ 526627 w 596154"/>
                <a:gd name="connsiteY53" fmla="*/ 275009 h 873747"/>
                <a:gd name="connsiteX54" fmla="*/ 525722 w 596154"/>
                <a:gd name="connsiteY54" fmla="*/ 273200 h 873747"/>
                <a:gd name="connsiteX55" fmla="*/ 525722 w 596154"/>
                <a:gd name="connsiteY55" fmla="*/ 269581 h 873747"/>
                <a:gd name="connsiteX56" fmla="*/ 526885 w 596154"/>
                <a:gd name="connsiteY56" fmla="*/ 266092 h 873747"/>
                <a:gd name="connsiteX57" fmla="*/ 527273 w 596154"/>
                <a:gd name="connsiteY57" fmla="*/ 262473 h 873747"/>
                <a:gd name="connsiteX58" fmla="*/ 526885 w 596154"/>
                <a:gd name="connsiteY58" fmla="*/ 258467 h 873747"/>
                <a:gd name="connsiteX59" fmla="*/ 524688 w 596154"/>
                <a:gd name="connsiteY59" fmla="*/ 255495 h 873747"/>
                <a:gd name="connsiteX60" fmla="*/ 523525 w 596154"/>
                <a:gd name="connsiteY60" fmla="*/ 252393 h 873747"/>
                <a:gd name="connsiteX61" fmla="*/ 522362 w 596154"/>
                <a:gd name="connsiteY61" fmla="*/ 249679 h 873747"/>
                <a:gd name="connsiteX62" fmla="*/ 520811 w 596154"/>
                <a:gd name="connsiteY62" fmla="*/ 247224 h 873747"/>
                <a:gd name="connsiteX63" fmla="*/ 520811 w 596154"/>
                <a:gd name="connsiteY63" fmla="*/ 244639 h 873747"/>
                <a:gd name="connsiteX64" fmla="*/ 520165 w 596154"/>
                <a:gd name="connsiteY64" fmla="*/ 241279 h 873747"/>
                <a:gd name="connsiteX65" fmla="*/ 518356 w 596154"/>
                <a:gd name="connsiteY65" fmla="*/ 238953 h 873747"/>
                <a:gd name="connsiteX66" fmla="*/ 514996 w 596154"/>
                <a:gd name="connsiteY66" fmla="*/ 235851 h 873747"/>
                <a:gd name="connsiteX67" fmla="*/ 513832 w 596154"/>
                <a:gd name="connsiteY67" fmla="*/ 233913 h 873747"/>
                <a:gd name="connsiteX68" fmla="*/ 513445 w 596154"/>
                <a:gd name="connsiteY68" fmla="*/ 231328 h 873747"/>
                <a:gd name="connsiteX69" fmla="*/ 513703 w 596154"/>
                <a:gd name="connsiteY69" fmla="*/ 227322 h 873747"/>
                <a:gd name="connsiteX70" fmla="*/ 513832 w 596154"/>
                <a:gd name="connsiteY70" fmla="*/ 220472 h 873747"/>
                <a:gd name="connsiteX71" fmla="*/ 512928 w 596154"/>
                <a:gd name="connsiteY71" fmla="*/ 218017 h 873747"/>
                <a:gd name="connsiteX72" fmla="*/ 512023 w 596154"/>
                <a:gd name="connsiteY72" fmla="*/ 216208 h 873747"/>
                <a:gd name="connsiteX73" fmla="*/ 510343 w 596154"/>
                <a:gd name="connsiteY73" fmla="*/ 213235 h 873747"/>
                <a:gd name="connsiteX74" fmla="*/ 508922 w 596154"/>
                <a:gd name="connsiteY74" fmla="*/ 211038 h 873747"/>
                <a:gd name="connsiteX75" fmla="*/ 508663 w 596154"/>
                <a:gd name="connsiteY75" fmla="*/ 207291 h 873747"/>
                <a:gd name="connsiteX76" fmla="*/ 508922 w 596154"/>
                <a:gd name="connsiteY76" fmla="*/ 203414 h 873747"/>
                <a:gd name="connsiteX77" fmla="*/ 508275 w 596154"/>
                <a:gd name="connsiteY77" fmla="*/ 200958 h 873747"/>
                <a:gd name="connsiteX78" fmla="*/ 507112 w 596154"/>
                <a:gd name="connsiteY78" fmla="*/ 199407 h 873747"/>
                <a:gd name="connsiteX79" fmla="*/ 507371 w 596154"/>
                <a:gd name="connsiteY79" fmla="*/ 196047 h 873747"/>
                <a:gd name="connsiteX80" fmla="*/ 507888 w 596154"/>
                <a:gd name="connsiteY80" fmla="*/ 193204 h 873747"/>
                <a:gd name="connsiteX81" fmla="*/ 508017 w 596154"/>
                <a:gd name="connsiteY81" fmla="*/ 191136 h 873747"/>
                <a:gd name="connsiteX82" fmla="*/ 509180 w 596154"/>
                <a:gd name="connsiteY82" fmla="*/ 188939 h 873747"/>
                <a:gd name="connsiteX83" fmla="*/ 512282 w 596154"/>
                <a:gd name="connsiteY83" fmla="*/ 184028 h 873747"/>
                <a:gd name="connsiteX84" fmla="*/ 515383 w 596154"/>
                <a:gd name="connsiteY84" fmla="*/ 181832 h 873747"/>
                <a:gd name="connsiteX85" fmla="*/ 518356 w 596154"/>
                <a:gd name="connsiteY85" fmla="*/ 179376 h 873747"/>
                <a:gd name="connsiteX86" fmla="*/ 520423 w 596154"/>
                <a:gd name="connsiteY86" fmla="*/ 176921 h 873747"/>
                <a:gd name="connsiteX87" fmla="*/ 523266 w 596154"/>
                <a:gd name="connsiteY87" fmla="*/ 172139 h 873747"/>
                <a:gd name="connsiteX88" fmla="*/ 525464 w 596154"/>
                <a:gd name="connsiteY88" fmla="*/ 168521 h 873747"/>
                <a:gd name="connsiteX89" fmla="*/ 523913 w 596154"/>
                <a:gd name="connsiteY89" fmla="*/ 161283 h 873747"/>
                <a:gd name="connsiteX90" fmla="*/ 523266 w 596154"/>
                <a:gd name="connsiteY90" fmla="*/ 158828 h 873747"/>
                <a:gd name="connsiteX91" fmla="*/ 520423 w 596154"/>
                <a:gd name="connsiteY91" fmla="*/ 152625 h 873747"/>
                <a:gd name="connsiteX92" fmla="*/ 518873 w 596154"/>
                <a:gd name="connsiteY92" fmla="*/ 150945 h 873747"/>
                <a:gd name="connsiteX93" fmla="*/ 516805 w 596154"/>
                <a:gd name="connsiteY93" fmla="*/ 149135 h 873747"/>
                <a:gd name="connsiteX94" fmla="*/ 513832 w 596154"/>
                <a:gd name="connsiteY94" fmla="*/ 147197 h 873747"/>
                <a:gd name="connsiteX95" fmla="*/ 512023 w 596154"/>
                <a:gd name="connsiteY95" fmla="*/ 144095 h 873747"/>
                <a:gd name="connsiteX96" fmla="*/ 508663 w 596154"/>
                <a:gd name="connsiteY96" fmla="*/ 138409 h 873747"/>
                <a:gd name="connsiteX97" fmla="*/ 507371 w 596154"/>
                <a:gd name="connsiteY97" fmla="*/ 130914 h 873747"/>
                <a:gd name="connsiteX98" fmla="*/ 506725 w 596154"/>
                <a:gd name="connsiteY98" fmla="*/ 127037 h 873747"/>
                <a:gd name="connsiteX99" fmla="*/ 504657 w 596154"/>
                <a:gd name="connsiteY99" fmla="*/ 120575 h 873747"/>
                <a:gd name="connsiteX100" fmla="*/ 503623 w 596154"/>
                <a:gd name="connsiteY100" fmla="*/ 117215 h 873747"/>
                <a:gd name="connsiteX101" fmla="*/ 502848 w 596154"/>
                <a:gd name="connsiteY101" fmla="*/ 113467 h 873747"/>
                <a:gd name="connsiteX102" fmla="*/ 501297 w 596154"/>
                <a:gd name="connsiteY102" fmla="*/ 111012 h 873747"/>
                <a:gd name="connsiteX103" fmla="*/ 498842 w 596154"/>
                <a:gd name="connsiteY103" fmla="*/ 108298 h 873747"/>
                <a:gd name="connsiteX104" fmla="*/ 495223 w 596154"/>
                <a:gd name="connsiteY104" fmla="*/ 102741 h 873747"/>
                <a:gd name="connsiteX105" fmla="*/ 493414 w 596154"/>
                <a:gd name="connsiteY105" fmla="*/ 98347 h 873747"/>
                <a:gd name="connsiteX106" fmla="*/ 493414 w 596154"/>
                <a:gd name="connsiteY106" fmla="*/ 97701 h 873747"/>
                <a:gd name="connsiteX107" fmla="*/ 493026 w 596154"/>
                <a:gd name="connsiteY107" fmla="*/ 94470 h 873747"/>
                <a:gd name="connsiteX108" fmla="*/ 492380 w 596154"/>
                <a:gd name="connsiteY108" fmla="*/ 90463 h 873747"/>
                <a:gd name="connsiteX109" fmla="*/ 491863 w 596154"/>
                <a:gd name="connsiteY109" fmla="*/ 88783 h 873747"/>
                <a:gd name="connsiteX110" fmla="*/ 489407 w 596154"/>
                <a:gd name="connsiteY110" fmla="*/ 83097 h 873747"/>
                <a:gd name="connsiteX111" fmla="*/ 487469 w 596154"/>
                <a:gd name="connsiteY111" fmla="*/ 79479 h 873747"/>
                <a:gd name="connsiteX112" fmla="*/ 486564 w 596154"/>
                <a:gd name="connsiteY112" fmla="*/ 77023 h 873747"/>
                <a:gd name="connsiteX113" fmla="*/ 485143 w 596154"/>
                <a:gd name="connsiteY113" fmla="*/ 73792 h 873747"/>
                <a:gd name="connsiteX114" fmla="*/ 485143 w 596154"/>
                <a:gd name="connsiteY114" fmla="*/ 70561 h 873747"/>
                <a:gd name="connsiteX115" fmla="*/ 486047 w 596154"/>
                <a:gd name="connsiteY115" fmla="*/ 67072 h 873747"/>
                <a:gd name="connsiteX116" fmla="*/ 486564 w 596154"/>
                <a:gd name="connsiteY116" fmla="*/ 64358 h 873747"/>
                <a:gd name="connsiteX117" fmla="*/ 487598 w 596154"/>
                <a:gd name="connsiteY117" fmla="*/ 61257 h 873747"/>
                <a:gd name="connsiteX118" fmla="*/ 489924 w 596154"/>
                <a:gd name="connsiteY118" fmla="*/ 58672 h 873747"/>
                <a:gd name="connsiteX119" fmla="*/ 492768 w 596154"/>
                <a:gd name="connsiteY119" fmla="*/ 55958 h 873747"/>
                <a:gd name="connsiteX120" fmla="*/ 505949 w 596154"/>
                <a:gd name="connsiteY120" fmla="*/ 35410 h 873747"/>
                <a:gd name="connsiteX121" fmla="*/ 506208 w 596154"/>
                <a:gd name="connsiteY121" fmla="*/ 34505 h 873747"/>
                <a:gd name="connsiteX122" fmla="*/ 506725 w 596154"/>
                <a:gd name="connsiteY122" fmla="*/ 29724 h 873747"/>
                <a:gd name="connsiteX123" fmla="*/ 506725 w 596154"/>
                <a:gd name="connsiteY123" fmla="*/ 28561 h 873747"/>
                <a:gd name="connsiteX124" fmla="*/ 506725 w 596154"/>
                <a:gd name="connsiteY124" fmla="*/ 28561 h 873747"/>
                <a:gd name="connsiteX125" fmla="*/ 505820 w 596154"/>
                <a:gd name="connsiteY125" fmla="*/ 27785 h 873747"/>
                <a:gd name="connsiteX126" fmla="*/ 504011 w 596154"/>
                <a:gd name="connsiteY126" fmla="*/ 25071 h 873747"/>
                <a:gd name="connsiteX127" fmla="*/ 501685 w 596154"/>
                <a:gd name="connsiteY127" fmla="*/ 23391 h 873747"/>
                <a:gd name="connsiteX128" fmla="*/ 501685 w 596154"/>
                <a:gd name="connsiteY128" fmla="*/ 24813 h 873747"/>
                <a:gd name="connsiteX129" fmla="*/ 501038 w 596154"/>
                <a:gd name="connsiteY129" fmla="*/ 24813 h 873747"/>
                <a:gd name="connsiteX130" fmla="*/ 500651 w 596154"/>
                <a:gd name="connsiteY130" fmla="*/ 24037 h 873747"/>
                <a:gd name="connsiteX131" fmla="*/ 500005 w 596154"/>
                <a:gd name="connsiteY131" fmla="*/ 23391 h 873747"/>
                <a:gd name="connsiteX132" fmla="*/ 499358 w 596154"/>
                <a:gd name="connsiteY132" fmla="*/ 23004 h 873747"/>
                <a:gd name="connsiteX133" fmla="*/ 498842 w 596154"/>
                <a:gd name="connsiteY133" fmla="*/ 23391 h 873747"/>
                <a:gd name="connsiteX134" fmla="*/ 498195 w 596154"/>
                <a:gd name="connsiteY134" fmla="*/ 23133 h 873747"/>
                <a:gd name="connsiteX135" fmla="*/ 497161 w 596154"/>
                <a:gd name="connsiteY135" fmla="*/ 22357 h 873747"/>
                <a:gd name="connsiteX136" fmla="*/ 496644 w 596154"/>
                <a:gd name="connsiteY136" fmla="*/ 21970 h 873747"/>
                <a:gd name="connsiteX137" fmla="*/ 497678 w 596154"/>
                <a:gd name="connsiteY137" fmla="*/ 21582 h 873747"/>
                <a:gd name="connsiteX138" fmla="*/ 498195 w 596154"/>
                <a:gd name="connsiteY138" fmla="*/ 20936 h 873747"/>
                <a:gd name="connsiteX139" fmla="*/ 498066 w 596154"/>
                <a:gd name="connsiteY139" fmla="*/ 20031 h 873747"/>
                <a:gd name="connsiteX140" fmla="*/ 497290 w 596154"/>
                <a:gd name="connsiteY140" fmla="*/ 18997 h 873747"/>
                <a:gd name="connsiteX141" fmla="*/ 496515 w 596154"/>
                <a:gd name="connsiteY141" fmla="*/ 18739 h 873747"/>
                <a:gd name="connsiteX142" fmla="*/ 488115 w 596154"/>
                <a:gd name="connsiteY142" fmla="*/ 17576 h 873747"/>
                <a:gd name="connsiteX143" fmla="*/ 486176 w 596154"/>
                <a:gd name="connsiteY143" fmla="*/ 18093 h 873747"/>
                <a:gd name="connsiteX144" fmla="*/ 487081 w 596154"/>
                <a:gd name="connsiteY144" fmla="*/ 20419 h 873747"/>
                <a:gd name="connsiteX145" fmla="*/ 486176 w 596154"/>
                <a:gd name="connsiteY145" fmla="*/ 21065 h 873747"/>
                <a:gd name="connsiteX146" fmla="*/ 485659 w 596154"/>
                <a:gd name="connsiteY146" fmla="*/ 21194 h 873747"/>
                <a:gd name="connsiteX147" fmla="*/ 484884 w 596154"/>
                <a:gd name="connsiteY147" fmla="*/ 21194 h 873747"/>
                <a:gd name="connsiteX148" fmla="*/ 485013 w 596154"/>
                <a:gd name="connsiteY148" fmla="*/ 20677 h 873747"/>
                <a:gd name="connsiteX149" fmla="*/ 485143 w 596154"/>
                <a:gd name="connsiteY149" fmla="*/ 20419 h 873747"/>
                <a:gd name="connsiteX150" fmla="*/ 485401 w 596154"/>
                <a:gd name="connsiteY150" fmla="*/ 20160 h 873747"/>
                <a:gd name="connsiteX151" fmla="*/ 485530 w 596154"/>
                <a:gd name="connsiteY151" fmla="*/ 19773 h 873747"/>
                <a:gd name="connsiteX152" fmla="*/ 484496 w 596154"/>
                <a:gd name="connsiteY152" fmla="*/ 19773 h 873747"/>
                <a:gd name="connsiteX153" fmla="*/ 484238 w 596154"/>
                <a:gd name="connsiteY153" fmla="*/ 19773 h 873747"/>
                <a:gd name="connsiteX154" fmla="*/ 485272 w 596154"/>
                <a:gd name="connsiteY154" fmla="*/ 18351 h 873747"/>
                <a:gd name="connsiteX155" fmla="*/ 485272 w 596154"/>
                <a:gd name="connsiteY155" fmla="*/ 17188 h 873747"/>
                <a:gd name="connsiteX156" fmla="*/ 484626 w 596154"/>
                <a:gd name="connsiteY156" fmla="*/ 16283 h 873747"/>
                <a:gd name="connsiteX157" fmla="*/ 483463 w 596154"/>
                <a:gd name="connsiteY157" fmla="*/ 15379 h 873747"/>
                <a:gd name="connsiteX158" fmla="*/ 480878 w 596154"/>
                <a:gd name="connsiteY158" fmla="*/ 16930 h 873747"/>
                <a:gd name="connsiteX159" fmla="*/ 477905 w 596154"/>
                <a:gd name="connsiteY159" fmla="*/ 17317 h 873747"/>
                <a:gd name="connsiteX160" fmla="*/ 468859 w 596154"/>
                <a:gd name="connsiteY160" fmla="*/ 16671 h 873747"/>
                <a:gd name="connsiteX161" fmla="*/ 466533 w 596154"/>
                <a:gd name="connsiteY161" fmla="*/ 16154 h 873747"/>
                <a:gd name="connsiteX162" fmla="*/ 464853 w 596154"/>
                <a:gd name="connsiteY162" fmla="*/ 14991 h 873747"/>
                <a:gd name="connsiteX163" fmla="*/ 463561 w 596154"/>
                <a:gd name="connsiteY163" fmla="*/ 13311 h 873747"/>
                <a:gd name="connsiteX164" fmla="*/ 462268 w 596154"/>
                <a:gd name="connsiteY164" fmla="*/ 14216 h 873747"/>
                <a:gd name="connsiteX165" fmla="*/ 460976 w 596154"/>
                <a:gd name="connsiteY165" fmla="*/ 14345 h 873747"/>
                <a:gd name="connsiteX166" fmla="*/ 459813 w 596154"/>
                <a:gd name="connsiteY166" fmla="*/ 13957 h 873747"/>
                <a:gd name="connsiteX167" fmla="*/ 458520 w 596154"/>
                <a:gd name="connsiteY167" fmla="*/ 13311 h 873747"/>
                <a:gd name="connsiteX168" fmla="*/ 458520 w 596154"/>
                <a:gd name="connsiteY168" fmla="*/ 12536 h 873747"/>
                <a:gd name="connsiteX169" fmla="*/ 459554 w 596154"/>
                <a:gd name="connsiteY169" fmla="*/ 12794 h 873747"/>
                <a:gd name="connsiteX170" fmla="*/ 460717 w 596154"/>
                <a:gd name="connsiteY170" fmla="*/ 13311 h 873747"/>
                <a:gd name="connsiteX171" fmla="*/ 460200 w 596154"/>
                <a:gd name="connsiteY171" fmla="*/ 12148 h 873747"/>
                <a:gd name="connsiteX172" fmla="*/ 459942 w 596154"/>
                <a:gd name="connsiteY172" fmla="*/ 11760 h 873747"/>
                <a:gd name="connsiteX173" fmla="*/ 460588 w 596154"/>
                <a:gd name="connsiteY173" fmla="*/ 12148 h 873747"/>
                <a:gd name="connsiteX174" fmla="*/ 462268 w 596154"/>
                <a:gd name="connsiteY174" fmla="*/ 12923 h 873747"/>
                <a:gd name="connsiteX175" fmla="*/ 462915 w 596154"/>
                <a:gd name="connsiteY175" fmla="*/ 13311 h 873747"/>
                <a:gd name="connsiteX176" fmla="*/ 462139 w 596154"/>
                <a:gd name="connsiteY176" fmla="*/ 11889 h 873747"/>
                <a:gd name="connsiteX177" fmla="*/ 459037 w 596154"/>
                <a:gd name="connsiteY177" fmla="*/ 9434 h 873747"/>
                <a:gd name="connsiteX178" fmla="*/ 449991 w 596154"/>
                <a:gd name="connsiteY178" fmla="*/ 4006 h 873747"/>
                <a:gd name="connsiteX179" fmla="*/ 446760 w 596154"/>
                <a:gd name="connsiteY179" fmla="*/ 0 h 873747"/>
                <a:gd name="connsiteX180" fmla="*/ 445080 w 596154"/>
                <a:gd name="connsiteY180" fmla="*/ 1422 h 873747"/>
                <a:gd name="connsiteX181" fmla="*/ 444176 w 596154"/>
                <a:gd name="connsiteY181" fmla="*/ 1939 h 873747"/>
                <a:gd name="connsiteX182" fmla="*/ 443142 w 596154"/>
                <a:gd name="connsiteY182" fmla="*/ 2197 h 873747"/>
                <a:gd name="connsiteX183" fmla="*/ 443013 w 596154"/>
                <a:gd name="connsiteY183" fmla="*/ 2197 h 873747"/>
                <a:gd name="connsiteX184" fmla="*/ 442495 w 596154"/>
                <a:gd name="connsiteY184" fmla="*/ 4135 h 873747"/>
                <a:gd name="connsiteX185" fmla="*/ 441591 w 596154"/>
                <a:gd name="connsiteY185" fmla="*/ 10339 h 873747"/>
                <a:gd name="connsiteX186" fmla="*/ 441203 w 596154"/>
                <a:gd name="connsiteY186" fmla="*/ 10080 h 873747"/>
                <a:gd name="connsiteX187" fmla="*/ 440169 w 596154"/>
                <a:gd name="connsiteY187" fmla="*/ 9563 h 873747"/>
                <a:gd name="connsiteX188" fmla="*/ 440428 w 596154"/>
                <a:gd name="connsiteY188" fmla="*/ 11631 h 873747"/>
                <a:gd name="connsiteX189" fmla="*/ 441332 w 596154"/>
                <a:gd name="connsiteY189" fmla="*/ 14862 h 873747"/>
                <a:gd name="connsiteX190" fmla="*/ 441591 w 596154"/>
                <a:gd name="connsiteY190" fmla="*/ 16542 h 873747"/>
                <a:gd name="connsiteX191" fmla="*/ 442237 w 596154"/>
                <a:gd name="connsiteY191" fmla="*/ 17447 h 873747"/>
                <a:gd name="connsiteX192" fmla="*/ 445080 w 596154"/>
                <a:gd name="connsiteY192" fmla="*/ 19514 h 873747"/>
                <a:gd name="connsiteX193" fmla="*/ 445985 w 596154"/>
                <a:gd name="connsiteY193" fmla="*/ 20419 h 873747"/>
                <a:gd name="connsiteX194" fmla="*/ 446373 w 596154"/>
                <a:gd name="connsiteY194" fmla="*/ 22487 h 873747"/>
                <a:gd name="connsiteX195" fmla="*/ 445468 w 596154"/>
                <a:gd name="connsiteY195" fmla="*/ 23908 h 873747"/>
                <a:gd name="connsiteX196" fmla="*/ 444434 w 596154"/>
                <a:gd name="connsiteY196" fmla="*/ 25459 h 873747"/>
                <a:gd name="connsiteX197" fmla="*/ 443788 w 596154"/>
                <a:gd name="connsiteY197" fmla="*/ 27398 h 873747"/>
                <a:gd name="connsiteX198" fmla="*/ 443659 w 596154"/>
                <a:gd name="connsiteY198" fmla="*/ 29594 h 873747"/>
                <a:gd name="connsiteX199" fmla="*/ 443142 w 596154"/>
                <a:gd name="connsiteY199" fmla="*/ 30887 h 873747"/>
                <a:gd name="connsiteX200" fmla="*/ 440945 w 596154"/>
                <a:gd name="connsiteY200" fmla="*/ 32955 h 873747"/>
                <a:gd name="connsiteX201" fmla="*/ 439006 w 596154"/>
                <a:gd name="connsiteY201" fmla="*/ 35798 h 873747"/>
                <a:gd name="connsiteX202" fmla="*/ 437714 w 596154"/>
                <a:gd name="connsiteY202" fmla="*/ 37348 h 873747"/>
                <a:gd name="connsiteX203" fmla="*/ 434483 w 596154"/>
                <a:gd name="connsiteY203" fmla="*/ 38770 h 873747"/>
                <a:gd name="connsiteX204" fmla="*/ 433449 w 596154"/>
                <a:gd name="connsiteY204" fmla="*/ 40450 h 873747"/>
                <a:gd name="connsiteX205" fmla="*/ 431769 w 596154"/>
                <a:gd name="connsiteY205" fmla="*/ 45102 h 873747"/>
                <a:gd name="connsiteX206" fmla="*/ 431640 w 596154"/>
                <a:gd name="connsiteY206" fmla="*/ 46007 h 873747"/>
                <a:gd name="connsiteX207" fmla="*/ 431123 w 596154"/>
                <a:gd name="connsiteY207" fmla="*/ 46524 h 873747"/>
                <a:gd name="connsiteX208" fmla="*/ 429572 w 596154"/>
                <a:gd name="connsiteY208" fmla="*/ 46783 h 873747"/>
                <a:gd name="connsiteX209" fmla="*/ 428797 w 596154"/>
                <a:gd name="connsiteY209" fmla="*/ 47041 h 873747"/>
                <a:gd name="connsiteX210" fmla="*/ 428280 w 596154"/>
                <a:gd name="connsiteY210" fmla="*/ 47816 h 873747"/>
                <a:gd name="connsiteX211" fmla="*/ 427892 w 596154"/>
                <a:gd name="connsiteY211" fmla="*/ 48721 h 873747"/>
                <a:gd name="connsiteX212" fmla="*/ 427763 w 596154"/>
                <a:gd name="connsiteY212" fmla="*/ 49367 h 873747"/>
                <a:gd name="connsiteX213" fmla="*/ 427117 w 596154"/>
                <a:gd name="connsiteY213" fmla="*/ 51047 h 873747"/>
                <a:gd name="connsiteX214" fmla="*/ 425824 w 596154"/>
                <a:gd name="connsiteY214" fmla="*/ 52081 h 873747"/>
                <a:gd name="connsiteX215" fmla="*/ 414969 w 596154"/>
                <a:gd name="connsiteY215" fmla="*/ 55183 h 873747"/>
                <a:gd name="connsiteX216" fmla="*/ 413676 w 596154"/>
                <a:gd name="connsiteY216" fmla="*/ 55958 h 873747"/>
                <a:gd name="connsiteX217" fmla="*/ 414064 w 596154"/>
                <a:gd name="connsiteY217" fmla="*/ 56475 h 873747"/>
                <a:gd name="connsiteX218" fmla="*/ 415615 w 596154"/>
                <a:gd name="connsiteY218" fmla="*/ 57638 h 873747"/>
                <a:gd name="connsiteX219" fmla="*/ 416003 w 596154"/>
                <a:gd name="connsiteY219" fmla="*/ 58414 h 873747"/>
                <a:gd name="connsiteX220" fmla="*/ 415486 w 596154"/>
                <a:gd name="connsiteY220" fmla="*/ 59577 h 873747"/>
                <a:gd name="connsiteX221" fmla="*/ 407215 w 596154"/>
                <a:gd name="connsiteY221" fmla="*/ 69915 h 873747"/>
                <a:gd name="connsiteX222" fmla="*/ 403079 w 596154"/>
                <a:gd name="connsiteY222" fmla="*/ 73405 h 873747"/>
                <a:gd name="connsiteX223" fmla="*/ 399849 w 596154"/>
                <a:gd name="connsiteY223" fmla="*/ 73792 h 873747"/>
                <a:gd name="connsiteX224" fmla="*/ 398039 w 596154"/>
                <a:gd name="connsiteY224" fmla="*/ 74439 h 873747"/>
                <a:gd name="connsiteX225" fmla="*/ 396359 w 596154"/>
                <a:gd name="connsiteY225" fmla="*/ 74697 h 873747"/>
                <a:gd name="connsiteX226" fmla="*/ 391319 w 596154"/>
                <a:gd name="connsiteY226" fmla="*/ 74568 h 873747"/>
                <a:gd name="connsiteX227" fmla="*/ 388864 w 596154"/>
                <a:gd name="connsiteY227" fmla="*/ 75214 h 873747"/>
                <a:gd name="connsiteX228" fmla="*/ 388218 w 596154"/>
                <a:gd name="connsiteY228" fmla="*/ 75343 h 873747"/>
                <a:gd name="connsiteX229" fmla="*/ 387184 w 596154"/>
                <a:gd name="connsiteY229" fmla="*/ 75214 h 873747"/>
                <a:gd name="connsiteX230" fmla="*/ 386667 w 596154"/>
                <a:gd name="connsiteY230" fmla="*/ 75214 h 873747"/>
                <a:gd name="connsiteX231" fmla="*/ 386150 w 596154"/>
                <a:gd name="connsiteY231" fmla="*/ 75602 h 873747"/>
                <a:gd name="connsiteX232" fmla="*/ 385245 w 596154"/>
                <a:gd name="connsiteY232" fmla="*/ 76506 h 873747"/>
                <a:gd name="connsiteX233" fmla="*/ 385116 w 596154"/>
                <a:gd name="connsiteY233" fmla="*/ 76765 h 873747"/>
                <a:gd name="connsiteX234" fmla="*/ 383953 w 596154"/>
                <a:gd name="connsiteY234" fmla="*/ 76894 h 873747"/>
                <a:gd name="connsiteX235" fmla="*/ 381756 w 596154"/>
                <a:gd name="connsiteY235" fmla="*/ 76635 h 873747"/>
                <a:gd name="connsiteX236" fmla="*/ 380722 w 596154"/>
                <a:gd name="connsiteY236" fmla="*/ 76765 h 873747"/>
                <a:gd name="connsiteX237" fmla="*/ 379559 w 596154"/>
                <a:gd name="connsiteY237" fmla="*/ 77152 h 873747"/>
                <a:gd name="connsiteX238" fmla="*/ 378525 w 596154"/>
                <a:gd name="connsiteY238" fmla="*/ 77669 h 873747"/>
                <a:gd name="connsiteX239" fmla="*/ 377491 w 596154"/>
                <a:gd name="connsiteY239" fmla="*/ 78186 h 873747"/>
                <a:gd name="connsiteX240" fmla="*/ 376328 w 596154"/>
                <a:gd name="connsiteY240" fmla="*/ 78186 h 873747"/>
                <a:gd name="connsiteX241" fmla="*/ 375294 w 596154"/>
                <a:gd name="connsiteY241" fmla="*/ 77411 h 873747"/>
                <a:gd name="connsiteX242" fmla="*/ 374777 w 596154"/>
                <a:gd name="connsiteY242" fmla="*/ 76248 h 873747"/>
                <a:gd name="connsiteX243" fmla="*/ 374002 w 596154"/>
                <a:gd name="connsiteY243" fmla="*/ 75343 h 873747"/>
                <a:gd name="connsiteX244" fmla="*/ 372709 w 596154"/>
                <a:gd name="connsiteY244" fmla="*/ 75214 h 873747"/>
                <a:gd name="connsiteX245" fmla="*/ 372192 w 596154"/>
                <a:gd name="connsiteY245" fmla="*/ 75860 h 873747"/>
                <a:gd name="connsiteX246" fmla="*/ 371288 w 596154"/>
                <a:gd name="connsiteY246" fmla="*/ 78445 h 873747"/>
                <a:gd name="connsiteX247" fmla="*/ 370771 w 596154"/>
                <a:gd name="connsiteY247" fmla="*/ 79220 h 873747"/>
                <a:gd name="connsiteX248" fmla="*/ 369220 w 596154"/>
                <a:gd name="connsiteY248" fmla="*/ 81159 h 873747"/>
                <a:gd name="connsiteX249" fmla="*/ 366635 w 596154"/>
                <a:gd name="connsiteY249" fmla="*/ 85811 h 873747"/>
                <a:gd name="connsiteX250" fmla="*/ 364955 w 596154"/>
                <a:gd name="connsiteY250" fmla="*/ 88008 h 873747"/>
                <a:gd name="connsiteX251" fmla="*/ 358881 w 596154"/>
                <a:gd name="connsiteY251" fmla="*/ 92919 h 873747"/>
                <a:gd name="connsiteX252" fmla="*/ 355263 w 596154"/>
                <a:gd name="connsiteY252" fmla="*/ 98734 h 873747"/>
                <a:gd name="connsiteX253" fmla="*/ 353970 w 596154"/>
                <a:gd name="connsiteY253" fmla="*/ 101707 h 873747"/>
                <a:gd name="connsiteX254" fmla="*/ 354746 w 596154"/>
                <a:gd name="connsiteY254" fmla="*/ 102999 h 873747"/>
                <a:gd name="connsiteX255" fmla="*/ 355005 w 596154"/>
                <a:gd name="connsiteY255" fmla="*/ 111012 h 873747"/>
                <a:gd name="connsiteX256" fmla="*/ 354100 w 596154"/>
                <a:gd name="connsiteY256" fmla="*/ 112692 h 873747"/>
                <a:gd name="connsiteX257" fmla="*/ 351257 w 596154"/>
                <a:gd name="connsiteY257" fmla="*/ 116052 h 873747"/>
                <a:gd name="connsiteX258" fmla="*/ 350611 w 596154"/>
                <a:gd name="connsiteY258" fmla="*/ 117990 h 873747"/>
                <a:gd name="connsiteX259" fmla="*/ 350352 w 596154"/>
                <a:gd name="connsiteY259" fmla="*/ 120058 h 873747"/>
                <a:gd name="connsiteX260" fmla="*/ 349577 w 596154"/>
                <a:gd name="connsiteY260" fmla="*/ 122255 h 873747"/>
                <a:gd name="connsiteX261" fmla="*/ 348672 w 596154"/>
                <a:gd name="connsiteY261" fmla="*/ 124323 h 873747"/>
                <a:gd name="connsiteX262" fmla="*/ 347767 w 596154"/>
                <a:gd name="connsiteY262" fmla="*/ 125615 h 873747"/>
                <a:gd name="connsiteX263" fmla="*/ 344407 w 596154"/>
                <a:gd name="connsiteY263" fmla="*/ 127812 h 873747"/>
                <a:gd name="connsiteX264" fmla="*/ 343244 w 596154"/>
                <a:gd name="connsiteY264" fmla="*/ 128200 h 873747"/>
                <a:gd name="connsiteX265" fmla="*/ 342598 w 596154"/>
                <a:gd name="connsiteY265" fmla="*/ 129104 h 873747"/>
                <a:gd name="connsiteX266" fmla="*/ 342210 w 596154"/>
                <a:gd name="connsiteY266" fmla="*/ 130138 h 873747"/>
                <a:gd name="connsiteX267" fmla="*/ 341564 w 596154"/>
                <a:gd name="connsiteY267" fmla="*/ 131172 h 873747"/>
                <a:gd name="connsiteX268" fmla="*/ 336524 w 596154"/>
                <a:gd name="connsiteY268" fmla="*/ 136083 h 873747"/>
                <a:gd name="connsiteX269" fmla="*/ 335232 w 596154"/>
                <a:gd name="connsiteY269" fmla="*/ 138151 h 873747"/>
                <a:gd name="connsiteX270" fmla="*/ 334973 w 596154"/>
                <a:gd name="connsiteY270" fmla="*/ 139055 h 873747"/>
                <a:gd name="connsiteX271" fmla="*/ 334456 w 596154"/>
                <a:gd name="connsiteY271" fmla="*/ 142803 h 873747"/>
                <a:gd name="connsiteX272" fmla="*/ 334198 w 596154"/>
                <a:gd name="connsiteY272" fmla="*/ 143320 h 873747"/>
                <a:gd name="connsiteX273" fmla="*/ 332647 w 596154"/>
                <a:gd name="connsiteY273" fmla="*/ 145129 h 873747"/>
                <a:gd name="connsiteX274" fmla="*/ 332389 w 596154"/>
                <a:gd name="connsiteY274" fmla="*/ 145646 h 873747"/>
                <a:gd name="connsiteX275" fmla="*/ 330838 w 596154"/>
                <a:gd name="connsiteY275" fmla="*/ 149006 h 873747"/>
                <a:gd name="connsiteX276" fmla="*/ 329933 w 596154"/>
                <a:gd name="connsiteY276" fmla="*/ 149911 h 873747"/>
                <a:gd name="connsiteX277" fmla="*/ 329158 w 596154"/>
                <a:gd name="connsiteY277" fmla="*/ 150299 h 873747"/>
                <a:gd name="connsiteX278" fmla="*/ 327219 w 596154"/>
                <a:gd name="connsiteY278" fmla="*/ 151074 h 873747"/>
                <a:gd name="connsiteX279" fmla="*/ 325152 w 596154"/>
                <a:gd name="connsiteY279" fmla="*/ 152625 h 873747"/>
                <a:gd name="connsiteX280" fmla="*/ 321016 w 596154"/>
                <a:gd name="connsiteY280" fmla="*/ 157406 h 873747"/>
                <a:gd name="connsiteX281" fmla="*/ 320241 w 596154"/>
                <a:gd name="connsiteY281" fmla="*/ 159345 h 873747"/>
                <a:gd name="connsiteX282" fmla="*/ 320887 w 596154"/>
                <a:gd name="connsiteY282" fmla="*/ 164643 h 873747"/>
                <a:gd name="connsiteX283" fmla="*/ 320628 w 596154"/>
                <a:gd name="connsiteY283" fmla="*/ 166453 h 873747"/>
                <a:gd name="connsiteX284" fmla="*/ 321791 w 596154"/>
                <a:gd name="connsiteY284" fmla="*/ 168650 h 873747"/>
                <a:gd name="connsiteX285" fmla="*/ 322825 w 596154"/>
                <a:gd name="connsiteY285" fmla="*/ 173431 h 873747"/>
                <a:gd name="connsiteX286" fmla="*/ 324247 w 596154"/>
                <a:gd name="connsiteY286" fmla="*/ 175370 h 873747"/>
                <a:gd name="connsiteX287" fmla="*/ 325798 w 596154"/>
                <a:gd name="connsiteY287" fmla="*/ 174595 h 873747"/>
                <a:gd name="connsiteX288" fmla="*/ 327348 w 596154"/>
                <a:gd name="connsiteY288" fmla="*/ 174724 h 873747"/>
                <a:gd name="connsiteX289" fmla="*/ 328899 w 596154"/>
                <a:gd name="connsiteY289" fmla="*/ 175628 h 873747"/>
                <a:gd name="connsiteX290" fmla="*/ 330192 w 596154"/>
                <a:gd name="connsiteY290" fmla="*/ 176791 h 873747"/>
                <a:gd name="connsiteX291" fmla="*/ 331096 w 596154"/>
                <a:gd name="connsiteY291" fmla="*/ 178730 h 873747"/>
                <a:gd name="connsiteX292" fmla="*/ 332001 w 596154"/>
                <a:gd name="connsiteY292" fmla="*/ 183124 h 873747"/>
                <a:gd name="connsiteX293" fmla="*/ 333422 w 596154"/>
                <a:gd name="connsiteY293" fmla="*/ 185192 h 873747"/>
                <a:gd name="connsiteX294" fmla="*/ 333810 w 596154"/>
                <a:gd name="connsiteY294" fmla="*/ 186872 h 873747"/>
                <a:gd name="connsiteX295" fmla="*/ 333552 w 596154"/>
                <a:gd name="connsiteY295" fmla="*/ 189586 h 873747"/>
                <a:gd name="connsiteX296" fmla="*/ 332389 w 596154"/>
                <a:gd name="connsiteY296" fmla="*/ 194367 h 873747"/>
                <a:gd name="connsiteX297" fmla="*/ 330192 w 596154"/>
                <a:gd name="connsiteY297" fmla="*/ 199278 h 873747"/>
                <a:gd name="connsiteX298" fmla="*/ 329933 w 596154"/>
                <a:gd name="connsiteY298" fmla="*/ 199666 h 873747"/>
                <a:gd name="connsiteX299" fmla="*/ 328511 w 596154"/>
                <a:gd name="connsiteY299" fmla="*/ 201863 h 873747"/>
                <a:gd name="connsiteX300" fmla="*/ 326832 w 596154"/>
                <a:gd name="connsiteY300" fmla="*/ 203026 h 873747"/>
                <a:gd name="connsiteX301" fmla="*/ 324635 w 596154"/>
                <a:gd name="connsiteY301" fmla="*/ 203930 h 873747"/>
                <a:gd name="connsiteX302" fmla="*/ 324635 w 596154"/>
                <a:gd name="connsiteY302" fmla="*/ 206127 h 873747"/>
                <a:gd name="connsiteX303" fmla="*/ 326444 w 596154"/>
                <a:gd name="connsiteY303" fmla="*/ 209617 h 873747"/>
                <a:gd name="connsiteX304" fmla="*/ 326832 w 596154"/>
                <a:gd name="connsiteY304" fmla="*/ 211814 h 873747"/>
                <a:gd name="connsiteX305" fmla="*/ 325927 w 596154"/>
                <a:gd name="connsiteY305" fmla="*/ 213235 h 873747"/>
                <a:gd name="connsiteX306" fmla="*/ 324893 w 596154"/>
                <a:gd name="connsiteY306" fmla="*/ 214657 h 873747"/>
                <a:gd name="connsiteX307" fmla="*/ 324247 w 596154"/>
                <a:gd name="connsiteY307" fmla="*/ 216595 h 873747"/>
                <a:gd name="connsiteX308" fmla="*/ 324893 w 596154"/>
                <a:gd name="connsiteY308" fmla="*/ 218405 h 873747"/>
                <a:gd name="connsiteX309" fmla="*/ 326444 w 596154"/>
                <a:gd name="connsiteY309" fmla="*/ 219697 h 873747"/>
                <a:gd name="connsiteX310" fmla="*/ 328124 w 596154"/>
                <a:gd name="connsiteY310" fmla="*/ 220731 h 873747"/>
                <a:gd name="connsiteX311" fmla="*/ 329416 w 596154"/>
                <a:gd name="connsiteY311" fmla="*/ 222023 h 873747"/>
                <a:gd name="connsiteX312" fmla="*/ 330838 w 596154"/>
                <a:gd name="connsiteY312" fmla="*/ 226159 h 873747"/>
                <a:gd name="connsiteX313" fmla="*/ 331613 w 596154"/>
                <a:gd name="connsiteY313" fmla="*/ 229777 h 873747"/>
                <a:gd name="connsiteX314" fmla="*/ 332001 w 596154"/>
                <a:gd name="connsiteY314" fmla="*/ 230423 h 873747"/>
                <a:gd name="connsiteX315" fmla="*/ 333810 w 596154"/>
                <a:gd name="connsiteY315" fmla="*/ 231586 h 873747"/>
                <a:gd name="connsiteX316" fmla="*/ 334456 w 596154"/>
                <a:gd name="connsiteY316" fmla="*/ 232362 h 873747"/>
                <a:gd name="connsiteX317" fmla="*/ 334844 w 596154"/>
                <a:gd name="connsiteY317" fmla="*/ 233654 h 873747"/>
                <a:gd name="connsiteX318" fmla="*/ 334844 w 596154"/>
                <a:gd name="connsiteY318" fmla="*/ 234559 h 873747"/>
                <a:gd name="connsiteX319" fmla="*/ 334585 w 596154"/>
                <a:gd name="connsiteY319" fmla="*/ 235463 h 873747"/>
                <a:gd name="connsiteX320" fmla="*/ 334456 w 596154"/>
                <a:gd name="connsiteY320" fmla="*/ 236756 h 873747"/>
                <a:gd name="connsiteX321" fmla="*/ 334973 w 596154"/>
                <a:gd name="connsiteY321" fmla="*/ 238565 h 873747"/>
                <a:gd name="connsiteX322" fmla="*/ 336395 w 596154"/>
                <a:gd name="connsiteY322" fmla="*/ 242184 h 873747"/>
                <a:gd name="connsiteX323" fmla="*/ 336783 w 596154"/>
                <a:gd name="connsiteY323" fmla="*/ 244381 h 873747"/>
                <a:gd name="connsiteX324" fmla="*/ 337041 w 596154"/>
                <a:gd name="connsiteY324" fmla="*/ 250842 h 873747"/>
                <a:gd name="connsiteX325" fmla="*/ 337429 w 596154"/>
                <a:gd name="connsiteY325" fmla="*/ 252781 h 873747"/>
                <a:gd name="connsiteX326" fmla="*/ 340013 w 596154"/>
                <a:gd name="connsiteY326" fmla="*/ 257562 h 873747"/>
                <a:gd name="connsiteX327" fmla="*/ 340401 w 596154"/>
                <a:gd name="connsiteY327" fmla="*/ 259759 h 873747"/>
                <a:gd name="connsiteX328" fmla="*/ 340013 w 596154"/>
                <a:gd name="connsiteY328" fmla="*/ 260922 h 873747"/>
                <a:gd name="connsiteX329" fmla="*/ 338075 w 596154"/>
                <a:gd name="connsiteY329" fmla="*/ 263249 h 873747"/>
                <a:gd name="connsiteX330" fmla="*/ 337429 w 596154"/>
                <a:gd name="connsiteY330" fmla="*/ 264412 h 873747"/>
                <a:gd name="connsiteX331" fmla="*/ 337170 w 596154"/>
                <a:gd name="connsiteY331" fmla="*/ 265704 h 873747"/>
                <a:gd name="connsiteX332" fmla="*/ 337170 w 596154"/>
                <a:gd name="connsiteY332" fmla="*/ 266609 h 873747"/>
                <a:gd name="connsiteX333" fmla="*/ 337429 w 596154"/>
                <a:gd name="connsiteY333" fmla="*/ 268935 h 873747"/>
                <a:gd name="connsiteX334" fmla="*/ 337170 w 596154"/>
                <a:gd name="connsiteY334" fmla="*/ 273846 h 873747"/>
                <a:gd name="connsiteX335" fmla="*/ 335361 w 596154"/>
                <a:gd name="connsiteY335" fmla="*/ 276689 h 873747"/>
                <a:gd name="connsiteX336" fmla="*/ 328641 w 596154"/>
                <a:gd name="connsiteY336" fmla="*/ 282117 h 873747"/>
                <a:gd name="connsiteX337" fmla="*/ 327736 w 596154"/>
                <a:gd name="connsiteY337" fmla="*/ 283280 h 873747"/>
                <a:gd name="connsiteX338" fmla="*/ 325539 w 596154"/>
                <a:gd name="connsiteY338" fmla="*/ 286898 h 873747"/>
                <a:gd name="connsiteX339" fmla="*/ 325022 w 596154"/>
                <a:gd name="connsiteY339" fmla="*/ 288320 h 873747"/>
                <a:gd name="connsiteX340" fmla="*/ 322050 w 596154"/>
                <a:gd name="connsiteY340" fmla="*/ 290905 h 873747"/>
                <a:gd name="connsiteX341" fmla="*/ 321404 w 596154"/>
                <a:gd name="connsiteY341" fmla="*/ 291680 h 873747"/>
                <a:gd name="connsiteX342" fmla="*/ 316751 w 596154"/>
                <a:gd name="connsiteY342" fmla="*/ 300985 h 873747"/>
                <a:gd name="connsiteX343" fmla="*/ 315847 w 596154"/>
                <a:gd name="connsiteY343" fmla="*/ 301890 h 873747"/>
                <a:gd name="connsiteX344" fmla="*/ 315330 w 596154"/>
                <a:gd name="connsiteY344" fmla="*/ 302148 h 873747"/>
                <a:gd name="connsiteX345" fmla="*/ 314037 w 596154"/>
                <a:gd name="connsiteY345" fmla="*/ 304086 h 873747"/>
                <a:gd name="connsiteX346" fmla="*/ 313262 w 596154"/>
                <a:gd name="connsiteY346" fmla="*/ 304862 h 873747"/>
                <a:gd name="connsiteX347" fmla="*/ 312357 w 596154"/>
                <a:gd name="connsiteY347" fmla="*/ 305120 h 873747"/>
                <a:gd name="connsiteX348" fmla="*/ 310419 w 596154"/>
                <a:gd name="connsiteY348" fmla="*/ 305120 h 873747"/>
                <a:gd name="connsiteX349" fmla="*/ 309643 w 596154"/>
                <a:gd name="connsiteY349" fmla="*/ 305508 h 873747"/>
                <a:gd name="connsiteX350" fmla="*/ 308351 w 596154"/>
                <a:gd name="connsiteY350" fmla="*/ 306930 h 873747"/>
                <a:gd name="connsiteX351" fmla="*/ 308480 w 596154"/>
                <a:gd name="connsiteY351" fmla="*/ 308480 h 873747"/>
                <a:gd name="connsiteX352" fmla="*/ 309126 w 596154"/>
                <a:gd name="connsiteY352" fmla="*/ 310031 h 873747"/>
                <a:gd name="connsiteX353" fmla="*/ 309643 w 596154"/>
                <a:gd name="connsiteY353" fmla="*/ 311711 h 873747"/>
                <a:gd name="connsiteX354" fmla="*/ 309514 w 596154"/>
                <a:gd name="connsiteY354" fmla="*/ 312357 h 873747"/>
                <a:gd name="connsiteX355" fmla="*/ 308868 w 596154"/>
                <a:gd name="connsiteY355" fmla="*/ 313521 h 873747"/>
                <a:gd name="connsiteX356" fmla="*/ 308868 w 596154"/>
                <a:gd name="connsiteY356" fmla="*/ 314425 h 873747"/>
                <a:gd name="connsiteX357" fmla="*/ 309126 w 596154"/>
                <a:gd name="connsiteY357" fmla="*/ 314813 h 873747"/>
                <a:gd name="connsiteX358" fmla="*/ 310160 w 596154"/>
                <a:gd name="connsiteY358" fmla="*/ 315976 h 873747"/>
                <a:gd name="connsiteX359" fmla="*/ 310289 w 596154"/>
                <a:gd name="connsiteY359" fmla="*/ 316493 h 873747"/>
                <a:gd name="connsiteX360" fmla="*/ 310160 w 596154"/>
                <a:gd name="connsiteY360" fmla="*/ 317914 h 873747"/>
                <a:gd name="connsiteX361" fmla="*/ 309514 w 596154"/>
                <a:gd name="connsiteY361" fmla="*/ 318819 h 873747"/>
                <a:gd name="connsiteX362" fmla="*/ 308868 w 596154"/>
                <a:gd name="connsiteY362" fmla="*/ 319594 h 873747"/>
                <a:gd name="connsiteX363" fmla="*/ 308093 w 596154"/>
                <a:gd name="connsiteY363" fmla="*/ 320758 h 873747"/>
                <a:gd name="connsiteX364" fmla="*/ 307705 w 596154"/>
                <a:gd name="connsiteY364" fmla="*/ 322825 h 873747"/>
                <a:gd name="connsiteX365" fmla="*/ 308351 w 596154"/>
                <a:gd name="connsiteY365" fmla="*/ 330579 h 873747"/>
                <a:gd name="connsiteX366" fmla="*/ 309385 w 596154"/>
                <a:gd name="connsiteY366" fmla="*/ 332776 h 873747"/>
                <a:gd name="connsiteX367" fmla="*/ 309643 w 596154"/>
                <a:gd name="connsiteY367" fmla="*/ 334069 h 873747"/>
                <a:gd name="connsiteX368" fmla="*/ 308480 w 596154"/>
                <a:gd name="connsiteY368" fmla="*/ 336136 h 873747"/>
                <a:gd name="connsiteX369" fmla="*/ 308093 w 596154"/>
                <a:gd name="connsiteY369" fmla="*/ 337041 h 873747"/>
                <a:gd name="connsiteX370" fmla="*/ 308093 w 596154"/>
                <a:gd name="connsiteY370" fmla="*/ 339109 h 873747"/>
                <a:gd name="connsiteX371" fmla="*/ 308480 w 596154"/>
                <a:gd name="connsiteY371" fmla="*/ 341435 h 873747"/>
                <a:gd name="connsiteX372" fmla="*/ 309385 w 596154"/>
                <a:gd name="connsiteY372" fmla="*/ 343632 h 873747"/>
                <a:gd name="connsiteX373" fmla="*/ 312357 w 596154"/>
                <a:gd name="connsiteY373" fmla="*/ 347380 h 873747"/>
                <a:gd name="connsiteX374" fmla="*/ 312745 w 596154"/>
                <a:gd name="connsiteY374" fmla="*/ 349189 h 873747"/>
                <a:gd name="connsiteX375" fmla="*/ 312228 w 596154"/>
                <a:gd name="connsiteY375" fmla="*/ 350998 h 873747"/>
                <a:gd name="connsiteX376" fmla="*/ 311065 w 596154"/>
                <a:gd name="connsiteY376" fmla="*/ 353066 h 873747"/>
                <a:gd name="connsiteX377" fmla="*/ 311970 w 596154"/>
                <a:gd name="connsiteY377" fmla="*/ 354358 h 873747"/>
                <a:gd name="connsiteX378" fmla="*/ 313520 w 596154"/>
                <a:gd name="connsiteY378" fmla="*/ 357718 h 873747"/>
                <a:gd name="connsiteX379" fmla="*/ 314684 w 596154"/>
                <a:gd name="connsiteY379" fmla="*/ 359011 h 873747"/>
                <a:gd name="connsiteX380" fmla="*/ 315717 w 596154"/>
                <a:gd name="connsiteY380" fmla="*/ 359528 h 873747"/>
                <a:gd name="connsiteX381" fmla="*/ 318044 w 596154"/>
                <a:gd name="connsiteY381" fmla="*/ 359915 h 873747"/>
                <a:gd name="connsiteX382" fmla="*/ 319078 w 596154"/>
                <a:gd name="connsiteY382" fmla="*/ 360432 h 873747"/>
                <a:gd name="connsiteX383" fmla="*/ 319594 w 596154"/>
                <a:gd name="connsiteY383" fmla="*/ 361078 h 873747"/>
                <a:gd name="connsiteX384" fmla="*/ 320370 w 596154"/>
                <a:gd name="connsiteY384" fmla="*/ 362888 h 873747"/>
                <a:gd name="connsiteX385" fmla="*/ 321662 w 596154"/>
                <a:gd name="connsiteY385" fmla="*/ 364826 h 873747"/>
                <a:gd name="connsiteX386" fmla="*/ 322308 w 596154"/>
                <a:gd name="connsiteY386" fmla="*/ 366119 h 873747"/>
                <a:gd name="connsiteX387" fmla="*/ 323084 w 596154"/>
                <a:gd name="connsiteY387" fmla="*/ 367282 h 873747"/>
                <a:gd name="connsiteX388" fmla="*/ 323859 w 596154"/>
                <a:gd name="connsiteY388" fmla="*/ 367799 h 873747"/>
                <a:gd name="connsiteX389" fmla="*/ 325152 w 596154"/>
                <a:gd name="connsiteY389" fmla="*/ 368057 h 873747"/>
                <a:gd name="connsiteX390" fmla="*/ 326056 w 596154"/>
                <a:gd name="connsiteY390" fmla="*/ 368574 h 873747"/>
                <a:gd name="connsiteX391" fmla="*/ 327607 w 596154"/>
                <a:gd name="connsiteY391" fmla="*/ 370383 h 873747"/>
                <a:gd name="connsiteX392" fmla="*/ 329416 w 596154"/>
                <a:gd name="connsiteY392" fmla="*/ 371417 h 873747"/>
                <a:gd name="connsiteX393" fmla="*/ 333810 w 596154"/>
                <a:gd name="connsiteY393" fmla="*/ 372839 h 873747"/>
                <a:gd name="connsiteX394" fmla="*/ 335232 w 596154"/>
                <a:gd name="connsiteY394" fmla="*/ 374390 h 873747"/>
                <a:gd name="connsiteX395" fmla="*/ 335232 w 596154"/>
                <a:gd name="connsiteY395" fmla="*/ 382402 h 873747"/>
                <a:gd name="connsiteX396" fmla="*/ 335878 w 596154"/>
                <a:gd name="connsiteY396" fmla="*/ 383307 h 873747"/>
                <a:gd name="connsiteX397" fmla="*/ 336524 w 596154"/>
                <a:gd name="connsiteY397" fmla="*/ 383307 h 873747"/>
                <a:gd name="connsiteX398" fmla="*/ 337170 w 596154"/>
                <a:gd name="connsiteY398" fmla="*/ 383565 h 873747"/>
                <a:gd name="connsiteX399" fmla="*/ 337429 w 596154"/>
                <a:gd name="connsiteY399" fmla="*/ 384987 h 873747"/>
                <a:gd name="connsiteX400" fmla="*/ 334844 w 596154"/>
                <a:gd name="connsiteY400" fmla="*/ 386796 h 873747"/>
                <a:gd name="connsiteX401" fmla="*/ 334456 w 596154"/>
                <a:gd name="connsiteY401" fmla="*/ 387701 h 873747"/>
                <a:gd name="connsiteX402" fmla="*/ 333035 w 596154"/>
                <a:gd name="connsiteY402" fmla="*/ 394162 h 873747"/>
                <a:gd name="connsiteX403" fmla="*/ 333293 w 596154"/>
                <a:gd name="connsiteY403" fmla="*/ 395325 h 873747"/>
                <a:gd name="connsiteX404" fmla="*/ 334327 w 596154"/>
                <a:gd name="connsiteY404" fmla="*/ 397781 h 873747"/>
                <a:gd name="connsiteX405" fmla="*/ 334456 w 596154"/>
                <a:gd name="connsiteY405" fmla="*/ 398944 h 873747"/>
                <a:gd name="connsiteX406" fmla="*/ 334198 w 596154"/>
                <a:gd name="connsiteY406" fmla="*/ 399978 h 873747"/>
                <a:gd name="connsiteX407" fmla="*/ 333422 w 596154"/>
                <a:gd name="connsiteY407" fmla="*/ 400365 h 873747"/>
                <a:gd name="connsiteX408" fmla="*/ 332647 w 596154"/>
                <a:gd name="connsiteY408" fmla="*/ 400753 h 873747"/>
                <a:gd name="connsiteX409" fmla="*/ 332389 w 596154"/>
                <a:gd name="connsiteY409" fmla="*/ 401141 h 873747"/>
                <a:gd name="connsiteX410" fmla="*/ 332130 w 596154"/>
                <a:gd name="connsiteY410" fmla="*/ 407215 h 873747"/>
                <a:gd name="connsiteX411" fmla="*/ 331613 w 596154"/>
                <a:gd name="connsiteY411" fmla="*/ 409670 h 873747"/>
                <a:gd name="connsiteX412" fmla="*/ 331226 w 596154"/>
                <a:gd name="connsiteY412" fmla="*/ 410316 h 873747"/>
                <a:gd name="connsiteX413" fmla="*/ 329028 w 596154"/>
                <a:gd name="connsiteY413" fmla="*/ 412126 h 873747"/>
                <a:gd name="connsiteX414" fmla="*/ 328641 w 596154"/>
                <a:gd name="connsiteY414" fmla="*/ 413030 h 873747"/>
                <a:gd name="connsiteX415" fmla="*/ 328511 w 596154"/>
                <a:gd name="connsiteY415" fmla="*/ 414193 h 873747"/>
                <a:gd name="connsiteX416" fmla="*/ 328641 w 596154"/>
                <a:gd name="connsiteY416" fmla="*/ 416520 h 873747"/>
                <a:gd name="connsiteX417" fmla="*/ 328253 w 596154"/>
                <a:gd name="connsiteY417" fmla="*/ 418846 h 873747"/>
                <a:gd name="connsiteX418" fmla="*/ 327090 w 596154"/>
                <a:gd name="connsiteY418" fmla="*/ 420655 h 873747"/>
                <a:gd name="connsiteX419" fmla="*/ 321404 w 596154"/>
                <a:gd name="connsiteY419" fmla="*/ 426988 h 873747"/>
                <a:gd name="connsiteX420" fmla="*/ 319465 w 596154"/>
                <a:gd name="connsiteY420" fmla="*/ 428668 h 873747"/>
                <a:gd name="connsiteX421" fmla="*/ 317268 w 596154"/>
                <a:gd name="connsiteY421" fmla="*/ 429314 h 873747"/>
                <a:gd name="connsiteX422" fmla="*/ 314813 w 596154"/>
                <a:gd name="connsiteY422" fmla="*/ 429055 h 873747"/>
                <a:gd name="connsiteX423" fmla="*/ 313133 w 596154"/>
                <a:gd name="connsiteY423" fmla="*/ 428668 h 873747"/>
                <a:gd name="connsiteX424" fmla="*/ 311324 w 596154"/>
                <a:gd name="connsiteY424" fmla="*/ 428668 h 873747"/>
                <a:gd name="connsiteX425" fmla="*/ 308868 w 596154"/>
                <a:gd name="connsiteY425" fmla="*/ 429314 h 873747"/>
                <a:gd name="connsiteX426" fmla="*/ 306930 w 596154"/>
                <a:gd name="connsiteY426" fmla="*/ 430218 h 873747"/>
                <a:gd name="connsiteX427" fmla="*/ 304862 w 596154"/>
                <a:gd name="connsiteY427" fmla="*/ 430735 h 873747"/>
                <a:gd name="connsiteX428" fmla="*/ 302665 w 596154"/>
                <a:gd name="connsiteY428" fmla="*/ 430477 h 873747"/>
                <a:gd name="connsiteX429" fmla="*/ 300468 w 596154"/>
                <a:gd name="connsiteY429" fmla="*/ 429055 h 873747"/>
                <a:gd name="connsiteX430" fmla="*/ 298013 w 596154"/>
                <a:gd name="connsiteY430" fmla="*/ 428021 h 873747"/>
                <a:gd name="connsiteX431" fmla="*/ 295299 w 596154"/>
                <a:gd name="connsiteY431" fmla="*/ 428797 h 873747"/>
                <a:gd name="connsiteX432" fmla="*/ 291292 w 596154"/>
                <a:gd name="connsiteY432" fmla="*/ 431511 h 873747"/>
                <a:gd name="connsiteX433" fmla="*/ 289225 w 596154"/>
                <a:gd name="connsiteY433" fmla="*/ 432545 h 873747"/>
                <a:gd name="connsiteX434" fmla="*/ 287028 w 596154"/>
                <a:gd name="connsiteY434" fmla="*/ 432932 h 873747"/>
                <a:gd name="connsiteX435" fmla="*/ 282117 w 596154"/>
                <a:gd name="connsiteY435" fmla="*/ 433062 h 873747"/>
                <a:gd name="connsiteX436" fmla="*/ 279661 w 596154"/>
                <a:gd name="connsiteY436" fmla="*/ 433578 h 873747"/>
                <a:gd name="connsiteX437" fmla="*/ 278110 w 596154"/>
                <a:gd name="connsiteY437" fmla="*/ 434871 h 873747"/>
                <a:gd name="connsiteX438" fmla="*/ 276818 w 596154"/>
                <a:gd name="connsiteY438" fmla="*/ 436292 h 873747"/>
                <a:gd name="connsiteX439" fmla="*/ 275138 w 596154"/>
                <a:gd name="connsiteY439" fmla="*/ 437455 h 873747"/>
                <a:gd name="connsiteX440" fmla="*/ 274104 w 596154"/>
                <a:gd name="connsiteY440" fmla="*/ 437585 h 873747"/>
                <a:gd name="connsiteX441" fmla="*/ 269839 w 596154"/>
                <a:gd name="connsiteY441" fmla="*/ 437326 h 873747"/>
                <a:gd name="connsiteX442" fmla="*/ 268676 w 596154"/>
                <a:gd name="connsiteY442" fmla="*/ 436938 h 873747"/>
                <a:gd name="connsiteX443" fmla="*/ 267643 w 596154"/>
                <a:gd name="connsiteY443" fmla="*/ 436422 h 873747"/>
                <a:gd name="connsiteX444" fmla="*/ 266738 w 596154"/>
                <a:gd name="connsiteY444" fmla="*/ 435646 h 873747"/>
                <a:gd name="connsiteX445" fmla="*/ 264799 w 596154"/>
                <a:gd name="connsiteY445" fmla="*/ 433062 h 873747"/>
                <a:gd name="connsiteX446" fmla="*/ 264153 w 596154"/>
                <a:gd name="connsiteY446" fmla="*/ 432415 h 873747"/>
                <a:gd name="connsiteX447" fmla="*/ 263119 w 596154"/>
                <a:gd name="connsiteY447" fmla="*/ 431898 h 873747"/>
                <a:gd name="connsiteX448" fmla="*/ 261181 w 596154"/>
                <a:gd name="connsiteY448" fmla="*/ 431381 h 873747"/>
                <a:gd name="connsiteX449" fmla="*/ 260405 w 596154"/>
                <a:gd name="connsiteY449" fmla="*/ 430864 h 873747"/>
                <a:gd name="connsiteX450" fmla="*/ 260147 w 596154"/>
                <a:gd name="connsiteY450" fmla="*/ 430089 h 873747"/>
                <a:gd name="connsiteX451" fmla="*/ 259889 w 596154"/>
                <a:gd name="connsiteY451" fmla="*/ 428797 h 873747"/>
                <a:gd name="connsiteX452" fmla="*/ 259372 w 596154"/>
                <a:gd name="connsiteY452" fmla="*/ 427634 h 873747"/>
                <a:gd name="connsiteX453" fmla="*/ 258596 w 596154"/>
                <a:gd name="connsiteY453" fmla="*/ 427117 h 873747"/>
                <a:gd name="connsiteX454" fmla="*/ 256528 w 596154"/>
                <a:gd name="connsiteY454" fmla="*/ 427634 h 873747"/>
                <a:gd name="connsiteX455" fmla="*/ 255624 w 596154"/>
                <a:gd name="connsiteY455" fmla="*/ 427634 h 873747"/>
                <a:gd name="connsiteX456" fmla="*/ 255365 w 596154"/>
                <a:gd name="connsiteY456" fmla="*/ 426858 h 873747"/>
                <a:gd name="connsiteX457" fmla="*/ 249421 w 596154"/>
                <a:gd name="connsiteY457" fmla="*/ 423498 h 873747"/>
                <a:gd name="connsiteX458" fmla="*/ 250196 w 596154"/>
                <a:gd name="connsiteY458" fmla="*/ 423498 h 873747"/>
                <a:gd name="connsiteX459" fmla="*/ 246965 w 596154"/>
                <a:gd name="connsiteY459" fmla="*/ 422206 h 873747"/>
                <a:gd name="connsiteX460" fmla="*/ 242959 w 596154"/>
                <a:gd name="connsiteY460" fmla="*/ 421947 h 873747"/>
                <a:gd name="connsiteX461" fmla="*/ 234688 w 596154"/>
                <a:gd name="connsiteY461" fmla="*/ 422852 h 873747"/>
                <a:gd name="connsiteX462" fmla="*/ 234042 w 596154"/>
                <a:gd name="connsiteY462" fmla="*/ 422594 h 873747"/>
                <a:gd name="connsiteX463" fmla="*/ 233396 w 596154"/>
                <a:gd name="connsiteY463" fmla="*/ 422594 h 873747"/>
                <a:gd name="connsiteX464" fmla="*/ 232491 w 596154"/>
                <a:gd name="connsiteY464" fmla="*/ 422723 h 873747"/>
                <a:gd name="connsiteX465" fmla="*/ 231845 w 596154"/>
                <a:gd name="connsiteY465" fmla="*/ 423240 h 873747"/>
                <a:gd name="connsiteX466" fmla="*/ 230423 w 596154"/>
                <a:gd name="connsiteY466" fmla="*/ 425049 h 873747"/>
                <a:gd name="connsiteX467" fmla="*/ 229648 w 596154"/>
                <a:gd name="connsiteY467" fmla="*/ 425307 h 873747"/>
                <a:gd name="connsiteX468" fmla="*/ 227451 w 596154"/>
                <a:gd name="connsiteY468" fmla="*/ 425695 h 873747"/>
                <a:gd name="connsiteX469" fmla="*/ 225383 w 596154"/>
                <a:gd name="connsiteY469" fmla="*/ 426858 h 873747"/>
                <a:gd name="connsiteX470" fmla="*/ 222669 w 596154"/>
                <a:gd name="connsiteY470" fmla="*/ 427763 h 873747"/>
                <a:gd name="connsiteX471" fmla="*/ 218792 w 596154"/>
                <a:gd name="connsiteY471" fmla="*/ 428797 h 873747"/>
                <a:gd name="connsiteX472" fmla="*/ 217242 w 596154"/>
                <a:gd name="connsiteY472" fmla="*/ 428668 h 873747"/>
                <a:gd name="connsiteX473" fmla="*/ 216983 w 596154"/>
                <a:gd name="connsiteY473" fmla="*/ 428280 h 873747"/>
                <a:gd name="connsiteX474" fmla="*/ 216724 w 596154"/>
                <a:gd name="connsiteY474" fmla="*/ 427504 h 873747"/>
                <a:gd name="connsiteX475" fmla="*/ 216208 w 596154"/>
                <a:gd name="connsiteY475" fmla="*/ 426729 h 873747"/>
                <a:gd name="connsiteX476" fmla="*/ 215045 w 596154"/>
                <a:gd name="connsiteY476" fmla="*/ 426471 h 873747"/>
                <a:gd name="connsiteX477" fmla="*/ 213494 w 596154"/>
                <a:gd name="connsiteY477" fmla="*/ 428151 h 873747"/>
                <a:gd name="connsiteX478" fmla="*/ 212848 w 596154"/>
                <a:gd name="connsiteY478" fmla="*/ 428668 h 873747"/>
                <a:gd name="connsiteX479" fmla="*/ 211168 w 596154"/>
                <a:gd name="connsiteY479" fmla="*/ 429055 h 873747"/>
                <a:gd name="connsiteX480" fmla="*/ 208066 w 596154"/>
                <a:gd name="connsiteY480" fmla="*/ 429314 h 873747"/>
                <a:gd name="connsiteX481" fmla="*/ 206903 w 596154"/>
                <a:gd name="connsiteY481" fmla="*/ 430218 h 873747"/>
                <a:gd name="connsiteX482" fmla="*/ 206386 w 596154"/>
                <a:gd name="connsiteY482" fmla="*/ 431381 h 873747"/>
                <a:gd name="connsiteX483" fmla="*/ 205998 w 596154"/>
                <a:gd name="connsiteY483" fmla="*/ 434742 h 873747"/>
                <a:gd name="connsiteX484" fmla="*/ 205481 w 596154"/>
                <a:gd name="connsiteY484" fmla="*/ 436034 h 873747"/>
                <a:gd name="connsiteX485" fmla="*/ 202767 w 596154"/>
                <a:gd name="connsiteY485" fmla="*/ 434095 h 873747"/>
                <a:gd name="connsiteX486" fmla="*/ 202509 w 596154"/>
                <a:gd name="connsiteY486" fmla="*/ 433837 h 873747"/>
                <a:gd name="connsiteX487" fmla="*/ 201475 w 596154"/>
                <a:gd name="connsiteY487" fmla="*/ 434225 h 873747"/>
                <a:gd name="connsiteX488" fmla="*/ 200570 w 596154"/>
                <a:gd name="connsiteY488" fmla="*/ 435000 h 873747"/>
                <a:gd name="connsiteX489" fmla="*/ 200183 w 596154"/>
                <a:gd name="connsiteY489" fmla="*/ 435646 h 873747"/>
                <a:gd name="connsiteX490" fmla="*/ 201217 w 596154"/>
                <a:gd name="connsiteY490" fmla="*/ 436422 h 873747"/>
                <a:gd name="connsiteX491" fmla="*/ 201992 w 596154"/>
                <a:gd name="connsiteY491" fmla="*/ 437455 h 873747"/>
                <a:gd name="connsiteX492" fmla="*/ 202380 w 596154"/>
                <a:gd name="connsiteY492" fmla="*/ 438360 h 873747"/>
                <a:gd name="connsiteX493" fmla="*/ 202121 w 596154"/>
                <a:gd name="connsiteY493" fmla="*/ 438877 h 873747"/>
                <a:gd name="connsiteX494" fmla="*/ 200700 w 596154"/>
                <a:gd name="connsiteY494" fmla="*/ 438748 h 873747"/>
                <a:gd name="connsiteX495" fmla="*/ 199795 w 596154"/>
                <a:gd name="connsiteY495" fmla="*/ 438619 h 873747"/>
                <a:gd name="connsiteX496" fmla="*/ 200312 w 596154"/>
                <a:gd name="connsiteY496" fmla="*/ 438102 h 873747"/>
                <a:gd name="connsiteX497" fmla="*/ 199020 w 596154"/>
                <a:gd name="connsiteY497" fmla="*/ 439006 h 873747"/>
                <a:gd name="connsiteX498" fmla="*/ 196823 w 596154"/>
                <a:gd name="connsiteY498" fmla="*/ 441332 h 873747"/>
                <a:gd name="connsiteX499" fmla="*/ 195530 w 596154"/>
                <a:gd name="connsiteY499" fmla="*/ 441849 h 873747"/>
                <a:gd name="connsiteX500" fmla="*/ 194884 w 596154"/>
                <a:gd name="connsiteY500" fmla="*/ 442108 h 873747"/>
                <a:gd name="connsiteX501" fmla="*/ 194496 w 596154"/>
                <a:gd name="connsiteY501" fmla="*/ 443012 h 873747"/>
                <a:gd name="connsiteX502" fmla="*/ 194367 w 596154"/>
                <a:gd name="connsiteY502" fmla="*/ 445080 h 873747"/>
                <a:gd name="connsiteX503" fmla="*/ 194109 w 596154"/>
                <a:gd name="connsiteY503" fmla="*/ 446114 h 873747"/>
                <a:gd name="connsiteX504" fmla="*/ 193592 w 596154"/>
                <a:gd name="connsiteY504" fmla="*/ 446760 h 873747"/>
                <a:gd name="connsiteX505" fmla="*/ 192816 w 596154"/>
                <a:gd name="connsiteY505" fmla="*/ 447148 h 873747"/>
                <a:gd name="connsiteX506" fmla="*/ 192299 w 596154"/>
                <a:gd name="connsiteY506" fmla="*/ 447665 h 873747"/>
                <a:gd name="connsiteX507" fmla="*/ 190749 w 596154"/>
                <a:gd name="connsiteY507" fmla="*/ 450637 h 873747"/>
                <a:gd name="connsiteX508" fmla="*/ 189973 w 596154"/>
                <a:gd name="connsiteY508" fmla="*/ 451671 h 873747"/>
                <a:gd name="connsiteX509" fmla="*/ 187518 w 596154"/>
                <a:gd name="connsiteY509" fmla="*/ 453997 h 873747"/>
                <a:gd name="connsiteX510" fmla="*/ 186484 w 596154"/>
                <a:gd name="connsiteY510" fmla="*/ 454385 h 873747"/>
                <a:gd name="connsiteX511" fmla="*/ 185450 w 596154"/>
                <a:gd name="connsiteY511" fmla="*/ 454514 h 873747"/>
                <a:gd name="connsiteX512" fmla="*/ 184545 w 596154"/>
                <a:gd name="connsiteY512" fmla="*/ 454902 h 873747"/>
                <a:gd name="connsiteX513" fmla="*/ 181315 w 596154"/>
                <a:gd name="connsiteY513" fmla="*/ 463690 h 873747"/>
                <a:gd name="connsiteX514" fmla="*/ 180281 w 596154"/>
                <a:gd name="connsiteY514" fmla="*/ 465370 h 873747"/>
                <a:gd name="connsiteX515" fmla="*/ 179376 w 596154"/>
                <a:gd name="connsiteY515" fmla="*/ 466016 h 873747"/>
                <a:gd name="connsiteX516" fmla="*/ 175887 w 596154"/>
                <a:gd name="connsiteY516" fmla="*/ 466016 h 873747"/>
                <a:gd name="connsiteX517" fmla="*/ 173948 w 596154"/>
                <a:gd name="connsiteY517" fmla="*/ 466533 h 873747"/>
                <a:gd name="connsiteX518" fmla="*/ 172397 w 596154"/>
                <a:gd name="connsiteY518" fmla="*/ 467567 h 873747"/>
                <a:gd name="connsiteX519" fmla="*/ 169425 w 596154"/>
                <a:gd name="connsiteY519" fmla="*/ 467825 h 873747"/>
                <a:gd name="connsiteX520" fmla="*/ 163997 w 596154"/>
                <a:gd name="connsiteY520" fmla="*/ 470151 h 873747"/>
                <a:gd name="connsiteX521" fmla="*/ 158699 w 596154"/>
                <a:gd name="connsiteY521" fmla="*/ 473382 h 873747"/>
                <a:gd name="connsiteX522" fmla="*/ 156372 w 596154"/>
                <a:gd name="connsiteY522" fmla="*/ 476742 h 873747"/>
                <a:gd name="connsiteX523" fmla="*/ 155468 w 596154"/>
                <a:gd name="connsiteY523" fmla="*/ 477647 h 873747"/>
                <a:gd name="connsiteX524" fmla="*/ 150428 w 596154"/>
                <a:gd name="connsiteY524" fmla="*/ 480749 h 873747"/>
                <a:gd name="connsiteX525" fmla="*/ 147585 w 596154"/>
                <a:gd name="connsiteY525" fmla="*/ 485660 h 873747"/>
                <a:gd name="connsiteX526" fmla="*/ 146034 w 596154"/>
                <a:gd name="connsiteY526" fmla="*/ 487469 h 873747"/>
                <a:gd name="connsiteX527" fmla="*/ 145258 w 596154"/>
                <a:gd name="connsiteY527" fmla="*/ 486693 h 873747"/>
                <a:gd name="connsiteX528" fmla="*/ 142028 w 596154"/>
                <a:gd name="connsiteY528" fmla="*/ 488632 h 873747"/>
                <a:gd name="connsiteX529" fmla="*/ 140477 w 596154"/>
                <a:gd name="connsiteY529" fmla="*/ 489924 h 873747"/>
                <a:gd name="connsiteX530" fmla="*/ 139443 w 596154"/>
                <a:gd name="connsiteY530" fmla="*/ 491863 h 873747"/>
                <a:gd name="connsiteX531" fmla="*/ 138409 w 596154"/>
                <a:gd name="connsiteY531" fmla="*/ 495094 h 873747"/>
                <a:gd name="connsiteX532" fmla="*/ 137634 w 596154"/>
                <a:gd name="connsiteY532" fmla="*/ 496127 h 873747"/>
                <a:gd name="connsiteX533" fmla="*/ 135695 w 596154"/>
                <a:gd name="connsiteY533" fmla="*/ 496903 h 873747"/>
                <a:gd name="connsiteX534" fmla="*/ 132981 w 596154"/>
                <a:gd name="connsiteY534" fmla="*/ 494447 h 873747"/>
                <a:gd name="connsiteX535" fmla="*/ 131430 w 596154"/>
                <a:gd name="connsiteY535" fmla="*/ 493414 h 873747"/>
                <a:gd name="connsiteX536" fmla="*/ 130267 w 596154"/>
                <a:gd name="connsiteY536" fmla="*/ 493672 h 873747"/>
                <a:gd name="connsiteX537" fmla="*/ 128975 w 596154"/>
                <a:gd name="connsiteY537" fmla="*/ 494447 h 873747"/>
                <a:gd name="connsiteX538" fmla="*/ 127683 w 596154"/>
                <a:gd name="connsiteY538" fmla="*/ 494706 h 873747"/>
                <a:gd name="connsiteX539" fmla="*/ 126132 w 596154"/>
                <a:gd name="connsiteY539" fmla="*/ 494318 h 873747"/>
                <a:gd name="connsiteX540" fmla="*/ 124710 w 596154"/>
                <a:gd name="connsiteY540" fmla="*/ 493284 h 873747"/>
                <a:gd name="connsiteX541" fmla="*/ 120316 w 596154"/>
                <a:gd name="connsiteY541" fmla="*/ 496386 h 873747"/>
                <a:gd name="connsiteX542" fmla="*/ 119670 w 596154"/>
                <a:gd name="connsiteY542" fmla="*/ 497291 h 873747"/>
                <a:gd name="connsiteX543" fmla="*/ 119024 w 596154"/>
                <a:gd name="connsiteY543" fmla="*/ 498712 h 873747"/>
                <a:gd name="connsiteX544" fmla="*/ 117732 w 596154"/>
                <a:gd name="connsiteY544" fmla="*/ 498841 h 873747"/>
                <a:gd name="connsiteX545" fmla="*/ 116569 w 596154"/>
                <a:gd name="connsiteY545" fmla="*/ 498712 h 873747"/>
                <a:gd name="connsiteX546" fmla="*/ 115922 w 596154"/>
                <a:gd name="connsiteY546" fmla="*/ 499488 h 873747"/>
                <a:gd name="connsiteX547" fmla="*/ 115664 w 596154"/>
                <a:gd name="connsiteY547" fmla="*/ 501038 h 873747"/>
                <a:gd name="connsiteX548" fmla="*/ 114889 w 596154"/>
                <a:gd name="connsiteY548" fmla="*/ 501943 h 873747"/>
                <a:gd name="connsiteX549" fmla="*/ 110882 w 596154"/>
                <a:gd name="connsiteY549" fmla="*/ 503235 h 873747"/>
                <a:gd name="connsiteX550" fmla="*/ 104033 w 596154"/>
                <a:gd name="connsiteY550" fmla="*/ 506595 h 873747"/>
                <a:gd name="connsiteX551" fmla="*/ 102482 w 596154"/>
                <a:gd name="connsiteY551" fmla="*/ 507112 h 873747"/>
                <a:gd name="connsiteX552" fmla="*/ 94340 w 596154"/>
                <a:gd name="connsiteY552" fmla="*/ 508663 h 873747"/>
                <a:gd name="connsiteX553" fmla="*/ 86457 w 596154"/>
                <a:gd name="connsiteY553" fmla="*/ 511765 h 873747"/>
                <a:gd name="connsiteX554" fmla="*/ 82063 w 596154"/>
                <a:gd name="connsiteY554" fmla="*/ 512799 h 873747"/>
                <a:gd name="connsiteX555" fmla="*/ 75343 w 596154"/>
                <a:gd name="connsiteY555" fmla="*/ 513186 h 873747"/>
                <a:gd name="connsiteX556" fmla="*/ 73146 w 596154"/>
                <a:gd name="connsiteY556" fmla="*/ 514091 h 873747"/>
                <a:gd name="connsiteX557" fmla="*/ 67331 w 596154"/>
                <a:gd name="connsiteY557" fmla="*/ 518873 h 873747"/>
                <a:gd name="connsiteX558" fmla="*/ 58413 w 596154"/>
                <a:gd name="connsiteY558" fmla="*/ 523525 h 873747"/>
                <a:gd name="connsiteX559" fmla="*/ 54537 w 596154"/>
                <a:gd name="connsiteY559" fmla="*/ 526497 h 873747"/>
                <a:gd name="connsiteX560" fmla="*/ 52081 w 596154"/>
                <a:gd name="connsiteY560" fmla="*/ 530891 h 873747"/>
                <a:gd name="connsiteX561" fmla="*/ 50660 w 596154"/>
                <a:gd name="connsiteY561" fmla="*/ 538645 h 873747"/>
                <a:gd name="connsiteX562" fmla="*/ 48721 w 596154"/>
                <a:gd name="connsiteY562" fmla="*/ 543685 h 873747"/>
                <a:gd name="connsiteX563" fmla="*/ 48463 w 596154"/>
                <a:gd name="connsiteY563" fmla="*/ 545624 h 873747"/>
                <a:gd name="connsiteX564" fmla="*/ 48204 w 596154"/>
                <a:gd name="connsiteY564" fmla="*/ 546141 h 873747"/>
                <a:gd name="connsiteX565" fmla="*/ 47946 w 596154"/>
                <a:gd name="connsiteY565" fmla="*/ 546399 h 873747"/>
                <a:gd name="connsiteX566" fmla="*/ 47170 w 596154"/>
                <a:gd name="connsiteY566" fmla="*/ 546658 h 873747"/>
                <a:gd name="connsiteX567" fmla="*/ 46912 w 596154"/>
                <a:gd name="connsiteY567" fmla="*/ 546916 h 873747"/>
                <a:gd name="connsiteX568" fmla="*/ 47041 w 596154"/>
                <a:gd name="connsiteY568" fmla="*/ 547562 h 873747"/>
                <a:gd name="connsiteX569" fmla="*/ 47558 w 596154"/>
                <a:gd name="connsiteY569" fmla="*/ 548467 h 873747"/>
                <a:gd name="connsiteX570" fmla="*/ 47687 w 596154"/>
                <a:gd name="connsiteY570" fmla="*/ 549113 h 873747"/>
                <a:gd name="connsiteX571" fmla="*/ 46912 w 596154"/>
                <a:gd name="connsiteY571" fmla="*/ 552861 h 873747"/>
                <a:gd name="connsiteX572" fmla="*/ 46265 w 596154"/>
                <a:gd name="connsiteY572" fmla="*/ 552086 h 873747"/>
                <a:gd name="connsiteX573" fmla="*/ 46136 w 596154"/>
                <a:gd name="connsiteY573" fmla="*/ 554024 h 873747"/>
                <a:gd name="connsiteX574" fmla="*/ 45749 w 596154"/>
                <a:gd name="connsiteY574" fmla="*/ 555833 h 873747"/>
                <a:gd name="connsiteX575" fmla="*/ 45490 w 596154"/>
                <a:gd name="connsiteY575" fmla="*/ 557384 h 873747"/>
                <a:gd name="connsiteX576" fmla="*/ 46265 w 596154"/>
                <a:gd name="connsiteY576" fmla="*/ 558676 h 873747"/>
                <a:gd name="connsiteX577" fmla="*/ 46265 w 596154"/>
                <a:gd name="connsiteY577" fmla="*/ 559323 h 873747"/>
                <a:gd name="connsiteX578" fmla="*/ 45490 w 596154"/>
                <a:gd name="connsiteY578" fmla="*/ 560227 h 873747"/>
                <a:gd name="connsiteX579" fmla="*/ 45878 w 596154"/>
                <a:gd name="connsiteY579" fmla="*/ 560873 h 873747"/>
                <a:gd name="connsiteX580" fmla="*/ 46653 w 596154"/>
                <a:gd name="connsiteY580" fmla="*/ 561520 h 873747"/>
                <a:gd name="connsiteX581" fmla="*/ 46912 w 596154"/>
                <a:gd name="connsiteY581" fmla="*/ 562295 h 873747"/>
                <a:gd name="connsiteX582" fmla="*/ 46524 w 596154"/>
                <a:gd name="connsiteY582" fmla="*/ 563070 h 873747"/>
                <a:gd name="connsiteX583" fmla="*/ 45232 w 596154"/>
                <a:gd name="connsiteY583" fmla="*/ 563717 h 873747"/>
                <a:gd name="connsiteX584" fmla="*/ 44715 w 596154"/>
                <a:gd name="connsiteY584" fmla="*/ 564492 h 873747"/>
                <a:gd name="connsiteX585" fmla="*/ 44715 w 596154"/>
                <a:gd name="connsiteY585" fmla="*/ 569661 h 873747"/>
                <a:gd name="connsiteX586" fmla="*/ 43293 w 596154"/>
                <a:gd name="connsiteY586" fmla="*/ 577803 h 873747"/>
                <a:gd name="connsiteX587" fmla="*/ 42776 w 596154"/>
                <a:gd name="connsiteY587" fmla="*/ 578837 h 873747"/>
                <a:gd name="connsiteX588" fmla="*/ 41613 w 596154"/>
                <a:gd name="connsiteY588" fmla="*/ 580129 h 873747"/>
                <a:gd name="connsiteX589" fmla="*/ 41096 w 596154"/>
                <a:gd name="connsiteY589" fmla="*/ 580775 h 873747"/>
                <a:gd name="connsiteX590" fmla="*/ 39675 w 596154"/>
                <a:gd name="connsiteY590" fmla="*/ 584782 h 873747"/>
                <a:gd name="connsiteX591" fmla="*/ 39287 w 596154"/>
                <a:gd name="connsiteY591" fmla="*/ 585428 h 873747"/>
                <a:gd name="connsiteX592" fmla="*/ 37736 w 596154"/>
                <a:gd name="connsiteY592" fmla="*/ 586462 h 873747"/>
                <a:gd name="connsiteX593" fmla="*/ 35927 w 596154"/>
                <a:gd name="connsiteY593" fmla="*/ 588013 h 873747"/>
                <a:gd name="connsiteX594" fmla="*/ 35410 w 596154"/>
                <a:gd name="connsiteY594" fmla="*/ 588400 h 873747"/>
                <a:gd name="connsiteX595" fmla="*/ 35022 w 596154"/>
                <a:gd name="connsiteY595" fmla="*/ 589046 h 873747"/>
                <a:gd name="connsiteX596" fmla="*/ 34505 w 596154"/>
                <a:gd name="connsiteY596" fmla="*/ 590468 h 873747"/>
                <a:gd name="connsiteX597" fmla="*/ 34505 w 596154"/>
                <a:gd name="connsiteY597" fmla="*/ 591502 h 873747"/>
                <a:gd name="connsiteX598" fmla="*/ 34634 w 596154"/>
                <a:gd name="connsiteY598" fmla="*/ 593699 h 873747"/>
                <a:gd name="connsiteX599" fmla="*/ 34505 w 596154"/>
                <a:gd name="connsiteY599" fmla="*/ 594733 h 873747"/>
                <a:gd name="connsiteX600" fmla="*/ 31533 w 596154"/>
                <a:gd name="connsiteY600" fmla="*/ 600419 h 873747"/>
                <a:gd name="connsiteX601" fmla="*/ 31145 w 596154"/>
                <a:gd name="connsiteY601" fmla="*/ 601453 h 873747"/>
                <a:gd name="connsiteX602" fmla="*/ 30111 w 596154"/>
                <a:gd name="connsiteY602" fmla="*/ 602357 h 873747"/>
                <a:gd name="connsiteX603" fmla="*/ 28561 w 596154"/>
                <a:gd name="connsiteY603" fmla="*/ 604296 h 873747"/>
                <a:gd name="connsiteX604" fmla="*/ 26493 w 596154"/>
                <a:gd name="connsiteY604" fmla="*/ 608044 h 873747"/>
                <a:gd name="connsiteX605" fmla="*/ 25976 w 596154"/>
                <a:gd name="connsiteY605" fmla="*/ 617090 h 873747"/>
                <a:gd name="connsiteX606" fmla="*/ 24813 w 596154"/>
                <a:gd name="connsiteY606" fmla="*/ 621742 h 873747"/>
                <a:gd name="connsiteX607" fmla="*/ 21323 w 596154"/>
                <a:gd name="connsiteY607" fmla="*/ 624198 h 873747"/>
                <a:gd name="connsiteX608" fmla="*/ 21323 w 596154"/>
                <a:gd name="connsiteY608" fmla="*/ 624973 h 873747"/>
                <a:gd name="connsiteX609" fmla="*/ 23391 w 596154"/>
                <a:gd name="connsiteY609" fmla="*/ 625619 h 873747"/>
                <a:gd name="connsiteX610" fmla="*/ 23133 w 596154"/>
                <a:gd name="connsiteY610" fmla="*/ 626653 h 873747"/>
                <a:gd name="connsiteX611" fmla="*/ 20548 w 596154"/>
                <a:gd name="connsiteY611" fmla="*/ 628592 h 873747"/>
                <a:gd name="connsiteX612" fmla="*/ 19643 w 596154"/>
                <a:gd name="connsiteY612" fmla="*/ 630013 h 873747"/>
                <a:gd name="connsiteX613" fmla="*/ 18351 w 596154"/>
                <a:gd name="connsiteY613" fmla="*/ 634537 h 873747"/>
                <a:gd name="connsiteX614" fmla="*/ 17317 w 596154"/>
                <a:gd name="connsiteY614" fmla="*/ 636733 h 873747"/>
                <a:gd name="connsiteX615" fmla="*/ 16025 w 596154"/>
                <a:gd name="connsiteY615" fmla="*/ 637767 h 873747"/>
                <a:gd name="connsiteX616" fmla="*/ 13311 w 596154"/>
                <a:gd name="connsiteY616" fmla="*/ 639060 h 873747"/>
                <a:gd name="connsiteX617" fmla="*/ 13053 w 596154"/>
                <a:gd name="connsiteY617" fmla="*/ 639189 h 873747"/>
                <a:gd name="connsiteX618" fmla="*/ 11114 w 596154"/>
                <a:gd name="connsiteY618" fmla="*/ 641127 h 873747"/>
                <a:gd name="connsiteX619" fmla="*/ 10726 w 596154"/>
                <a:gd name="connsiteY619" fmla="*/ 641903 h 873747"/>
                <a:gd name="connsiteX620" fmla="*/ 10468 w 596154"/>
                <a:gd name="connsiteY620" fmla="*/ 642678 h 873747"/>
                <a:gd name="connsiteX621" fmla="*/ 10209 w 596154"/>
                <a:gd name="connsiteY621" fmla="*/ 643324 h 873747"/>
                <a:gd name="connsiteX622" fmla="*/ 9563 w 596154"/>
                <a:gd name="connsiteY622" fmla="*/ 644100 h 873747"/>
                <a:gd name="connsiteX623" fmla="*/ 8012 w 596154"/>
                <a:gd name="connsiteY623" fmla="*/ 644229 h 873747"/>
                <a:gd name="connsiteX624" fmla="*/ 5686 w 596154"/>
                <a:gd name="connsiteY624" fmla="*/ 646297 h 873747"/>
                <a:gd name="connsiteX625" fmla="*/ 4135 w 596154"/>
                <a:gd name="connsiteY625" fmla="*/ 649398 h 873747"/>
                <a:gd name="connsiteX626" fmla="*/ 4394 w 596154"/>
                <a:gd name="connsiteY626" fmla="*/ 652242 h 873747"/>
                <a:gd name="connsiteX627" fmla="*/ 2972 w 596154"/>
                <a:gd name="connsiteY627" fmla="*/ 653405 h 873747"/>
                <a:gd name="connsiteX628" fmla="*/ 1551 w 596154"/>
                <a:gd name="connsiteY628" fmla="*/ 655860 h 873747"/>
                <a:gd name="connsiteX629" fmla="*/ 517 w 596154"/>
                <a:gd name="connsiteY629" fmla="*/ 658832 h 873747"/>
                <a:gd name="connsiteX630" fmla="*/ 0 w 596154"/>
                <a:gd name="connsiteY630" fmla="*/ 661417 h 873747"/>
                <a:gd name="connsiteX631" fmla="*/ 905 w 596154"/>
                <a:gd name="connsiteY631" fmla="*/ 664131 h 873747"/>
                <a:gd name="connsiteX632" fmla="*/ 4265 w 596154"/>
                <a:gd name="connsiteY632" fmla="*/ 670463 h 873747"/>
                <a:gd name="connsiteX633" fmla="*/ 4394 w 596154"/>
                <a:gd name="connsiteY633" fmla="*/ 672144 h 873747"/>
                <a:gd name="connsiteX634" fmla="*/ 5169 w 596154"/>
                <a:gd name="connsiteY634" fmla="*/ 674340 h 873747"/>
                <a:gd name="connsiteX635" fmla="*/ 5169 w 596154"/>
                <a:gd name="connsiteY635" fmla="*/ 681707 h 873747"/>
                <a:gd name="connsiteX636" fmla="*/ 5557 w 596154"/>
                <a:gd name="connsiteY636" fmla="*/ 684162 h 873747"/>
                <a:gd name="connsiteX637" fmla="*/ 6074 w 596154"/>
                <a:gd name="connsiteY637" fmla="*/ 685842 h 873747"/>
                <a:gd name="connsiteX638" fmla="*/ 6849 w 596154"/>
                <a:gd name="connsiteY638" fmla="*/ 687005 h 873747"/>
                <a:gd name="connsiteX639" fmla="*/ 8142 w 596154"/>
                <a:gd name="connsiteY639" fmla="*/ 688427 h 873747"/>
                <a:gd name="connsiteX640" fmla="*/ 8142 w 596154"/>
                <a:gd name="connsiteY640" fmla="*/ 689073 h 873747"/>
                <a:gd name="connsiteX641" fmla="*/ 7366 w 596154"/>
                <a:gd name="connsiteY641" fmla="*/ 689719 h 873747"/>
                <a:gd name="connsiteX642" fmla="*/ 7495 w 596154"/>
                <a:gd name="connsiteY642" fmla="*/ 690107 h 873747"/>
                <a:gd name="connsiteX643" fmla="*/ 7883 w 596154"/>
                <a:gd name="connsiteY643" fmla="*/ 690624 h 873747"/>
                <a:gd name="connsiteX644" fmla="*/ 8142 w 596154"/>
                <a:gd name="connsiteY644" fmla="*/ 691399 h 873747"/>
                <a:gd name="connsiteX645" fmla="*/ 8012 w 596154"/>
                <a:gd name="connsiteY645" fmla="*/ 700833 h 873747"/>
                <a:gd name="connsiteX646" fmla="*/ 9175 w 596154"/>
                <a:gd name="connsiteY646" fmla="*/ 704452 h 873747"/>
                <a:gd name="connsiteX647" fmla="*/ 12536 w 596154"/>
                <a:gd name="connsiteY647" fmla="*/ 707554 h 873747"/>
                <a:gd name="connsiteX648" fmla="*/ 15767 w 596154"/>
                <a:gd name="connsiteY648" fmla="*/ 709104 h 873747"/>
                <a:gd name="connsiteX649" fmla="*/ 16542 w 596154"/>
                <a:gd name="connsiteY649" fmla="*/ 709621 h 873747"/>
                <a:gd name="connsiteX650" fmla="*/ 17705 w 596154"/>
                <a:gd name="connsiteY650" fmla="*/ 711560 h 873747"/>
                <a:gd name="connsiteX651" fmla="*/ 18868 w 596154"/>
                <a:gd name="connsiteY651" fmla="*/ 712981 h 873747"/>
                <a:gd name="connsiteX652" fmla="*/ 19385 w 596154"/>
                <a:gd name="connsiteY652" fmla="*/ 715178 h 873747"/>
                <a:gd name="connsiteX653" fmla="*/ 19902 w 596154"/>
                <a:gd name="connsiteY653" fmla="*/ 718797 h 873747"/>
                <a:gd name="connsiteX654" fmla="*/ 19514 w 596154"/>
                <a:gd name="connsiteY654" fmla="*/ 720606 h 873747"/>
                <a:gd name="connsiteX655" fmla="*/ 18739 w 596154"/>
                <a:gd name="connsiteY655" fmla="*/ 722674 h 873747"/>
                <a:gd name="connsiteX656" fmla="*/ 17705 w 596154"/>
                <a:gd name="connsiteY656" fmla="*/ 724483 h 873747"/>
                <a:gd name="connsiteX657" fmla="*/ 16542 w 596154"/>
                <a:gd name="connsiteY657" fmla="*/ 725259 h 873747"/>
                <a:gd name="connsiteX658" fmla="*/ 15508 w 596154"/>
                <a:gd name="connsiteY658" fmla="*/ 726551 h 873747"/>
                <a:gd name="connsiteX659" fmla="*/ 15249 w 596154"/>
                <a:gd name="connsiteY659" fmla="*/ 729394 h 873747"/>
                <a:gd name="connsiteX660" fmla="*/ 15379 w 596154"/>
                <a:gd name="connsiteY660" fmla="*/ 734176 h 873747"/>
                <a:gd name="connsiteX661" fmla="*/ 14603 w 596154"/>
                <a:gd name="connsiteY661" fmla="*/ 743610 h 873747"/>
                <a:gd name="connsiteX662" fmla="*/ 14733 w 596154"/>
                <a:gd name="connsiteY662" fmla="*/ 748650 h 873747"/>
                <a:gd name="connsiteX663" fmla="*/ 16154 w 596154"/>
                <a:gd name="connsiteY663" fmla="*/ 752656 h 873747"/>
                <a:gd name="connsiteX664" fmla="*/ 14345 w 596154"/>
                <a:gd name="connsiteY664" fmla="*/ 755241 h 873747"/>
                <a:gd name="connsiteX665" fmla="*/ 13311 w 596154"/>
                <a:gd name="connsiteY665" fmla="*/ 758730 h 873747"/>
                <a:gd name="connsiteX666" fmla="*/ 12536 w 596154"/>
                <a:gd name="connsiteY666" fmla="*/ 765709 h 873747"/>
                <a:gd name="connsiteX667" fmla="*/ 13569 w 596154"/>
                <a:gd name="connsiteY667" fmla="*/ 773333 h 873747"/>
                <a:gd name="connsiteX668" fmla="*/ 13053 w 596154"/>
                <a:gd name="connsiteY668" fmla="*/ 776952 h 873747"/>
                <a:gd name="connsiteX669" fmla="*/ 9951 w 596154"/>
                <a:gd name="connsiteY669" fmla="*/ 778503 h 873747"/>
                <a:gd name="connsiteX670" fmla="*/ 8659 w 596154"/>
                <a:gd name="connsiteY670" fmla="*/ 779407 h 873747"/>
                <a:gd name="connsiteX671" fmla="*/ 8529 w 596154"/>
                <a:gd name="connsiteY671" fmla="*/ 781604 h 873747"/>
                <a:gd name="connsiteX672" fmla="*/ 8917 w 596154"/>
                <a:gd name="connsiteY672" fmla="*/ 784060 h 873747"/>
                <a:gd name="connsiteX673" fmla="*/ 8788 w 596154"/>
                <a:gd name="connsiteY673" fmla="*/ 785998 h 873747"/>
                <a:gd name="connsiteX674" fmla="*/ 3489 w 596154"/>
                <a:gd name="connsiteY674" fmla="*/ 794528 h 873747"/>
                <a:gd name="connsiteX675" fmla="*/ 2972 w 596154"/>
                <a:gd name="connsiteY675" fmla="*/ 796337 h 873747"/>
                <a:gd name="connsiteX676" fmla="*/ 3748 w 596154"/>
                <a:gd name="connsiteY676" fmla="*/ 797112 h 873747"/>
                <a:gd name="connsiteX677" fmla="*/ 4652 w 596154"/>
                <a:gd name="connsiteY677" fmla="*/ 799051 h 873747"/>
                <a:gd name="connsiteX678" fmla="*/ 4782 w 596154"/>
                <a:gd name="connsiteY678" fmla="*/ 799697 h 873747"/>
                <a:gd name="connsiteX679" fmla="*/ 4782 w 596154"/>
                <a:gd name="connsiteY679" fmla="*/ 800731 h 873747"/>
                <a:gd name="connsiteX680" fmla="*/ 4652 w 596154"/>
                <a:gd name="connsiteY680" fmla="*/ 802152 h 873747"/>
                <a:gd name="connsiteX681" fmla="*/ 3877 w 596154"/>
                <a:gd name="connsiteY681" fmla="*/ 805383 h 873747"/>
                <a:gd name="connsiteX682" fmla="*/ 3619 w 596154"/>
                <a:gd name="connsiteY682" fmla="*/ 807322 h 873747"/>
                <a:gd name="connsiteX683" fmla="*/ 3877 w 596154"/>
                <a:gd name="connsiteY683" fmla="*/ 811199 h 873747"/>
                <a:gd name="connsiteX684" fmla="*/ 16800 w 596154"/>
                <a:gd name="connsiteY684" fmla="*/ 812750 h 873747"/>
                <a:gd name="connsiteX685" fmla="*/ 24037 w 596154"/>
                <a:gd name="connsiteY685" fmla="*/ 812620 h 873747"/>
                <a:gd name="connsiteX686" fmla="*/ 37090 w 596154"/>
                <a:gd name="connsiteY686" fmla="*/ 812491 h 873747"/>
                <a:gd name="connsiteX687" fmla="*/ 40579 w 596154"/>
                <a:gd name="connsiteY687" fmla="*/ 812750 h 873747"/>
                <a:gd name="connsiteX688" fmla="*/ 41613 w 596154"/>
                <a:gd name="connsiteY688" fmla="*/ 813396 h 873747"/>
                <a:gd name="connsiteX689" fmla="*/ 42905 w 596154"/>
                <a:gd name="connsiteY689" fmla="*/ 814559 h 873747"/>
                <a:gd name="connsiteX690" fmla="*/ 49884 w 596154"/>
                <a:gd name="connsiteY690" fmla="*/ 821667 h 873747"/>
                <a:gd name="connsiteX691" fmla="*/ 53503 w 596154"/>
                <a:gd name="connsiteY691" fmla="*/ 826965 h 873747"/>
                <a:gd name="connsiteX692" fmla="*/ 54537 w 596154"/>
                <a:gd name="connsiteY692" fmla="*/ 828904 h 873747"/>
                <a:gd name="connsiteX693" fmla="*/ 54666 w 596154"/>
                <a:gd name="connsiteY693" fmla="*/ 829421 h 873747"/>
                <a:gd name="connsiteX694" fmla="*/ 55183 w 596154"/>
                <a:gd name="connsiteY694" fmla="*/ 831876 h 873747"/>
                <a:gd name="connsiteX695" fmla="*/ 55312 w 596154"/>
                <a:gd name="connsiteY695" fmla="*/ 834590 h 873747"/>
                <a:gd name="connsiteX696" fmla="*/ 55958 w 596154"/>
                <a:gd name="connsiteY696" fmla="*/ 838467 h 873747"/>
                <a:gd name="connsiteX697" fmla="*/ 56087 w 596154"/>
                <a:gd name="connsiteY697" fmla="*/ 838984 h 873747"/>
                <a:gd name="connsiteX698" fmla="*/ 57897 w 596154"/>
                <a:gd name="connsiteY698" fmla="*/ 843249 h 873747"/>
                <a:gd name="connsiteX699" fmla="*/ 58155 w 596154"/>
                <a:gd name="connsiteY699" fmla="*/ 843895 h 873747"/>
                <a:gd name="connsiteX700" fmla="*/ 64487 w 596154"/>
                <a:gd name="connsiteY700" fmla="*/ 851261 h 873747"/>
                <a:gd name="connsiteX701" fmla="*/ 68752 w 596154"/>
                <a:gd name="connsiteY701" fmla="*/ 858628 h 873747"/>
                <a:gd name="connsiteX702" fmla="*/ 70045 w 596154"/>
                <a:gd name="connsiteY702" fmla="*/ 860566 h 873747"/>
                <a:gd name="connsiteX703" fmla="*/ 70691 w 596154"/>
                <a:gd name="connsiteY703" fmla="*/ 861083 h 873747"/>
                <a:gd name="connsiteX704" fmla="*/ 71337 w 596154"/>
                <a:gd name="connsiteY704" fmla="*/ 861341 h 873747"/>
                <a:gd name="connsiteX705" fmla="*/ 72758 w 596154"/>
                <a:gd name="connsiteY705" fmla="*/ 861471 h 873747"/>
                <a:gd name="connsiteX706" fmla="*/ 73792 w 596154"/>
                <a:gd name="connsiteY706" fmla="*/ 861729 h 873747"/>
                <a:gd name="connsiteX707" fmla="*/ 74955 w 596154"/>
                <a:gd name="connsiteY707" fmla="*/ 862246 h 873747"/>
                <a:gd name="connsiteX708" fmla="*/ 78574 w 596154"/>
                <a:gd name="connsiteY708" fmla="*/ 864701 h 873747"/>
                <a:gd name="connsiteX709" fmla="*/ 83485 w 596154"/>
                <a:gd name="connsiteY709" fmla="*/ 865994 h 873747"/>
                <a:gd name="connsiteX710" fmla="*/ 85553 w 596154"/>
                <a:gd name="connsiteY710" fmla="*/ 867157 h 873747"/>
                <a:gd name="connsiteX711" fmla="*/ 89817 w 596154"/>
                <a:gd name="connsiteY711" fmla="*/ 870129 h 873747"/>
                <a:gd name="connsiteX712" fmla="*/ 90334 w 596154"/>
                <a:gd name="connsiteY712" fmla="*/ 870388 h 873747"/>
                <a:gd name="connsiteX713" fmla="*/ 92273 w 596154"/>
                <a:gd name="connsiteY713" fmla="*/ 870775 h 873747"/>
                <a:gd name="connsiteX714" fmla="*/ 97959 w 596154"/>
                <a:gd name="connsiteY714" fmla="*/ 873489 h 873747"/>
                <a:gd name="connsiteX715" fmla="*/ 98864 w 596154"/>
                <a:gd name="connsiteY715" fmla="*/ 873748 h 873747"/>
                <a:gd name="connsiteX716" fmla="*/ 99639 w 596154"/>
                <a:gd name="connsiteY716" fmla="*/ 873748 h 873747"/>
                <a:gd name="connsiteX717" fmla="*/ 100414 w 596154"/>
                <a:gd name="connsiteY717" fmla="*/ 873748 h 873747"/>
                <a:gd name="connsiteX718" fmla="*/ 101707 w 596154"/>
                <a:gd name="connsiteY718" fmla="*/ 873619 h 873747"/>
                <a:gd name="connsiteX719" fmla="*/ 102870 w 596154"/>
                <a:gd name="connsiteY719" fmla="*/ 873231 h 873747"/>
                <a:gd name="connsiteX720" fmla="*/ 103387 w 596154"/>
                <a:gd name="connsiteY720" fmla="*/ 872972 h 873747"/>
                <a:gd name="connsiteX721" fmla="*/ 103775 w 596154"/>
                <a:gd name="connsiteY721" fmla="*/ 872714 h 873747"/>
                <a:gd name="connsiteX722" fmla="*/ 105196 w 596154"/>
                <a:gd name="connsiteY722" fmla="*/ 871680 h 873747"/>
                <a:gd name="connsiteX723" fmla="*/ 106101 w 596154"/>
                <a:gd name="connsiteY723" fmla="*/ 871292 h 873747"/>
                <a:gd name="connsiteX724" fmla="*/ 107135 w 596154"/>
                <a:gd name="connsiteY724" fmla="*/ 870905 h 873747"/>
                <a:gd name="connsiteX725" fmla="*/ 110882 w 596154"/>
                <a:gd name="connsiteY725" fmla="*/ 870258 h 873747"/>
                <a:gd name="connsiteX726" fmla="*/ 112304 w 596154"/>
                <a:gd name="connsiteY726" fmla="*/ 870129 h 873747"/>
                <a:gd name="connsiteX727" fmla="*/ 120833 w 596154"/>
                <a:gd name="connsiteY727" fmla="*/ 871809 h 873747"/>
                <a:gd name="connsiteX728" fmla="*/ 122642 w 596154"/>
                <a:gd name="connsiteY728" fmla="*/ 871939 h 873747"/>
                <a:gd name="connsiteX729" fmla="*/ 123935 w 596154"/>
                <a:gd name="connsiteY729" fmla="*/ 871809 h 873747"/>
                <a:gd name="connsiteX730" fmla="*/ 125098 w 596154"/>
                <a:gd name="connsiteY730" fmla="*/ 871551 h 873747"/>
                <a:gd name="connsiteX731" fmla="*/ 126132 w 596154"/>
                <a:gd name="connsiteY731" fmla="*/ 871163 h 873747"/>
                <a:gd name="connsiteX732" fmla="*/ 127166 w 596154"/>
                <a:gd name="connsiteY732" fmla="*/ 870646 h 873747"/>
                <a:gd name="connsiteX733" fmla="*/ 127553 w 596154"/>
                <a:gd name="connsiteY733" fmla="*/ 870388 h 873747"/>
                <a:gd name="connsiteX734" fmla="*/ 127941 w 596154"/>
                <a:gd name="connsiteY734" fmla="*/ 870000 h 873747"/>
                <a:gd name="connsiteX735" fmla="*/ 128200 w 596154"/>
                <a:gd name="connsiteY735" fmla="*/ 869483 h 873747"/>
                <a:gd name="connsiteX736" fmla="*/ 131560 w 596154"/>
                <a:gd name="connsiteY736" fmla="*/ 861471 h 873747"/>
                <a:gd name="connsiteX737" fmla="*/ 131947 w 596154"/>
                <a:gd name="connsiteY737" fmla="*/ 861083 h 873747"/>
                <a:gd name="connsiteX738" fmla="*/ 132594 w 596154"/>
                <a:gd name="connsiteY738" fmla="*/ 860307 h 873747"/>
                <a:gd name="connsiteX739" fmla="*/ 133627 w 596154"/>
                <a:gd name="connsiteY739" fmla="*/ 859791 h 873747"/>
                <a:gd name="connsiteX740" fmla="*/ 137892 w 596154"/>
                <a:gd name="connsiteY740" fmla="*/ 858110 h 873747"/>
                <a:gd name="connsiteX741" fmla="*/ 140864 w 596154"/>
                <a:gd name="connsiteY741" fmla="*/ 857464 h 873747"/>
                <a:gd name="connsiteX742" fmla="*/ 142028 w 596154"/>
                <a:gd name="connsiteY742" fmla="*/ 856947 h 873747"/>
                <a:gd name="connsiteX743" fmla="*/ 142415 w 596154"/>
                <a:gd name="connsiteY743" fmla="*/ 856689 h 873747"/>
                <a:gd name="connsiteX744" fmla="*/ 142803 w 596154"/>
                <a:gd name="connsiteY744" fmla="*/ 856431 h 873747"/>
                <a:gd name="connsiteX745" fmla="*/ 143191 w 596154"/>
                <a:gd name="connsiteY745" fmla="*/ 856043 h 873747"/>
                <a:gd name="connsiteX746" fmla="*/ 143578 w 596154"/>
                <a:gd name="connsiteY746" fmla="*/ 855526 h 873747"/>
                <a:gd name="connsiteX747" fmla="*/ 144095 w 596154"/>
                <a:gd name="connsiteY747" fmla="*/ 854621 h 873747"/>
                <a:gd name="connsiteX748" fmla="*/ 145258 w 596154"/>
                <a:gd name="connsiteY748" fmla="*/ 851907 h 873747"/>
                <a:gd name="connsiteX749" fmla="*/ 145517 w 596154"/>
                <a:gd name="connsiteY749" fmla="*/ 851520 h 873747"/>
                <a:gd name="connsiteX750" fmla="*/ 145905 w 596154"/>
                <a:gd name="connsiteY750" fmla="*/ 851132 h 873747"/>
                <a:gd name="connsiteX751" fmla="*/ 146421 w 596154"/>
                <a:gd name="connsiteY751" fmla="*/ 850873 h 873747"/>
                <a:gd name="connsiteX752" fmla="*/ 147455 w 596154"/>
                <a:gd name="connsiteY752" fmla="*/ 850486 h 873747"/>
                <a:gd name="connsiteX753" fmla="*/ 149135 w 596154"/>
                <a:gd name="connsiteY753" fmla="*/ 849969 h 873747"/>
                <a:gd name="connsiteX754" fmla="*/ 149652 w 596154"/>
                <a:gd name="connsiteY754" fmla="*/ 849710 h 873747"/>
                <a:gd name="connsiteX755" fmla="*/ 150040 w 596154"/>
                <a:gd name="connsiteY755" fmla="*/ 849452 h 873747"/>
                <a:gd name="connsiteX756" fmla="*/ 150816 w 596154"/>
                <a:gd name="connsiteY756" fmla="*/ 848676 h 873747"/>
                <a:gd name="connsiteX757" fmla="*/ 152754 w 596154"/>
                <a:gd name="connsiteY757" fmla="*/ 846092 h 873747"/>
                <a:gd name="connsiteX758" fmla="*/ 153142 w 596154"/>
                <a:gd name="connsiteY758" fmla="*/ 845704 h 873747"/>
                <a:gd name="connsiteX759" fmla="*/ 154046 w 596154"/>
                <a:gd name="connsiteY759" fmla="*/ 845187 h 873747"/>
                <a:gd name="connsiteX760" fmla="*/ 154563 w 596154"/>
                <a:gd name="connsiteY760" fmla="*/ 844929 h 873747"/>
                <a:gd name="connsiteX761" fmla="*/ 155726 w 596154"/>
                <a:gd name="connsiteY761" fmla="*/ 844670 h 873747"/>
                <a:gd name="connsiteX762" fmla="*/ 159216 w 596154"/>
                <a:gd name="connsiteY762" fmla="*/ 844283 h 873747"/>
                <a:gd name="connsiteX763" fmla="*/ 162446 w 596154"/>
                <a:gd name="connsiteY763" fmla="*/ 843378 h 873747"/>
                <a:gd name="connsiteX764" fmla="*/ 165419 w 596154"/>
                <a:gd name="connsiteY764" fmla="*/ 841827 h 873747"/>
                <a:gd name="connsiteX765" fmla="*/ 166711 w 596154"/>
                <a:gd name="connsiteY765" fmla="*/ 840922 h 873747"/>
                <a:gd name="connsiteX766" fmla="*/ 167228 w 596154"/>
                <a:gd name="connsiteY766" fmla="*/ 840664 h 873747"/>
                <a:gd name="connsiteX767" fmla="*/ 168650 w 596154"/>
                <a:gd name="connsiteY767" fmla="*/ 840535 h 873747"/>
                <a:gd name="connsiteX768" fmla="*/ 178859 w 596154"/>
                <a:gd name="connsiteY768" fmla="*/ 841698 h 873747"/>
                <a:gd name="connsiteX769" fmla="*/ 186225 w 596154"/>
                <a:gd name="connsiteY769" fmla="*/ 844670 h 873747"/>
                <a:gd name="connsiteX770" fmla="*/ 187389 w 596154"/>
                <a:gd name="connsiteY770" fmla="*/ 844929 h 873747"/>
                <a:gd name="connsiteX771" fmla="*/ 188293 w 596154"/>
                <a:gd name="connsiteY771" fmla="*/ 845058 h 873747"/>
                <a:gd name="connsiteX772" fmla="*/ 188939 w 596154"/>
                <a:gd name="connsiteY772" fmla="*/ 844929 h 873747"/>
                <a:gd name="connsiteX773" fmla="*/ 196693 w 596154"/>
                <a:gd name="connsiteY773" fmla="*/ 842344 h 873747"/>
                <a:gd name="connsiteX774" fmla="*/ 197727 w 596154"/>
                <a:gd name="connsiteY774" fmla="*/ 841827 h 873747"/>
                <a:gd name="connsiteX775" fmla="*/ 199407 w 596154"/>
                <a:gd name="connsiteY775" fmla="*/ 840535 h 873747"/>
                <a:gd name="connsiteX776" fmla="*/ 200958 w 596154"/>
                <a:gd name="connsiteY776" fmla="*/ 838725 h 873747"/>
                <a:gd name="connsiteX777" fmla="*/ 212977 w 596154"/>
                <a:gd name="connsiteY777" fmla="*/ 825802 h 873747"/>
                <a:gd name="connsiteX778" fmla="*/ 214011 w 596154"/>
                <a:gd name="connsiteY778" fmla="*/ 825156 h 873747"/>
                <a:gd name="connsiteX779" fmla="*/ 214528 w 596154"/>
                <a:gd name="connsiteY779" fmla="*/ 825027 h 873747"/>
                <a:gd name="connsiteX780" fmla="*/ 215820 w 596154"/>
                <a:gd name="connsiteY780" fmla="*/ 825027 h 873747"/>
                <a:gd name="connsiteX781" fmla="*/ 216983 w 596154"/>
                <a:gd name="connsiteY781" fmla="*/ 825285 h 873747"/>
                <a:gd name="connsiteX782" fmla="*/ 217758 w 596154"/>
                <a:gd name="connsiteY782" fmla="*/ 825414 h 873747"/>
                <a:gd name="connsiteX783" fmla="*/ 218792 w 596154"/>
                <a:gd name="connsiteY783" fmla="*/ 825156 h 873747"/>
                <a:gd name="connsiteX784" fmla="*/ 220214 w 596154"/>
                <a:gd name="connsiteY784" fmla="*/ 824510 h 873747"/>
                <a:gd name="connsiteX785" fmla="*/ 220860 w 596154"/>
                <a:gd name="connsiteY785" fmla="*/ 823993 h 873747"/>
                <a:gd name="connsiteX786" fmla="*/ 221248 w 596154"/>
                <a:gd name="connsiteY786" fmla="*/ 823347 h 873747"/>
                <a:gd name="connsiteX787" fmla="*/ 221635 w 596154"/>
                <a:gd name="connsiteY787" fmla="*/ 822184 h 873747"/>
                <a:gd name="connsiteX788" fmla="*/ 222152 w 596154"/>
                <a:gd name="connsiteY788" fmla="*/ 818694 h 873747"/>
                <a:gd name="connsiteX789" fmla="*/ 222411 w 596154"/>
                <a:gd name="connsiteY789" fmla="*/ 817919 h 873747"/>
                <a:gd name="connsiteX790" fmla="*/ 222928 w 596154"/>
                <a:gd name="connsiteY790" fmla="*/ 817402 h 873747"/>
                <a:gd name="connsiteX791" fmla="*/ 224866 w 596154"/>
                <a:gd name="connsiteY791" fmla="*/ 816368 h 873747"/>
                <a:gd name="connsiteX792" fmla="*/ 225512 w 596154"/>
                <a:gd name="connsiteY792" fmla="*/ 815851 h 873747"/>
                <a:gd name="connsiteX793" fmla="*/ 225900 w 596154"/>
                <a:gd name="connsiteY793" fmla="*/ 815334 h 873747"/>
                <a:gd name="connsiteX794" fmla="*/ 226417 w 596154"/>
                <a:gd name="connsiteY794" fmla="*/ 814300 h 873747"/>
                <a:gd name="connsiteX795" fmla="*/ 227192 w 596154"/>
                <a:gd name="connsiteY795" fmla="*/ 810940 h 873747"/>
                <a:gd name="connsiteX796" fmla="*/ 228356 w 596154"/>
                <a:gd name="connsiteY796" fmla="*/ 808356 h 873747"/>
                <a:gd name="connsiteX797" fmla="*/ 232233 w 596154"/>
                <a:gd name="connsiteY797" fmla="*/ 802669 h 873747"/>
                <a:gd name="connsiteX798" fmla="*/ 232362 w 596154"/>
                <a:gd name="connsiteY798" fmla="*/ 802152 h 873747"/>
                <a:gd name="connsiteX799" fmla="*/ 232620 w 596154"/>
                <a:gd name="connsiteY799" fmla="*/ 800731 h 873747"/>
                <a:gd name="connsiteX800" fmla="*/ 233266 w 596154"/>
                <a:gd name="connsiteY800" fmla="*/ 798922 h 873747"/>
                <a:gd name="connsiteX801" fmla="*/ 233654 w 596154"/>
                <a:gd name="connsiteY801" fmla="*/ 798405 h 873747"/>
                <a:gd name="connsiteX802" fmla="*/ 234171 w 596154"/>
                <a:gd name="connsiteY802" fmla="*/ 798017 h 873747"/>
                <a:gd name="connsiteX803" fmla="*/ 235722 w 596154"/>
                <a:gd name="connsiteY803" fmla="*/ 797112 h 873747"/>
                <a:gd name="connsiteX804" fmla="*/ 236885 w 596154"/>
                <a:gd name="connsiteY804" fmla="*/ 796208 h 873747"/>
                <a:gd name="connsiteX805" fmla="*/ 237531 w 596154"/>
                <a:gd name="connsiteY805" fmla="*/ 795561 h 873747"/>
                <a:gd name="connsiteX806" fmla="*/ 237919 w 596154"/>
                <a:gd name="connsiteY806" fmla="*/ 794915 h 873747"/>
                <a:gd name="connsiteX807" fmla="*/ 237919 w 596154"/>
                <a:gd name="connsiteY807" fmla="*/ 794269 h 873747"/>
                <a:gd name="connsiteX808" fmla="*/ 237919 w 596154"/>
                <a:gd name="connsiteY808" fmla="*/ 790909 h 873747"/>
                <a:gd name="connsiteX809" fmla="*/ 238048 w 596154"/>
                <a:gd name="connsiteY809" fmla="*/ 789875 h 873747"/>
                <a:gd name="connsiteX810" fmla="*/ 238436 w 596154"/>
                <a:gd name="connsiteY810" fmla="*/ 788841 h 873747"/>
                <a:gd name="connsiteX811" fmla="*/ 238824 w 596154"/>
                <a:gd name="connsiteY811" fmla="*/ 788195 h 873747"/>
                <a:gd name="connsiteX812" fmla="*/ 242571 w 596154"/>
                <a:gd name="connsiteY812" fmla="*/ 783930 h 873747"/>
                <a:gd name="connsiteX813" fmla="*/ 243476 w 596154"/>
                <a:gd name="connsiteY813" fmla="*/ 782250 h 873747"/>
                <a:gd name="connsiteX814" fmla="*/ 244122 w 596154"/>
                <a:gd name="connsiteY814" fmla="*/ 780829 h 873747"/>
                <a:gd name="connsiteX815" fmla="*/ 244380 w 596154"/>
                <a:gd name="connsiteY815" fmla="*/ 778890 h 873747"/>
                <a:gd name="connsiteX816" fmla="*/ 244380 w 596154"/>
                <a:gd name="connsiteY816" fmla="*/ 777469 h 873747"/>
                <a:gd name="connsiteX817" fmla="*/ 244122 w 596154"/>
                <a:gd name="connsiteY817" fmla="*/ 775401 h 873747"/>
                <a:gd name="connsiteX818" fmla="*/ 243734 w 596154"/>
                <a:gd name="connsiteY818" fmla="*/ 773721 h 873747"/>
                <a:gd name="connsiteX819" fmla="*/ 242830 w 596154"/>
                <a:gd name="connsiteY819" fmla="*/ 771653 h 873747"/>
                <a:gd name="connsiteX820" fmla="*/ 242959 w 596154"/>
                <a:gd name="connsiteY820" fmla="*/ 770619 h 873747"/>
                <a:gd name="connsiteX821" fmla="*/ 243347 w 596154"/>
                <a:gd name="connsiteY821" fmla="*/ 769327 h 873747"/>
                <a:gd name="connsiteX822" fmla="*/ 245802 w 596154"/>
                <a:gd name="connsiteY822" fmla="*/ 764029 h 873747"/>
                <a:gd name="connsiteX823" fmla="*/ 246190 w 596154"/>
                <a:gd name="connsiteY823" fmla="*/ 762607 h 873747"/>
                <a:gd name="connsiteX824" fmla="*/ 246448 w 596154"/>
                <a:gd name="connsiteY824" fmla="*/ 760798 h 873747"/>
                <a:gd name="connsiteX825" fmla="*/ 246448 w 596154"/>
                <a:gd name="connsiteY825" fmla="*/ 760152 h 873747"/>
                <a:gd name="connsiteX826" fmla="*/ 246061 w 596154"/>
                <a:gd name="connsiteY826" fmla="*/ 755499 h 873747"/>
                <a:gd name="connsiteX827" fmla="*/ 245544 w 596154"/>
                <a:gd name="connsiteY827" fmla="*/ 753302 h 873747"/>
                <a:gd name="connsiteX828" fmla="*/ 245285 w 596154"/>
                <a:gd name="connsiteY828" fmla="*/ 752785 h 873747"/>
                <a:gd name="connsiteX829" fmla="*/ 245027 w 596154"/>
                <a:gd name="connsiteY829" fmla="*/ 752398 h 873747"/>
                <a:gd name="connsiteX830" fmla="*/ 244639 w 596154"/>
                <a:gd name="connsiteY830" fmla="*/ 752010 h 873747"/>
                <a:gd name="connsiteX831" fmla="*/ 241667 w 596154"/>
                <a:gd name="connsiteY831" fmla="*/ 749813 h 873747"/>
                <a:gd name="connsiteX832" fmla="*/ 240891 w 596154"/>
                <a:gd name="connsiteY832" fmla="*/ 749037 h 873747"/>
                <a:gd name="connsiteX833" fmla="*/ 240633 w 596154"/>
                <a:gd name="connsiteY833" fmla="*/ 748520 h 873747"/>
                <a:gd name="connsiteX834" fmla="*/ 240245 w 596154"/>
                <a:gd name="connsiteY834" fmla="*/ 747487 h 873747"/>
                <a:gd name="connsiteX835" fmla="*/ 239728 w 596154"/>
                <a:gd name="connsiteY835" fmla="*/ 745677 h 873747"/>
                <a:gd name="connsiteX836" fmla="*/ 239599 w 596154"/>
                <a:gd name="connsiteY836" fmla="*/ 742963 h 873747"/>
                <a:gd name="connsiteX837" fmla="*/ 239211 w 596154"/>
                <a:gd name="connsiteY837" fmla="*/ 740508 h 873747"/>
                <a:gd name="connsiteX838" fmla="*/ 235980 w 596154"/>
                <a:gd name="connsiteY838" fmla="*/ 731332 h 873747"/>
                <a:gd name="connsiteX839" fmla="*/ 235980 w 596154"/>
                <a:gd name="connsiteY839" fmla="*/ 730816 h 873747"/>
                <a:gd name="connsiteX840" fmla="*/ 235722 w 596154"/>
                <a:gd name="connsiteY840" fmla="*/ 730299 h 873747"/>
                <a:gd name="connsiteX841" fmla="*/ 235464 w 596154"/>
                <a:gd name="connsiteY841" fmla="*/ 729782 h 873747"/>
                <a:gd name="connsiteX842" fmla="*/ 234817 w 596154"/>
                <a:gd name="connsiteY842" fmla="*/ 729006 h 873747"/>
                <a:gd name="connsiteX843" fmla="*/ 234430 w 596154"/>
                <a:gd name="connsiteY843" fmla="*/ 728619 h 873747"/>
                <a:gd name="connsiteX844" fmla="*/ 234042 w 596154"/>
                <a:gd name="connsiteY844" fmla="*/ 728231 h 873747"/>
                <a:gd name="connsiteX845" fmla="*/ 232879 w 596154"/>
                <a:gd name="connsiteY845" fmla="*/ 726422 h 873747"/>
                <a:gd name="connsiteX846" fmla="*/ 232233 w 596154"/>
                <a:gd name="connsiteY846" fmla="*/ 725646 h 873747"/>
                <a:gd name="connsiteX847" fmla="*/ 230682 w 596154"/>
                <a:gd name="connsiteY847" fmla="*/ 723578 h 873747"/>
                <a:gd name="connsiteX848" fmla="*/ 230294 w 596154"/>
                <a:gd name="connsiteY848" fmla="*/ 722932 h 873747"/>
                <a:gd name="connsiteX849" fmla="*/ 229777 w 596154"/>
                <a:gd name="connsiteY849" fmla="*/ 720735 h 873747"/>
                <a:gd name="connsiteX850" fmla="*/ 230294 w 596154"/>
                <a:gd name="connsiteY850" fmla="*/ 717246 h 873747"/>
                <a:gd name="connsiteX851" fmla="*/ 230940 w 596154"/>
                <a:gd name="connsiteY851" fmla="*/ 715954 h 873747"/>
                <a:gd name="connsiteX852" fmla="*/ 231328 w 596154"/>
                <a:gd name="connsiteY852" fmla="*/ 715695 h 873747"/>
                <a:gd name="connsiteX853" fmla="*/ 232233 w 596154"/>
                <a:gd name="connsiteY853" fmla="*/ 715307 h 873747"/>
                <a:gd name="connsiteX854" fmla="*/ 236368 w 596154"/>
                <a:gd name="connsiteY854" fmla="*/ 715437 h 873747"/>
                <a:gd name="connsiteX855" fmla="*/ 238565 w 596154"/>
                <a:gd name="connsiteY855" fmla="*/ 715824 h 873747"/>
                <a:gd name="connsiteX856" fmla="*/ 242830 w 596154"/>
                <a:gd name="connsiteY856" fmla="*/ 717117 h 873747"/>
                <a:gd name="connsiteX857" fmla="*/ 243993 w 596154"/>
                <a:gd name="connsiteY857" fmla="*/ 717246 h 873747"/>
                <a:gd name="connsiteX858" fmla="*/ 244768 w 596154"/>
                <a:gd name="connsiteY858" fmla="*/ 717117 h 873747"/>
                <a:gd name="connsiteX859" fmla="*/ 245156 w 596154"/>
                <a:gd name="connsiteY859" fmla="*/ 716858 h 873747"/>
                <a:gd name="connsiteX860" fmla="*/ 245544 w 596154"/>
                <a:gd name="connsiteY860" fmla="*/ 716471 h 873747"/>
                <a:gd name="connsiteX861" fmla="*/ 245931 w 596154"/>
                <a:gd name="connsiteY861" fmla="*/ 716083 h 873747"/>
                <a:gd name="connsiteX862" fmla="*/ 246190 w 596154"/>
                <a:gd name="connsiteY862" fmla="*/ 715695 h 873747"/>
                <a:gd name="connsiteX863" fmla="*/ 246448 w 596154"/>
                <a:gd name="connsiteY863" fmla="*/ 715178 h 873747"/>
                <a:gd name="connsiteX864" fmla="*/ 247353 w 596154"/>
                <a:gd name="connsiteY864" fmla="*/ 711431 h 873747"/>
                <a:gd name="connsiteX865" fmla="*/ 247741 w 596154"/>
                <a:gd name="connsiteY865" fmla="*/ 710267 h 873747"/>
                <a:gd name="connsiteX866" fmla="*/ 248775 w 596154"/>
                <a:gd name="connsiteY866" fmla="*/ 708329 h 873747"/>
                <a:gd name="connsiteX867" fmla="*/ 249291 w 596154"/>
                <a:gd name="connsiteY867" fmla="*/ 707683 h 873747"/>
                <a:gd name="connsiteX868" fmla="*/ 250196 w 596154"/>
                <a:gd name="connsiteY868" fmla="*/ 707037 h 873747"/>
                <a:gd name="connsiteX869" fmla="*/ 252135 w 596154"/>
                <a:gd name="connsiteY869" fmla="*/ 705744 h 873747"/>
                <a:gd name="connsiteX870" fmla="*/ 253298 w 596154"/>
                <a:gd name="connsiteY870" fmla="*/ 705357 h 873747"/>
                <a:gd name="connsiteX871" fmla="*/ 254202 w 596154"/>
                <a:gd name="connsiteY871" fmla="*/ 705357 h 873747"/>
                <a:gd name="connsiteX872" fmla="*/ 257691 w 596154"/>
                <a:gd name="connsiteY872" fmla="*/ 706390 h 873747"/>
                <a:gd name="connsiteX873" fmla="*/ 259630 w 596154"/>
                <a:gd name="connsiteY873" fmla="*/ 707424 h 873747"/>
                <a:gd name="connsiteX874" fmla="*/ 260276 w 596154"/>
                <a:gd name="connsiteY874" fmla="*/ 707554 h 873747"/>
                <a:gd name="connsiteX875" fmla="*/ 261827 w 596154"/>
                <a:gd name="connsiteY875" fmla="*/ 707941 h 873747"/>
                <a:gd name="connsiteX876" fmla="*/ 262990 w 596154"/>
                <a:gd name="connsiteY876" fmla="*/ 707941 h 873747"/>
                <a:gd name="connsiteX877" fmla="*/ 263765 w 596154"/>
                <a:gd name="connsiteY877" fmla="*/ 707812 h 873747"/>
                <a:gd name="connsiteX878" fmla="*/ 264412 w 596154"/>
                <a:gd name="connsiteY878" fmla="*/ 707554 h 873747"/>
                <a:gd name="connsiteX879" fmla="*/ 264929 w 596154"/>
                <a:gd name="connsiteY879" fmla="*/ 707295 h 873747"/>
                <a:gd name="connsiteX880" fmla="*/ 265575 w 596154"/>
                <a:gd name="connsiteY880" fmla="*/ 706649 h 873747"/>
                <a:gd name="connsiteX881" fmla="*/ 265833 w 596154"/>
                <a:gd name="connsiteY881" fmla="*/ 706003 h 873747"/>
                <a:gd name="connsiteX882" fmla="*/ 266479 w 596154"/>
                <a:gd name="connsiteY882" fmla="*/ 704323 h 873747"/>
                <a:gd name="connsiteX883" fmla="*/ 266867 w 596154"/>
                <a:gd name="connsiteY883" fmla="*/ 703676 h 873747"/>
                <a:gd name="connsiteX884" fmla="*/ 267643 w 596154"/>
                <a:gd name="connsiteY884" fmla="*/ 702901 h 873747"/>
                <a:gd name="connsiteX885" fmla="*/ 269323 w 596154"/>
                <a:gd name="connsiteY885" fmla="*/ 701867 h 873747"/>
                <a:gd name="connsiteX886" fmla="*/ 270357 w 596154"/>
                <a:gd name="connsiteY886" fmla="*/ 701738 h 873747"/>
                <a:gd name="connsiteX887" fmla="*/ 271003 w 596154"/>
                <a:gd name="connsiteY887" fmla="*/ 701738 h 873747"/>
                <a:gd name="connsiteX888" fmla="*/ 274104 w 596154"/>
                <a:gd name="connsiteY888" fmla="*/ 704710 h 873747"/>
                <a:gd name="connsiteX889" fmla="*/ 275397 w 596154"/>
                <a:gd name="connsiteY889" fmla="*/ 705615 h 873747"/>
                <a:gd name="connsiteX890" fmla="*/ 275784 w 596154"/>
                <a:gd name="connsiteY890" fmla="*/ 706003 h 873747"/>
                <a:gd name="connsiteX891" fmla="*/ 276043 w 596154"/>
                <a:gd name="connsiteY891" fmla="*/ 706520 h 873747"/>
                <a:gd name="connsiteX892" fmla="*/ 278627 w 596154"/>
                <a:gd name="connsiteY892" fmla="*/ 713498 h 873747"/>
                <a:gd name="connsiteX893" fmla="*/ 278886 w 596154"/>
                <a:gd name="connsiteY893" fmla="*/ 714015 h 873747"/>
                <a:gd name="connsiteX894" fmla="*/ 279144 w 596154"/>
                <a:gd name="connsiteY894" fmla="*/ 714403 h 873747"/>
                <a:gd name="connsiteX895" fmla="*/ 279661 w 596154"/>
                <a:gd name="connsiteY895" fmla="*/ 714791 h 873747"/>
                <a:gd name="connsiteX896" fmla="*/ 280437 w 596154"/>
                <a:gd name="connsiteY896" fmla="*/ 715178 h 873747"/>
                <a:gd name="connsiteX897" fmla="*/ 281729 w 596154"/>
                <a:gd name="connsiteY897" fmla="*/ 715566 h 873747"/>
                <a:gd name="connsiteX898" fmla="*/ 282505 w 596154"/>
                <a:gd name="connsiteY898" fmla="*/ 715437 h 873747"/>
                <a:gd name="connsiteX899" fmla="*/ 283151 w 596154"/>
                <a:gd name="connsiteY899" fmla="*/ 715307 h 873747"/>
                <a:gd name="connsiteX900" fmla="*/ 283668 w 596154"/>
                <a:gd name="connsiteY900" fmla="*/ 715178 h 873747"/>
                <a:gd name="connsiteX901" fmla="*/ 284055 w 596154"/>
                <a:gd name="connsiteY901" fmla="*/ 714791 h 873747"/>
                <a:gd name="connsiteX902" fmla="*/ 284831 w 596154"/>
                <a:gd name="connsiteY902" fmla="*/ 714015 h 873747"/>
                <a:gd name="connsiteX903" fmla="*/ 285218 w 596154"/>
                <a:gd name="connsiteY903" fmla="*/ 713627 h 873747"/>
                <a:gd name="connsiteX904" fmla="*/ 285865 w 596154"/>
                <a:gd name="connsiteY904" fmla="*/ 713240 h 873747"/>
                <a:gd name="connsiteX905" fmla="*/ 286898 w 596154"/>
                <a:gd name="connsiteY905" fmla="*/ 712852 h 873747"/>
                <a:gd name="connsiteX906" fmla="*/ 287803 w 596154"/>
                <a:gd name="connsiteY906" fmla="*/ 712723 h 873747"/>
                <a:gd name="connsiteX907" fmla="*/ 290905 w 596154"/>
                <a:gd name="connsiteY907" fmla="*/ 713111 h 873747"/>
                <a:gd name="connsiteX908" fmla="*/ 292326 w 596154"/>
                <a:gd name="connsiteY908" fmla="*/ 713111 h 873747"/>
                <a:gd name="connsiteX909" fmla="*/ 294394 w 596154"/>
                <a:gd name="connsiteY909" fmla="*/ 712852 h 873747"/>
                <a:gd name="connsiteX910" fmla="*/ 295299 w 596154"/>
                <a:gd name="connsiteY910" fmla="*/ 712723 h 873747"/>
                <a:gd name="connsiteX911" fmla="*/ 296074 w 596154"/>
                <a:gd name="connsiteY911" fmla="*/ 712852 h 873747"/>
                <a:gd name="connsiteX912" fmla="*/ 296591 w 596154"/>
                <a:gd name="connsiteY912" fmla="*/ 713111 h 873747"/>
                <a:gd name="connsiteX913" fmla="*/ 297495 w 596154"/>
                <a:gd name="connsiteY913" fmla="*/ 713886 h 873747"/>
                <a:gd name="connsiteX914" fmla="*/ 298142 w 596154"/>
                <a:gd name="connsiteY914" fmla="*/ 714274 h 873747"/>
                <a:gd name="connsiteX915" fmla="*/ 298788 w 596154"/>
                <a:gd name="connsiteY915" fmla="*/ 714274 h 873747"/>
                <a:gd name="connsiteX916" fmla="*/ 299434 w 596154"/>
                <a:gd name="connsiteY916" fmla="*/ 714144 h 873747"/>
                <a:gd name="connsiteX917" fmla="*/ 299822 w 596154"/>
                <a:gd name="connsiteY917" fmla="*/ 713886 h 873747"/>
                <a:gd name="connsiteX918" fmla="*/ 300080 w 596154"/>
                <a:gd name="connsiteY918" fmla="*/ 713369 h 873747"/>
                <a:gd name="connsiteX919" fmla="*/ 300726 w 596154"/>
                <a:gd name="connsiteY919" fmla="*/ 711689 h 873747"/>
                <a:gd name="connsiteX920" fmla="*/ 300985 w 596154"/>
                <a:gd name="connsiteY920" fmla="*/ 711301 h 873747"/>
                <a:gd name="connsiteX921" fmla="*/ 301373 w 596154"/>
                <a:gd name="connsiteY921" fmla="*/ 710914 h 873747"/>
                <a:gd name="connsiteX922" fmla="*/ 303957 w 596154"/>
                <a:gd name="connsiteY922" fmla="*/ 709750 h 873747"/>
                <a:gd name="connsiteX923" fmla="*/ 305379 w 596154"/>
                <a:gd name="connsiteY923" fmla="*/ 709234 h 873747"/>
                <a:gd name="connsiteX924" fmla="*/ 306283 w 596154"/>
                <a:gd name="connsiteY924" fmla="*/ 709234 h 873747"/>
                <a:gd name="connsiteX925" fmla="*/ 307059 w 596154"/>
                <a:gd name="connsiteY925" fmla="*/ 709363 h 873747"/>
                <a:gd name="connsiteX926" fmla="*/ 309126 w 596154"/>
                <a:gd name="connsiteY926" fmla="*/ 710397 h 873747"/>
                <a:gd name="connsiteX927" fmla="*/ 309643 w 596154"/>
                <a:gd name="connsiteY927" fmla="*/ 710526 h 873747"/>
                <a:gd name="connsiteX928" fmla="*/ 314425 w 596154"/>
                <a:gd name="connsiteY928" fmla="*/ 711560 h 873747"/>
                <a:gd name="connsiteX929" fmla="*/ 314942 w 596154"/>
                <a:gd name="connsiteY929" fmla="*/ 711818 h 873747"/>
                <a:gd name="connsiteX930" fmla="*/ 315330 w 596154"/>
                <a:gd name="connsiteY930" fmla="*/ 712206 h 873747"/>
                <a:gd name="connsiteX931" fmla="*/ 315588 w 596154"/>
                <a:gd name="connsiteY931" fmla="*/ 712723 h 873747"/>
                <a:gd name="connsiteX932" fmla="*/ 315717 w 596154"/>
                <a:gd name="connsiteY932" fmla="*/ 714791 h 873747"/>
                <a:gd name="connsiteX933" fmla="*/ 315976 w 596154"/>
                <a:gd name="connsiteY933" fmla="*/ 715307 h 873747"/>
                <a:gd name="connsiteX934" fmla="*/ 316234 w 596154"/>
                <a:gd name="connsiteY934" fmla="*/ 715824 h 873747"/>
                <a:gd name="connsiteX935" fmla="*/ 316880 w 596154"/>
                <a:gd name="connsiteY935" fmla="*/ 716212 h 873747"/>
                <a:gd name="connsiteX936" fmla="*/ 317527 w 596154"/>
                <a:gd name="connsiteY936" fmla="*/ 716212 h 873747"/>
                <a:gd name="connsiteX937" fmla="*/ 319853 w 596154"/>
                <a:gd name="connsiteY937" fmla="*/ 715824 h 873747"/>
                <a:gd name="connsiteX938" fmla="*/ 320758 w 596154"/>
                <a:gd name="connsiteY938" fmla="*/ 715824 h 873747"/>
                <a:gd name="connsiteX939" fmla="*/ 321404 w 596154"/>
                <a:gd name="connsiteY939" fmla="*/ 715954 h 873747"/>
                <a:gd name="connsiteX940" fmla="*/ 322954 w 596154"/>
                <a:gd name="connsiteY940" fmla="*/ 716729 h 873747"/>
                <a:gd name="connsiteX941" fmla="*/ 325410 w 596154"/>
                <a:gd name="connsiteY941" fmla="*/ 717375 h 873747"/>
                <a:gd name="connsiteX942" fmla="*/ 325927 w 596154"/>
                <a:gd name="connsiteY942" fmla="*/ 717634 h 873747"/>
                <a:gd name="connsiteX943" fmla="*/ 326315 w 596154"/>
                <a:gd name="connsiteY943" fmla="*/ 717892 h 873747"/>
                <a:gd name="connsiteX944" fmla="*/ 326702 w 596154"/>
                <a:gd name="connsiteY944" fmla="*/ 718409 h 873747"/>
                <a:gd name="connsiteX945" fmla="*/ 326832 w 596154"/>
                <a:gd name="connsiteY945" fmla="*/ 718926 h 873747"/>
                <a:gd name="connsiteX946" fmla="*/ 326702 w 596154"/>
                <a:gd name="connsiteY946" fmla="*/ 719443 h 873747"/>
                <a:gd name="connsiteX947" fmla="*/ 326573 w 596154"/>
                <a:gd name="connsiteY947" fmla="*/ 719960 h 873747"/>
                <a:gd name="connsiteX948" fmla="*/ 325798 w 596154"/>
                <a:gd name="connsiteY948" fmla="*/ 721381 h 873747"/>
                <a:gd name="connsiteX949" fmla="*/ 325539 w 596154"/>
                <a:gd name="connsiteY949" fmla="*/ 722545 h 873747"/>
                <a:gd name="connsiteX950" fmla="*/ 325539 w 596154"/>
                <a:gd name="connsiteY950" fmla="*/ 722803 h 873747"/>
                <a:gd name="connsiteX951" fmla="*/ 325539 w 596154"/>
                <a:gd name="connsiteY951" fmla="*/ 723061 h 873747"/>
                <a:gd name="connsiteX952" fmla="*/ 325668 w 596154"/>
                <a:gd name="connsiteY952" fmla="*/ 723449 h 873747"/>
                <a:gd name="connsiteX953" fmla="*/ 325798 w 596154"/>
                <a:gd name="connsiteY953" fmla="*/ 723837 h 873747"/>
                <a:gd name="connsiteX954" fmla="*/ 326185 w 596154"/>
                <a:gd name="connsiteY954" fmla="*/ 724225 h 873747"/>
                <a:gd name="connsiteX955" fmla="*/ 326573 w 596154"/>
                <a:gd name="connsiteY955" fmla="*/ 724612 h 873747"/>
                <a:gd name="connsiteX956" fmla="*/ 326961 w 596154"/>
                <a:gd name="connsiteY956" fmla="*/ 724871 h 873747"/>
                <a:gd name="connsiteX957" fmla="*/ 327478 w 596154"/>
                <a:gd name="connsiteY957" fmla="*/ 725129 h 873747"/>
                <a:gd name="connsiteX958" fmla="*/ 329933 w 596154"/>
                <a:gd name="connsiteY958" fmla="*/ 725646 h 873747"/>
                <a:gd name="connsiteX959" fmla="*/ 335232 w 596154"/>
                <a:gd name="connsiteY959" fmla="*/ 728231 h 873747"/>
                <a:gd name="connsiteX960" fmla="*/ 335878 w 596154"/>
                <a:gd name="connsiteY960" fmla="*/ 728360 h 873747"/>
                <a:gd name="connsiteX961" fmla="*/ 336395 w 596154"/>
                <a:gd name="connsiteY961" fmla="*/ 728102 h 873747"/>
                <a:gd name="connsiteX962" fmla="*/ 337170 w 596154"/>
                <a:gd name="connsiteY962" fmla="*/ 727455 h 873747"/>
                <a:gd name="connsiteX963" fmla="*/ 337558 w 596154"/>
                <a:gd name="connsiteY963" fmla="*/ 727068 h 873747"/>
                <a:gd name="connsiteX964" fmla="*/ 338463 w 596154"/>
                <a:gd name="connsiteY964" fmla="*/ 726551 h 873747"/>
                <a:gd name="connsiteX965" fmla="*/ 339496 w 596154"/>
                <a:gd name="connsiteY965" fmla="*/ 726163 h 873747"/>
                <a:gd name="connsiteX966" fmla="*/ 340789 w 596154"/>
                <a:gd name="connsiteY966" fmla="*/ 725905 h 873747"/>
                <a:gd name="connsiteX967" fmla="*/ 342469 w 596154"/>
                <a:gd name="connsiteY967" fmla="*/ 725905 h 873747"/>
                <a:gd name="connsiteX968" fmla="*/ 345700 w 596154"/>
                <a:gd name="connsiteY968" fmla="*/ 725259 h 873747"/>
                <a:gd name="connsiteX969" fmla="*/ 348801 w 596154"/>
                <a:gd name="connsiteY969" fmla="*/ 725517 h 873747"/>
                <a:gd name="connsiteX970" fmla="*/ 353195 w 596154"/>
                <a:gd name="connsiteY970" fmla="*/ 726163 h 873747"/>
                <a:gd name="connsiteX971" fmla="*/ 354229 w 596154"/>
                <a:gd name="connsiteY971" fmla="*/ 726422 h 873747"/>
                <a:gd name="connsiteX972" fmla="*/ 354617 w 596154"/>
                <a:gd name="connsiteY972" fmla="*/ 726680 h 873747"/>
                <a:gd name="connsiteX973" fmla="*/ 356426 w 596154"/>
                <a:gd name="connsiteY973" fmla="*/ 728619 h 873747"/>
                <a:gd name="connsiteX974" fmla="*/ 356943 w 596154"/>
                <a:gd name="connsiteY974" fmla="*/ 729135 h 873747"/>
                <a:gd name="connsiteX975" fmla="*/ 357718 w 596154"/>
                <a:gd name="connsiteY975" fmla="*/ 729523 h 873747"/>
                <a:gd name="connsiteX976" fmla="*/ 358881 w 596154"/>
                <a:gd name="connsiteY976" fmla="*/ 730040 h 873747"/>
                <a:gd name="connsiteX977" fmla="*/ 359657 w 596154"/>
                <a:gd name="connsiteY977" fmla="*/ 730040 h 873747"/>
                <a:gd name="connsiteX978" fmla="*/ 360174 w 596154"/>
                <a:gd name="connsiteY978" fmla="*/ 729782 h 873747"/>
                <a:gd name="connsiteX979" fmla="*/ 360561 w 596154"/>
                <a:gd name="connsiteY979" fmla="*/ 729523 h 873747"/>
                <a:gd name="connsiteX980" fmla="*/ 361079 w 596154"/>
                <a:gd name="connsiteY980" fmla="*/ 728489 h 873747"/>
                <a:gd name="connsiteX981" fmla="*/ 361595 w 596154"/>
                <a:gd name="connsiteY981" fmla="*/ 727455 h 873747"/>
                <a:gd name="connsiteX982" fmla="*/ 362629 w 596154"/>
                <a:gd name="connsiteY982" fmla="*/ 723061 h 873747"/>
                <a:gd name="connsiteX983" fmla="*/ 362888 w 596154"/>
                <a:gd name="connsiteY983" fmla="*/ 722545 h 873747"/>
                <a:gd name="connsiteX984" fmla="*/ 363146 w 596154"/>
                <a:gd name="connsiteY984" fmla="*/ 722157 h 873747"/>
                <a:gd name="connsiteX985" fmla="*/ 363663 w 596154"/>
                <a:gd name="connsiteY985" fmla="*/ 721769 h 873747"/>
                <a:gd name="connsiteX986" fmla="*/ 364697 w 596154"/>
                <a:gd name="connsiteY986" fmla="*/ 721381 h 873747"/>
                <a:gd name="connsiteX987" fmla="*/ 365343 w 596154"/>
                <a:gd name="connsiteY987" fmla="*/ 721381 h 873747"/>
                <a:gd name="connsiteX988" fmla="*/ 365989 w 596154"/>
                <a:gd name="connsiteY988" fmla="*/ 721511 h 873747"/>
                <a:gd name="connsiteX989" fmla="*/ 367153 w 596154"/>
                <a:gd name="connsiteY989" fmla="*/ 721898 h 873747"/>
                <a:gd name="connsiteX990" fmla="*/ 372192 w 596154"/>
                <a:gd name="connsiteY990" fmla="*/ 722803 h 873747"/>
                <a:gd name="connsiteX991" fmla="*/ 374002 w 596154"/>
                <a:gd name="connsiteY991" fmla="*/ 722932 h 873747"/>
                <a:gd name="connsiteX992" fmla="*/ 374131 w 596154"/>
                <a:gd name="connsiteY992" fmla="*/ 722803 h 873747"/>
                <a:gd name="connsiteX993" fmla="*/ 374519 w 596154"/>
                <a:gd name="connsiteY993" fmla="*/ 722545 h 873747"/>
                <a:gd name="connsiteX994" fmla="*/ 374777 w 596154"/>
                <a:gd name="connsiteY994" fmla="*/ 722157 h 873747"/>
                <a:gd name="connsiteX995" fmla="*/ 374906 w 596154"/>
                <a:gd name="connsiteY995" fmla="*/ 721640 h 873747"/>
                <a:gd name="connsiteX996" fmla="*/ 374906 w 596154"/>
                <a:gd name="connsiteY996" fmla="*/ 720348 h 873747"/>
                <a:gd name="connsiteX997" fmla="*/ 375165 w 596154"/>
                <a:gd name="connsiteY997" fmla="*/ 719701 h 873747"/>
                <a:gd name="connsiteX998" fmla="*/ 375940 w 596154"/>
                <a:gd name="connsiteY998" fmla="*/ 719185 h 873747"/>
                <a:gd name="connsiteX999" fmla="*/ 376845 w 596154"/>
                <a:gd name="connsiteY999" fmla="*/ 718151 h 873747"/>
                <a:gd name="connsiteX1000" fmla="*/ 379042 w 596154"/>
                <a:gd name="connsiteY1000" fmla="*/ 714403 h 873747"/>
                <a:gd name="connsiteX1001" fmla="*/ 380076 w 596154"/>
                <a:gd name="connsiteY1001" fmla="*/ 713111 h 873747"/>
                <a:gd name="connsiteX1002" fmla="*/ 380851 w 596154"/>
                <a:gd name="connsiteY1002" fmla="*/ 712335 h 873747"/>
                <a:gd name="connsiteX1003" fmla="*/ 381239 w 596154"/>
                <a:gd name="connsiteY1003" fmla="*/ 712077 h 873747"/>
                <a:gd name="connsiteX1004" fmla="*/ 381756 w 596154"/>
                <a:gd name="connsiteY1004" fmla="*/ 711818 h 873747"/>
                <a:gd name="connsiteX1005" fmla="*/ 384987 w 596154"/>
                <a:gd name="connsiteY1005" fmla="*/ 710784 h 873747"/>
                <a:gd name="connsiteX1006" fmla="*/ 386021 w 596154"/>
                <a:gd name="connsiteY1006" fmla="*/ 710267 h 873747"/>
                <a:gd name="connsiteX1007" fmla="*/ 386925 w 596154"/>
                <a:gd name="connsiteY1007" fmla="*/ 709750 h 873747"/>
                <a:gd name="connsiteX1008" fmla="*/ 387184 w 596154"/>
                <a:gd name="connsiteY1008" fmla="*/ 709492 h 873747"/>
                <a:gd name="connsiteX1009" fmla="*/ 387442 w 596154"/>
                <a:gd name="connsiteY1009" fmla="*/ 709234 h 873747"/>
                <a:gd name="connsiteX1010" fmla="*/ 387701 w 596154"/>
                <a:gd name="connsiteY1010" fmla="*/ 708846 h 873747"/>
                <a:gd name="connsiteX1011" fmla="*/ 387830 w 596154"/>
                <a:gd name="connsiteY1011" fmla="*/ 708458 h 873747"/>
                <a:gd name="connsiteX1012" fmla="*/ 388605 w 596154"/>
                <a:gd name="connsiteY1012" fmla="*/ 706132 h 873747"/>
                <a:gd name="connsiteX1013" fmla="*/ 389122 w 596154"/>
                <a:gd name="connsiteY1013" fmla="*/ 705227 h 873747"/>
                <a:gd name="connsiteX1014" fmla="*/ 390156 w 596154"/>
                <a:gd name="connsiteY1014" fmla="*/ 704064 h 873747"/>
                <a:gd name="connsiteX1015" fmla="*/ 390931 w 596154"/>
                <a:gd name="connsiteY1015" fmla="*/ 703418 h 873747"/>
                <a:gd name="connsiteX1016" fmla="*/ 392094 w 596154"/>
                <a:gd name="connsiteY1016" fmla="*/ 702643 h 873747"/>
                <a:gd name="connsiteX1017" fmla="*/ 393128 w 596154"/>
                <a:gd name="connsiteY1017" fmla="*/ 702255 h 873747"/>
                <a:gd name="connsiteX1018" fmla="*/ 393775 w 596154"/>
                <a:gd name="connsiteY1018" fmla="*/ 702255 h 873747"/>
                <a:gd name="connsiteX1019" fmla="*/ 394421 w 596154"/>
                <a:gd name="connsiteY1019" fmla="*/ 702384 h 873747"/>
                <a:gd name="connsiteX1020" fmla="*/ 395842 w 596154"/>
                <a:gd name="connsiteY1020" fmla="*/ 703030 h 873747"/>
                <a:gd name="connsiteX1021" fmla="*/ 397134 w 596154"/>
                <a:gd name="connsiteY1021" fmla="*/ 703289 h 873747"/>
                <a:gd name="connsiteX1022" fmla="*/ 397910 w 596154"/>
                <a:gd name="connsiteY1022" fmla="*/ 703289 h 873747"/>
                <a:gd name="connsiteX1023" fmla="*/ 410187 w 596154"/>
                <a:gd name="connsiteY1023" fmla="*/ 700833 h 873747"/>
                <a:gd name="connsiteX1024" fmla="*/ 411221 w 596154"/>
                <a:gd name="connsiteY1024" fmla="*/ 700316 h 873747"/>
                <a:gd name="connsiteX1025" fmla="*/ 413806 w 596154"/>
                <a:gd name="connsiteY1025" fmla="*/ 699283 h 873747"/>
                <a:gd name="connsiteX1026" fmla="*/ 414710 w 596154"/>
                <a:gd name="connsiteY1026" fmla="*/ 698766 h 873747"/>
                <a:gd name="connsiteX1027" fmla="*/ 415615 w 596154"/>
                <a:gd name="connsiteY1027" fmla="*/ 698119 h 873747"/>
                <a:gd name="connsiteX1028" fmla="*/ 418587 w 596154"/>
                <a:gd name="connsiteY1028" fmla="*/ 694242 h 873747"/>
                <a:gd name="connsiteX1029" fmla="*/ 419363 w 596154"/>
                <a:gd name="connsiteY1029" fmla="*/ 692950 h 873747"/>
                <a:gd name="connsiteX1030" fmla="*/ 419880 w 596154"/>
                <a:gd name="connsiteY1030" fmla="*/ 692433 h 873747"/>
                <a:gd name="connsiteX1031" fmla="*/ 420526 w 596154"/>
                <a:gd name="connsiteY1031" fmla="*/ 691916 h 873747"/>
                <a:gd name="connsiteX1032" fmla="*/ 421689 w 596154"/>
                <a:gd name="connsiteY1032" fmla="*/ 691399 h 873747"/>
                <a:gd name="connsiteX1033" fmla="*/ 422464 w 596154"/>
                <a:gd name="connsiteY1033" fmla="*/ 691399 h 873747"/>
                <a:gd name="connsiteX1034" fmla="*/ 422981 w 596154"/>
                <a:gd name="connsiteY1034" fmla="*/ 691658 h 873747"/>
                <a:gd name="connsiteX1035" fmla="*/ 423757 w 596154"/>
                <a:gd name="connsiteY1035" fmla="*/ 692562 h 873747"/>
                <a:gd name="connsiteX1036" fmla="*/ 424532 w 596154"/>
                <a:gd name="connsiteY1036" fmla="*/ 692950 h 873747"/>
                <a:gd name="connsiteX1037" fmla="*/ 424920 w 596154"/>
                <a:gd name="connsiteY1037" fmla="*/ 692821 h 873747"/>
                <a:gd name="connsiteX1038" fmla="*/ 426083 w 596154"/>
                <a:gd name="connsiteY1038" fmla="*/ 692046 h 873747"/>
                <a:gd name="connsiteX1039" fmla="*/ 426988 w 596154"/>
                <a:gd name="connsiteY1039" fmla="*/ 691529 h 873747"/>
                <a:gd name="connsiteX1040" fmla="*/ 427634 w 596154"/>
                <a:gd name="connsiteY1040" fmla="*/ 691529 h 873747"/>
                <a:gd name="connsiteX1041" fmla="*/ 428151 w 596154"/>
                <a:gd name="connsiteY1041" fmla="*/ 691787 h 873747"/>
                <a:gd name="connsiteX1042" fmla="*/ 429055 w 596154"/>
                <a:gd name="connsiteY1042" fmla="*/ 692304 h 873747"/>
                <a:gd name="connsiteX1043" fmla="*/ 429702 w 596154"/>
                <a:gd name="connsiteY1043" fmla="*/ 692562 h 873747"/>
                <a:gd name="connsiteX1044" fmla="*/ 430348 w 596154"/>
                <a:gd name="connsiteY1044" fmla="*/ 692821 h 873747"/>
                <a:gd name="connsiteX1045" fmla="*/ 431382 w 596154"/>
                <a:gd name="connsiteY1045" fmla="*/ 693079 h 873747"/>
                <a:gd name="connsiteX1046" fmla="*/ 432028 w 596154"/>
                <a:gd name="connsiteY1046" fmla="*/ 692950 h 873747"/>
                <a:gd name="connsiteX1047" fmla="*/ 432674 w 596154"/>
                <a:gd name="connsiteY1047" fmla="*/ 692562 h 873747"/>
                <a:gd name="connsiteX1048" fmla="*/ 433061 w 596154"/>
                <a:gd name="connsiteY1048" fmla="*/ 692304 h 873747"/>
                <a:gd name="connsiteX1049" fmla="*/ 433837 w 596154"/>
                <a:gd name="connsiteY1049" fmla="*/ 691916 h 873747"/>
                <a:gd name="connsiteX1050" fmla="*/ 434483 w 596154"/>
                <a:gd name="connsiteY1050" fmla="*/ 691787 h 873747"/>
                <a:gd name="connsiteX1051" fmla="*/ 435129 w 596154"/>
                <a:gd name="connsiteY1051" fmla="*/ 691787 h 873747"/>
                <a:gd name="connsiteX1052" fmla="*/ 436292 w 596154"/>
                <a:gd name="connsiteY1052" fmla="*/ 692175 h 873747"/>
                <a:gd name="connsiteX1053" fmla="*/ 436809 w 596154"/>
                <a:gd name="connsiteY1053" fmla="*/ 692433 h 873747"/>
                <a:gd name="connsiteX1054" fmla="*/ 437326 w 596154"/>
                <a:gd name="connsiteY1054" fmla="*/ 692692 h 873747"/>
                <a:gd name="connsiteX1055" fmla="*/ 437714 w 596154"/>
                <a:gd name="connsiteY1055" fmla="*/ 692950 h 873747"/>
                <a:gd name="connsiteX1056" fmla="*/ 437972 w 596154"/>
                <a:gd name="connsiteY1056" fmla="*/ 693467 h 873747"/>
                <a:gd name="connsiteX1057" fmla="*/ 438360 w 596154"/>
                <a:gd name="connsiteY1057" fmla="*/ 693855 h 873747"/>
                <a:gd name="connsiteX1058" fmla="*/ 439006 w 596154"/>
                <a:gd name="connsiteY1058" fmla="*/ 695406 h 873747"/>
                <a:gd name="connsiteX1059" fmla="*/ 439394 w 596154"/>
                <a:gd name="connsiteY1059" fmla="*/ 695922 h 873747"/>
                <a:gd name="connsiteX1060" fmla="*/ 439911 w 596154"/>
                <a:gd name="connsiteY1060" fmla="*/ 696310 h 873747"/>
                <a:gd name="connsiteX1061" fmla="*/ 441074 w 596154"/>
                <a:gd name="connsiteY1061" fmla="*/ 696569 h 873747"/>
                <a:gd name="connsiteX1062" fmla="*/ 441720 w 596154"/>
                <a:gd name="connsiteY1062" fmla="*/ 696439 h 873747"/>
                <a:gd name="connsiteX1063" fmla="*/ 442237 w 596154"/>
                <a:gd name="connsiteY1063" fmla="*/ 696310 h 873747"/>
                <a:gd name="connsiteX1064" fmla="*/ 443142 w 596154"/>
                <a:gd name="connsiteY1064" fmla="*/ 695664 h 873747"/>
                <a:gd name="connsiteX1065" fmla="*/ 443917 w 596154"/>
                <a:gd name="connsiteY1065" fmla="*/ 694889 h 873747"/>
                <a:gd name="connsiteX1066" fmla="*/ 444951 w 596154"/>
                <a:gd name="connsiteY1066" fmla="*/ 693726 h 873747"/>
                <a:gd name="connsiteX1067" fmla="*/ 447148 w 596154"/>
                <a:gd name="connsiteY1067" fmla="*/ 689073 h 873747"/>
                <a:gd name="connsiteX1068" fmla="*/ 447406 w 596154"/>
                <a:gd name="connsiteY1068" fmla="*/ 688685 h 873747"/>
                <a:gd name="connsiteX1069" fmla="*/ 447665 w 596154"/>
                <a:gd name="connsiteY1069" fmla="*/ 688168 h 873747"/>
                <a:gd name="connsiteX1070" fmla="*/ 448052 w 596154"/>
                <a:gd name="connsiteY1070" fmla="*/ 687781 h 873747"/>
                <a:gd name="connsiteX1071" fmla="*/ 448828 w 596154"/>
                <a:gd name="connsiteY1071" fmla="*/ 687393 h 873747"/>
                <a:gd name="connsiteX1072" fmla="*/ 453222 w 596154"/>
                <a:gd name="connsiteY1072" fmla="*/ 685842 h 873747"/>
                <a:gd name="connsiteX1073" fmla="*/ 453868 w 596154"/>
                <a:gd name="connsiteY1073" fmla="*/ 685325 h 873747"/>
                <a:gd name="connsiteX1074" fmla="*/ 454256 w 596154"/>
                <a:gd name="connsiteY1074" fmla="*/ 684938 h 873747"/>
                <a:gd name="connsiteX1075" fmla="*/ 454514 w 596154"/>
                <a:gd name="connsiteY1075" fmla="*/ 684421 h 873747"/>
                <a:gd name="connsiteX1076" fmla="*/ 454773 w 596154"/>
                <a:gd name="connsiteY1076" fmla="*/ 684033 h 873747"/>
                <a:gd name="connsiteX1077" fmla="*/ 454902 w 596154"/>
                <a:gd name="connsiteY1077" fmla="*/ 683387 h 873747"/>
                <a:gd name="connsiteX1078" fmla="*/ 454773 w 596154"/>
                <a:gd name="connsiteY1078" fmla="*/ 682224 h 873747"/>
                <a:gd name="connsiteX1079" fmla="*/ 454514 w 596154"/>
                <a:gd name="connsiteY1079" fmla="*/ 680414 h 873747"/>
                <a:gd name="connsiteX1080" fmla="*/ 454385 w 596154"/>
                <a:gd name="connsiteY1080" fmla="*/ 674728 h 873747"/>
                <a:gd name="connsiteX1081" fmla="*/ 453351 w 596154"/>
                <a:gd name="connsiteY1081" fmla="*/ 669430 h 873747"/>
                <a:gd name="connsiteX1082" fmla="*/ 453351 w 596154"/>
                <a:gd name="connsiteY1082" fmla="*/ 669171 h 873747"/>
                <a:gd name="connsiteX1083" fmla="*/ 453351 w 596154"/>
                <a:gd name="connsiteY1083" fmla="*/ 668913 h 873747"/>
                <a:gd name="connsiteX1084" fmla="*/ 453480 w 596154"/>
                <a:gd name="connsiteY1084" fmla="*/ 668396 h 873747"/>
                <a:gd name="connsiteX1085" fmla="*/ 453868 w 596154"/>
                <a:gd name="connsiteY1085" fmla="*/ 667879 h 873747"/>
                <a:gd name="connsiteX1086" fmla="*/ 454643 w 596154"/>
                <a:gd name="connsiteY1086" fmla="*/ 667103 h 873747"/>
                <a:gd name="connsiteX1087" fmla="*/ 455548 w 596154"/>
                <a:gd name="connsiteY1087" fmla="*/ 666716 h 873747"/>
                <a:gd name="connsiteX1088" fmla="*/ 456970 w 596154"/>
                <a:gd name="connsiteY1088" fmla="*/ 666457 h 873747"/>
                <a:gd name="connsiteX1089" fmla="*/ 457874 w 596154"/>
                <a:gd name="connsiteY1089" fmla="*/ 666457 h 873747"/>
                <a:gd name="connsiteX1090" fmla="*/ 461622 w 596154"/>
                <a:gd name="connsiteY1090" fmla="*/ 666716 h 873747"/>
                <a:gd name="connsiteX1091" fmla="*/ 462656 w 596154"/>
                <a:gd name="connsiteY1091" fmla="*/ 666587 h 873747"/>
                <a:gd name="connsiteX1092" fmla="*/ 466662 w 596154"/>
                <a:gd name="connsiteY1092" fmla="*/ 665294 h 873747"/>
                <a:gd name="connsiteX1093" fmla="*/ 467567 w 596154"/>
                <a:gd name="connsiteY1093" fmla="*/ 665165 h 873747"/>
                <a:gd name="connsiteX1094" fmla="*/ 468213 w 596154"/>
                <a:gd name="connsiteY1094" fmla="*/ 665036 h 873747"/>
                <a:gd name="connsiteX1095" fmla="*/ 468859 w 596154"/>
                <a:gd name="connsiteY1095" fmla="*/ 665165 h 873747"/>
                <a:gd name="connsiteX1096" fmla="*/ 469376 w 596154"/>
                <a:gd name="connsiteY1096" fmla="*/ 665294 h 873747"/>
                <a:gd name="connsiteX1097" fmla="*/ 469893 w 596154"/>
                <a:gd name="connsiteY1097" fmla="*/ 665553 h 873747"/>
                <a:gd name="connsiteX1098" fmla="*/ 470668 w 596154"/>
                <a:gd name="connsiteY1098" fmla="*/ 665811 h 873747"/>
                <a:gd name="connsiteX1099" fmla="*/ 471444 w 596154"/>
                <a:gd name="connsiteY1099" fmla="*/ 666070 h 873747"/>
                <a:gd name="connsiteX1100" fmla="*/ 472865 w 596154"/>
                <a:gd name="connsiteY1100" fmla="*/ 666199 h 873747"/>
                <a:gd name="connsiteX1101" fmla="*/ 473641 w 596154"/>
                <a:gd name="connsiteY1101" fmla="*/ 666070 h 873747"/>
                <a:gd name="connsiteX1102" fmla="*/ 474287 w 596154"/>
                <a:gd name="connsiteY1102" fmla="*/ 665811 h 873747"/>
                <a:gd name="connsiteX1103" fmla="*/ 474675 w 596154"/>
                <a:gd name="connsiteY1103" fmla="*/ 665553 h 873747"/>
                <a:gd name="connsiteX1104" fmla="*/ 475709 w 596154"/>
                <a:gd name="connsiteY1104" fmla="*/ 664389 h 873747"/>
                <a:gd name="connsiteX1105" fmla="*/ 476613 w 596154"/>
                <a:gd name="connsiteY1105" fmla="*/ 663743 h 873747"/>
                <a:gd name="connsiteX1106" fmla="*/ 479715 w 596154"/>
                <a:gd name="connsiteY1106" fmla="*/ 662063 h 873747"/>
                <a:gd name="connsiteX1107" fmla="*/ 480102 w 596154"/>
                <a:gd name="connsiteY1107" fmla="*/ 661805 h 873747"/>
                <a:gd name="connsiteX1108" fmla="*/ 480361 w 596154"/>
                <a:gd name="connsiteY1108" fmla="*/ 661546 h 873747"/>
                <a:gd name="connsiteX1109" fmla="*/ 480878 w 596154"/>
                <a:gd name="connsiteY1109" fmla="*/ 660642 h 873747"/>
                <a:gd name="connsiteX1110" fmla="*/ 482558 w 596154"/>
                <a:gd name="connsiteY1110" fmla="*/ 655472 h 873747"/>
                <a:gd name="connsiteX1111" fmla="*/ 483075 w 596154"/>
                <a:gd name="connsiteY1111" fmla="*/ 654568 h 873747"/>
                <a:gd name="connsiteX1112" fmla="*/ 486823 w 596154"/>
                <a:gd name="connsiteY1112" fmla="*/ 650949 h 873747"/>
                <a:gd name="connsiteX1113" fmla="*/ 487210 w 596154"/>
                <a:gd name="connsiteY1113" fmla="*/ 650432 h 873747"/>
                <a:gd name="connsiteX1114" fmla="*/ 487986 w 596154"/>
                <a:gd name="connsiteY1114" fmla="*/ 649011 h 873747"/>
                <a:gd name="connsiteX1115" fmla="*/ 488632 w 596154"/>
                <a:gd name="connsiteY1115" fmla="*/ 648235 h 873747"/>
                <a:gd name="connsiteX1116" fmla="*/ 489795 w 596154"/>
                <a:gd name="connsiteY1116" fmla="*/ 647072 h 873747"/>
                <a:gd name="connsiteX1117" fmla="*/ 490053 w 596154"/>
                <a:gd name="connsiteY1117" fmla="*/ 646685 h 873747"/>
                <a:gd name="connsiteX1118" fmla="*/ 490570 w 596154"/>
                <a:gd name="connsiteY1118" fmla="*/ 645651 h 873747"/>
                <a:gd name="connsiteX1119" fmla="*/ 492121 w 596154"/>
                <a:gd name="connsiteY1119" fmla="*/ 641127 h 873747"/>
                <a:gd name="connsiteX1120" fmla="*/ 493543 w 596154"/>
                <a:gd name="connsiteY1120" fmla="*/ 638026 h 873747"/>
                <a:gd name="connsiteX1121" fmla="*/ 503106 w 596154"/>
                <a:gd name="connsiteY1121" fmla="*/ 634020 h 873747"/>
                <a:gd name="connsiteX1122" fmla="*/ 510731 w 596154"/>
                <a:gd name="connsiteY1122" fmla="*/ 629755 h 873747"/>
                <a:gd name="connsiteX1123" fmla="*/ 511248 w 596154"/>
                <a:gd name="connsiteY1123" fmla="*/ 629367 h 873747"/>
                <a:gd name="connsiteX1124" fmla="*/ 511765 w 596154"/>
                <a:gd name="connsiteY1124" fmla="*/ 628721 h 873747"/>
                <a:gd name="connsiteX1125" fmla="*/ 512669 w 596154"/>
                <a:gd name="connsiteY1125" fmla="*/ 627429 h 873747"/>
                <a:gd name="connsiteX1126" fmla="*/ 513445 w 596154"/>
                <a:gd name="connsiteY1126" fmla="*/ 626007 h 873747"/>
                <a:gd name="connsiteX1127" fmla="*/ 514220 w 596154"/>
                <a:gd name="connsiteY1127" fmla="*/ 623810 h 873747"/>
                <a:gd name="connsiteX1128" fmla="*/ 514737 w 596154"/>
                <a:gd name="connsiteY1128" fmla="*/ 622776 h 873747"/>
                <a:gd name="connsiteX1129" fmla="*/ 515125 w 596154"/>
                <a:gd name="connsiteY1129" fmla="*/ 622389 h 873747"/>
                <a:gd name="connsiteX1130" fmla="*/ 516288 w 596154"/>
                <a:gd name="connsiteY1130" fmla="*/ 620579 h 873747"/>
                <a:gd name="connsiteX1131" fmla="*/ 516805 w 596154"/>
                <a:gd name="connsiteY1131" fmla="*/ 620192 h 873747"/>
                <a:gd name="connsiteX1132" fmla="*/ 517580 w 596154"/>
                <a:gd name="connsiteY1132" fmla="*/ 619804 h 873747"/>
                <a:gd name="connsiteX1133" fmla="*/ 519906 w 596154"/>
                <a:gd name="connsiteY1133" fmla="*/ 619158 h 873747"/>
                <a:gd name="connsiteX1134" fmla="*/ 522620 w 596154"/>
                <a:gd name="connsiteY1134" fmla="*/ 618770 h 873747"/>
                <a:gd name="connsiteX1135" fmla="*/ 523137 w 596154"/>
                <a:gd name="connsiteY1135" fmla="*/ 618641 h 873747"/>
                <a:gd name="connsiteX1136" fmla="*/ 523783 w 596154"/>
                <a:gd name="connsiteY1136" fmla="*/ 618382 h 873747"/>
                <a:gd name="connsiteX1137" fmla="*/ 524430 w 596154"/>
                <a:gd name="connsiteY1137" fmla="*/ 617865 h 873747"/>
                <a:gd name="connsiteX1138" fmla="*/ 525334 w 596154"/>
                <a:gd name="connsiteY1138" fmla="*/ 616832 h 873747"/>
                <a:gd name="connsiteX1139" fmla="*/ 525722 w 596154"/>
                <a:gd name="connsiteY1139" fmla="*/ 616185 h 873747"/>
                <a:gd name="connsiteX1140" fmla="*/ 525851 w 596154"/>
                <a:gd name="connsiteY1140" fmla="*/ 615668 h 873747"/>
                <a:gd name="connsiteX1141" fmla="*/ 526110 w 596154"/>
                <a:gd name="connsiteY1141" fmla="*/ 613988 h 873747"/>
                <a:gd name="connsiteX1142" fmla="*/ 526368 w 596154"/>
                <a:gd name="connsiteY1142" fmla="*/ 613213 h 873747"/>
                <a:gd name="connsiteX1143" fmla="*/ 527144 w 596154"/>
                <a:gd name="connsiteY1143" fmla="*/ 612308 h 873747"/>
                <a:gd name="connsiteX1144" fmla="*/ 528694 w 596154"/>
                <a:gd name="connsiteY1144" fmla="*/ 610628 h 873747"/>
                <a:gd name="connsiteX1145" fmla="*/ 529470 w 596154"/>
                <a:gd name="connsiteY1145" fmla="*/ 609724 h 873747"/>
                <a:gd name="connsiteX1146" fmla="*/ 529858 w 596154"/>
                <a:gd name="connsiteY1146" fmla="*/ 608948 h 873747"/>
                <a:gd name="connsiteX1147" fmla="*/ 530245 w 596154"/>
                <a:gd name="connsiteY1147" fmla="*/ 607656 h 873747"/>
                <a:gd name="connsiteX1148" fmla="*/ 530633 w 596154"/>
                <a:gd name="connsiteY1148" fmla="*/ 607139 h 873747"/>
                <a:gd name="connsiteX1149" fmla="*/ 531538 w 596154"/>
                <a:gd name="connsiteY1149" fmla="*/ 606751 h 873747"/>
                <a:gd name="connsiteX1150" fmla="*/ 533347 w 596154"/>
                <a:gd name="connsiteY1150" fmla="*/ 606234 h 873747"/>
                <a:gd name="connsiteX1151" fmla="*/ 534381 w 596154"/>
                <a:gd name="connsiteY1151" fmla="*/ 606234 h 873747"/>
                <a:gd name="connsiteX1152" fmla="*/ 535285 w 596154"/>
                <a:gd name="connsiteY1152" fmla="*/ 606234 h 873747"/>
                <a:gd name="connsiteX1153" fmla="*/ 539550 w 596154"/>
                <a:gd name="connsiteY1153" fmla="*/ 607268 h 873747"/>
                <a:gd name="connsiteX1154" fmla="*/ 540455 w 596154"/>
                <a:gd name="connsiteY1154" fmla="*/ 607656 h 873747"/>
                <a:gd name="connsiteX1155" fmla="*/ 541101 w 596154"/>
                <a:gd name="connsiteY1155" fmla="*/ 608173 h 873747"/>
                <a:gd name="connsiteX1156" fmla="*/ 541488 w 596154"/>
                <a:gd name="connsiteY1156" fmla="*/ 608173 h 873747"/>
                <a:gd name="connsiteX1157" fmla="*/ 542134 w 596154"/>
                <a:gd name="connsiteY1157" fmla="*/ 607914 h 873747"/>
                <a:gd name="connsiteX1158" fmla="*/ 542910 w 596154"/>
                <a:gd name="connsiteY1158" fmla="*/ 607268 h 873747"/>
                <a:gd name="connsiteX1159" fmla="*/ 543944 w 596154"/>
                <a:gd name="connsiteY1159" fmla="*/ 605718 h 873747"/>
                <a:gd name="connsiteX1160" fmla="*/ 544332 w 596154"/>
                <a:gd name="connsiteY1160" fmla="*/ 604684 h 873747"/>
                <a:gd name="connsiteX1161" fmla="*/ 544461 w 596154"/>
                <a:gd name="connsiteY1161" fmla="*/ 603908 h 873747"/>
                <a:gd name="connsiteX1162" fmla="*/ 544461 w 596154"/>
                <a:gd name="connsiteY1162" fmla="*/ 602487 h 873747"/>
                <a:gd name="connsiteX1163" fmla="*/ 545236 w 596154"/>
                <a:gd name="connsiteY1163" fmla="*/ 599514 h 873747"/>
                <a:gd name="connsiteX1164" fmla="*/ 545495 w 596154"/>
                <a:gd name="connsiteY1164" fmla="*/ 598868 h 873747"/>
                <a:gd name="connsiteX1165" fmla="*/ 545882 w 596154"/>
                <a:gd name="connsiteY1165" fmla="*/ 598610 h 873747"/>
                <a:gd name="connsiteX1166" fmla="*/ 546916 w 596154"/>
                <a:gd name="connsiteY1166" fmla="*/ 598610 h 873747"/>
                <a:gd name="connsiteX1167" fmla="*/ 547562 w 596154"/>
                <a:gd name="connsiteY1167" fmla="*/ 598739 h 873747"/>
                <a:gd name="connsiteX1168" fmla="*/ 548079 w 596154"/>
                <a:gd name="connsiteY1168" fmla="*/ 598997 h 873747"/>
                <a:gd name="connsiteX1169" fmla="*/ 549889 w 596154"/>
                <a:gd name="connsiteY1169" fmla="*/ 600160 h 873747"/>
                <a:gd name="connsiteX1170" fmla="*/ 550406 w 596154"/>
                <a:gd name="connsiteY1170" fmla="*/ 600419 h 873747"/>
                <a:gd name="connsiteX1171" fmla="*/ 550923 w 596154"/>
                <a:gd name="connsiteY1171" fmla="*/ 600548 h 873747"/>
                <a:gd name="connsiteX1172" fmla="*/ 551569 w 596154"/>
                <a:gd name="connsiteY1172" fmla="*/ 600419 h 873747"/>
                <a:gd name="connsiteX1173" fmla="*/ 552215 w 596154"/>
                <a:gd name="connsiteY1173" fmla="*/ 599902 h 873747"/>
                <a:gd name="connsiteX1174" fmla="*/ 552732 w 596154"/>
                <a:gd name="connsiteY1174" fmla="*/ 598480 h 873747"/>
                <a:gd name="connsiteX1175" fmla="*/ 553249 w 596154"/>
                <a:gd name="connsiteY1175" fmla="*/ 596800 h 873747"/>
                <a:gd name="connsiteX1176" fmla="*/ 553378 w 596154"/>
                <a:gd name="connsiteY1176" fmla="*/ 596283 h 873747"/>
                <a:gd name="connsiteX1177" fmla="*/ 554541 w 596154"/>
                <a:gd name="connsiteY1177" fmla="*/ 595250 h 873747"/>
                <a:gd name="connsiteX1178" fmla="*/ 557643 w 596154"/>
                <a:gd name="connsiteY1178" fmla="*/ 593570 h 873747"/>
                <a:gd name="connsiteX1179" fmla="*/ 559064 w 596154"/>
                <a:gd name="connsiteY1179" fmla="*/ 590209 h 873747"/>
                <a:gd name="connsiteX1180" fmla="*/ 559193 w 596154"/>
                <a:gd name="connsiteY1180" fmla="*/ 589434 h 873747"/>
                <a:gd name="connsiteX1181" fmla="*/ 559710 w 596154"/>
                <a:gd name="connsiteY1181" fmla="*/ 588529 h 873747"/>
                <a:gd name="connsiteX1182" fmla="*/ 560098 w 596154"/>
                <a:gd name="connsiteY1182" fmla="*/ 587883 h 873747"/>
                <a:gd name="connsiteX1183" fmla="*/ 567077 w 596154"/>
                <a:gd name="connsiteY1183" fmla="*/ 583748 h 873747"/>
                <a:gd name="connsiteX1184" fmla="*/ 567593 w 596154"/>
                <a:gd name="connsiteY1184" fmla="*/ 583231 h 873747"/>
                <a:gd name="connsiteX1185" fmla="*/ 569274 w 596154"/>
                <a:gd name="connsiteY1185" fmla="*/ 581163 h 873747"/>
                <a:gd name="connsiteX1186" fmla="*/ 571341 w 596154"/>
                <a:gd name="connsiteY1186" fmla="*/ 579225 h 873747"/>
                <a:gd name="connsiteX1187" fmla="*/ 573797 w 596154"/>
                <a:gd name="connsiteY1187" fmla="*/ 576511 h 873747"/>
                <a:gd name="connsiteX1188" fmla="*/ 574702 w 596154"/>
                <a:gd name="connsiteY1188" fmla="*/ 576123 h 873747"/>
                <a:gd name="connsiteX1189" fmla="*/ 575477 w 596154"/>
                <a:gd name="connsiteY1189" fmla="*/ 575865 h 873747"/>
                <a:gd name="connsiteX1190" fmla="*/ 575994 w 596154"/>
                <a:gd name="connsiteY1190" fmla="*/ 575865 h 873747"/>
                <a:gd name="connsiteX1191" fmla="*/ 576382 w 596154"/>
                <a:gd name="connsiteY1191" fmla="*/ 575606 h 873747"/>
                <a:gd name="connsiteX1192" fmla="*/ 576769 w 596154"/>
                <a:gd name="connsiteY1192" fmla="*/ 575218 h 873747"/>
                <a:gd name="connsiteX1193" fmla="*/ 577157 w 596154"/>
                <a:gd name="connsiteY1193" fmla="*/ 574831 h 873747"/>
                <a:gd name="connsiteX1194" fmla="*/ 577803 w 596154"/>
                <a:gd name="connsiteY1194" fmla="*/ 574055 h 873747"/>
                <a:gd name="connsiteX1195" fmla="*/ 578578 w 596154"/>
                <a:gd name="connsiteY1195" fmla="*/ 572634 h 873747"/>
                <a:gd name="connsiteX1196" fmla="*/ 582068 w 596154"/>
                <a:gd name="connsiteY1196" fmla="*/ 564750 h 873747"/>
                <a:gd name="connsiteX1197" fmla="*/ 582714 w 596154"/>
                <a:gd name="connsiteY1197" fmla="*/ 560873 h 873747"/>
                <a:gd name="connsiteX1198" fmla="*/ 583489 w 596154"/>
                <a:gd name="connsiteY1198" fmla="*/ 551310 h 873747"/>
                <a:gd name="connsiteX1199" fmla="*/ 582714 w 596154"/>
                <a:gd name="connsiteY1199" fmla="*/ 545365 h 873747"/>
                <a:gd name="connsiteX1200" fmla="*/ 581939 w 596154"/>
                <a:gd name="connsiteY1200" fmla="*/ 543556 h 873747"/>
                <a:gd name="connsiteX1201" fmla="*/ 581292 w 596154"/>
                <a:gd name="connsiteY1201" fmla="*/ 542781 h 873747"/>
                <a:gd name="connsiteX1202" fmla="*/ 579095 w 596154"/>
                <a:gd name="connsiteY1202" fmla="*/ 541101 h 873747"/>
                <a:gd name="connsiteX1203" fmla="*/ 577286 w 596154"/>
                <a:gd name="connsiteY1203" fmla="*/ 539938 h 873747"/>
                <a:gd name="connsiteX1204" fmla="*/ 571083 w 596154"/>
                <a:gd name="connsiteY1204" fmla="*/ 537224 h 873747"/>
                <a:gd name="connsiteX1205" fmla="*/ 570308 w 596154"/>
                <a:gd name="connsiteY1205" fmla="*/ 536578 h 873747"/>
                <a:gd name="connsiteX1206" fmla="*/ 569661 w 596154"/>
                <a:gd name="connsiteY1206" fmla="*/ 535802 h 873747"/>
                <a:gd name="connsiteX1207" fmla="*/ 569661 w 596154"/>
                <a:gd name="connsiteY1207" fmla="*/ 534898 h 873747"/>
                <a:gd name="connsiteX1208" fmla="*/ 569920 w 596154"/>
                <a:gd name="connsiteY1208" fmla="*/ 533605 h 873747"/>
                <a:gd name="connsiteX1209" fmla="*/ 571083 w 596154"/>
                <a:gd name="connsiteY1209" fmla="*/ 531150 h 873747"/>
                <a:gd name="connsiteX1210" fmla="*/ 572375 w 596154"/>
                <a:gd name="connsiteY1210" fmla="*/ 528953 h 873747"/>
                <a:gd name="connsiteX1211" fmla="*/ 572892 w 596154"/>
                <a:gd name="connsiteY1211" fmla="*/ 528565 h 873747"/>
                <a:gd name="connsiteX1212" fmla="*/ 573409 w 596154"/>
                <a:gd name="connsiteY1212" fmla="*/ 527660 h 873747"/>
                <a:gd name="connsiteX1213" fmla="*/ 573667 w 596154"/>
                <a:gd name="connsiteY1213" fmla="*/ 526885 h 873747"/>
                <a:gd name="connsiteX1214" fmla="*/ 573926 w 596154"/>
                <a:gd name="connsiteY1214" fmla="*/ 525980 h 873747"/>
                <a:gd name="connsiteX1215" fmla="*/ 573926 w 596154"/>
                <a:gd name="connsiteY1215" fmla="*/ 523525 h 873747"/>
                <a:gd name="connsiteX1216" fmla="*/ 573926 w 596154"/>
                <a:gd name="connsiteY1216" fmla="*/ 522620 h 873747"/>
                <a:gd name="connsiteX1217" fmla="*/ 573280 w 596154"/>
                <a:gd name="connsiteY1217" fmla="*/ 520423 h 873747"/>
                <a:gd name="connsiteX1218" fmla="*/ 573021 w 596154"/>
                <a:gd name="connsiteY1218" fmla="*/ 519906 h 873747"/>
                <a:gd name="connsiteX1219" fmla="*/ 570824 w 596154"/>
                <a:gd name="connsiteY1219" fmla="*/ 517063 h 873747"/>
                <a:gd name="connsiteX1220" fmla="*/ 566689 w 596154"/>
                <a:gd name="connsiteY1220" fmla="*/ 509309 h 873747"/>
                <a:gd name="connsiteX1221" fmla="*/ 566430 w 596154"/>
                <a:gd name="connsiteY1221" fmla="*/ 508792 h 873747"/>
                <a:gd name="connsiteX1222" fmla="*/ 565914 w 596154"/>
                <a:gd name="connsiteY1222" fmla="*/ 506466 h 873747"/>
                <a:gd name="connsiteX1223" fmla="*/ 565914 w 596154"/>
                <a:gd name="connsiteY1223" fmla="*/ 505691 h 873747"/>
                <a:gd name="connsiteX1224" fmla="*/ 566430 w 596154"/>
                <a:gd name="connsiteY1224" fmla="*/ 500263 h 873747"/>
                <a:gd name="connsiteX1225" fmla="*/ 566689 w 596154"/>
                <a:gd name="connsiteY1225" fmla="*/ 499875 h 873747"/>
                <a:gd name="connsiteX1226" fmla="*/ 566818 w 596154"/>
                <a:gd name="connsiteY1226" fmla="*/ 499488 h 873747"/>
                <a:gd name="connsiteX1227" fmla="*/ 566947 w 596154"/>
                <a:gd name="connsiteY1227" fmla="*/ 499229 h 873747"/>
                <a:gd name="connsiteX1228" fmla="*/ 567335 w 596154"/>
                <a:gd name="connsiteY1228" fmla="*/ 498971 h 873747"/>
                <a:gd name="connsiteX1229" fmla="*/ 567852 w 596154"/>
                <a:gd name="connsiteY1229" fmla="*/ 498454 h 873747"/>
                <a:gd name="connsiteX1230" fmla="*/ 570178 w 596154"/>
                <a:gd name="connsiteY1230" fmla="*/ 497420 h 873747"/>
                <a:gd name="connsiteX1231" fmla="*/ 570954 w 596154"/>
                <a:gd name="connsiteY1231" fmla="*/ 497032 h 873747"/>
                <a:gd name="connsiteX1232" fmla="*/ 582714 w 596154"/>
                <a:gd name="connsiteY1232" fmla="*/ 496127 h 873747"/>
                <a:gd name="connsiteX1233" fmla="*/ 583360 w 596154"/>
                <a:gd name="connsiteY1233" fmla="*/ 489278 h 873747"/>
                <a:gd name="connsiteX1234" fmla="*/ 583102 w 596154"/>
                <a:gd name="connsiteY1234" fmla="*/ 487986 h 873747"/>
                <a:gd name="connsiteX1235" fmla="*/ 582714 w 596154"/>
                <a:gd name="connsiteY1235" fmla="*/ 486435 h 873747"/>
                <a:gd name="connsiteX1236" fmla="*/ 581939 w 596154"/>
                <a:gd name="connsiteY1236" fmla="*/ 485660 h 873747"/>
                <a:gd name="connsiteX1237" fmla="*/ 581034 w 596154"/>
                <a:gd name="connsiteY1237" fmla="*/ 484367 h 873747"/>
                <a:gd name="connsiteX1238" fmla="*/ 579871 w 596154"/>
                <a:gd name="connsiteY1238" fmla="*/ 482687 h 873747"/>
                <a:gd name="connsiteX1239" fmla="*/ 578449 w 596154"/>
                <a:gd name="connsiteY1239" fmla="*/ 478939 h 873747"/>
                <a:gd name="connsiteX1240" fmla="*/ 578061 w 596154"/>
                <a:gd name="connsiteY1240" fmla="*/ 476872 h 873747"/>
                <a:gd name="connsiteX1241" fmla="*/ 578061 w 596154"/>
                <a:gd name="connsiteY1241" fmla="*/ 475192 h 873747"/>
                <a:gd name="connsiteX1242" fmla="*/ 585686 w 596154"/>
                <a:gd name="connsiteY1242" fmla="*/ 454773 h 873747"/>
                <a:gd name="connsiteX1243" fmla="*/ 586074 w 596154"/>
                <a:gd name="connsiteY1243" fmla="*/ 453997 h 873747"/>
                <a:gd name="connsiteX1244" fmla="*/ 593311 w 596154"/>
                <a:gd name="connsiteY1244" fmla="*/ 444046 h 873747"/>
                <a:gd name="connsiteX1245" fmla="*/ 593957 w 596154"/>
                <a:gd name="connsiteY1245" fmla="*/ 442883 h 873747"/>
                <a:gd name="connsiteX1246" fmla="*/ 595637 w 596154"/>
                <a:gd name="connsiteY1246" fmla="*/ 438877 h 873747"/>
                <a:gd name="connsiteX1247" fmla="*/ 596025 w 596154"/>
                <a:gd name="connsiteY1247" fmla="*/ 437197 h 873747"/>
                <a:gd name="connsiteX1248" fmla="*/ 596154 w 596154"/>
                <a:gd name="connsiteY1248" fmla="*/ 435646 h 87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Lst>
              <a:rect l="l" t="t" r="r" b="b"/>
              <a:pathLst>
                <a:path w="596154" h="873747">
                  <a:moveTo>
                    <a:pt x="596025" y="434742"/>
                  </a:moveTo>
                  <a:lnTo>
                    <a:pt x="595767" y="433966"/>
                  </a:lnTo>
                  <a:lnTo>
                    <a:pt x="595120" y="433449"/>
                  </a:lnTo>
                  <a:lnTo>
                    <a:pt x="594087" y="432932"/>
                  </a:lnTo>
                  <a:lnTo>
                    <a:pt x="593182" y="432157"/>
                  </a:lnTo>
                  <a:lnTo>
                    <a:pt x="592665" y="431381"/>
                  </a:lnTo>
                  <a:lnTo>
                    <a:pt x="592148" y="429572"/>
                  </a:lnTo>
                  <a:lnTo>
                    <a:pt x="591114" y="426988"/>
                  </a:lnTo>
                  <a:lnTo>
                    <a:pt x="590209" y="426341"/>
                  </a:lnTo>
                  <a:lnTo>
                    <a:pt x="589176" y="425954"/>
                  </a:lnTo>
                  <a:lnTo>
                    <a:pt x="574314" y="423111"/>
                  </a:lnTo>
                  <a:lnTo>
                    <a:pt x="572634" y="422335"/>
                  </a:lnTo>
                  <a:lnTo>
                    <a:pt x="570178" y="420526"/>
                  </a:lnTo>
                  <a:lnTo>
                    <a:pt x="565784" y="418975"/>
                  </a:lnTo>
                  <a:lnTo>
                    <a:pt x="564363" y="417941"/>
                  </a:lnTo>
                  <a:lnTo>
                    <a:pt x="563458" y="416778"/>
                  </a:lnTo>
                  <a:lnTo>
                    <a:pt x="563200" y="415744"/>
                  </a:lnTo>
                  <a:lnTo>
                    <a:pt x="563587" y="411092"/>
                  </a:lnTo>
                  <a:lnTo>
                    <a:pt x="563329" y="408507"/>
                  </a:lnTo>
                  <a:lnTo>
                    <a:pt x="561132" y="404889"/>
                  </a:lnTo>
                  <a:lnTo>
                    <a:pt x="557643" y="400107"/>
                  </a:lnTo>
                  <a:lnTo>
                    <a:pt x="556609" y="397264"/>
                  </a:lnTo>
                  <a:lnTo>
                    <a:pt x="554929" y="389381"/>
                  </a:lnTo>
                  <a:lnTo>
                    <a:pt x="554929" y="387830"/>
                  </a:lnTo>
                  <a:lnTo>
                    <a:pt x="555704" y="383824"/>
                  </a:lnTo>
                  <a:lnTo>
                    <a:pt x="555833" y="382144"/>
                  </a:lnTo>
                  <a:lnTo>
                    <a:pt x="555704" y="379171"/>
                  </a:lnTo>
                  <a:lnTo>
                    <a:pt x="555317" y="377362"/>
                  </a:lnTo>
                  <a:lnTo>
                    <a:pt x="554799" y="375682"/>
                  </a:lnTo>
                  <a:lnTo>
                    <a:pt x="554153" y="374519"/>
                  </a:lnTo>
                  <a:lnTo>
                    <a:pt x="547692" y="355392"/>
                  </a:lnTo>
                  <a:lnTo>
                    <a:pt x="547175" y="353583"/>
                  </a:lnTo>
                  <a:lnTo>
                    <a:pt x="544978" y="348414"/>
                  </a:lnTo>
                  <a:lnTo>
                    <a:pt x="544978" y="347897"/>
                  </a:lnTo>
                  <a:lnTo>
                    <a:pt x="544849" y="347121"/>
                  </a:lnTo>
                  <a:lnTo>
                    <a:pt x="546141" y="344537"/>
                  </a:lnTo>
                  <a:lnTo>
                    <a:pt x="546399" y="343373"/>
                  </a:lnTo>
                  <a:lnTo>
                    <a:pt x="546141" y="341952"/>
                  </a:lnTo>
                  <a:lnTo>
                    <a:pt x="544719" y="336912"/>
                  </a:lnTo>
                  <a:lnTo>
                    <a:pt x="543298" y="322438"/>
                  </a:lnTo>
                  <a:lnTo>
                    <a:pt x="541747" y="316364"/>
                  </a:lnTo>
                  <a:lnTo>
                    <a:pt x="541488" y="313262"/>
                  </a:lnTo>
                  <a:lnTo>
                    <a:pt x="542393" y="306283"/>
                  </a:lnTo>
                  <a:lnTo>
                    <a:pt x="542264" y="304862"/>
                  </a:lnTo>
                  <a:lnTo>
                    <a:pt x="539808" y="293877"/>
                  </a:lnTo>
                  <a:lnTo>
                    <a:pt x="539808" y="288320"/>
                  </a:lnTo>
                  <a:lnTo>
                    <a:pt x="539550" y="286381"/>
                  </a:lnTo>
                  <a:lnTo>
                    <a:pt x="538775" y="284960"/>
                  </a:lnTo>
                  <a:lnTo>
                    <a:pt x="537741" y="284055"/>
                  </a:lnTo>
                  <a:lnTo>
                    <a:pt x="534639" y="282375"/>
                  </a:lnTo>
                  <a:lnTo>
                    <a:pt x="533088" y="280695"/>
                  </a:lnTo>
                  <a:lnTo>
                    <a:pt x="530633" y="279532"/>
                  </a:lnTo>
                  <a:lnTo>
                    <a:pt x="529082" y="276947"/>
                  </a:lnTo>
                  <a:lnTo>
                    <a:pt x="526627" y="275009"/>
                  </a:lnTo>
                  <a:lnTo>
                    <a:pt x="525722" y="273200"/>
                  </a:lnTo>
                  <a:lnTo>
                    <a:pt x="525722" y="269581"/>
                  </a:lnTo>
                  <a:lnTo>
                    <a:pt x="526885" y="266092"/>
                  </a:lnTo>
                  <a:lnTo>
                    <a:pt x="527273" y="262473"/>
                  </a:lnTo>
                  <a:lnTo>
                    <a:pt x="526885" y="258467"/>
                  </a:lnTo>
                  <a:lnTo>
                    <a:pt x="524688" y="255495"/>
                  </a:lnTo>
                  <a:lnTo>
                    <a:pt x="523525" y="252393"/>
                  </a:lnTo>
                  <a:lnTo>
                    <a:pt x="522362" y="249679"/>
                  </a:lnTo>
                  <a:lnTo>
                    <a:pt x="520811" y="247224"/>
                  </a:lnTo>
                  <a:lnTo>
                    <a:pt x="520811" y="244639"/>
                  </a:lnTo>
                  <a:lnTo>
                    <a:pt x="520165" y="241279"/>
                  </a:lnTo>
                  <a:lnTo>
                    <a:pt x="518356" y="238953"/>
                  </a:lnTo>
                  <a:lnTo>
                    <a:pt x="514996" y="235851"/>
                  </a:lnTo>
                  <a:lnTo>
                    <a:pt x="513832" y="233913"/>
                  </a:lnTo>
                  <a:lnTo>
                    <a:pt x="513445" y="231328"/>
                  </a:lnTo>
                  <a:lnTo>
                    <a:pt x="513703" y="227322"/>
                  </a:lnTo>
                  <a:lnTo>
                    <a:pt x="513832" y="220472"/>
                  </a:lnTo>
                  <a:lnTo>
                    <a:pt x="512928" y="218017"/>
                  </a:lnTo>
                  <a:lnTo>
                    <a:pt x="512023" y="216208"/>
                  </a:lnTo>
                  <a:lnTo>
                    <a:pt x="510343" y="213235"/>
                  </a:lnTo>
                  <a:lnTo>
                    <a:pt x="508922" y="211038"/>
                  </a:lnTo>
                  <a:lnTo>
                    <a:pt x="508663" y="207291"/>
                  </a:lnTo>
                  <a:lnTo>
                    <a:pt x="508922" y="203414"/>
                  </a:lnTo>
                  <a:lnTo>
                    <a:pt x="508275" y="200958"/>
                  </a:lnTo>
                  <a:lnTo>
                    <a:pt x="507112" y="199407"/>
                  </a:lnTo>
                  <a:lnTo>
                    <a:pt x="507371" y="196047"/>
                  </a:lnTo>
                  <a:lnTo>
                    <a:pt x="507888" y="193204"/>
                  </a:lnTo>
                  <a:lnTo>
                    <a:pt x="508017" y="191136"/>
                  </a:lnTo>
                  <a:lnTo>
                    <a:pt x="509180" y="188939"/>
                  </a:lnTo>
                  <a:lnTo>
                    <a:pt x="512282" y="184028"/>
                  </a:lnTo>
                  <a:lnTo>
                    <a:pt x="515383" y="181832"/>
                  </a:lnTo>
                  <a:lnTo>
                    <a:pt x="518356" y="179376"/>
                  </a:lnTo>
                  <a:lnTo>
                    <a:pt x="520423" y="176921"/>
                  </a:lnTo>
                  <a:lnTo>
                    <a:pt x="523266" y="172139"/>
                  </a:lnTo>
                  <a:lnTo>
                    <a:pt x="525464" y="168521"/>
                  </a:lnTo>
                  <a:lnTo>
                    <a:pt x="523913" y="161283"/>
                  </a:lnTo>
                  <a:lnTo>
                    <a:pt x="523266" y="158828"/>
                  </a:lnTo>
                  <a:lnTo>
                    <a:pt x="520423" y="152625"/>
                  </a:lnTo>
                  <a:lnTo>
                    <a:pt x="518873" y="150945"/>
                  </a:lnTo>
                  <a:lnTo>
                    <a:pt x="516805" y="149135"/>
                  </a:lnTo>
                  <a:lnTo>
                    <a:pt x="513832" y="147197"/>
                  </a:lnTo>
                  <a:lnTo>
                    <a:pt x="512023" y="144095"/>
                  </a:lnTo>
                  <a:lnTo>
                    <a:pt x="508663" y="138409"/>
                  </a:lnTo>
                  <a:lnTo>
                    <a:pt x="507371" y="130914"/>
                  </a:lnTo>
                  <a:lnTo>
                    <a:pt x="506725" y="127037"/>
                  </a:lnTo>
                  <a:lnTo>
                    <a:pt x="504657" y="120575"/>
                  </a:lnTo>
                  <a:lnTo>
                    <a:pt x="503623" y="117215"/>
                  </a:lnTo>
                  <a:lnTo>
                    <a:pt x="502848" y="113467"/>
                  </a:lnTo>
                  <a:lnTo>
                    <a:pt x="501297" y="111012"/>
                  </a:lnTo>
                  <a:lnTo>
                    <a:pt x="498842" y="108298"/>
                  </a:lnTo>
                  <a:lnTo>
                    <a:pt x="495223" y="102741"/>
                  </a:lnTo>
                  <a:lnTo>
                    <a:pt x="493414" y="98347"/>
                  </a:lnTo>
                  <a:lnTo>
                    <a:pt x="493414" y="97701"/>
                  </a:lnTo>
                  <a:lnTo>
                    <a:pt x="493026" y="94470"/>
                  </a:lnTo>
                  <a:lnTo>
                    <a:pt x="492380" y="90463"/>
                  </a:lnTo>
                  <a:lnTo>
                    <a:pt x="491863" y="88783"/>
                  </a:lnTo>
                  <a:lnTo>
                    <a:pt x="489407" y="83097"/>
                  </a:lnTo>
                  <a:lnTo>
                    <a:pt x="487469" y="79479"/>
                  </a:lnTo>
                  <a:lnTo>
                    <a:pt x="486564" y="77023"/>
                  </a:lnTo>
                  <a:lnTo>
                    <a:pt x="485143" y="73792"/>
                  </a:lnTo>
                  <a:lnTo>
                    <a:pt x="485143" y="70561"/>
                  </a:lnTo>
                  <a:lnTo>
                    <a:pt x="486047" y="67072"/>
                  </a:lnTo>
                  <a:lnTo>
                    <a:pt x="486564" y="64358"/>
                  </a:lnTo>
                  <a:lnTo>
                    <a:pt x="487598" y="61257"/>
                  </a:lnTo>
                  <a:lnTo>
                    <a:pt x="489924" y="58672"/>
                  </a:lnTo>
                  <a:lnTo>
                    <a:pt x="492768" y="55958"/>
                  </a:lnTo>
                  <a:lnTo>
                    <a:pt x="505949" y="35410"/>
                  </a:lnTo>
                  <a:lnTo>
                    <a:pt x="506208" y="34505"/>
                  </a:lnTo>
                  <a:lnTo>
                    <a:pt x="506725" y="29724"/>
                  </a:lnTo>
                  <a:lnTo>
                    <a:pt x="506725" y="28561"/>
                  </a:lnTo>
                  <a:lnTo>
                    <a:pt x="506725" y="28561"/>
                  </a:lnTo>
                  <a:lnTo>
                    <a:pt x="505820" y="27785"/>
                  </a:lnTo>
                  <a:lnTo>
                    <a:pt x="504011" y="25071"/>
                  </a:lnTo>
                  <a:lnTo>
                    <a:pt x="501685" y="23391"/>
                  </a:lnTo>
                  <a:lnTo>
                    <a:pt x="501685" y="24813"/>
                  </a:lnTo>
                  <a:lnTo>
                    <a:pt x="501038" y="24813"/>
                  </a:lnTo>
                  <a:lnTo>
                    <a:pt x="500651" y="24037"/>
                  </a:lnTo>
                  <a:lnTo>
                    <a:pt x="500005" y="23391"/>
                  </a:lnTo>
                  <a:lnTo>
                    <a:pt x="499358" y="23004"/>
                  </a:lnTo>
                  <a:lnTo>
                    <a:pt x="498842" y="23391"/>
                  </a:lnTo>
                  <a:lnTo>
                    <a:pt x="498195" y="23133"/>
                  </a:lnTo>
                  <a:lnTo>
                    <a:pt x="497161" y="22357"/>
                  </a:lnTo>
                  <a:lnTo>
                    <a:pt x="496644" y="21970"/>
                  </a:lnTo>
                  <a:lnTo>
                    <a:pt x="497678" y="21582"/>
                  </a:lnTo>
                  <a:lnTo>
                    <a:pt x="498195" y="20936"/>
                  </a:lnTo>
                  <a:lnTo>
                    <a:pt x="498066" y="20031"/>
                  </a:lnTo>
                  <a:lnTo>
                    <a:pt x="497290" y="18997"/>
                  </a:lnTo>
                  <a:lnTo>
                    <a:pt x="496515" y="18739"/>
                  </a:lnTo>
                  <a:lnTo>
                    <a:pt x="488115" y="17576"/>
                  </a:lnTo>
                  <a:lnTo>
                    <a:pt x="486176" y="18093"/>
                  </a:lnTo>
                  <a:lnTo>
                    <a:pt x="487081" y="20419"/>
                  </a:lnTo>
                  <a:lnTo>
                    <a:pt x="486176" y="21065"/>
                  </a:lnTo>
                  <a:lnTo>
                    <a:pt x="485659" y="21194"/>
                  </a:lnTo>
                  <a:lnTo>
                    <a:pt x="484884" y="21194"/>
                  </a:lnTo>
                  <a:lnTo>
                    <a:pt x="485013" y="20677"/>
                  </a:lnTo>
                  <a:lnTo>
                    <a:pt x="485143" y="20419"/>
                  </a:lnTo>
                  <a:lnTo>
                    <a:pt x="485401" y="20160"/>
                  </a:lnTo>
                  <a:lnTo>
                    <a:pt x="485530" y="19773"/>
                  </a:lnTo>
                  <a:lnTo>
                    <a:pt x="484496" y="19773"/>
                  </a:lnTo>
                  <a:lnTo>
                    <a:pt x="484238" y="19773"/>
                  </a:lnTo>
                  <a:lnTo>
                    <a:pt x="485272" y="18351"/>
                  </a:lnTo>
                  <a:lnTo>
                    <a:pt x="485272" y="17188"/>
                  </a:lnTo>
                  <a:lnTo>
                    <a:pt x="484626" y="16283"/>
                  </a:lnTo>
                  <a:lnTo>
                    <a:pt x="483463" y="15379"/>
                  </a:lnTo>
                  <a:lnTo>
                    <a:pt x="480878" y="16930"/>
                  </a:lnTo>
                  <a:lnTo>
                    <a:pt x="477905" y="17317"/>
                  </a:lnTo>
                  <a:lnTo>
                    <a:pt x="468859" y="16671"/>
                  </a:lnTo>
                  <a:lnTo>
                    <a:pt x="466533" y="16154"/>
                  </a:lnTo>
                  <a:lnTo>
                    <a:pt x="464853" y="14991"/>
                  </a:lnTo>
                  <a:lnTo>
                    <a:pt x="463561" y="13311"/>
                  </a:lnTo>
                  <a:lnTo>
                    <a:pt x="462268" y="14216"/>
                  </a:lnTo>
                  <a:lnTo>
                    <a:pt x="460976" y="14345"/>
                  </a:lnTo>
                  <a:lnTo>
                    <a:pt x="459813" y="13957"/>
                  </a:lnTo>
                  <a:lnTo>
                    <a:pt x="458520" y="13311"/>
                  </a:lnTo>
                  <a:lnTo>
                    <a:pt x="458520" y="12536"/>
                  </a:lnTo>
                  <a:lnTo>
                    <a:pt x="459554" y="12794"/>
                  </a:lnTo>
                  <a:lnTo>
                    <a:pt x="460717" y="13311"/>
                  </a:lnTo>
                  <a:lnTo>
                    <a:pt x="460200" y="12148"/>
                  </a:lnTo>
                  <a:lnTo>
                    <a:pt x="459942" y="11760"/>
                  </a:lnTo>
                  <a:lnTo>
                    <a:pt x="460588" y="12148"/>
                  </a:lnTo>
                  <a:lnTo>
                    <a:pt x="462268" y="12923"/>
                  </a:lnTo>
                  <a:lnTo>
                    <a:pt x="462915" y="13311"/>
                  </a:lnTo>
                  <a:lnTo>
                    <a:pt x="462139" y="11889"/>
                  </a:lnTo>
                  <a:lnTo>
                    <a:pt x="459037" y="9434"/>
                  </a:lnTo>
                  <a:lnTo>
                    <a:pt x="449991" y="4006"/>
                  </a:lnTo>
                  <a:lnTo>
                    <a:pt x="446760" y="0"/>
                  </a:lnTo>
                  <a:lnTo>
                    <a:pt x="445080" y="1422"/>
                  </a:lnTo>
                  <a:lnTo>
                    <a:pt x="444176" y="1939"/>
                  </a:lnTo>
                  <a:lnTo>
                    <a:pt x="443142" y="2197"/>
                  </a:lnTo>
                  <a:lnTo>
                    <a:pt x="443013" y="2197"/>
                  </a:lnTo>
                  <a:lnTo>
                    <a:pt x="442495" y="4135"/>
                  </a:lnTo>
                  <a:lnTo>
                    <a:pt x="441591" y="10339"/>
                  </a:lnTo>
                  <a:lnTo>
                    <a:pt x="441203" y="10080"/>
                  </a:lnTo>
                  <a:lnTo>
                    <a:pt x="440169" y="9563"/>
                  </a:lnTo>
                  <a:lnTo>
                    <a:pt x="440428" y="11631"/>
                  </a:lnTo>
                  <a:lnTo>
                    <a:pt x="441332" y="14862"/>
                  </a:lnTo>
                  <a:lnTo>
                    <a:pt x="441591" y="16542"/>
                  </a:lnTo>
                  <a:lnTo>
                    <a:pt x="442237" y="17447"/>
                  </a:lnTo>
                  <a:lnTo>
                    <a:pt x="445080" y="19514"/>
                  </a:lnTo>
                  <a:lnTo>
                    <a:pt x="445985" y="20419"/>
                  </a:lnTo>
                  <a:lnTo>
                    <a:pt x="446373" y="22487"/>
                  </a:lnTo>
                  <a:lnTo>
                    <a:pt x="445468" y="23908"/>
                  </a:lnTo>
                  <a:lnTo>
                    <a:pt x="444434" y="25459"/>
                  </a:lnTo>
                  <a:lnTo>
                    <a:pt x="443788" y="27398"/>
                  </a:lnTo>
                  <a:lnTo>
                    <a:pt x="443659" y="29594"/>
                  </a:lnTo>
                  <a:lnTo>
                    <a:pt x="443142" y="30887"/>
                  </a:lnTo>
                  <a:lnTo>
                    <a:pt x="440945" y="32955"/>
                  </a:lnTo>
                  <a:lnTo>
                    <a:pt x="439006" y="35798"/>
                  </a:lnTo>
                  <a:lnTo>
                    <a:pt x="437714" y="37348"/>
                  </a:lnTo>
                  <a:lnTo>
                    <a:pt x="434483" y="38770"/>
                  </a:lnTo>
                  <a:lnTo>
                    <a:pt x="433449" y="40450"/>
                  </a:lnTo>
                  <a:lnTo>
                    <a:pt x="431769" y="45102"/>
                  </a:lnTo>
                  <a:lnTo>
                    <a:pt x="431640" y="46007"/>
                  </a:lnTo>
                  <a:lnTo>
                    <a:pt x="431123" y="46524"/>
                  </a:lnTo>
                  <a:lnTo>
                    <a:pt x="429572" y="46783"/>
                  </a:lnTo>
                  <a:lnTo>
                    <a:pt x="428797" y="47041"/>
                  </a:lnTo>
                  <a:lnTo>
                    <a:pt x="428280" y="47816"/>
                  </a:lnTo>
                  <a:lnTo>
                    <a:pt x="427892" y="48721"/>
                  </a:lnTo>
                  <a:lnTo>
                    <a:pt x="427763" y="49367"/>
                  </a:lnTo>
                  <a:lnTo>
                    <a:pt x="427117" y="51047"/>
                  </a:lnTo>
                  <a:lnTo>
                    <a:pt x="425824" y="52081"/>
                  </a:lnTo>
                  <a:lnTo>
                    <a:pt x="414969" y="55183"/>
                  </a:lnTo>
                  <a:lnTo>
                    <a:pt x="413676" y="55958"/>
                  </a:lnTo>
                  <a:lnTo>
                    <a:pt x="414064" y="56475"/>
                  </a:lnTo>
                  <a:lnTo>
                    <a:pt x="415615" y="57638"/>
                  </a:lnTo>
                  <a:lnTo>
                    <a:pt x="416003" y="58414"/>
                  </a:lnTo>
                  <a:lnTo>
                    <a:pt x="415486" y="59577"/>
                  </a:lnTo>
                  <a:lnTo>
                    <a:pt x="407215" y="69915"/>
                  </a:lnTo>
                  <a:lnTo>
                    <a:pt x="403079" y="73405"/>
                  </a:lnTo>
                  <a:lnTo>
                    <a:pt x="399849" y="73792"/>
                  </a:lnTo>
                  <a:lnTo>
                    <a:pt x="398039" y="74439"/>
                  </a:lnTo>
                  <a:lnTo>
                    <a:pt x="396359" y="74697"/>
                  </a:lnTo>
                  <a:lnTo>
                    <a:pt x="391319" y="74568"/>
                  </a:lnTo>
                  <a:lnTo>
                    <a:pt x="388864" y="75214"/>
                  </a:lnTo>
                  <a:lnTo>
                    <a:pt x="388218" y="75343"/>
                  </a:lnTo>
                  <a:lnTo>
                    <a:pt x="387184" y="75214"/>
                  </a:lnTo>
                  <a:lnTo>
                    <a:pt x="386667" y="75214"/>
                  </a:lnTo>
                  <a:lnTo>
                    <a:pt x="386150" y="75602"/>
                  </a:lnTo>
                  <a:lnTo>
                    <a:pt x="385245" y="76506"/>
                  </a:lnTo>
                  <a:lnTo>
                    <a:pt x="385116" y="76765"/>
                  </a:lnTo>
                  <a:lnTo>
                    <a:pt x="383953" y="76894"/>
                  </a:lnTo>
                  <a:lnTo>
                    <a:pt x="381756" y="76635"/>
                  </a:lnTo>
                  <a:lnTo>
                    <a:pt x="380722" y="76765"/>
                  </a:lnTo>
                  <a:lnTo>
                    <a:pt x="379559" y="77152"/>
                  </a:lnTo>
                  <a:lnTo>
                    <a:pt x="378525" y="77669"/>
                  </a:lnTo>
                  <a:lnTo>
                    <a:pt x="377491" y="78186"/>
                  </a:lnTo>
                  <a:lnTo>
                    <a:pt x="376328" y="78186"/>
                  </a:lnTo>
                  <a:lnTo>
                    <a:pt x="375294" y="77411"/>
                  </a:lnTo>
                  <a:lnTo>
                    <a:pt x="374777" y="76248"/>
                  </a:lnTo>
                  <a:lnTo>
                    <a:pt x="374002" y="75343"/>
                  </a:lnTo>
                  <a:lnTo>
                    <a:pt x="372709" y="75214"/>
                  </a:lnTo>
                  <a:lnTo>
                    <a:pt x="372192" y="75860"/>
                  </a:lnTo>
                  <a:lnTo>
                    <a:pt x="371288" y="78445"/>
                  </a:lnTo>
                  <a:lnTo>
                    <a:pt x="370771" y="79220"/>
                  </a:lnTo>
                  <a:lnTo>
                    <a:pt x="369220" y="81159"/>
                  </a:lnTo>
                  <a:lnTo>
                    <a:pt x="366635" y="85811"/>
                  </a:lnTo>
                  <a:lnTo>
                    <a:pt x="364955" y="88008"/>
                  </a:lnTo>
                  <a:lnTo>
                    <a:pt x="358881" y="92919"/>
                  </a:lnTo>
                  <a:lnTo>
                    <a:pt x="355263" y="98734"/>
                  </a:lnTo>
                  <a:lnTo>
                    <a:pt x="353970" y="101707"/>
                  </a:lnTo>
                  <a:lnTo>
                    <a:pt x="354746" y="102999"/>
                  </a:lnTo>
                  <a:lnTo>
                    <a:pt x="355005" y="111012"/>
                  </a:lnTo>
                  <a:lnTo>
                    <a:pt x="354100" y="112692"/>
                  </a:lnTo>
                  <a:lnTo>
                    <a:pt x="351257" y="116052"/>
                  </a:lnTo>
                  <a:lnTo>
                    <a:pt x="350611" y="117990"/>
                  </a:lnTo>
                  <a:lnTo>
                    <a:pt x="350352" y="120058"/>
                  </a:lnTo>
                  <a:lnTo>
                    <a:pt x="349577" y="122255"/>
                  </a:lnTo>
                  <a:lnTo>
                    <a:pt x="348672" y="124323"/>
                  </a:lnTo>
                  <a:lnTo>
                    <a:pt x="347767" y="125615"/>
                  </a:lnTo>
                  <a:lnTo>
                    <a:pt x="344407" y="127812"/>
                  </a:lnTo>
                  <a:lnTo>
                    <a:pt x="343244" y="128200"/>
                  </a:lnTo>
                  <a:lnTo>
                    <a:pt x="342598" y="129104"/>
                  </a:lnTo>
                  <a:lnTo>
                    <a:pt x="342210" y="130138"/>
                  </a:lnTo>
                  <a:lnTo>
                    <a:pt x="341564" y="131172"/>
                  </a:lnTo>
                  <a:lnTo>
                    <a:pt x="336524" y="136083"/>
                  </a:lnTo>
                  <a:lnTo>
                    <a:pt x="335232" y="138151"/>
                  </a:lnTo>
                  <a:lnTo>
                    <a:pt x="334973" y="139055"/>
                  </a:lnTo>
                  <a:lnTo>
                    <a:pt x="334456" y="142803"/>
                  </a:lnTo>
                  <a:lnTo>
                    <a:pt x="334198" y="143320"/>
                  </a:lnTo>
                  <a:lnTo>
                    <a:pt x="332647" y="145129"/>
                  </a:lnTo>
                  <a:lnTo>
                    <a:pt x="332389" y="145646"/>
                  </a:lnTo>
                  <a:lnTo>
                    <a:pt x="330838" y="149006"/>
                  </a:lnTo>
                  <a:lnTo>
                    <a:pt x="329933" y="149911"/>
                  </a:lnTo>
                  <a:lnTo>
                    <a:pt x="329158" y="150299"/>
                  </a:lnTo>
                  <a:lnTo>
                    <a:pt x="327219" y="151074"/>
                  </a:lnTo>
                  <a:lnTo>
                    <a:pt x="325152" y="152625"/>
                  </a:lnTo>
                  <a:lnTo>
                    <a:pt x="321016" y="157406"/>
                  </a:lnTo>
                  <a:lnTo>
                    <a:pt x="320241" y="159345"/>
                  </a:lnTo>
                  <a:lnTo>
                    <a:pt x="320887" y="164643"/>
                  </a:lnTo>
                  <a:lnTo>
                    <a:pt x="320628" y="166453"/>
                  </a:lnTo>
                  <a:lnTo>
                    <a:pt x="321791" y="168650"/>
                  </a:lnTo>
                  <a:lnTo>
                    <a:pt x="322825" y="173431"/>
                  </a:lnTo>
                  <a:lnTo>
                    <a:pt x="324247" y="175370"/>
                  </a:lnTo>
                  <a:lnTo>
                    <a:pt x="325798" y="174595"/>
                  </a:lnTo>
                  <a:lnTo>
                    <a:pt x="327348" y="174724"/>
                  </a:lnTo>
                  <a:lnTo>
                    <a:pt x="328899" y="175628"/>
                  </a:lnTo>
                  <a:lnTo>
                    <a:pt x="330192" y="176791"/>
                  </a:lnTo>
                  <a:lnTo>
                    <a:pt x="331096" y="178730"/>
                  </a:lnTo>
                  <a:lnTo>
                    <a:pt x="332001" y="183124"/>
                  </a:lnTo>
                  <a:lnTo>
                    <a:pt x="333422" y="185192"/>
                  </a:lnTo>
                  <a:lnTo>
                    <a:pt x="333810" y="186872"/>
                  </a:lnTo>
                  <a:lnTo>
                    <a:pt x="333552" y="189586"/>
                  </a:lnTo>
                  <a:lnTo>
                    <a:pt x="332389" y="194367"/>
                  </a:lnTo>
                  <a:lnTo>
                    <a:pt x="330192" y="199278"/>
                  </a:lnTo>
                  <a:lnTo>
                    <a:pt x="329933" y="199666"/>
                  </a:lnTo>
                  <a:lnTo>
                    <a:pt x="328511" y="201863"/>
                  </a:lnTo>
                  <a:lnTo>
                    <a:pt x="326832" y="203026"/>
                  </a:lnTo>
                  <a:lnTo>
                    <a:pt x="324635" y="203930"/>
                  </a:lnTo>
                  <a:lnTo>
                    <a:pt x="324635" y="206127"/>
                  </a:lnTo>
                  <a:lnTo>
                    <a:pt x="326444" y="209617"/>
                  </a:lnTo>
                  <a:lnTo>
                    <a:pt x="326832" y="211814"/>
                  </a:lnTo>
                  <a:lnTo>
                    <a:pt x="325927" y="213235"/>
                  </a:lnTo>
                  <a:lnTo>
                    <a:pt x="324893" y="214657"/>
                  </a:lnTo>
                  <a:lnTo>
                    <a:pt x="324247" y="216595"/>
                  </a:lnTo>
                  <a:lnTo>
                    <a:pt x="324893" y="218405"/>
                  </a:lnTo>
                  <a:lnTo>
                    <a:pt x="326444" y="219697"/>
                  </a:lnTo>
                  <a:lnTo>
                    <a:pt x="328124" y="220731"/>
                  </a:lnTo>
                  <a:lnTo>
                    <a:pt x="329416" y="222023"/>
                  </a:lnTo>
                  <a:lnTo>
                    <a:pt x="330838" y="226159"/>
                  </a:lnTo>
                  <a:lnTo>
                    <a:pt x="331613" y="229777"/>
                  </a:lnTo>
                  <a:lnTo>
                    <a:pt x="332001" y="230423"/>
                  </a:lnTo>
                  <a:lnTo>
                    <a:pt x="333810" y="231586"/>
                  </a:lnTo>
                  <a:lnTo>
                    <a:pt x="334456" y="232362"/>
                  </a:lnTo>
                  <a:lnTo>
                    <a:pt x="334844" y="233654"/>
                  </a:lnTo>
                  <a:lnTo>
                    <a:pt x="334844" y="234559"/>
                  </a:lnTo>
                  <a:lnTo>
                    <a:pt x="334585" y="235463"/>
                  </a:lnTo>
                  <a:lnTo>
                    <a:pt x="334456" y="236756"/>
                  </a:lnTo>
                  <a:lnTo>
                    <a:pt x="334973" y="238565"/>
                  </a:lnTo>
                  <a:lnTo>
                    <a:pt x="336395" y="242184"/>
                  </a:lnTo>
                  <a:lnTo>
                    <a:pt x="336783" y="244381"/>
                  </a:lnTo>
                  <a:lnTo>
                    <a:pt x="337041" y="250842"/>
                  </a:lnTo>
                  <a:lnTo>
                    <a:pt x="337429" y="252781"/>
                  </a:lnTo>
                  <a:lnTo>
                    <a:pt x="340013" y="257562"/>
                  </a:lnTo>
                  <a:lnTo>
                    <a:pt x="340401" y="259759"/>
                  </a:lnTo>
                  <a:lnTo>
                    <a:pt x="340013" y="260922"/>
                  </a:lnTo>
                  <a:lnTo>
                    <a:pt x="338075" y="263249"/>
                  </a:lnTo>
                  <a:lnTo>
                    <a:pt x="337429" y="264412"/>
                  </a:lnTo>
                  <a:lnTo>
                    <a:pt x="337170" y="265704"/>
                  </a:lnTo>
                  <a:lnTo>
                    <a:pt x="337170" y="266609"/>
                  </a:lnTo>
                  <a:lnTo>
                    <a:pt x="337429" y="268935"/>
                  </a:lnTo>
                  <a:lnTo>
                    <a:pt x="337170" y="273846"/>
                  </a:lnTo>
                  <a:lnTo>
                    <a:pt x="335361" y="276689"/>
                  </a:lnTo>
                  <a:lnTo>
                    <a:pt x="328641" y="282117"/>
                  </a:lnTo>
                  <a:lnTo>
                    <a:pt x="327736" y="283280"/>
                  </a:lnTo>
                  <a:lnTo>
                    <a:pt x="325539" y="286898"/>
                  </a:lnTo>
                  <a:lnTo>
                    <a:pt x="325022" y="288320"/>
                  </a:lnTo>
                  <a:lnTo>
                    <a:pt x="322050" y="290905"/>
                  </a:lnTo>
                  <a:lnTo>
                    <a:pt x="321404" y="291680"/>
                  </a:lnTo>
                  <a:lnTo>
                    <a:pt x="316751" y="300985"/>
                  </a:lnTo>
                  <a:lnTo>
                    <a:pt x="315847" y="301890"/>
                  </a:lnTo>
                  <a:lnTo>
                    <a:pt x="315330" y="302148"/>
                  </a:lnTo>
                  <a:lnTo>
                    <a:pt x="314037" y="304086"/>
                  </a:lnTo>
                  <a:lnTo>
                    <a:pt x="313262" y="304862"/>
                  </a:lnTo>
                  <a:lnTo>
                    <a:pt x="312357" y="305120"/>
                  </a:lnTo>
                  <a:lnTo>
                    <a:pt x="310419" y="305120"/>
                  </a:lnTo>
                  <a:lnTo>
                    <a:pt x="309643" y="305508"/>
                  </a:lnTo>
                  <a:lnTo>
                    <a:pt x="308351" y="306930"/>
                  </a:lnTo>
                  <a:lnTo>
                    <a:pt x="308480" y="308480"/>
                  </a:lnTo>
                  <a:lnTo>
                    <a:pt x="309126" y="310031"/>
                  </a:lnTo>
                  <a:lnTo>
                    <a:pt x="309643" y="311711"/>
                  </a:lnTo>
                  <a:lnTo>
                    <a:pt x="309514" y="312357"/>
                  </a:lnTo>
                  <a:lnTo>
                    <a:pt x="308868" y="313521"/>
                  </a:lnTo>
                  <a:lnTo>
                    <a:pt x="308868" y="314425"/>
                  </a:lnTo>
                  <a:lnTo>
                    <a:pt x="309126" y="314813"/>
                  </a:lnTo>
                  <a:lnTo>
                    <a:pt x="310160" y="315976"/>
                  </a:lnTo>
                  <a:lnTo>
                    <a:pt x="310289" y="316493"/>
                  </a:lnTo>
                  <a:lnTo>
                    <a:pt x="310160" y="317914"/>
                  </a:lnTo>
                  <a:lnTo>
                    <a:pt x="309514" y="318819"/>
                  </a:lnTo>
                  <a:lnTo>
                    <a:pt x="308868" y="319594"/>
                  </a:lnTo>
                  <a:lnTo>
                    <a:pt x="308093" y="320758"/>
                  </a:lnTo>
                  <a:lnTo>
                    <a:pt x="307705" y="322825"/>
                  </a:lnTo>
                  <a:lnTo>
                    <a:pt x="308351" y="330579"/>
                  </a:lnTo>
                  <a:lnTo>
                    <a:pt x="309385" y="332776"/>
                  </a:lnTo>
                  <a:lnTo>
                    <a:pt x="309643" y="334069"/>
                  </a:lnTo>
                  <a:lnTo>
                    <a:pt x="308480" y="336136"/>
                  </a:lnTo>
                  <a:lnTo>
                    <a:pt x="308093" y="337041"/>
                  </a:lnTo>
                  <a:lnTo>
                    <a:pt x="308093" y="339109"/>
                  </a:lnTo>
                  <a:lnTo>
                    <a:pt x="308480" y="341435"/>
                  </a:lnTo>
                  <a:lnTo>
                    <a:pt x="309385" y="343632"/>
                  </a:lnTo>
                  <a:lnTo>
                    <a:pt x="312357" y="347380"/>
                  </a:lnTo>
                  <a:lnTo>
                    <a:pt x="312745" y="349189"/>
                  </a:lnTo>
                  <a:lnTo>
                    <a:pt x="312228" y="350998"/>
                  </a:lnTo>
                  <a:lnTo>
                    <a:pt x="311065" y="353066"/>
                  </a:lnTo>
                  <a:lnTo>
                    <a:pt x="311970" y="354358"/>
                  </a:lnTo>
                  <a:lnTo>
                    <a:pt x="313520" y="357718"/>
                  </a:lnTo>
                  <a:lnTo>
                    <a:pt x="314684" y="359011"/>
                  </a:lnTo>
                  <a:lnTo>
                    <a:pt x="315717" y="359528"/>
                  </a:lnTo>
                  <a:lnTo>
                    <a:pt x="318044" y="359915"/>
                  </a:lnTo>
                  <a:lnTo>
                    <a:pt x="319078" y="360432"/>
                  </a:lnTo>
                  <a:lnTo>
                    <a:pt x="319594" y="361078"/>
                  </a:lnTo>
                  <a:lnTo>
                    <a:pt x="320370" y="362888"/>
                  </a:lnTo>
                  <a:lnTo>
                    <a:pt x="321662" y="364826"/>
                  </a:lnTo>
                  <a:lnTo>
                    <a:pt x="322308" y="366119"/>
                  </a:lnTo>
                  <a:lnTo>
                    <a:pt x="323084" y="367282"/>
                  </a:lnTo>
                  <a:lnTo>
                    <a:pt x="323859" y="367799"/>
                  </a:lnTo>
                  <a:lnTo>
                    <a:pt x="325152" y="368057"/>
                  </a:lnTo>
                  <a:lnTo>
                    <a:pt x="326056" y="368574"/>
                  </a:lnTo>
                  <a:lnTo>
                    <a:pt x="327607" y="370383"/>
                  </a:lnTo>
                  <a:lnTo>
                    <a:pt x="329416" y="371417"/>
                  </a:lnTo>
                  <a:lnTo>
                    <a:pt x="333810" y="372839"/>
                  </a:lnTo>
                  <a:lnTo>
                    <a:pt x="335232" y="374390"/>
                  </a:lnTo>
                  <a:lnTo>
                    <a:pt x="335232" y="382402"/>
                  </a:lnTo>
                  <a:lnTo>
                    <a:pt x="335878" y="383307"/>
                  </a:lnTo>
                  <a:lnTo>
                    <a:pt x="336524" y="383307"/>
                  </a:lnTo>
                  <a:lnTo>
                    <a:pt x="337170" y="383565"/>
                  </a:lnTo>
                  <a:lnTo>
                    <a:pt x="337429" y="384987"/>
                  </a:lnTo>
                  <a:lnTo>
                    <a:pt x="334844" y="386796"/>
                  </a:lnTo>
                  <a:lnTo>
                    <a:pt x="334456" y="387701"/>
                  </a:lnTo>
                  <a:lnTo>
                    <a:pt x="333035" y="394162"/>
                  </a:lnTo>
                  <a:lnTo>
                    <a:pt x="333293" y="395325"/>
                  </a:lnTo>
                  <a:lnTo>
                    <a:pt x="334327" y="397781"/>
                  </a:lnTo>
                  <a:lnTo>
                    <a:pt x="334456" y="398944"/>
                  </a:lnTo>
                  <a:lnTo>
                    <a:pt x="334198" y="399978"/>
                  </a:lnTo>
                  <a:lnTo>
                    <a:pt x="333422" y="400365"/>
                  </a:lnTo>
                  <a:lnTo>
                    <a:pt x="332647" y="400753"/>
                  </a:lnTo>
                  <a:lnTo>
                    <a:pt x="332389" y="401141"/>
                  </a:lnTo>
                  <a:lnTo>
                    <a:pt x="332130" y="407215"/>
                  </a:lnTo>
                  <a:lnTo>
                    <a:pt x="331613" y="409670"/>
                  </a:lnTo>
                  <a:lnTo>
                    <a:pt x="331226" y="410316"/>
                  </a:lnTo>
                  <a:lnTo>
                    <a:pt x="329028" y="412126"/>
                  </a:lnTo>
                  <a:lnTo>
                    <a:pt x="328641" y="413030"/>
                  </a:lnTo>
                  <a:lnTo>
                    <a:pt x="328511" y="414193"/>
                  </a:lnTo>
                  <a:lnTo>
                    <a:pt x="328641" y="416520"/>
                  </a:lnTo>
                  <a:lnTo>
                    <a:pt x="328253" y="418846"/>
                  </a:lnTo>
                  <a:lnTo>
                    <a:pt x="327090" y="420655"/>
                  </a:lnTo>
                  <a:lnTo>
                    <a:pt x="321404" y="426988"/>
                  </a:lnTo>
                  <a:lnTo>
                    <a:pt x="319465" y="428668"/>
                  </a:lnTo>
                  <a:lnTo>
                    <a:pt x="317268" y="429314"/>
                  </a:lnTo>
                  <a:lnTo>
                    <a:pt x="314813" y="429055"/>
                  </a:lnTo>
                  <a:lnTo>
                    <a:pt x="313133" y="428668"/>
                  </a:lnTo>
                  <a:lnTo>
                    <a:pt x="311324" y="428668"/>
                  </a:lnTo>
                  <a:lnTo>
                    <a:pt x="308868" y="429314"/>
                  </a:lnTo>
                  <a:lnTo>
                    <a:pt x="306930" y="430218"/>
                  </a:lnTo>
                  <a:lnTo>
                    <a:pt x="304862" y="430735"/>
                  </a:lnTo>
                  <a:lnTo>
                    <a:pt x="302665" y="430477"/>
                  </a:lnTo>
                  <a:lnTo>
                    <a:pt x="300468" y="429055"/>
                  </a:lnTo>
                  <a:lnTo>
                    <a:pt x="298013" y="428021"/>
                  </a:lnTo>
                  <a:lnTo>
                    <a:pt x="295299" y="428797"/>
                  </a:lnTo>
                  <a:lnTo>
                    <a:pt x="291292" y="431511"/>
                  </a:lnTo>
                  <a:lnTo>
                    <a:pt x="289225" y="432545"/>
                  </a:lnTo>
                  <a:lnTo>
                    <a:pt x="287028" y="432932"/>
                  </a:lnTo>
                  <a:lnTo>
                    <a:pt x="282117" y="433062"/>
                  </a:lnTo>
                  <a:lnTo>
                    <a:pt x="279661" y="433578"/>
                  </a:lnTo>
                  <a:lnTo>
                    <a:pt x="278110" y="434871"/>
                  </a:lnTo>
                  <a:lnTo>
                    <a:pt x="276818" y="436292"/>
                  </a:lnTo>
                  <a:lnTo>
                    <a:pt x="275138" y="437455"/>
                  </a:lnTo>
                  <a:lnTo>
                    <a:pt x="274104" y="437585"/>
                  </a:lnTo>
                  <a:lnTo>
                    <a:pt x="269839" y="437326"/>
                  </a:lnTo>
                  <a:lnTo>
                    <a:pt x="268676" y="436938"/>
                  </a:lnTo>
                  <a:lnTo>
                    <a:pt x="267643" y="436422"/>
                  </a:lnTo>
                  <a:lnTo>
                    <a:pt x="266738" y="435646"/>
                  </a:lnTo>
                  <a:lnTo>
                    <a:pt x="264799" y="433062"/>
                  </a:lnTo>
                  <a:lnTo>
                    <a:pt x="264153" y="432415"/>
                  </a:lnTo>
                  <a:lnTo>
                    <a:pt x="263119" y="431898"/>
                  </a:lnTo>
                  <a:lnTo>
                    <a:pt x="261181" y="431381"/>
                  </a:lnTo>
                  <a:lnTo>
                    <a:pt x="260405" y="430864"/>
                  </a:lnTo>
                  <a:lnTo>
                    <a:pt x="260147" y="430089"/>
                  </a:lnTo>
                  <a:lnTo>
                    <a:pt x="259889" y="428797"/>
                  </a:lnTo>
                  <a:lnTo>
                    <a:pt x="259372" y="427634"/>
                  </a:lnTo>
                  <a:lnTo>
                    <a:pt x="258596" y="427117"/>
                  </a:lnTo>
                  <a:lnTo>
                    <a:pt x="256528" y="427634"/>
                  </a:lnTo>
                  <a:lnTo>
                    <a:pt x="255624" y="427634"/>
                  </a:lnTo>
                  <a:lnTo>
                    <a:pt x="255365" y="426858"/>
                  </a:lnTo>
                  <a:lnTo>
                    <a:pt x="249421" y="423498"/>
                  </a:lnTo>
                  <a:lnTo>
                    <a:pt x="250196" y="423498"/>
                  </a:lnTo>
                  <a:lnTo>
                    <a:pt x="246965" y="422206"/>
                  </a:lnTo>
                  <a:lnTo>
                    <a:pt x="242959" y="421947"/>
                  </a:lnTo>
                  <a:lnTo>
                    <a:pt x="234688" y="422852"/>
                  </a:lnTo>
                  <a:lnTo>
                    <a:pt x="234042" y="422594"/>
                  </a:lnTo>
                  <a:lnTo>
                    <a:pt x="233396" y="422594"/>
                  </a:lnTo>
                  <a:lnTo>
                    <a:pt x="232491" y="422723"/>
                  </a:lnTo>
                  <a:lnTo>
                    <a:pt x="231845" y="423240"/>
                  </a:lnTo>
                  <a:lnTo>
                    <a:pt x="230423" y="425049"/>
                  </a:lnTo>
                  <a:lnTo>
                    <a:pt x="229648" y="425307"/>
                  </a:lnTo>
                  <a:lnTo>
                    <a:pt x="227451" y="425695"/>
                  </a:lnTo>
                  <a:lnTo>
                    <a:pt x="225383" y="426858"/>
                  </a:lnTo>
                  <a:lnTo>
                    <a:pt x="222669" y="427763"/>
                  </a:lnTo>
                  <a:lnTo>
                    <a:pt x="218792" y="428797"/>
                  </a:lnTo>
                  <a:lnTo>
                    <a:pt x="217242" y="428668"/>
                  </a:lnTo>
                  <a:lnTo>
                    <a:pt x="216983" y="428280"/>
                  </a:lnTo>
                  <a:lnTo>
                    <a:pt x="216724" y="427504"/>
                  </a:lnTo>
                  <a:lnTo>
                    <a:pt x="216208" y="426729"/>
                  </a:lnTo>
                  <a:lnTo>
                    <a:pt x="215045" y="426471"/>
                  </a:lnTo>
                  <a:lnTo>
                    <a:pt x="213494" y="428151"/>
                  </a:lnTo>
                  <a:lnTo>
                    <a:pt x="212848" y="428668"/>
                  </a:lnTo>
                  <a:lnTo>
                    <a:pt x="211168" y="429055"/>
                  </a:lnTo>
                  <a:lnTo>
                    <a:pt x="208066" y="429314"/>
                  </a:lnTo>
                  <a:lnTo>
                    <a:pt x="206903" y="430218"/>
                  </a:lnTo>
                  <a:lnTo>
                    <a:pt x="206386" y="431381"/>
                  </a:lnTo>
                  <a:lnTo>
                    <a:pt x="205998" y="434742"/>
                  </a:lnTo>
                  <a:lnTo>
                    <a:pt x="205481" y="436034"/>
                  </a:lnTo>
                  <a:lnTo>
                    <a:pt x="202767" y="434095"/>
                  </a:lnTo>
                  <a:lnTo>
                    <a:pt x="202509" y="433837"/>
                  </a:lnTo>
                  <a:lnTo>
                    <a:pt x="201475" y="434225"/>
                  </a:lnTo>
                  <a:lnTo>
                    <a:pt x="200570" y="435000"/>
                  </a:lnTo>
                  <a:lnTo>
                    <a:pt x="200183" y="435646"/>
                  </a:lnTo>
                  <a:lnTo>
                    <a:pt x="201217" y="436422"/>
                  </a:lnTo>
                  <a:lnTo>
                    <a:pt x="201992" y="437455"/>
                  </a:lnTo>
                  <a:lnTo>
                    <a:pt x="202380" y="438360"/>
                  </a:lnTo>
                  <a:lnTo>
                    <a:pt x="202121" y="438877"/>
                  </a:lnTo>
                  <a:lnTo>
                    <a:pt x="200700" y="438748"/>
                  </a:lnTo>
                  <a:lnTo>
                    <a:pt x="199795" y="438619"/>
                  </a:lnTo>
                  <a:lnTo>
                    <a:pt x="200312" y="438102"/>
                  </a:lnTo>
                  <a:lnTo>
                    <a:pt x="199020" y="439006"/>
                  </a:lnTo>
                  <a:lnTo>
                    <a:pt x="196823" y="441332"/>
                  </a:lnTo>
                  <a:lnTo>
                    <a:pt x="195530" y="441849"/>
                  </a:lnTo>
                  <a:lnTo>
                    <a:pt x="194884" y="442108"/>
                  </a:lnTo>
                  <a:lnTo>
                    <a:pt x="194496" y="443012"/>
                  </a:lnTo>
                  <a:lnTo>
                    <a:pt x="194367" y="445080"/>
                  </a:lnTo>
                  <a:lnTo>
                    <a:pt x="194109" y="446114"/>
                  </a:lnTo>
                  <a:lnTo>
                    <a:pt x="193592" y="446760"/>
                  </a:lnTo>
                  <a:lnTo>
                    <a:pt x="192816" y="447148"/>
                  </a:lnTo>
                  <a:lnTo>
                    <a:pt x="192299" y="447665"/>
                  </a:lnTo>
                  <a:lnTo>
                    <a:pt x="190749" y="450637"/>
                  </a:lnTo>
                  <a:lnTo>
                    <a:pt x="189973" y="451671"/>
                  </a:lnTo>
                  <a:lnTo>
                    <a:pt x="187518" y="453997"/>
                  </a:lnTo>
                  <a:lnTo>
                    <a:pt x="186484" y="454385"/>
                  </a:lnTo>
                  <a:lnTo>
                    <a:pt x="185450" y="454514"/>
                  </a:lnTo>
                  <a:lnTo>
                    <a:pt x="184545" y="454902"/>
                  </a:lnTo>
                  <a:lnTo>
                    <a:pt x="181315" y="463690"/>
                  </a:lnTo>
                  <a:lnTo>
                    <a:pt x="180281" y="465370"/>
                  </a:lnTo>
                  <a:lnTo>
                    <a:pt x="179376" y="466016"/>
                  </a:lnTo>
                  <a:lnTo>
                    <a:pt x="175887" y="466016"/>
                  </a:lnTo>
                  <a:lnTo>
                    <a:pt x="173948" y="466533"/>
                  </a:lnTo>
                  <a:lnTo>
                    <a:pt x="172397" y="467567"/>
                  </a:lnTo>
                  <a:lnTo>
                    <a:pt x="169425" y="467825"/>
                  </a:lnTo>
                  <a:lnTo>
                    <a:pt x="163997" y="470151"/>
                  </a:lnTo>
                  <a:lnTo>
                    <a:pt x="158699" y="473382"/>
                  </a:lnTo>
                  <a:lnTo>
                    <a:pt x="156372" y="476742"/>
                  </a:lnTo>
                  <a:lnTo>
                    <a:pt x="155468" y="477647"/>
                  </a:lnTo>
                  <a:lnTo>
                    <a:pt x="150428" y="480749"/>
                  </a:lnTo>
                  <a:lnTo>
                    <a:pt x="147585" y="485660"/>
                  </a:lnTo>
                  <a:lnTo>
                    <a:pt x="146034" y="487469"/>
                  </a:lnTo>
                  <a:lnTo>
                    <a:pt x="145258" y="486693"/>
                  </a:lnTo>
                  <a:lnTo>
                    <a:pt x="142028" y="488632"/>
                  </a:lnTo>
                  <a:lnTo>
                    <a:pt x="140477" y="489924"/>
                  </a:lnTo>
                  <a:lnTo>
                    <a:pt x="139443" y="491863"/>
                  </a:lnTo>
                  <a:lnTo>
                    <a:pt x="138409" y="495094"/>
                  </a:lnTo>
                  <a:lnTo>
                    <a:pt x="137634" y="496127"/>
                  </a:lnTo>
                  <a:lnTo>
                    <a:pt x="135695" y="496903"/>
                  </a:lnTo>
                  <a:lnTo>
                    <a:pt x="132981" y="494447"/>
                  </a:lnTo>
                  <a:lnTo>
                    <a:pt x="131430" y="493414"/>
                  </a:lnTo>
                  <a:lnTo>
                    <a:pt x="130267" y="493672"/>
                  </a:lnTo>
                  <a:lnTo>
                    <a:pt x="128975" y="494447"/>
                  </a:lnTo>
                  <a:lnTo>
                    <a:pt x="127683" y="494706"/>
                  </a:lnTo>
                  <a:lnTo>
                    <a:pt x="126132" y="494318"/>
                  </a:lnTo>
                  <a:lnTo>
                    <a:pt x="124710" y="493284"/>
                  </a:lnTo>
                  <a:lnTo>
                    <a:pt x="120316" y="496386"/>
                  </a:lnTo>
                  <a:lnTo>
                    <a:pt x="119670" y="497291"/>
                  </a:lnTo>
                  <a:lnTo>
                    <a:pt x="119024" y="498712"/>
                  </a:lnTo>
                  <a:lnTo>
                    <a:pt x="117732" y="498841"/>
                  </a:lnTo>
                  <a:lnTo>
                    <a:pt x="116569" y="498712"/>
                  </a:lnTo>
                  <a:lnTo>
                    <a:pt x="115922" y="499488"/>
                  </a:lnTo>
                  <a:lnTo>
                    <a:pt x="115664" y="501038"/>
                  </a:lnTo>
                  <a:lnTo>
                    <a:pt x="114889" y="501943"/>
                  </a:lnTo>
                  <a:lnTo>
                    <a:pt x="110882" y="503235"/>
                  </a:lnTo>
                  <a:lnTo>
                    <a:pt x="104033" y="506595"/>
                  </a:lnTo>
                  <a:lnTo>
                    <a:pt x="102482" y="507112"/>
                  </a:lnTo>
                  <a:lnTo>
                    <a:pt x="94340" y="508663"/>
                  </a:lnTo>
                  <a:lnTo>
                    <a:pt x="86457" y="511765"/>
                  </a:lnTo>
                  <a:lnTo>
                    <a:pt x="82063" y="512799"/>
                  </a:lnTo>
                  <a:lnTo>
                    <a:pt x="75343" y="513186"/>
                  </a:lnTo>
                  <a:lnTo>
                    <a:pt x="73146" y="514091"/>
                  </a:lnTo>
                  <a:lnTo>
                    <a:pt x="67331" y="518873"/>
                  </a:lnTo>
                  <a:lnTo>
                    <a:pt x="58413" y="523525"/>
                  </a:lnTo>
                  <a:lnTo>
                    <a:pt x="54537" y="526497"/>
                  </a:lnTo>
                  <a:lnTo>
                    <a:pt x="52081" y="530891"/>
                  </a:lnTo>
                  <a:lnTo>
                    <a:pt x="50660" y="538645"/>
                  </a:lnTo>
                  <a:lnTo>
                    <a:pt x="48721" y="543685"/>
                  </a:lnTo>
                  <a:lnTo>
                    <a:pt x="48463" y="545624"/>
                  </a:lnTo>
                  <a:lnTo>
                    <a:pt x="48204" y="546141"/>
                  </a:lnTo>
                  <a:lnTo>
                    <a:pt x="47946" y="546399"/>
                  </a:lnTo>
                  <a:lnTo>
                    <a:pt x="47170" y="546658"/>
                  </a:lnTo>
                  <a:lnTo>
                    <a:pt x="46912" y="546916"/>
                  </a:lnTo>
                  <a:lnTo>
                    <a:pt x="47041" y="547562"/>
                  </a:lnTo>
                  <a:lnTo>
                    <a:pt x="47558" y="548467"/>
                  </a:lnTo>
                  <a:lnTo>
                    <a:pt x="47687" y="549113"/>
                  </a:lnTo>
                  <a:lnTo>
                    <a:pt x="46912" y="552861"/>
                  </a:lnTo>
                  <a:lnTo>
                    <a:pt x="46265" y="552086"/>
                  </a:lnTo>
                  <a:lnTo>
                    <a:pt x="46136" y="554024"/>
                  </a:lnTo>
                  <a:lnTo>
                    <a:pt x="45749" y="555833"/>
                  </a:lnTo>
                  <a:lnTo>
                    <a:pt x="45490" y="557384"/>
                  </a:lnTo>
                  <a:lnTo>
                    <a:pt x="46265" y="558676"/>
                  </a:lnTo>
                  <a:lnTo>
                    <a:pt x="46265" y="559323"/>
                  </a:lnTo>
                  <a:lnTo>
                    <a:pt x="45490" y="560227"/>
                  </a:lnTo>
                  <a:lnTo>
                    <a:pt x="45878" y="560873"/>
                  </a:lnTo>
                  <a:lnTo>
                    <a:pt x="46653" y="561520"/>
                  </a:lnTo>
                  <a:lnTo>
                    <a:pt x="46912" y="562295"/>
                  </a:lnTo>
                  <a:lnTo>
                    <a:pt x="46524" y="563070"/>
                  </a:lnTo>
                  <a:lnTo>
                    <a:pt x="45232" y="563717"/>
                  </a:lnTo>
                  <a:lnTo>
                    <a:pt x="44715" y="564492"/>
                  </a:lnTo>
                  <a:lnTo>
                    <a:pt x="44715" y="569661"/>
                  </a:lnTo>
                  <a:lnTo>
                    <a:pt x="43293" y="577803"/>
                  </a:lnTo>
                  <a:lnTo>
                    <a:pt x="42776" y="578837"/>
                  </a:lnTo>
                  <a:lnTo>
                    <a:pt x="41613" y="580129"/>
                  </a:lnTo>
                  <a:lnTo>
                    <a:pt x="41096" y="580775"/>
                  </a:lnTo>
                  <a:lnTo>
                    <a:pt x="39675" y="584782"/>
                  </a:lnTo>
                  <a:lnTo>
                    <a:pt x="39287" y="585428"/>
                  </a:lnTo>
                  <a:lnTo>
                    <a:pt x="37736" y="586462"/>
                  </a:lnTo>
                  <a:lnTo>
                    <a:pt x="35927" y="588013"/>
                  </a:lnTo>
                  <a:lnTo>
                    <a:pt x="35410" y="588400"/>
                  </a:lnTo>
                  <a:lnTo>
                    <a:pt x="35022" y="589046"/>
                  </a:lnTo>
                  <a:lnTo>
                    <a:pt x="34505" y="590468"/>
                  </a:lnTo>
                  <a:lnTo>
                    <a:pt x="34505" y="591502"/>
                  </a:lnTo>
                  <a:lnTo>
                    <a:pt x="34634" y="593699"/>
                  </a:lnTo>
                  <a:lnTo>
                    <a:pt x="34505" y="594733"/>
                  </a:lnTo>
                  <a:lnTo>
                    <a:pt x="31533" y="600419"/>
                  </a:lnTo>
                  <a:lnTo>
                    <a:pt x="31145" y="601453"/>
                  </a:lnTo>
                  <a:lnTo>
                    <a:pt x="30111" y="602357"/>
                  </a:lnTo>
                  <a:lnTo>
                    <a:pt x="28561" y="604296"/>
                  </a:lnTo>
                  <a:lnTo>
                    <a:pt x="26493" y="608044"/>
                  </a:lnTo>
                  <a:lnTo>
                    <a:pt x="25976" y="617090"/>
                  </a:lnTo>
                  <a:lnTo>
                    <a:pt x="24813" y="621742"/>
                  </a:lnTo>
                  <a:lnTo>
                    <a:pt x="21323" y="624198"/>
                  </a:lnTo>
                  <a:lnTo>
                    <a:pt x="21323" y="624973"/>
                  </a:lnTo>
                  <a:lnTo>
                    <a:pt x="23391" y="625619"/>
                  </a:lnTo>
                  <a:lnTo>
                    <a:pt x="23133" y="626653"/>
                  </a:lnTo>
                  <a:lnTo>
                    <a:pt x="20548" y="628592"/>
                  </a:lnTo>
                  <a:lnTo>
                    <a:pt x="19643" y="630013"/>
                  </a:lnTo>
                  <a:lnTo>
                    <a:pt x="18351" y="634537"/>
                  </a:lnTo>
                  <a:lnTo>
                    <a:pt x="17317" y="636733"/>
                  </a:lnTo>
                  <a:lnTo>
                    <a:pt x="16025" y="637767"/>
                  </a:lnTo>
                  <a:lnTo>
                    <a:pt x="13311" y="639060"/>
                  </a:lnTo>
                  <a:lnTo>
                    <a:pt x="13053" y="639189"/>
                  </a:lnTo>
                  <a:lnTo>
                    <a:pt x="11114" y="641127"/>
                  </a:lnTo>
                  <a:lnTo>
                    <a:pt x="10726" y="641903"/>
                  </a:lnTo>
                  <a:lnTo>
                    <a:pt x="10468" y="642678"/>
                  </a:lnTo>
                  <a:lnTo>
                    <a:pt x="10209" y="643324"/>
                  </a:lnTo>
                  <a:lnTo>
                    <a:pt x="9563" y="644100"/>
                  </a:lnTo>
                  <a:lnTo>
                    <a:pt x="8012" y="644229"/>
                  </a:lnTo>
                  <a:lnTo>
                    <a:pt x="5686" y="646297"/>
                  </a:lnTo>
                  <a:lnTo>
                    <a:pt x="4135" y="649398"/>
                  </a:lnTo>
                  <a:lnTo>
                    <a:pt x="4394" y="652242"/>
                  </a:lnTo>
                  <a:lnTo>
                    <a:pt x="2972" y="653405"/>
                  </a:lnTo>
                  <a:lnTo>
                    <a:pt x="1551" y="655860"/>
                  </a:lnTo>
                  <a:lnTo>
                    <a:pt x="517" y="658832"/>
                  </a:lnTo>
                  <a:lnTo>
                    <a:pt x="0" y="661417"/>
                  </a:lnTo>
                  <a:lnTo>
                    <a:pt x="905" y="664131"/>
                  </a:lnTo>
                  <a:lnTo>
                    <a:pt x="4265" y="670463"/>
                  </a:lnTo>
                  <a:lnTo>
                    <a:pt x="4394" y="672144"/>
                  </a:lnTo>
                  <a:lnTo>
                    <a:pt x="5169" y="674340"/>
                  </a:lnTo>
                  <a:lnTo>
                    <a:pt x="5169" y="681707"/>
                  </a:lnTo>
                  <a:lnTo>
                    <a:pt x="5557" y="684162"/>
                  </a:lnTo>
                  <a:lnTo>
                    <a:pt x="6074" y="685842"/>
                  </a:lnTo>
                  <a:lnTo>
                    <a:pt x="6849" y="687005"/>
                  </a:lnTo>
                  <a:lnTo>
                    <a:pt x="8142" y="688427"/>
                  </a:lnTo>
                  <a:lnTo>
                    <a:pt x="8142" y="689073"/>
                  </a:lnTo>
                  <a:lnTo>
                    <a:pt x="7366" y="689719"/>
                  </a:lnTo>
                  <a:lnTo>
                    <a:pt x="7495" y="690107"/>
                  </a:lnTo>
                  <a:lnTo>
                    <a:pt x="7883" y="690624"/>
                  </a:lnTo>
                  <a:lnTo>
                    <a:pt x="8142" y="691399"/>
                  </a:lnTo>
                  <a:lnTo>
                    <a:pt x="8012" y="700833"/>
                  </a:lnTo>
                  <a:lnTo>
                    <a:pt x="9175" y="704452"/>
                  </a:lnTo>
                  <a:lnTo>
                    <a:pt x="12536" y="707554"/>
                  </a:lnTo>
                  <a:lnTo>
                    <a:pt x="15767" y="709104"/>
                  </a:lnTo>
                  <a:lnTo>
                    <a:pt x="16542" y="709621"/>
                  </a:lnTo>
                  <a:lnTo>
                    <a:pt x="17705" y="711560"/>
                  </a:lnTo>
                  <a:lnTo>
                    <a:pt x="18868" y="712981"/>
                  </a:lnTo>
                  <a:lnTo>
                    <a:pt x="19385" y="715178"/>
                  </a:lnTo>
                  <a:lnTo>
                    <a:pt x="19902" y="718797"/>
                  </a:lnTo>
                  <a:lnTo>
                    <a:pt x="19514" y="720606"/>
                  </a:lnTo>
                  <a:lnTo>
                    <a:pt x="18739" y="722674"/>
                  </a:lnTo>
                  <a:lnTo>
                    <a:pt x="17705" y="724483"/>
                  </a:lnTo>
                  <a:lnTo>
                    <a:pt x="16542" y="725259"/>
                  </a:lnTo>
                  <a:lnTo>
                    <a:pt x="15508" y="726551"/>
                  </a:lnTo>
                  <a:lnTo>
                    <a:pt x="15249" y="729394"/>
                  </a:lnTo>
                  <a:lnTo>
                    <a:pt x="15379" y="734176"/>
                  </a:lnTo>
                  <a:lnTo>
                    <a:pt x="14603" y="743610"/>
                  </a:lnTo>
                  <a:lnTo>
                    <a:pt x="14733" y="748650"/>
                  </a:lnTo>
                  <a:lnTo>
                    <a:pt x="16154" y="752656"/>
                  </a:lnTo>
                  <a:lnTo>
                    <a:pt x="14345" y="755241"/>
                  </a:lnTo>
                  <a:lnTo>
                    <a:pt x="13311" y="758730"/>
                  </a:lnTo>
                  <a:lnTo>
                    <a:pt x="12536" y="765709"/>
                  </a:lnTo>
                  <a:lnTo>
                    <a:pt x="13569" y="773333"/>
                  </a:lnTo>
                  <a:lnTo>
                    <a:pt x="13053" y="776952"/>
                  </a:lnTo>
                  <a:lnTo>
                    <a:pt x="9951" y="778503"/>
                  </a:lnTo>
                  <a:lnTo>
                    <a:pt x="8659" y="779407"/>
                  </a:lnTo>
                  <a:lnTo>
                    <a:pt x="8529" y="781604"/>
                  </a:lnTo>
                  <a:lnTo>
                    <a:pt x="8917" y="784060"/>
                  </a:lnTo>
                  <a:lnTo>
                    <a:pt x="8788" y="785998"/>
                  </a:lnTo>
                  <a:lnTo>
                    <a:pt x="3489" y="794528"/>
                  </a:lnTo>
                  <a:lnTo>
                    <a:pt x="2972" y="796337"/>
                  </a:lnTo>
                  <a:lnTo>
                    <a:pt x="3748" y="797112"/>
                  </a:lnTo>
                  <a:lnTo>
                    <a:pt x="4652" y="799051"/>
                  </a:lnTo>
                  <a:lnTo>
                    <a:pt x="4782" y="799697"/>
                  </a:lnTo>
                  <a:lnTo>
                    <a:pt x="4782" y="800731"/>
                  </a:lnTo>
                  <a:lnTo>
                    <a:pt x="4652" y="802152"/>
                  </a:lnTo>
                  <a:lnTo>
                    <a:pt x="3877" y="805383"/>
                  </a:lnTo>
                  <a:lnTo>
                    <a:pt x="3619" y="807322"/>
                  </a:lnTo>
                  <a:lnTo>
                    <a:pt x="3877" y="811199"/>
                  </a:lnTo>
                  <a:lnTo>
                    <a:pt x="16800" y="812750"/>
                  </a:lnTo>
                  <a:lnTo>
                    <a:pt x="24037" y="812620"/>
                  </a:lnTo>
                  <a:lnTo>
                    <a:pt x="37090" y="812491"/>
                  </a:lnTo>
                  <a:lnTo>
                    <a:pt x="40579" y="812750"/>
                  </a:lnTo>
                  <a:lnTo>
                    <a:pt x="41613" y="813396"/>
                  </a:lnTo>
                  <a:lnTo>
                    <a:pt x="42905" y="814559"/>
                  </a:lnTo>
                  <a:lnTo>
                    <a:pt x="49884" y="821667"/>
                  </a:lnTo>
                  <a:lnTo>
                    <a:pt x="53503" y="826965"/>
                  </a:lnTo>
                  <a:lnTo>
                    <a:pt x="54537" y="828904"/>
                  </a:lnTo>
                  <a:lnTo>
                    <a:pt x="54666" y="829421"/>
                  </a:lnTo>
                  <a:lnTo>
                    <a:pt x="55183" y="831876"/>
                  </a:lnTo>
                  <a:lnTo>
                    <a:pt x="55312" y="834590"/>
                  </a:lnTo>
                  <a:lnTo>
                    <a:pt x="55958" y="838467"/>
                  </a:lnTo>
                  <a:lnTo>
                    <a:pt x="56087" y="838984"/>
                  </a:lnTo>
                  <a:lnTo>
                    <a:pt x="57897" y="843249"/>
                  </a:lnTo>
                  <a:lnTo>
                    <a:pt x="58155" y="843895"/>
                  </a:lnTo>
                  <a:lnTo>
                    <a:pt x="64487" y="851261"/>
                  </a:lnTo>
                  <a:lnTo>
                    <a:pt x="68752" y="858628"/>
                  </a:lnTo>
                  <a:lnTo>
                    <a:pt x="70045" y="860566"/>
                  </a:lnTo>
                  <a:lnTo>
                    <a:pt x="70691" y="861083"/>
                  </a:lnTo>
                  <a:lnTo>
                    <a:pt x="71337" y="861341"/>
                  </a:lnTo>
                  <a:lnTo>
                    <a:pt x="72758" y="861471"/>
                  </a:lnTo>
                  <a:lnTo>
                    <a:pt x="73792" y="861729"/>
                  </a:lnTo>
                  <a:lnTo>
                    <a:pt x="74955" y="862246"/>
                  </a:lnTo>
                  <a:lnTo>
                    <a:pt x="78574" y="864701"/>
                  </a:lnTo>
                  <a:lnTo>
                    <a:pt x="83485" y="865994"/>
                  </a:lnTo>
                  <a:lnTo>
                    <a:pt x="85553" y="867157"/>
                  </a:lnTo>
                  <a:lnTo>
                    <a:pt x="89817" y="870129"/>
                  </a:lnTo>
                  <a:lnTo>
                    <a:pt x="90334" y="870388"/>
                  </a:lnTo>
                  <a:lnTo>
                    <a:pt x="92273" y="870775"/>
                  </a:lnTo>
                  <a:lnTo>
                    <a:pt x="97959" y="873489"/>
                  </a:lnTo>
                  <a:lnTo>
                    <a:pt x="98864" y="873748"/>
                  </a:lnTo>
                  <a:lnTo>
                    <a:pt x="99639" y="873748"/>
                  </a:lnTo>
                  <a:lnTo>
                    <a:pt x="100414" y="873748"/>
                  </a:lnTo>
                  <a:lnTo>
                    <a:pt x="101707" y="873619"/>
                  </a:lnTo>
                  <a:lnTo>
                    <a:pt x="102870" y="873231"/>
                  </a:lnTo>
                  <a:lnTo>
                    <a:pt x="103387" y="872972"/>
                  </a:lnTo>
                  <a:lnTo>
                    <a:pt x="103775" y="872714"/>
                  </a:lnTo>
                  <a:lnTo>
                    <a:pt x="105196" y="871680"/>
                  </a:lnTo>
                  <a:lnTo>
                    <a:pt x="106101" y="871292"/>
                  </a:lnTo>
                  <a:lnTo>
                    <a:pt x="107135" y="870905"/>
                  </a:lnTo>
                  <a:lnTo>
                    <a:pt x="110882" y="870258"/>
                  </a:lnTo>
                  <a:lnTo>
                    <a:pt x="112304" y="870129"/>
                  </a:lnTo>
                  <a:lnTo>
                    <a:pt x="120833" y="871809"/>
                  </a:lnTo>
                  <a:lnTo>
                    <a:pt x="122642" y="871939"/>
                  </a:lnTo>
                  <a:lnTo>
                    <a:pt x="123935" y="871809"/>
                  </a:lnTo>
                  <a:lnTo>
                    <a:pt x="125098" y="871551"/>
                  </a:lnTo>
                  <a:lnTo>
                    <a:pt x="126132" y="871163"/>
                  </a:lnTo>
                  <a:lnTo>
                    <a:pt x="127166" y="870646"/>
                  </a:lnTo>
                  <a:lnTo>
                    <a:pt x="127553" y="870388"/>
                  </a:lnTo>
                  <a:lnTo>
                    <a:pt x="127941" y="870000"/>
                  </a:lnTo>
                  <a:lnTo>
                    <a:pt x="128200" y="869483"/>
                  </a:lnTo>
                  <a:lnTo>
                    <a:pt x="131560" y="861471"/>
                  </a:lnTo>
                  <a:lnTo>
                    <a:pt x="131947" y="861083"/>
                  </a:lnTo>
                  <a:lnTo>
                    <a:pt x="132594" y="860307"/>
                  </a:lnTo>
                  <a:lnTo>
                    <a:pt x="133627" y="859791"/>
                  </a:lnTo>
                  <a:lnTo>
                    <a:pt x="137892" y="858110"/>
                  </a:lnTo>
                  <a:lnTo>
                    <a:pt x="140864" y="857464"/>
                  </a:lnTo>
                  <a:lnTo>
                    <a:pt x="142028" y="856947"/>
                  </a:lnTo>
                  <a:lnTo>
                    <a:pt x="142415" y="856689"/>
                  </a:lnTo>
                  <a:lnTo>
                    <a:pt x="142803" y="856431"/>
                  </a:lnTo>
                  <a:lnTo>
                    <a:pt x="143191" y="856043"/>
                  </a:lnTo>
                  <a:lnTo>
                    <a:pt x="143578" y="855526"/>
                  </a:lnTo>
                  <a:lnTo>
                    <a:pt x="144095" y="854621"/>
                  </a:lnTo>
                  <a:lnTo>
                    <a:pt x="145258" y="851907"/>
                  </a:lnTo>
                  <a:lnTo>
                    <a:pt x="145517" y="851520"/>
                  </a:lnTo>
                  <a:lnTo>
                    <a:pt x="145905" y="851132"/>
                  </a:lnTo>
                  <a:lnTo>
                    <a:pt x="146421" y="850873"/>
                  </a:lnTo>
                  <a:lnTo>
                    <a:pt x="147455" y="850486"/>
                  </a:lnTo>
                  <a:lnTo>
                    <a:pt x="149135" y="849969"/>
                  </a:lnTo>
                  <a:lnTo>
                    <a:pt x="149652" y="849710"/>
                  </a:lnTo>
                  <a:lnTo>
                    <a:pt x="150040" y="849452"/>
                  </a:lnTo>
                  <a:lnTo>
                    <a:pt x="150816" y="848676"/>
                  </a:lnTo>
                  <a:lnTo>
                    <a:pt x="152754" y="846092"/>
                  </a:lnTo>
                  <a:lnTo>
                    <a:pt x="153142" y="845704"/>
                  </a:lnTo>
                  <a:lnTo>
                    <a:pt x="154046" y="845187"/>
                  </a:lnTo>
                  <a:lnTo>
                    <a:pt x="154563" y="844929"/>
                  </a:lnTo>
                  <a:lnTo>
                    <a:pt x="155726" y="844670"/>
                  </a:lnTo>
                  <a:lnTo>
                    <a:pt x="159216" y="844283"/>
                  </a:lnTo>
                  <a:lnTo>
                    <a:pt x="162446" y="843378"/>
                  </a:lnTo>
                  <a:lnTo>
                    <a:pt x="165419" y="841827"/>
                  </a:lnTo>
                  <a:lnTo>
                    <a:pt x="166711" y="840922"/>
                  </a:lnTo>
                  <a:lnTo>
                    <a:pt x="167228" y="840664"/>
                  </a:lnTo>
                  <a:lnTo>
                    <a:pt x="168650" y="840535"/>
                  </a:lnTo>
                  <a:lnTo>
                    <a:pt x="178859" y="841698"/>
                  </a:lnTo>
                  <a:lnTo>
                    <a:pt x="186225" y="844670"/>
                  </a:lnTo>
                  <a:lnTo>
                    <a:pt x="187389" y="844929"/>
                  </a:lnTo>
                  <a:lnTo>
                    <a:pt x="188293" y="845058"/>
                  </a:lnTo>
                  <a:lnTo>
                    <a:pt x="188939" y="844929"/>
                  </a:lnTo>
                  <a:lnTo>
                    <a:pt x="196693" y="842344"/>
                  </a:lnTo>
                  <a:lnTo>
                    <a:pt x="197727" y="841827"/>
                  </a:lnTo>
                  <a:lnTo>
                    <a:pt x="199407" y="840535"/>
                  </a:lnTo>
                  <a:lnTo>
                    <a:pt x="200958" y="838725"/>
                  </a:lnTo>
                  <a:lnTo>
                    <a:pt x="212977" y="825802"/>
                  </a:lnTo>
                  <a:lnTo>
                    <a:pt x="214011" y="825156"/>
                  </a:lnTo>
                  <a:lnTo>
                    <a:pt x="214528" y="825027"/>
                  </a:lnTo>
                  <a:lnTo>
                    <a:pt x="215820" y="825027"/>
                  </a:lnTo>
                  <a:lnTo>
                    <a:pt x="216983" y="825285"/>
                  </a:lnTo>
                  <a:lnTo>
                    <a:pt x="217758" y="825414"/>
                  </a:lnTo>
                  <a:lnTo>
                    <a:pt x="218792" y="825156"/>
                  </a:lnTo>
                  <a:lnTo>
                    <a:pt x="220214" y="824510"/>
                  </a:lnTo>
                  <a:lnTo>
                    <a:pt x="220860" y="823993"/>
                  </a:lnTo>
                  <a:lnTo>
                    <a:pt x="221248" y="823347"/>
                  </a:lnTo>
                  <a:lnTo>
                    <a:pt x="221635" y="822184"/>
                  </a:lnTo>
                  <a:lnTo>
                    <a:pt x="222152" y="818694"/>
                  </a:lnTo>
                  <a:lnTo>
                    <a:pt x="222411" y="817919"/>
                  </a:lnTo>
                  <a:lnTo>
                    <a:pt x="222928" y="817402"/>
                  </a:lnTo>
                  <a:lnTo>
                    <a:pt x="224866" y="816368"/>
                  </a:lnTo>
                  <a:lnTo>
                    <a:pt x="225512" y="815851"/>
                  </a:lnTo>
                  <a:lnTo>
                    <a:pt x="225900" y="815334"/>
                  </a:lnTo>
                  <a:lnTo>
                    <a:pt x="226417" y="814300"/>
                  </a:lnTo>
                  <a:lnTo>
                    <a:pt x="227192" y="810940"/>
                  </a:lnTo>
                  <a:lnTo>
                    <a:pt x="228356" y="808356"/>
                  </a:lnTo>
                  <a:lnTo>
                    <a:pt x="232233" y="802669"/>
                  </a:lnTo>
                  <a:lnTo>
                    <a:pt x="232362" y="802152"/>
                  </a:lnTo>
                  <a:lnTo>
                    <a:pt x="232620" y="800731"/>
                  </a:lnTo>
                  <a:lnTo>
                    <a:pt x="233266" y="798922"/>
                  </a:lnTo>
                  <a:lnTo>
                    <a:pt x="233654" y="798405"/>
                  </a:lnTo>
                  <a:lnTo>
                    <a:pt x="234171" y="798017"/>
                  </a:lnTo>
                  <a:lnTo>
                    <a:pt x="235722" y="797112"/>
                  </a:lnTo>
                  <a:lnTo>
                    <a:pt x="236885" y="796208"/>
                  </a:lnTo>
                  <a:lnTo>
                    <a:pt x="237531" y="795561"/>
                  </a:lnTo>
                  <a:lnTo>
                    <a:pt x="237919" y="794915"/>
                  </a:lnTo>
                  <a:lnTo>
                    <a:pt x="237919" y="794269"/>
                  </a:lnTo>
                  <a:lnTo>
                    <a:pt x="237919" y="790909"/>
                  </a:lnTo>
                  <a:lnTo>
                    <a:pt x="238048" y="789875"/>
                  </a:lnTo>
                  <a:lnTo>
                    <a:pt x="238436" y="788841"/>
                  </a:lnTo>
                  <a:lnTo>
                    <a:pt x="238824" y="788195"/>
                  </a:lnTo>
                  <a:lnTo>
                    <a:pt x="242571" y="783930"/>
                  </a:lnTo>
                  <a:lnTo>
                    <a:pt x="243476" y="782250"/>
                  </a:lnTo>
                  <a:lnTo>
                    <a:pt x="244122" y="780829"/>
                  </a:lnTo>
                  <a:lnTo>
                    <a:pt x="244380" y="778890"/>
                  </a:lnTo>
                  <a:lnTo>
                    <a:pt x="244380" y="777469"/>
                  </a:lnTo>
                  <a:lnTo>
                    <a:pt x="244122" y="775401"/>
                  </a:lnTo>
                  <a:lnTo>
                    <a:pt x="243734" y="773721"/>
                  </a:lnTo>
                  <a:lnTo>
                    <a:pt x="242830" y="771653"/>
                  </a:lnTo>
                  <a:lnTo>
                    <a:pt x="242959" y="770619"/>
                  </a:lnTo>
                  <a:lnTo>
                    <a:pt x="243347" y="769327"/>
                  </a:lnTo>
                  <a:lnTo>
                    <a:pt x="245802" y="764029"/>
                  </a:lnTo>
                  <a:lnTo>
                    <a:pt x="246190" y="762607"/>
                  </a:lnTo>
                  <a:lnTo>
                    <a:pt x="246448" y="760798"/>
                  </a:lnTo>
                  <a:lnTo>
                    <a:pt x="246448" y="760152"/>
                  </a:lnTo>
                  <a:lnTo>
                    <a:pt x="246061" y="755499"/>
                  </a:lnTo>
                  <a:lnTo>
                    <a:pt x="245544" y="753302"/>
                  </a:lnTo>
                  <a:lnTo>
                    <a:pt x="245285" y="752785"/>
                  </a:lnTo>
                  <a:lnTo>
                    <a:pt x="245027" y="752398"/>
                  </a:lnTo>
                  <a:lnTo>
                    <a:pt x="244639" y="752010"/>
                  </a:lnTo>
                  <a:lnTo>
                    <a:pt x="241667" y="749813"/>
                  </a:lnTo>
                  <a:lnTo>
                    <a:pt x="240891" y="749037"/>
                  </a:lnTo>
                  <a:lnTo>
                    <a:pt x="240633" y="748520"/>
                  </a:lnTo>
                  <a:lnTo>
                    <a:pt x="240245" y="747487"/>
                  </a:lnTo>
                  <a:lnTo>
                    <a:pt x="239728" y="745677"/>
                  </a:lnTo>
                  <a:lnTo>
                    <a:pt x="239599" y="742963"/>
                  </a:lnTo>
                  <a:lnTo>
                    <a:pt x="239211" y="740508"/>
                  </a:lnTo>
                  <a:lnTo>
                    <a:pt x="235980" y="731332"/>
                  </a:lnTo>
                  <a:lnTo>
                    <a:pt x="235980" y="730816"/>
                  </a:lnTo>
                  <a:lnTo>
                    <a:pt x="235722" y="730299"/>
                  </a:lnTo>
                  <a:lnTo>
                    <a:pt x="235464" y="729782"/>
                  </a:lnTo>
                  <a:lnTo>
                    <a:pt x="234817" y="729006"/>
                  </a:lnTo>
                  <a:lnTo>
                    <a:pt x="234430" y="728619"/>
                  </a:lnTo>
                  <a:lnTo>
                    <a:pt x="234042" y="728231"/>
                  </a:lnTo>
                  <a:lnTo>
                    <a:pt x="232879" y="726422"/>
                  </a:lnTo>
                  <a:lnTo>
                    <a:pt x="232233" y="725646"/>
                  </a:lnTo>
                  <a:lnTo>
                    <a:pt x="230682" y="723578"/>
                  </a:lnTo>
                  <a:lnTo>
                    <a:pt x="230294" y="722932"/>
                  </a:lnTo>
                  <a:lnTo>
                    <a:pt x="229777" y="720735"/>
                  </a:lnTo>
                  <a:lnTo>
                    <a:pt x="230294" y="717246"/>
                  </a:lnTo>
                  <a:lnTo>
                    <a:pt x="230940" y="715954"/>
                  </a:lnTo>
                  <a:lnTo>
                    <a:pt x="231328" y="715695"/>
                  </a:lnTo>
                  <a:lnTo>
                    <a:pt x="232233" y="715307"/>
                  </a:lnTo>
                  <a:lnTo>
                    <a:pt x="236368" y="715437"/>
                  </a:lnTo>
                  <a:lnTo>
                    <a:pt x="238565" y="715824"/>
                  </a:lnTo>
                  <a:lnTo>
                    <a:pt x="242830" y="717117"/>
                  </a:lnTo>
                  <a:lnTo>
                    <a:pt x="243993" y="717246"/>
                  </a:lnTo>
                  <a:lnTo>
                    <a:pt x="244768" y="717117"/>
                  </a:lnTo>
                  <a:lnTo>
                    <a:pt x="245156" y="716858"/>
                  </a:lnTo>
                  <a:lnTo>
                    <a:pt x="245544" y="716471"/>
                  </a:lnTo>
                  <a:lnTo>
                    <a:pt x="245931" y="716083"/>
                  </a:lnTo>
                  <a:lnTo>
                    <a:pt x="246190" y="715695"/>
                  </a:lnTo>
                  <a:lnTo>
                    <a:pt x="246448" y="715178"/>
                  </a:lnTo>
                  <a:lnTo>
                    <a:pt x="247353" y="711431"/>
                  </a:lnTo>
                  <a:lnTo>
                    <a:pt x="247741" y="710267"/>
                  </a:lnTo>
                  <a:lnTo>
                    <a:pt x="248775" y="708329"/>
                  </a:lnTo>
                  <a:lnTo>
                    <a:pt x="249291" y="707683"/>
                  </a:lnTo>
                  <a:lnTo>
                    <a:pt x="250196" y="707037"/>
                  </a:lnTo>
                  <a:lnTo>
                    <a:pt x="252135" y="705744"/>
                  </a:lnTo>
                  <a:lnTo>
                    <a:pt x="253298" y="705357"/>
                  </a:lnTo>
                  <a:lnTo>
                    <a:pt x="254202" y="705357"/>
                  </a:lnTo>
                  <a:lnTo>
                    <a:pt x="257691" y="706390"/>
                  </a:lnTo>
                  <a:lnTo>
                    <a:pt x="259630" y="707424"/>
                  </a:lnTo>
                  <a:lnTo>
                    <a:pt x="260276" y="707554"/>
                  </a:lnTo>
                  <a:lnTo>
                    <a:pt x="261827" y="707941"/>
                  </a:lnTo>
                  <a:lnTo>
                    <a:pt x="262990" y="707941"/>
                  </a:lnTo>
                  <a:lnTo>
                    <a:pt x="263765" y="707812"/>
                  </a:lnTo>
                  <a:lnTo>
                    <a:pt x="264412" y="707554"/>
                  </a:lnTo>
                  <a:lnTo>
                    <a:pt x="264929" y="707295"/>
                  </a:lnTo>
                  <a:lnTo>
                    <a:pt x="265575" y="706649"/>
                  </a:lnTo>
                  <a:lnTo>
                    <a:pt x="265833" y="706003"/>
                  </a:lnTo>
                  <a:lnTo>
                    <a:pt x="266479" y="704323"/>
                  </a:lnTo>
                  <a:lnTo>
                    <a:pt x="266867" y="703676"/>
                  </a:lnTo>
                  <a:lnTo>
                    <a:pt x="267643" y="702901"/>
                  </a:lnTo>
                  <a:lnTo>
                    <a:pt x="269323" y="701867"/>
                  </a:lnTo>
                  <a:lnTo>
                    <a:pt x="270357" y="701738"/>
                  </a:lnTo>
                  <a:lnTo>
                    <a:pt x="271003" y="701738"/>
                  </a:lnTo>
                  <a:lnTo>
                    <a:pt x="274104" y="704710"/>
                  </a:lnTo>
                  <a:lnTo>
                    <a:pt x="275397" y="705615"/>
                  </a:lnTo>
                  <a:lnTo>
                    <a:pt x="275784" y="706003"/>
                  </a:lnTo>
                  <a:lnTo>
                    <a:pt x="276043" y="706520"/>
                  </a:lnTo>
                  <a:lnTo>
                    <a:pt x="278627" y="713498"/>
                  </a:lnTo>
                  <a:lnTo>
                    <a:pt x="278886" y="714015"/>
                  </a:lnTo>
                  <a:lnTo>
                    <a:pt x="279144" y="714403"/>
                  </a:lnTo>
                  <a:lnTo>
                    <a:pt x="279661" y="714791"/>
                  </a:lnTo>
                  <a:lnTo>
                    <a:pt x="280437" y="715178"/>
                  </a:lnTo>
                  <a:lnTo>
                    <a:pt x="281729" y="715566"/>
                  </a:lnTo>
                  <a:lnTo>
                    <a:pt x="282505" y="715437"/>
                  </a:lnTo>
                  <a:lnTo>
                    <a:pt x="283151" y="715307"/>
                  </a:lnTo>
                  <a:lnTo>
                    <a:pt x="283668" y="715178"/>
                  </a:lnTo>
                  <a:lnTo>
                    <a:pt x="284055" y="714791"/>
                  </a:lnTo>
                  <a:lnTo>
                    <a:pt x="284831" y="714015"/>
                  </a:lnTo>
                  <a:lnTo>
                    <a:pt x="285218" y="713627"/>
                  </a:lnTo>
                  <a:lnTo>
                    <a:pt x="285865" y="713240"/>
                  </a:lnTo>
                  <a:lnTo>
                    <a:pt x="286898" y="712852"/>
                  </a:lnTo>
                  <a:lnTo>
                    <a:pt x="287803" y="712723"/>
                  </a:lnTo>
                  <a:lnTo>
                    <a:pt x="290905" y="713111"/>
                  </a:lnTo>
                  <a:lnTo>
                    <a:pt x="292326" y="713111"/>
                  </a:lnTo>
                  <a:lnTo>
                    <a:pt x="294394" y="712852"/>
                  </a:lnTo>
                  <a:lnTo>
                    <a:pt x="295299" y="712723"/>
                  </a:lnTo>
                  <a:lnTo>
                    <a:pt x="296074" y="712852"/>
                  </a:lnTo>
                  <a:lnTo>
                    <a:pt x="296591" y="713111"/>
                  </a:lnTo>
                  <a:lnTo>
                    <a:pt x="297495" y="713886"/>
                  </a:lnTo>
                  <a:lnTo>
                    <a:pt x="298142" y="714274"/>
                  </a:lnTo>
                  <a:lnTo>
                    <a:pt x="298788" y="714274"/>
                  </a:lnTo>
                  <a:lnTo>
                    <a:pt x="299434" y="714144"/>
                  </a:lnTo>
                  <a:lnTo>
                    <a:pt x="299822" y="713886"/>
                  </a:lnTo>
                  <a:lnTo>
                    <a:pt x="300080" y="713369"/>
                  </a:lnTo>
                  <a:lnTo>
                    <a:pt x="300726" y="711689"/>
                  </a:lnTo>
                  <a:lnTo>
                    <a:pt x="300985" y="711301"/>
                  </a:lnTo>
                  <a:lnTo>
                    <a:pt x="301373" y="710914"/>
                  </a:lnTo>
                  <a:lnTo>
                    <a:pt x="303957" y="709750"/>
                  </a:lnTo>
                  <a:lnTo>
                    <a:pt x="305379" y="709234"/>
                  </a:lnTo>
                  <a:lnTo>
                    <a:pt x="306283" y="709234"/>
                  </a:lnTo>
                  <a:lnTo>
                    <a:pt x="307059" y="709363"/>
                  </a:lnTo>
                  <a:lnTo>
                    <a:pt x="309126" y="710397"/>
                  </a:lnTo>
                  <a:lnTo>
                    <a:pt x="309643" y="710526"/>
                  </a:lnTo>
                  <a:lnTo>
                    <a:pt x="314425" y="711560"/>
                  </a:lnTo>
                  <a:lnTo>
                    <a:pt x="314942" y="711818"/>
                  </a:lnTo>
                  <a:lnTo>
                    <a:pt x="315330" y="712206"/>
                  </a:lnTo>
                  <a:lnTo>
                    <a:pt x="315588" y="712723"/>
                  </a:lnTo>
                  <a:lnTo>
                    <a:pt x="315717" y="714791"/>
                  </a:lnTo>
                  <a:lnTo>
                    <a:pt x="315976" y="715307"/>
                  </a:lnTo>
                  <a:lnTo>
                    <a:pt x="316234" y="715824"/>
                  </a:lnTo>
                  <a:lnTo>
                    <a:pt x="316880" y="716212"/>
                  </a:lnTo>
                  <a:lnTo>
                    <a:pt x="317527" y="716212"/>
                  </a:lnTo>
                  <a:lnTo>
                    <a:pt x="319853" y="715824"/>
                  </a:lnTo>
                  <a:lnTo>
                    <a:pt x="320758" y="715824"/>
                  </a:lnTo>
                  <a:lnTo>
                    <a:pt x="321404" y="715954"/>
                  </a:lnTo>
                  <a:lnTo>
                    <a:pt x="322954" y="716729"/>
                  </a:lnTo>
                  <a:lnTo>
                    <a:pt x="325410" y="717375"/>
                  </a:lnTo>
                  <a:lnTo>
                    <a:pt x="325927" y="717634"/>
                  </a:lnTo>
                  <a:lnTo>
                    <a:pt x="326315" y="717892"/>
                  </a:lnTo>
                  <a:lnTo>
                    <a:pt x="326702" y="718409"/>
                  </a:lnTo>
                  <a:lnTo>
                    <a:pt x="326832" y="718926"/>
                  </a:lnTo>
                  <a:lnTo>
                    <a:pt x="326702" y="719443"/>
                  </a:lnTo>
                  <a:lnTo>
                    <a:pt x="326573" y="719960"/>
                  </a:lnTo>
                  <a:lnTo>
                    <a:pt x="325798" y="721381"/>
                  </a:lnTo>
                  <a:lnTo>
                    <a:pt x="325539" y="722545"/>
                  </a:lnTo>
                  <a:lnTo>
                    <a:pt x="325539" y="722803"/>
                  </a:lnTo>
                  <a:lnTo>
                    <a:pt x="325539" y="723061"/>
                  </a:lnTo>
                  <a:lnTo>
                    <a:pt x="325668" y="723449"/>
                  </a:lnTo>
                  <a:lnTo>
                    <a:pt x="325798" y="723837"/>
                  </a:lnTo>
                  <a:lnTo>
                    <a:pt x="326185" y="724225"/>
                  </a:lnTo>
                  <a:lnTo>
                    <a:pt x="326573" y="724612"/>
                  </a:lnTo>
                  <a:lnTo>
                    <a:pt x="326961" y="724871"/>
                  </a:lnTo>
                  <a:lnTo>
                    <a:pt x="327478" y="725129"/>
                  </a:lnTo>
                  <a:lnTo>
                    <a:pt x="329933" y="725646"/>
                  </a:lnTo>
                  <a:lnTo>
                    <a:pt x="335232" y="728231"/>
                  </a:lnTo>
                  <a:lnTo>
                    <a:pt x="335878" y="728360"/>
                  </a:lnTo>
                  <a:lnTo>
                    <a:pt x="336395" y="728102"/>
                  </a:lnTo>
                  <a:lnTo>
                    <a:pt x="337170" y="727455"/>
                  </a:lnTo>
                  <a:lnTo>
                    <a:pt x="337558" y="727068"/>
                  </a:lnTo>
                  <a:lnTo>
                    <a:pt x="338463" y="726551"/>
                  </a:lnTo>
                  <a:lnTo>
                    <a:pt x="339496" y="726163"/>
                  </a:lnTo>
                  <a:lnTo>
                    <a:pt x="340789" y="725905"/>
                  </a:lnTo>
                  <a:lnTo>
                    <a:pt x="342469" y="725905"/>
                  </a:lnTo>
                  <a:lnTo>
                    <a:pt x="345700" y="725259"/>
                  </a:lnTo>
                  <a:lnTo>
                    <a:pt x="348801" y="725517"/>
                  </a:lnTo>
                  <a:lnTo>
                    <a:pt x="353195" y="726163"/>
                  </a:lnTo>
                  <a:lnTo>
                    <a:pt x="354229" y="726422"/>
                  </a:lnTo>
                  <a:lnTo>
                    <a:pt x="354617" y="726680"/>
                  </a:lnTo>
                  <a:lnTo>
                    <a:pt x="356426" y="728619"/>
                  </a:lnTo>
                  <a:lnTo>
                    <a:pt x="356943" y="729135"/>
                  </a:lnTo>
                  <a:lnTo>
                    <a:pt x="357718" y="729523"/>
                  </a:lnTo>
                  <a:lnTo>
                    <a:pt x="358881" y="730040"/>
                  </a:lnTo>
                  <a:lnTo>
                    <a:pt x="359657" y="730040"/>
                  </a:lnTo>
                  <a:lnTo>
                    <a:pt x="360174" y="729782"/>
                  </a:lnTo>
                  <a:lnTo>
                    <a:pt x="360561" y="729523"/>
                  </a:lnTo>
                  <a:lnTo>
                    <a:pt x="361079" y="728489"/>
                  </a:lnTo>
                  <a:lnTo>
                    <a:pt x="361595" y="727455"/>
                  </a:lnTo>
                  <a:lnTo>
                    <a:pt x="362629" y="723061"/>
                  </a:lnTo>
                  <a:lnTo>
                    <a:pt x="362888" y="722545"/>
                  </a:lnTo>
                  <a:lnTo>
                    <a:pt x="363146" y="722157"/>
                  </a:lnTo>
                  <a:lnTo>
                    <a:pt x="363663" y="721769"/>
                  </a:lnTo>
                  <a:lnTo>
                    <a:pt x="364697" y="721381"/>
                  </a:lnTo>
                  <a:lnTo>
                    <a:pt x="365343" y="721381"/>
                  </a:lnTo>
                  <a:lnTo>
                    <a:pt x="365989" y="721511"/>
                  </a:lnTo>
                  <a:lnTo>
                    <a:pt x="367153" y="721898"/>
                  </a:lnTo>
                  <a:lnTo>
                    <a:pt x="372192" y="722803"/>
                  </a:lnTo>
                  <a:lnTo>
                    <a:pt x="374002" y="722932"/>
                  </a:lnTo>
                  <a:lnTo>
                    <a:pt x="374131" y="722803"/>
                  </a:lnTo>
                  <a:lnTo>
                    <a:pt x="374519" y="722545"/>
                  </a:lnTo>
                  <a:lnTo>
                    <a:pt x="374777" y="722157"/>
                  </a:lnTo>
                  <a:lnTo>
                    <a:pt x="374906" y="721640"/>
                  </a:lnTo>
                  <a:lnTo>
                    <a:pt x="374906" y="720348"/>
                  </a:lnTo>
                  <a:lnTo>
                    <a:pt x="375165" y="719701"/>
                  </a:lnTo>
                  <a:lnTo>
                    <a:pt x="375940" y="719185"/>
                  </a:lnTo>
                  <a:lnTo>
                    <a:pt x="376845" y="718151"/>
                  </a:lnTo>
                  <a:lnTo>
                    <a:pt x="379042" y="714403"/>
                  </a:lnTo>
                  <a:lnTo>
                    <a:pt x="380076" y="713111"/>
                  </a:lnTo>
                  <a:lnTo>
                    <a:pt x="380851" y="712335"/>
                  </a:lnTo>
                  <a:lnTo>
                    <a:pt x="381239" y="712077"/>
                  </a:lnTo>
                  <a:lnTo>
                    <a:pt x="381756" y="711818"/>
                  </a:lnTo>
                  <a:lnTo>
                    <a:pt x="384987" y="710784"/>
                  </a:lnTo>
                  <a:lnTo>
                    <a:pt x="386021" y="710267"/>
                  </a:lnTo>
                  <a:lnTo>
                    <a:pt x="386925" y="709750"/>
                  </a:lnTo>
                  <a:lnTo>
                    <a:pt x="387184" y="709492"/>
                  </a:lnTo>
                  <a:lnTo>
                    <a:pt x="387442" y="709234"/>
                  </a:lnTo>
                  <a:lnTo>
                    <a:pt x="387701" y="708846"/>
                  </a:lnTo>
                  <a:lnTo>
                    <a:pt x="387830" y="708458"/>
                  </a:lnTo>
                  <a:lnTo>
                    <a:pt x="388605" y="706132"/>
                  </a:lnTo>
                  <a:lnTo>
                    <a:pt x="389122" y="705227"/>
                  </a:lnTo>
                  <a:lnTo>
                    <a:pt x="390156" y="704064"/>
                  </a:lnTo>
                  <a:lnTo>
                    <a:pt x="390931" y="703418"/>
                  </a:lnTo>
                  <a:lnTo>
                    <a:pt x="392094" y="702643"/>
                  </a:lnTo>
                  <a:lnTo>
                    <a:pt x="393128" y="702255"/>
                  </a:lnTo>
                  <a:lnTo>
                    <a:pt x="393775" y="702255"/>
                  </a:lnTo>
                  <a:lnTo>
                    <a:pt x="394421" y="702384"/>
                  </a:lnTo>
                  <a:lnTo>
                    <a:pt x="395842" y="703030"/>
                  </a:lnTo>
                  <a:lnTo>
                    <a:pt x="397134" y="703289"/>
                  </a:lnTo>
                  <a:lnTo>
                    <a:pt x="397910" y="703289"/>
                  </a:lnTo>
                  <a:lnTo>
                    <a:pt x="410187" y="700833"/>
                  </a:lnTo>
                  <a:lnTo>
                    <a:pt x="411221" y="700316"/>
                  </a:lnTo>
                  <a:lnTo>
                    <a:pt x="413806" y="699283"/>
                  </a:lnTo>
                  <a:lnTo>
                    <a:pt x="414710" y="698766"/>
                  </a:lnTo>
                  <a:lnTo>
                    <a:pt x="415615" y="698119"/>
                  </a:lnTo>
                  <a:lnTo>
                    <a:pt x="418587" y="694242"/>
                  </a:lnTo>
                  <a:lnTo>
                    <a:pt x="419363" y="692950"/>
                  </a:lnTo>
                  <a:lnTo>
                    <a:pt x="419880" y="692433"/>
                  </a:lnTo>
                  <a:lnTo>
                    <a:pt x="420526" y="691916"/>
                  </a:lnTo>
                  <a:lnTo>
                    <a:pt x="421689" y="691399"/>
                  </a:lnTo>
                  <a:lnTo>
                    <a:pt x="422464" y="691399"/>
                  </a:lnTo>
                  <a:lnTo>
                    <a:pt x="422981" y="691658"/>
                  </a:lnTo>
                  <a:lnTo>
                    <a:pt x="423757" y="692562"/>
                  </a:lnTo>
                  <a:lnTo>
                    <a:pt x="424532" y="692950"/>
                  </a:lnTo>
                  <a:lnTo>
                    <a:pt x="424920" y="692821"/>
                  </a:lnTo>
                  <a:lnTo>
                    <a:pt x="426083" y="692046"/>
                  </a:lnTo>
                  <a:lnTo>
                    <a:pt x="426988" y="691529"/>
                  </a:lnTo>
                  <a:lnTo>
                    <a:pt x="427634" y="691529"/>
                  </a:lnTo>
                  <a:lnTo>
                    <a:pt x="428151" y="691787"/>
                  </a:lnTo>
                  <a:lnTo>
                    <a:pt x="429055" y="692304"/>
                  </a:lnTo>
                  <a:lnTo>
                    <a:pt x="429702" y="692562"/>
                  </a:lnTo>
                  <a:lnTo>
                    <a:pt x="430348" y="692821"/>
                  </a:lnTo>
                  <a:lnTo>
                    <a:pt x="431382" y="693079"/>
                  </a:lnTo>
                  <a:lnTo>
                    <a:pt x="432028" y="692950"/>
                  </a:lnTo>
                  <a:lnTo>
                    <a:pt x="432674" y="692562"/>
                  </a:lnTo>
                  <a:lnTo>
                    <a:pt x="433061" y="692304"/>
                  </a:lnTo>
                  <a:lnTo>
                    <a:pt x="433837" y="691916"/>
                  </a:lnTo>
                  <a:lnTo>
                    <a:pt x="434483" y="691787"/>
                  </a:lnTo>
                  <a:lnTo>
                    <a:pt x="435129" y="691787"/>
                  </a:lnTo>
                  <a:lnTo>
                    <a:pt x="436292" y="692175"/>
                  </a:lnTo>
                  <a:lnTo>
                    <a:pt x="436809" y="692433"/>
                  </a:lnTo>
                  <a:lnTo>
                    <a:pt x="437326" y="692692"/>
                  </a:lnTo>
                  <a:lnTo>
                    <a:pt x="437714" y="692950"/>
                  </a:lnTo>
                  <a:lnTo>
                    <a:pt x="437972" y="693467"/>
                  </a:lnTo>
                  <a:lnTo>
                    <a:pt x="438360" y="693855"/>
                  </a:lnTo>
                  <a:lnTo>
                    <a:pt x="439006" y="695406"/>
                  </a:lnTo>
                  <a:lnTo>
                    <a:pt x="439394" y="695922"/>
                  </a:lnTo>
                  <a:lnTo>
                    <a:pt x="439911" y="696310"/>
                  </a:lnTo>
                  <a:lnTo>
                    <a:pt x="441074" y="696569"/>
                  </a:lnTo>
                  <a:lnTo>
                    <a:pt x="441720" y="696439"/>
                  </a:lnTo>
                  <a:lnTo>
                    <a:pt x="442237" y="696310"/>
                  </a:lnTo>
                  <a:lnTo>
                    <a:pt x="443142" y="695664"/>
                  </a:lnTo>
                  <a:lnTo>
                    <a:pt x="443917" y="694889"/>
                  </a:lnTo>
                  <a:lnTo>
                    <a:pt x="444951" y="693726"/>
                  </a:lnTo>
                  <a:lnTo>
                    <a:pt x="447148" y="689073"/>
                  </a:lnTo>
                  <a:lnTo>
                    <a:pt x="447406" y="688685"/>
                  </a:lnTo>
                  <a:lnTo>
                    <a:pt x="447665" y="688168"/>
                  </a:lnTo>
                  <a:lnTo>
                    <a:pt x="448052" y="687781"/>
                  </a:lnTo>
                  <a:lnTo>
                    <a:pt x="448828" y="687393"/>
                  </a:lnTo>
                  <a:lnTo>
                    <a:pt x="453222" y="685842"/>
                  </a:lnTo>
                  <a:lnTo>
                    <a:pt x="453868" y="685325"/>
                  </a:lnTo>
                  <a:lnTo>
                    <a:pt x="454256" y="684938"/>
                  </a:lnTo>
                  <a:lnTo>
                    <a:pt x="454514" y="684421"/>
                  </a:lnTo>
                  <a:lnTo>
                    <a:pt x="454773" y="684033"/>
                  </a:lnTo>
                  <a:lnTo>
                    <a:pt x="454902" y="683387"/>
                  </a:lnTo>
                  <a:lnTo>
                    <a:pt x="454773" y="682224"/>
                  </a:lnTo>
                  <a:lnTo>
                    <a:pt x="454514" y="680414"/>
                  </a:lnTo>
                  <a:lnTo>
                    <a:pt x="454385" y="674728"/>
                  </a:lnTo>
                  <a:lnTo>
                    <a:pt x="453351" y="669430"/>
                  </a:lnTo>
                  <a:lnTo>
                    <a:pt x="453351" y="669171"/>
                  </a:lnTo>
                  <a:lnTo>
                    <a:pt x="453351" y="668913"/>
                  </a:lnTo>
                  <a:lnTo>
                    <a:pt x="453480" y="668396"/>
                  </a:lnTo>
                  <a:lnTo>
                    <a:pt x="453868" y="667879"/>
                  </a:lnTo>
                  <a:lnTo>
                    <a:pt x="454643" y="667103"/>
                  </a:lnTo>
                  <a:lnTo>
                    <a:pt x="455548" y="666716"/>
                  </a:lnTo>
                  <a:lnTo>
                    <a:pt x="456970" y="666457"/>
                  </a:lnTo>
                  <a:lnTo>
                    <a:pt x="457874" y="666457"/>
                  </a:lnTo>
                  <a:lnTo>
                    <a:pt x="461622" y="666716"/>
                  </a:lnTo>
                  <a:lnTo>
                    <a:pt x="462656" y="666587"/>
                  </a:lnTo>
                  <a:lnTo>
                    <a:pt x="466662" y="665294"/>
                  </a:lnTo>
                  <a:lnTo>
                    <a:pt x="467567" y="665165"/>
                  </a:lnTo>
                  <a:lnTo>
                    <a:pt x="468213" y="665036"/>
                  </a:lnTo>
                  <a:lnTo>
                    <a:pt x="468859" y="665165"/>
                  </a:lnTo>
                  <a:lnTo>
                    <a:pt x="469376" y="665294"/>
                  </a:lnTo>
                  <a:lnTo>
                    <a:pt x="469893" y="665553"/>
                  </a:lnTo>
                  <a:lnTo>
                    <a:pt x="470668" y="665811"/>
                  </a:lnTo>
                  <a:lnTo>
                    <a:pt x="471444" y="666070"/>
                  </a:lnTo>
                  <a:lnTo>
                    <a:pt x="472865" y="666199"/>
                  </a:lnTo>
                  <a:lnTo>
                    <a:pt x="473641" y="666070"/>
                  </a:lnTo>
                  <a:lnTo>
                    <a:pt x="474287" y="665811"/>
                  </a:lnTo>
                  <a:lnTo>
                    <a:pt x="474675" y="665553"/>
                  </a:lnTo>
                  <a:lnTo>
                    <a:pt x="475709" y="664389"/>
                  </a:lnTo>
                  <a:lnTo>
                    <a:pt x="476613" y="663743"/>
                  </a:lnTo>
                  <a:lnTo>
                    <a:pt x="479715" y="662063"/>
                  </a:lnTo>
                  <a:lnTo>
                    <a:pt x="480102" y="661805"/>
                  </a:lnTo>
                  <a:lnTo>
                    <a:pt x="480361" y="661546"/>
                  </a:lnTo>
                  <a:lnTo>
                    <a:pt x="480878" y="660642"/>
                  </a:lnTo>
                  <a:lnTo>
                    <a:pt x="482558" y="655472"/>
                  </a:lnTo>
                  <a:lnTo>
                    <a:pt x="483075" y="654568"/>
                  </a:lnTo>
                  <a:lnTo>
                    <a:pt x="486823" y="650949"/>
                  </a:lnTo>
                  <a:lnTo>
                    <a:pt x="487210" y="650432"/>
                  </a:lnTo>
                  <a:lnTo>
                    <a:pt x="487986" y="649011"/>
                  </a:lnTo>
                  <a:lnTo>
                    <a:pt x="488632" y="648235"/>
                  </a:lnTo>
                  <a:lnTo>
                    <a:pt x="489795" y="647072"/>
                  </a:lnTo>
                  <a:lnTo>
                    <a:pt x="490053" y="646685"/>
                  </a:lnTo>
                  <a:lnTo>
                    <a:pt x="490570" y="645651"/>
                  </a:lnTo>
                  <a:lnTo>
                    <a:pt x="492121" y="641127"/>
                  </a:lnTo>
                  <a:lnTo>
                    <a:pt x="493543" y="638026"/>
                  </a:lnTo>
                  <a:lnTo>
                    <a:pt x="503106" y="634020"/>
                  </a:lnTo>
                  <a:lnTo>
                    <a:pt x="510731" y="629755"/>
                  </a:lnTo>
                  <a:lnTo>
                    <a:pt x="511248" y="629367"/>
                  </a:lnTo>
                  <a:lnTo>
                    <a:pt x="511765" y="628721"/>
                  </a:lnTo>
                  <a:lnTo>
                    <a:pt x="512669" y="627429"/>
                  </a:lnTo>
                  <a:lnTo>
                    <a:pt x="513445" y="626007"/>
                  </a:lnTo>
                  <a:lnTo>
                    <a:pt x="514220" y="623810"/>
                  </a:lnTo>
                  <a:lnTo>
                    <a:pt x="514737" y="622776"/>
                  </a:lnTo>
                  <a:lnTo>
                    <a:pt x="515125" y="622389"/>
                  </a:lnTo>
                  <a:lnTo>
                    <a:pt x="516288" y="620579"/>
                  </a:lnTo>
                  <a:lnTo>
                    <a:pt x="516805" y="620192"/>
                  </a:lnTo>
                  <a:lnTo>
                    <a:pt x="517580" y="619804"/>
                  </a:lnTo>
                  <a:lnTo>
                    <a:pt x="519906" y="619158"/>
                  </a:lnTo>
                  <a:lnTo>
                    <a:pt x="522620" y="618770"/>
                  </a:lnTo>
                  <a:lnTo>
                    <a:pt x="523137" y="618641"/>
                  </a:lnTo>
                  <a:lnTo>
                    <a:pt x="523783" y="618382"/>
                  </a:lnTo>
                  <a:lnTo>
                    <a:pt x="524430" y="617865"/>
                  </a:lnTo>
                  <a:lnTo>
                    <a:pt x="525334" y="616832"/>
                  </a:lnTo>
                  <a:lnTo>
                    <a:pt x="525722" y="616185"/>
                  </a:lnTo>
                  <a:lnTo>
                    <a:pt x="525851" y="615668"/>
                  </a:lnTo>
                  <a:lnTo>
                    <a:pt x="526110" y="613988"/>
                  </a:lnTo>
                  <a:lnTo>
                    <a:pt x="526368" y="613213"/>
                  </a:lnTo>
                  <a:lnTo>
                    <a:pt x="527144" y="612308"/>
                  </a:lnTo>
                  <a:lnTo>
                    <a:pt x="528694" y="610628"/>
                  </a:lnTo>
                  <a:lnTo>
                    <a:pt x="529470" y="609724"/>
                  </a:lnTo>
                  <a:lnTo>
                    <a:pt x="529858" y="608948"/>
                  </a:lnTo>
                  <a:lnTo>
                    <a:pt x="530245" y="607656"/>
                  </a:lnTo>
                  <a:lnTo>
                    <a:pt x="530633" y="607139"/>
                  </a:lnTo>
                  <a:lnTo>
                    <a:pt x="531538" y="606751"/>
                  </a:lnTo>
                  <a:lnTo>
                    <a:pt x="533347" y="606234"/>
                  </a:lnTo>
                  <a:lnTo>
                    <a:pt x="534381" y="606234"/>
                  </a:lnTo>
                  <a:lnTo>
                    <a:pt x="535285" y="606234"/>
                  </a:lnTo>
                  <a:lnTo>
                    <a:pt x="539550" y="607268"/>
                  </a:lnTo>
                  <a:lnTo>
                    <a:pt x="540455" y="607656"/>
                  </a:lnTo>
                  <a:lnTo>
                    <a:pt x="541101" y="608173"/>
                  </a:lnTo>
                  <a:lnTo>
                    <a:pt x="541488" y="608173"/>
                  </a:lnTo>
                  <a:lnTo>
                    <a:pt x="542134" y="607914"/>
                  </a:lnTo>
                  <a:lnTo>
                    <a:pt x="542910" y="607268"/>
                  </a:lnTo>
                  <a:lnTo>
                    <a:pt x="543944" y="605718"/>
                  </a:lnTo>
                  <a:lnTo>
                    <a:pt x="544332" y="604684"/>
                  </a:lnTo>
                  <a:lnTo>
                    <a:pt x="544461" y="603908"/>
                  </a:lnTo>
                  <a:lnTo>
                    <a:pt x="544461" y="602487"/>
                  </a:lnTo>
                  <a:lnTo>
                    <a:pt x="545236" y="599514"/>
                  </a:lnTo>
                  <a:lnTo>
                    <a:pt x="545495" y="598868"/>
                  </a:lnTo>
                  <a:lnTo>
                    <a:pt x="545882" y="598610"/>
                  </a:lnTo>
                  <a:lnTo>
                    <a:pt x="546916" y="598610"/>
                  </a:lnTo>
                  <a:lnTo>
                    <a:pt x="547562" y="598739"/>
                  </a:lnTo>
                  <a:lnTo>
                    <a:pt x="548079" y="598997"/>
                  </a:lnTo>
                  <a:lnTo>
                    <a:pt x="549889" y="600160"/>
                  </a:lnTo>
                  <a:lnTo>
                    <a:pt x="550406" y="600419"/>
                  </a:lnTo>
                  <a:lnTo>
                    <a:pt x="550923" y="600548"/>
                  </a:lnTo>
                  <a:lnTo>
                    <a:pt x="551569" y="600419"/>
                  </a:lnTo>
                  <a:lnTo>
                    <a:pt x="552215" y="599902"/>
                  </a:lnTo>
                  <a:lnTo>
                    <a:pt x="552732" y="598480"/>
                  </a:lnTo>
                  <a:lnTo>
                    <a:pt x="553249" y="596800"/>
                  </a:lnTo>
                  <a:lnTo>
                    <a:pt x="553378" y="596283"/>
                  </a:lnTo>
                  <a:lnTo>
                    <a:pt x="554541" y="595250"/>
                  </a:lnTo>
                  <a:lnTo>
                    <a:pt x="557643" y="593570"/>
                  </a:lnTo>
                  <a:lnTo>
                    <a:pt x="559064" y="590209"/>
                  </a:lnTo>
                  <a:lnTo>
                    <a:pt x="559193" y="589434"/>
                  </a:lnTo>
                  <a:lnTo>
                    <a:pt x="559710" y="588529"/>
                  </a:lnTo>
                  <a:lnTo>
                    <a:pt x="560098" y="587883"/>
                  </a:lnTo>
                  <a:lnTo>
                    <a:pt x="567077" y="583748"/>
                  </a:lnTo>
                  <a:lnTo>
                    <a:pt x="567593" y="583231"/>
                  </a:lnTo>
                  <a:lnTo>
                    <a:pt x="569274" y="581163"/>
                  </a:lnTo>
                  <a:lnTo>
                    <a:pt x="571341" y="579225"/>
                  </a:lnTo>
                  <a:lnTo>
                    <a:pt x="573797" y="576511"/>
                  </a:lnTo>
                  <a:lnTo>
                    <a:pt x="574702" y="576123"/>
                  </a:lnTo>
                  <a:lnTo>
                    <a:pt x="575477" y="575865"/>
                  </a:lnTo>
                  <a:lnTo>
                    <a:pt x="575994" y="575865"/>
                  </a:lnTo>
                  <a:lnTo>
                    <a:pt x="576382" y="575606"/>
                  </a:lnTo>
                  <a:lnTo>
                    <a:pt x="576769" y="575218"/>
                  </a:lnTo>
                  <a:lnTo>
                    <a:pt x="577157" y="574831"/>
                  </a:lnTo>
                  <a:lnTo>
                    <a:pt x="577803" y="574055"/>
                  </a:lnTo>
                  <a:lnTo>
                    <a:pt x="578578" y="572634"/>
                  </a:lnTo>
                  <a:lnTo>
                    <a:pt x="582068" y="564750"/>
                  </a:lnTo>
                  <a:lnTo>
                    <a:pt x="582714" y="560873"/>
                  </a:lnTo>
                  <a:lnTo>
                    <a:pt x="583489" y="551310"/>
                  </a:lnTo>
                  <a:lnTo>
                    <a:pt x="582714" y="545365"/>
                  </a:lnTo>
                  <a:lnTo>
                    <a:pt x="581939" y="543556"/>
                  </a:lnTo>
                  <a:lnTo>
                    <a:pt x="581292" y="542781"/>
                  </a:lnTo>
                  <a:lnTo>
                    <a:pt x="579095" y="541101"/>
                  </a:lnTo>
                  <a:lnTo>
                    <a:pt x="577286" y="539938"/>
                  </a:lnTo>
                  <a:lnTo>
                    <a:pt x="571083" y="537224"/>
                  </a:lnTo>
                  <a:lnTo>
                    <a:pt x="570308" y="536578"/>
                  </a:lnTo>
                  <a:lnTo>
                    <a:pt x="569661" y="535802"/>
                  </a:lnTo>
                  <a:lnTo>
                    <a:pt x="569661" y="534898"/>
                  </a:lnTo>
                  <a:lnTo>
                    <a:pt x="569920" y="533605"/>
                  </a:lnTo>
                  <a:lnTo>
                    <a:pt x="571083" y="531150"/>
                  </a:lnTo>
                  <a:lnTo>
                    <a:pt x="572375" y="528953"/>
                  </a:lnTo>
                  <a:lnTo>
                    <a:pt x="572892" y="528565"/>
                  </a:lnTo>
                  <a:lnTo>
                    <a:pt x="573409" y="527660"/>
                  </a:lnTo>
                  <a:lnTo>
                    <a:pt x="573667" y="526885"/>
                  </a:lnTo>
                  <a:lnTo>
                    <a:pt x="573926" y="525980"/>
                  </a:lnTo>
                  <a:lnTo>
                    <a:pt x="573926" y="523525"/>
                  </a:lnTo>
                  <a:lnTo>
                    <a:pt x="573926" y="522620"/>
                  </a:lnTo>
                  <a:lnTo>
                    <a:pt x="573280" y="520423"/>
                  </a:lnTo>
                  <a:lnTo>
                    <a:pt x="573021" y="519906"/>
                  </a:lnTo>
                  <a:lnTo>
                    <a:pt x="570824" y="517063"/>
                  </a:lnTo>
                  <a:lnTo>
                    <a:pt x="566689" y="509309"/>
                  </a:lnTo>
                  <a:lnTo>
                    <a:pt x="566430" y="508792"/>
                  </a:lnTo>
                  <a:lnTo>
                    <a:pt x="565914" y="506466"/>
                  </a:lnTo>
                  <a:lnTo>
                    <a:pt x="565914" y="505691"/>
                  </a:lnTo>
                  <a:lnTo>
                    <a:pt x="566430" y="500263"/>
                  </a:lnTo>
                  <a:lnTo>
                    <a:pt x="566689" y="499875"/>
                  </a:lnTo>
                  <a:lnTo>
                    <a:pt x="566818" y="499488"/>
                  </a:lnTo>
                  <a:lnTo>
                    <a:pt x="566947" y="499229"/>
                  </a:lnTo>
                  <a:lnTo>
                    <a:pt x="567335" y="498971"/>
                  </a:lnTo>
                  <a:lnTo>
                    <a:pt x="567852" y="498454"/>
                  </a:lnTo>
                  <a:lnTo>
                    <a:pt x="570178" y="497420"/>
                  </a:lnTo>
                  <a:lnTo>
                    <a:pt x="570954" y="497032"/>
                  </a:lnTo>
                  <a:lnTo>
                    <a:pt x="582714" y="496127"/>
                  </a:lnTo>
                  <a:lnTo>
                    <a:pt x="583360" y="489278"/>
                  </a:lnTo>
                  <a:lnTo>
                    <a:pt x="583102" y="487986"/>
                  </a:lnTo>
                  <a:lnTo>
                    <a:pt x="582714" y="486435"/>
                  </a:lnTo>
                  <a:lnTo>
                    <a:pt x="581939" y="485660"/>
                  </a:lnTo>
                  <a:lnTo>
                    <a:pt x="581034" y="484367"/>
                  </a:lnTo>
                  <a:lnTo>
                    <a:pt x="579871" y="482687"/>
                  </a:lnTo>
                  <a:lnTo>
                    <a:pt x="578449" y="478939"/>
                  </a:lnTo>
                  <a:lnTo>
                    <a:pt x="578061" y="476872"/>
                  </a:lnTo>
                  <a:lnTo>
                    <a:pt x="578061" y="475192"/>
                  </a:lnTo>
                  <a:lnTo>
                    <a:pt x="585686" y="454773"/>
                  </a:lnTo>
                  <a:lnTo>
                    <a:pt x="586074" y="453997"/>
                  </a:lnTo>
                  <a:lnTo>
                    <a:pt x="593311" y="444046"/>
                  </a:lnTo>
                  <a:lnTo>
                    <a:pt x="593957" y="442883"/>
                  </a:lnTo>
                  <a:lnTo>
                    <a:pt x="595637" y="438877"/>
                  </a:lnTo>
                  <a:lnTo>
                    <a:pt x="596025" y="437197"/>
                  </a:lnTo>
                  <a:lnTo>
                    <a:pt x="596154" y="435646"/>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3" name="Graphic 2">
              <a:extLst>
                <a:ext uri="{FF2B5EF4-FFF2-40B4-BE49-F238E27FC236}">
                  <a16:creationId xmlns:a16="http://schemas.microsoft.com/office/drawing/2014/main" id="{BDECE6CC-BD23-A6EF-47BE-56EE0E2439B7}"/>
                </a:ext>
              </a:extLst>
            </p:cNvPr>
            <p:cNvSpPr/>
            <p:nvPr/>
          </p:nvSpPr>
          <p:spPr>
            <a:xfrm>
              <a:off x="7174453" y="2577609"/>
              <a:ext cx="703547" cy="238565"/>
            </a:xfrm>
            <a:custGeom>
              <a:avLst/>
              <a:gdLst>
                <a:gd name="connsiteX0" fmla="*/ 703289 w 703547"/>
                <a:gd name="connsiteY0" fmla="*/ 66684 h 238565"/>
                <a:gd name="connsiteX1" fmla="*/ 702643 w 703547"/>
                <a:gd name="connsiteY1" fmla="*/ 65392 h 238565"/>
                <a:gd name="connsiteX2" fmla="*/ 701738 w 703547"/>
                <a:gd name="connsiteY2" fmla="*/ 62807 h 238565"/>
                <a:gd name="connsiteX3" fmla="*/ 701092 w 703547"/>
                <a:gd name="connsiteY3" fmla="*/ 61515 h 238565"/>
                <a:gd name="connsiteX4" fmla="*/ 699670 w 703547"/>
                <a:gd name="connsiteY4" fmla="*/ 64487 h 238565"/>
                <a:gd name="connsiteX5" fmla="*/ 699800 w 703547"/>
                <a:gd name="connsiteY5" fmla="*/ 60610 h 238565"/>
                <a:gd name="connsiteX6" fmla="*/ 699412 w 703547"/>
                <a:gd name="connsiteY6" fmla="*/ 59189 h 238565"/>
                <a:gd name="connsiteX7" fmla="*/ 699282 w 703547"/>
                <a:gd name="connsiteY7" fmla="*/ 57897 h 238565"/>
                <a:gd name="connsiteX8" fmla="*/ 695276 w 703547"/>
                <a:gd name="connsiteY8" fmla="*/ 57121 h 238565"/>
                <a:gd name="connsiteX9" fmla="*/ 694372 w 703547"/>
                <a:gd name="connsiteY9" fmla="*/ 55958 h 238565"/>
                <a:gd name="connsiteX10" fmla="*/ 694501 w 703547"/>
                <a:gd name="connsiteY10" fmla="*/ 51435 h 238565"/>
                <a:gd name="connsiteX11" fmla="*/ 695276 w 703547"/>
                <a:gd name="connsiteY11" fmla="*/ 49626 h 238565"/>
                <a:gd name="connsiteX12" fmla="*/ 696181 w 703547"/>
                <a:gd name="connsiteY12" fmla="*/ 48721 h 238565"/>
                <a:gd name="connsiteX13" fmla="*/ 696827 w 703547"/>
                <a:gd name="connsiteY13" fmla="*/ 47816 h 238565"/>
                <a:gd name="connsiteX14" fmla="*/ 697215 w 703547"/>
                <a:gd name="connsiteY14" fmla="*/ 46782 h 238565"/>
                <a:gd name="connsiteX15" fmla="*/ 696827 w 703547"/>
                <a:gd name="connsiteY15" fmla="*/ 46395 h 238565"/>
                <a:gd name="connsiteX16" fmla="*/ 695922 w 703547"/>
                <a:gd name="connsiteY16" fmla="*/ 46395 h 238565"/>
                <a:gd name="connsiteX17" fmla="*/ 694759 w 703547"/>
                <a:gd name="connsiteY17" fmla="*/ 47429 h 238565"/>
                <a:gd name="connsiteX18" fmla="*/ 692691 w 703547"/>
                <a:gd name="connsiteY18" fmla="*/ 48592 h 238565"/>
                <a:gd name="connsiteX19" fmla="*/ 693467 w 703547"/>
                <a:gd name="connsiteY19" fmla="*/ 46912 h 238565"/>
                <a:gd name="connsiteX20" fmla="*/ 694889 w 703547"/>
                <a:gd name="connsiteY20" fmla="*/ 45878 h 238565"/>
                <a:gd name="connsiteX21" fmla="*/ 696052 w 703547"/>
                <a:gd name="connsiteY21" fmla="*/ 45361 h 238565"/>
                <a:gd name="connsiteX22" fmla="*/ 697344 w 703547"/>
                <a:gd name="connsiteY22" fmla="*/ 45619 h 238565"/>
                <a:gd name="connsiteX23" fmla="*/ 697732 w 703547"/>
                <a:gd name="connsiteY23" fmla="*/ 43552 h 238565"/>
                <a:gd name="connsiteX24" fmla="*/ 696052 w 703547"/>
                <a:gd name="connsiteY24" fmla="*/ 38382 h 238565"/>
                <a:gd name="connsiteX25" fmla="*/ 696310 w 703547"/>
                <a:gd name="connsiteY25" fmla="*/ 36315 h 238565"/>
                <a:gd name="connsiteX26" fmla="*/ 696956 w 703547"/>
                <a:gd name="connsiteY26" fmla="*/ 37865 h 238565"/>
                <a:gd name="connsiteX27" fmla="*/ 699282 w 703547"/>
                <a:gd name="connsiteY27" fmla="*/ 42130 h 238565"/>
                <a:gd name="connsiteX28" fmla="*/ 699282 w 703547"/>
                <a:gd name="connsiteY28" fmla="*/ 40579 h 238565"/>
                <a:gd name="connsiteX29" fmla="*/ 699412 w 703547"/>
                <a:gd name="connsiteY29" fmla="*/ 39933 h 238565"/>
                <a:gd name="connsiteX30" fmla="*/ 699800 w 703547"/>
                <a:gd name="connsiteY30" fmla="*/ 39158 h 238565"/>
                <a:gd name="connsiteX31" fmla="*/ 699800 w 703547"/>
                <a:gd name="connsiteY31" fmla="*/ 40450 h 238565"/>
                <a:gd name="connsiteX32" fmla="*/ 700058 w 703547"/>
                <a:gd name="connsiteY32" fmla="*/ 41613 h 238565"/>
                <a:gd name="connsiteX33" fmla="*/ 700058 w 703547"/>
                <a:gd name="connsiteY33" fmla="*/ 43035 h 238565"/>
                <a:gd name="connsiteX34" fmla="*/ 700833 w 703547"/>
                <a:gd name="connsiteY34" fmla="*/ 43164 h 238565"/>
                <a:gd name="connsiteX35" fmla="*/ 701996 w 703547"/>
                <a:gd name="connsiteY35" fmla="*/ 40192 h 238565"/>
                <a:gd name="connsiteX36" fmla="*/ 702772 w 703547"/>
                <a:gd name="connsiteY36" fmla="*/ 38641 h 238565"/>
                <a:gd name="connsiteX37" fmla="*/ 703547 w 703547"/>
                <a:gd name="connsiteY37" fmla="*/ 36961 h 238565"/>
                <a:gd name="connsiteX38" fmla="*/ 703159 w 703547"/>
                <a:gd name="connsiteY38" fmla="*/ 36056 h 238565"/>
                <a:gd name="connsiteX39" fmla="*/ 701867 w 703547"/>
                <a:gd name="connsiteY39" fmla="*/ 34505 h 238565"/>
                <a:gd name="connsiteX40" fmla="*/ 700704 w 703547"/>
                <a:gd name="connsiteY40" fmla="*/ 32696 h 238565"/>
                <a:gd name="connsiteX41" fmla="*/ 700317 w 703547"/>
                <a:gd name="connsiteY41" fmla="*/ 30628 h 238565"/>
                <a:gd name="connsiteX42" fmla="*/ 697086 w 703547"/>
                <a:gd name="connsiteY42" fmla="*/ 29594 h 238565"/>
                <a:gd name="connsiteX43" fmla="*/ 690236 w 703547"/>
                <a:gd name="connsiteY43" fmla="*/ 29853 h 238565"/>
                <a:gd name="connsiteX44" fmla="*/ 691916 w 703547"/>
                <a:gd name="connsiteY44" fmla="*/ 28948 h 238565"/>
                <a:gd name="connsiteX45" fmla="*/ 693596 w 703547"/>
                <a:gd name="connsiteY45" fmla="*/ 28431 h 238565"/>
                <a:gd name="connsiteX46" fmla="*/ 693984 w 703547"/>
                <a:gd name="connsiteY46" fmla="*/ 28431 h 238565"/>
                <a:gd name="connsiteX47" fmla="*/ 693984 w 703547"/>
                <a:gd name="connsiteY47" fmla="*/ 28431 h 238565"/>
                <a:gd name="connsiteX48" fmla="*/ 690624 w 703547"/>
                <a:gd name="connsiteY48" fmla="*/ 26622 h 238565"/>
                <a:gd name="connsiteX49" fmla="*/ 684808 w 703547"/>
                <a:gd name="connsiteY49" fmla="*/ 25071 h 238565"/>
                <a:gd name="connsiteX50" fmla="*/ 684162 w 703547"/>
                <a:gd name="connsiteY50" fmla="*/ 24684 h 238565"/>
                <a:gd name="connsiteX51" fmla="*/ 684033 w 703547"/>
                <a:gd name="connsiteY51" fmla="*/ 24167 h 238565"/>
                <a:gd name="connsiteX52" fmla="*/ 683904 w 703547"/>
                <a:gd name="connsiteY52" fmla="*/ 23650 h 238565"/>
                <a:gd name="connsiteX53" fmla="*/ 683774 w 703547"/>
                <a:gd name="connsiteY53" fmla="*/ 23004 h 238565"/>
                <a:gd name="connsiteX54" fmla="*/ 683645 w 703547"/>
                <a:gd name="connsiteY54" fmla="*/ 22487 h 238565"/>
                <a:gd name="connsiteX55" fmla="*/ 682482 w 703547"/>
                <a:gd name="connsiteY55" fmla="*/ 20290 h 238565"/>
                <a:gd name="connsiteX56" fmla="*/ 677959 w 703547"/>
                <a:gd name="connsiteY56" fmla="*/ 15896 h 238565"/>
                <a:gd name="connsiteX57" fmla="*/ 675633 w 703547"/>
                <a:gd name="connsiteY57" fmla="*/ 14216 h 238565"/>
                <a:gd name="connsiteX58" fmla="*/ 673436 w 703547"/>
                <a:gd name="connsiteY58" fmla="*/ 13440 h 238565"/>
                <a:gd name="connsiteX59" fmla="*/ 670980 w 703547"/>
                <a:gd name="connsiteY59" fmla="*/ 12923 h 238565"/>
                <a:gd name="connsiteX60" fmla="*/ 670334 w 703547"/>
                <a:gd name="connsiteY60" fmla="*/ 12923 h 238565"/>
                <a:gd name="connsiteX61" fmla="*/ 669688 w 703547"/>
                <a:gd name="connsiteY61" fmla="*/ 13053 h 238565"/>
                <a:gd name="connsiteX62" fmla="*/ 667362 w 703547"/>
                <a:gd name="connsiteY62" fmla="*/ 13699 h 238565"/>
                <a:gd name="connsiteX63" fmla="*/ 665811 w 703547"/>
                <a:gd name="connsiteY63" fmla="*/ 13828 h 238565"/>
                <a:gd name="connsiteX64" fmla="*/ 657411 w 703547"/>
                <a:gd name="connsiteY64" fmla="*/ 11631 h 238565"/>
                <a:gd name="connsiteX65" fmla="*/ 655214 w 703547"/>
                <a:gd name="connsiteY65" fmla="*/ 11243 h 238565"/>
                <a:gd name="connsiteX66" fmla="*/ 653534 w 703547"/>
                <a:gd name="connsiteY66" fmla="*/ 11243 h 238565"/>
                <a:gd name="connsiteX67" fmla="*/ 652371 w 703547"/>
                <a:gd name="connsiteY67" fmla="*/ 11502 h 238565"/>
                <a:gd name="connsiteX68" fmla="*/ 651595 w 703547"/>
                <a:gd name="connsiteY68" fmla="*/ 11760 h 238565"/>
                <a:gd name="connsiteX69" fmla="*/ 649527 w 703547"/>
                <a:gd name="connsiteY69" fmla="*/ 12794 h 238565"/>
                <a:gd name="connsiteX70" fmla="*/ 648623 w 703547"/>
                <a:gd name="connsiteY70" fmla="*/ 13440 h 238565"/>
                <a:gd name="connsiteX71" fmla="*/ 645521 w 703547"/>
                <a:gd name="connsiteY71" fmla="*/ 16154 h 238565"/>
                <a:gd name="connsiteX72" fmla="*/ 643453 w 703547"/>
                <a:gd name="connsiteY72" fmla="*/ 18739 h 238565"/>
                <a:gd name="connsiteX73" fmla="*/ 642420 w 703547"/>
                <a:gd name="connsiteY73" fmla="*/ 19643 h 238565"/>
                <a:gd name="connsiteX74" fmla="*/ 641257 w 703547"/>
                <a:gd name="connsiteY74" fmla="*/ 20290 h 238565"/>
                <a:gd name="connsiteX75" fmla="*/ 640481 w 703547"/>
                <a:gd name="connsiteY75" fmla="*/ 20548 h 238565"/>
                <a:gd name="connsiteX76" fmla="*/ 639706 w 703547"/>
                <a:gd name="connsiteY76" fmla="*/ 20548 h 238565"/>
                <a:gd name="connsiteX77" fmla="*/ 639189 w 703547"/>
                <a:gd name="connsiteY77" fmla="*/ 20419 h 238565"/>
                <a:gd name="connsiteX78" fmla="*/ 638672 w 703547"/>
                <a:gd name="connsiteY78" fmla="*/ 20160 h 238565"/>
                <a:gd name="connsiteX79" fmla="*/ 638284 w 703547"/>
                <a:gd name="connsiteY79" fmla="*/ 19902 h 238565"/>
                <a:gd name="connsiteX80" fmla="*/ 637767 w 703547"/>
                <a:gd name="connsiteY80" fmla="*/ 19643 h 238565"/>
                <a:gd name="connsiteX81" fmla="*/ 636992 w 703547"/>
                <a:gd name="connsiteY81" fmla="*/ 19385 h 238565"/>
                <a:gd name="connsiteX82" fmla="*/ 630659 w 703547"/>
                <a:gd name="connsiteY82" fmla="*/ 19127 h 238565"/>
                <a:gd name="connsiteX83" fmla="*/ 629755 w 703547"/>
                <a:gd name="connsiteY83" fmla="*/ 19256 h 238565"/>
                <a:gd name="connsiteX84" fmla="*/ 629109 w 703547"/>
                <a:gd name="connsiteY84" fmla="*/ 19514 h 238565"/>
                <a:gd name="connsiteX85" fmla="*/ 628721 w 703547"/>
                <a:gd name="connsiteY85" fmla="*/ 19902 h 238565"/>
                <a:gd name="connsiteX86" fmla="*/ 628204 w 703547"/>
                <a:gd name="connsiteY86" fmla="*/ 20936 h 238565"/>
                <a:gd name="connsiteX87" fmla="*/ 627687 w 703547"/>
                <a:gd name="connsiteY87" fmla="*/ 22487 h 238565"/>
                <a:gd name="connsiteX88" fmla="*/ 626653 w 703547"/>
                <a:gd name="connsiteY88" fmla="*/ 28561 h 238565"/>
                <a:gd name="connsiteX89" fmla="*/ 624198 w 703547"/>
                <a:gd name="connsiteY89" fmla="*/ 38382 h 238565"/>
                <a:gd name="connsiteX90" fmla="*/ 622905 w 703547"/>
                <a:gd name="connsiteY90" fmla="*/ 40838 h 238565"/>
                <a:gd name="connsiteX91" fmla="*/ 616831 w 703547"/>
                <a:gd name="connsiteY91" fmla="*/ 42906 h 238565"/>
                <a:gd name="connsiteX92" fmla="*/ 615022 w 703547"/>
                <a:gd name="connsiteY92" fmla="*/ 44069 h 238565"/>
                <a:gd name="connsiteX93" fmla="*/ 612308 w 703547"/>
                <a:gd name="connsiteY93" fmla="*/ 46266 h 238565"/>
                <a:gd name="connsiteX94" fmla="*/ 611533 w 703547"/>
                <a:gd name="connsiteY94" fmla="*/ 46782 h 238565"/>
                <a:gd name="connsiteX95" fmla="*/ 610757 w 703547"/>
                <a:gd name="connsiteY95" fmla="*/ 47170 h 238565"/>
                <a:gd name="connsiteX96" fmla="*/ 610241 w 703547"/>
                <a:gd name="connsiteY96" fmla="*/ 47299 h 238565"/>
                <a:gd name="connsiteX97" fmla="*/ 609724 w 703547"/>
                <a:gd name="connsiteY97" fmla="*/ 47299 h 238565"/>
                <a:gd name="connsiteX98" fmla="*/ 609207 w 703547"/>
                <a:gd name="connsiteY98" fmla="*/ 47170 h 238565"/>
                <a:gd name="connsiteX99" fmla="*/ 608173 w 703547"/>
                <a:gd name="connsiteY99" fmla="*/ 46653 h 238565"/>
                <a:gd name="connsiteX100" fmla="*/ 607656 w 703547"/>
                <a:gd name="connsiteY100" fmla="*/ 46524 h 238565"/>
                <a:gd name="connsiteX101" fmla="*/ 607010 w 703547"/>
                <a:gd name="connsiteY101" fmla="*/ 46524 h 238565"/>
                <a:gd name="connsiteX102" fmla="*/ 606364 w 703547"/>
                <a:gd name="connsiteY102" fmla="*/ 46653 h 238565"/>
                <a:gd name="connsiteX103" fmla="*/ 596930 w 703547"/>
                <a:gd name="connsiteY103" fmla="*/ 50272 h 238565"/>
                <a:gd name="connsiteX104" fmla="*/ 595766 w 703547"/>
                <a:gd name="connsiteY104" fmla="*/ 50530 h 238565"/>
                <a:gd name="connsiteX105" fmla="*/ 594474 w 703547"/>
                <a:gd name="connsiteY105" fmla="*/ 50660 h 238565"/>
                <a:gd name="connsiteX106" fmla="*/ 593440 w 703547"/>
                <a:gd name="connsiteY106" fmla="*/ 50918 h 238565"/>
                <a:gd name="connsiteX107" fmla="*/ 590856 w 703547"/>
                <a:gd name="connsiteY107" fmla="*/ 51823 h 238565"/>
                <a:gd name="connsiteX108" fmla="*/ 590209 w 703547"/>
                <a:gd name="connsiteY108" fmla="*/ 51823 h 238565"/>
                <a:gd name="connsiteX109" fmla="*/ 589692 w 703547"/>
                <a:gd name="connsiteY109" fmla="*/ 51693 h 238565"/>
                <a:gd name="connsiteX110" fmla="*/ 589305 w 703547"/>
                <a:gd name="connsiteY110" fmla="*/ 51435 h 238565"/>
                <a:gd name="connsiteX111" fmla="*/ 589046 w 703547"/>
                <a:gd name="connsiteY111" fmla="*/ 51047 h 238565"/>
                <a:gd name="connsiteX112" fmla="*/ 589046 w 703547"/>
                <a:gd name="connsiteY112" fmla="*/ 50530 h 238565"/>
                <a:gd name="connsiteX113" fmla="*/ 589176 w 703547"/>
                <a:gd name="connsiteY113" fmla="*/ 50013 h 238565"/>
                <a:gd name="connsiteX114" fmla="*/ 589305 w 703547"/>
                <a:gd name="connsiteY114" fmla="*/ 49496 h 238565"/>
                <a:gd name="connsiteX115" fmla="*/ 589046 w 703547"/>
                <a:gd name="connsiteY115" fmla="*/ 48980 h 238565"/>
                <a:gd name="connsiteX116" fmla="*/ 588529 w 703547"/>
                <a:gd name="connsiteY116" fmla="*/ 48721 h 238565"/>
                <a:gd name="connsiteX117" fmla="*/ 587625 w 703547"/>
                <a:gd name="connsiteY117" fmla="*/ 48721 h 238565"/>
                <a:gd name="connsiteX118" fmla="*/ 587108 w 703547"/>
                <a:gd name="connsiteY118" fmla="*/ 48980 h 238565"/>
                <a:gd name="connsiteX119" fmla="*/ 586591 w 703547"/>
                <a:gd name="connsiteY119" fmla="*/ 49367 h 238565"/>
                <a:gd name="connsiteX120" fmla="*/ 586332 w 703547"/>
                <a:gd name="connsiteY120" fmla="*/ 49884 h 238565"/>
                <a:gd name="connsiteX121" fmla="*/ 586074 w 703547"/>
                <a:gd name="connsiteY121" fmla="*/ 50401 h 238565"/>
                <a:gd name="connsiteX122" fmla="*/ 585945 w 703547"/>
                <a:gd name="connsiteY122" fmla="*/ 51047 h 238565"/>
                <a:gd name="connsiteX123" fmla="*/ 585945 w 703547"/>
                <a:gd name="connsiteY123" fmla="*/ 51693 h 238565"/>
                <a:gd name="connsiteX124" fmla="*/ 586074 w 703547"/>
                <a:gd name="connsiteY124" fmla="*/ 52210 h 238565"/>
                <a:gd name="connsiteX125" fmla="*/ 586332 w 703547"/>
                <a:gd name="connsiteY125" fmla="*/ 52598 h 238565"/>
                <a:gd name="connsiteX126" fmla="*/ 586720 w 703547"/>
                <a:gd name="connsiteY126" fmla="*/ 52986 h 238565"/>
                <a:gd name="connsiteX127" fmla="*/ 587625 w 703547"/>
                <a:gd name="connsiteY127" fmla="*/ 53632 h 238565"/>
                <a:gd name="connsiteX128" fmla="*/ 589046 w 703547"/>
                <a:gd name="connsiteY128" fmla="*/ 54407 h 238565"/>
                <a:gd name="connsiteX129" fmla="*/ 589434 w 703547"/>
                <a:gd name="connsiteY129" fmla="*/ 54666 h 238565"/>
                <a:gd name="connsiteX130" fmla="*/ 589822 w 703547"/>
                <a:gd name="connsiteY130" fmla="*/ 55053 h 238565"/>
                <a:gd name="connsiteX131" fmla="*/ 590080 w 703547"/>
                <a:gd name="connsiteY131" fmla="*/ 55570 h 238565"/>
                <a:gd name="connsiteX132" fmla="*/ 590080 w 703547"/>
                <a:gd name="connsiteY132" fmla="*/ 56217 h 238565"/>
                <a:gd name="connsiteX133" fmla="*/ 589692 w 703547"/>
                <a:gd name="connsiteY133" fmla="*/ 56992 h 238565"/>
                <a:gd name="connsiteX134" fmla="*/ 589176 w 703547"/>
                <a:gd name="connsiteY134" fmla="*/ 57380 h 238565"/>
                <a:gd name="connsiteX135" fmla="*/ 588529 w 703547"/>
                <a:gd name="connsiteY135" fmla="*/ 57509 h 238565"/>
                <a:gd name="connsiteX136" fmla="*/ 587883 w 703547"/>
                <a:gd name="connsiteY136" fmla="*/ 57509 h 238565"/>
                <a:gd name="connsiteX137" fmla="*/ 585945 w 703547"/>
                <a:gd name="connsiteY137" fmla="*/ 57121 h 238565"/>
                <a:gd name="connsiteX138" fmla="*/ 585169 w 703547"/>
                <a:gd name="connsiteY138" fmla="*/ 56992 h 238565"/>
                <a:gd name="connsiteX139" fmla="*/ 584135 w 703547"/>
                <a:gd name="connsiteY139" fmla="*/ 56992 h 238565"/>
                <a:gd name="connsiteX140" fmla="*/ 583618 w 703547"/>
                <a:gd name="connsiteY140" fmla="*/ 57380 h 238565"/>
                <a:gd name="connsiteX141" fmla="*/ 583360 w 703547"/>
                <a:gd name="connsiteY141" fmla="*/ 57897 h 238565"/>
                <a:gd name="connsiteX142" fmla="*/ 583360 w 703547"/>
                <a:gd name="connsiteY142" fmla="*/ 58414 h 238565"/>
                <a:gd name="connsiteX143" fmla="*/ 583489 w 703547"/>
                <a:gd name="connsiteY143" fmla="*/ 59577 h 238565"/>
                <a:gd name="connsiteX144" fmla="*/ 583489 w 703547"/>
                <a:gd name="connsiteY144" fmla="*/ 60223 h 238565"/>
                <a:gd name="connsiteX145" fmla="*/ 583102 w 703547"/>
                <a:gd name="connsiteY145" fmla="*/ 60869 h 238565"/>
                <a:gd name="connsiteX146" fmla="*/ 582585 w 703547"/>
                <a:gd name="connsiteY146" fmla="*/ 60998 h 238565"/>
                <a:gd name="connsiteX147" fmla="*/ 582197 w 703547"/>
                <a:gd name="connsiteY147" fmla="*/ 60869 h 238565"/>
                <a:gd name="connsiteX148" fmla="*/ 581809 w 703547"/>
                <a:gd name="connsiteY148" fmla="*/ 60481 h 238565"/>
                <a:gd name="connsiteX149" fmla="*/ 580776 w 703547"/>
                <a:gd name="connsiteY149" fmla="*/ 59318 h 238565"/>
                <a:gd name="connsiteX150" fmla="*/ 580387 w 703547"/>
                <a:gd name="connsiteY150" fmla="*/ 59060 h 238565"/>
                <a:gd name="connsiteX151" fmla="*/ 579354 w 703547"/>
                <a:gd name="connsiteY151" fmla="*/ 58543 h 238565"/>
                <a:gd name="connsiteX152" fmla="*/ 578837 w 703547"/>
                <a:gd name="connsiteY152" fmla="*/ 58414 h 238565"/>
                <a:gd name="connsiteX153" fmla="*/ 577545 w 703547"/>
                <a:gd name="connsiteY153" fmla="*/ 58284 h 238565"/>
                <a:gd name="connsiteX154" fmla="*/ 575218 w 703547"/>
                <a:gd name="connsiteY154" fmla="*/ 58414 h 238565"/>
                <a:gd name="connsiteX155" fmla="*/ 569274 w 703547"/>
                <a:gd name="connsiteY155" fmla="*/ 59964 h 238565"/>
                <a:gd name="connsiteX156" fmla="*/ 568628 w 703547"/>
                <a:gd name="connsiteY156" fmla="*/ 59964 h 238565"/>
                <a:gd name="connsiteX157" fmla="*/ 567981 w 703547"/>
                <a:gd name="connsiteY157" fmla="*/ 59964 h 238565"/>
                <a:gd name="connsiteX158" fmla="*/ 567464 w 703547"/>
                <a:gd name="connsiteY158" fmla="*/ 59706 h 238565"/>
                <a:gd name="connsiteX159" fmla="*/ 567076 w 703547"/>
                <a:gd name="connsiteY159" fmla="*/ 59318 h 238565"/>
                <a:gd name="connsiteX160" fmla="*/ 566818 w 703547"/>
                <a:gd name="connsiteY160" fmla="*/ 58801 h 238565"/>
                <a:gd name="connsiteX161" fmla="*/ 566689 w 703547"/>
                <a:gd name="connsiteY161" fmla="*/ 58155 h 238565"/>
                <a:gd name="connsiteX162" fmla="*/ 566818 w 703547"/>
                <a:gd name="connsiteY162" fmla="*/ 56217 h 238565"/>
                <a:gd name="connsiteX163" fmla="*/ 566818 w 703547"/>
                <a:gd name="connsiteY163" fmla="*/ 55700 h 238565"/>
                <a:gd name="connsiteX164" fmla="*/ 566689 w 703547"/>
                <a:gd name="connsiteY164" fmla="*/ 55312 h 238565"/>
                <a:gd name="connsiteX165" fmla="*/ 566560 w 703547"/>
                <a:gd name="connsiteY165" fmla="*/ 55053 h 238565"/>
                <a:gd name="connsiteX166" fmla="*/ 566301 w 703547"/>
                <a:gd name="connsiteY166" fmla="*/ 54666 h 238565"/>
                <a:gd name="connsiteX167" fmla="*/ 565784 w 703547"/>
                <a:gd name="connsiteY167" fmla="*/ 54278 h 238565"/>
                <a:gd name="connsiteX168" fmla="*/ 565138 w 703547"/>
                <a:gd name="connsiteY168" fmla="*/ 54020 h 238565"/>
                <a:gd name="connsiteX169" fmla="*/ 563846 w 703547"/>
                <a:gd name="connsiteY169" fmla="*/ 54020 h 238565"/>
                <a:gd name="connsiteX170" fmla="*/ 563070 w 703547"/>
                <a:gd name="connsiteY170" fmla="*/ 54149 h 238565"/>
                <a:gd name="connsiteX171" fmla="*/ 562554 w 703547"/>
                <a:gd name="connsiteY171" fmla="*/ 54407 h 238565"/>
                <a:gd name="connsiteX172" fmla="*/ 562166 w 703547"/>
                <a:gd name="connsiteY172" fmla="*/ 54666 h 238565"/>
                <a:gd name="connsiteX173" fmla="*/ 559969 w 703547"/>
                <a:gd name="connsiteY173" fmla="*/ 57509 h 238565"/>
                <a:gd name="connsiteX174" fmla="*/ 558806 w 703547"/>
                <a:gd name="connsiteY174" fmla="*/ 58414 h 238565"/>
                <a:gd name="connsiteX175" fmla="*/ 558030 w 703547"/>
                <a:gd name="connsiteY175" fmla="*/ 58801 h 238565"/>
                <a:gd name="connsiteX176" fmla="*/ 557255 w 703547"/>
                <a:gd name="connsiteY176" fmla="*/ 58930 h 238565"/>
                <a:gd name="connsiteX177" fmla="*/ 555187 w 703547"/>
                <a:gd name="connsiteY177" fmla="*/ 59060 h 238565"/>
                <a:gd name="connsiteX178" fmla="*/ 554541 w 703547"/>
                <a:gd name="connsiteY178" fmla="*/ 59060 h 238565"/>
                <a:gd name="connsiteX179" fmla="*/ 554024 w 703547"/>
                <a:gd name="connsiteY179" fmla="*/ 58930 h 238565"/>
                <a:gd name="connsiteX180" fmla="*/ 553636 w 703547"/>
                <a:gd name="connsiteY180" fmla="*/ 58543 h 238565"/>
                <a:gd name="connsiteX181" fmla="*/ 553378 w 703547"/>
                <a:gd name="connsiteY181" fmla="*/ 58026 h 238565"/>
                <a:gd name="connsiteX182" fmla="*/ 553249 w 703547"/>
                <a:gd name="connsiteY182" fmla="*/ 57380 h 238565"/>
                <a:gd name="connsiteX183" fmla="*/ 553249 w 703547"/>
                <a:gd name="connsiteY183" fmla="*/ 56734 h 238565"/>
                <a:gd name="connsiteX184" fmla="*/ 552990 w 703547"/>
                <a:gd name="connsiteY184" fmla="*/ 55441 h 238565"/>
                <a:gd name="connsiteX185" fmla="*/ 551956 w 703547"/>
                <a:gd name="connsiteY185" fmla="*/ 54536 h 238565"/>
                <a:gd name="connsiteX186" fmla="*/ 549113 w 703547"/>
                <a:gd name="connsiteY186" fmla="*/ 57767 h 238565"/>
                <a:gd name="connsiteX187" fmla="*/ 547691 w 703547"/>
                <a:gd name="connsiteY187" fmla="*/ 58672 h 238565"/>
                <a:gd name="connsiteX188" fmla="*/ 546658 w 703547"/>
                <a:gd name="connsiteY188" fmla="*/ 59189 h 238565"/>
                <a:gd name="connsiteX189" fmla="*/ 545882 w 703547"/>
                <a:gd name="connsiteY189" fmla="*/ 59318 h 238565"/>
                <a:gd name="connsiteX190" fmla="*/ 544590 w 703547"/>
                <a:gd name="connsiteY190" fmla="*/ 59189 h 238565"/>
                <a:gd name="connsiteX191" fmla="*/ 543944 w 703547"/>
                <a:gd name="connsiteY191" fmla="*/ 59060 h 238565"/>
                <a:gd name="connsiteX192" fmla="*/ 541747 w 703547"/>
                <a:gd name="connsiteY192" fmla="*/ 58284 h 238565"/>
                <a:gd name="connsiteX193" fmla="*/ 539162 w 703547"/>
                <a:gd name="connsiteY193" fmla="*/ 57897 h 238565"/>
                <a:gd name="connsiteX194" fmla="*/ 532184 w 703547"/>
                <a:gd name="connsiteY194" fmla="*/ 58414 h 238565"/>
                <a:gd name="connsiteX195" fmla="*/ 530633 w 703547"/>
                <a:gd name="connsiteY195" fmla="*/ 58801 h 238565"/>
                <a:gd name="connsiteX196" fmla="*/ 529728 w 703547"/>
                <a:gd name="connsiteY196" fmla="*/ 59318 h 238565"/>
                <a:gd name="connsiteX197" fmla="*/ 529599 w 703547"/>
                <a:gd name="connsiteY197" fmla="*/ 59835 h 238565"/>
                <a:gd name="connsiteX198" fmla="*/ 529599 w 703547"/>
                <a:gd name="connsiteY198" fmla="*/ 60352 h 238565"/>
                <a:gd name="connsiteX199" fmla="*/ 529858 w 703547"/>
                <a:gd name="connsiteY199" fmla="*/ 60740 h 238565"/>
                <a:gd name="connsiteX200" fmla="*/ 530762 w 703547"/>
                <a:gd name="connsiteY200" fmla="*/ 62032 h 238565"/>
                <a:gd name="connsiteX201" fmla="*/ 531021 w 703547"/>
                <a:gd name="connsiteY201" fmla="*/ 62549 h 238565"/>
                <a:gd name="connsiteX202" fmla="*/ 531150 w 703547"/>
                <a:gd name="connsiteY202" fmla="*/ 63066 h 238565"/>
                <a:gd name="connsiteX203" fmla="*/ 531150 w 703547"/>
                <a:gd name="connsiteY203" fmla="*/ 63712 h 238565"/>
                <a:gd name="connsiteX204" fmla="*/ 531021 w 703547"/>
                <a:gd name="connsiteY204" fmla="*/ 64358 h 238565"/>
                <a:gd name="connsiteX205" fmla="*/ 530762 w 703547"/>
                <a:gd name="connsiteY205" fmla="*/ 64875 h 238565"/>
                <a:gd name="connsiteX206" fmla="*/ 530504 w 703547"/>
                <a:gd name="connsiteY206" fmla="*/ 65392 h 238565"/>
                <a:gd name="connsiteX207" fmla="*/ 530116 w 703547"/>
                <a:gd name="connsiteY207" fmla="*/ 65780 h 238565"/>
                <a:gd name="connsiteX208" fmla="*/ 529599 w 703547"/>
                <a:gd name="connsiteY208" fmla="*/ 66297 h 238565"/>
                <a:gd name="connsiteX209" fmla="*/ 527273 w 703547"/>
                <a:gd name="connsiteY209" fmla="*/ 68106 h 238565"/>
                <a:gd name="connsiteX210" fmla="*/ 526110 w 703547"/>
                <a:gd name="connsiteY210" fmla="*/ 68752 h 238565"/>
                <a:gd name="connsiteX211" fmla="*/ 525205 w 703547"/>
                <a:gd name="connsiteY211" fmla="*/ 69011 h 238565"/>
                <a:gd name="connsiteX212" fmla="*/ 524430 w 703547"/>
                <a:gd name="connsiteY212" fmla="*/ 69011 h 238565"/>
                <a:gd name="connsiteX213" fmla="*/ 521845 w 703547"/>
                <a:gd name="connsiteY213" fmla="*/ 68752 h 238565"/>
                <a:gd name="connsiteX214" fmla="*/ 516805 w 703547"/>
                <a:gd name="connsiteY214" fmla="*/ 69269 h 238565"/>
                <a:gd name="connsiteX215" fmla="*/ 514220 w 703547"/>
                <a:gd name="connsiteY215" fmla="*/ 69915 h 238565"/>
                <a:gd name="connsiteX216" fmla="*/ 513186 w 703547"/>
                <a:gd name="connsiteY216" fmla="*/ 70432 h 238565"/>
                <a:gd name="connsiteX217" fmla="*/ 512799 w 703547"/>
                <a:gd name="connsiteY217" fmla="*/ 71078 h 238565"/>
                <a:gd name="connsiteX218" fmla="*/ 513316 w 703547"/>
                <a:gd name="connsiteY218" fmla="*/ 71983 h 238565"/>
                <a:gd name="connsiteX219" fmla="*/ 513445 w 703547"/>
                <a:gd name="connsiteY219" fmla="*/ 72500 h 238565"/>
                <a:gd name="connsiteX220" fmla="*/ 513445 w 703547"/>
                <a:gd name="connsiteY220" fmla="*/ 73017 h 238565"/>
                <a:gd name="connsiteX221" fmla="*/ 513057 w 703547"/>
                <a:gd name="connsiteY221" fmla="*/ 73275 h 238565"/>
                <a:gd name="connsiteX222" fmla="*/ 512411 w 703547"/>
                <a:gd name="connsiteY222" fmla="*/ 73275 h 238565"/>
                <a:gd name="connsiteX223" fmla="*/ 511636 w 703547"/>
                <a:gd name="connsiteY223" fmla="*/ 73146 h 238565"/>
                <a:gd name="connsiteX224" fmla="*/ 510731 w 703547"/>
                <a:gd name="connsiteY224" fmla="*/ 73146 h 238565"/>
                <a:gd name="connsiteX225" fmla="*/ 509568 w 703547"/>
                <a:gd name="connsiteY225" fmla="*/ 73405 h 238565"/>
                <a:gd name="connsiteX226" fmla="*/ 508663 w 703547"/>
                <a:gd name="connsiteY226" fmla="*/ 73792 h 238565"/>
                <a:gd name="connsiteX227" fmla="*/ 508146 w 703547"/>
                <a:gd name="connsiteY227" fmla="*/ 74180 h 238565"/>
                <a:gd name="connsiteX228" fmla="*/ 505174 w 703547"/>
                <a:gd name="connsiteY228" fmla="*/ 77799 h 238565"/>
                <a:gd name="connsiteX229" fmla="*/ 504786 w 703547"/>
                <a:gd name="connsiteY229" fmla="*/ 78315 h 238565"/>
                <a:gd name="connsiteX230" fmla="*/ 504657 w 703547"/>
                <a:gd name="connsiteY230" fmla="*/ 78703 h 238565"/>
                <a:gd name="connsiteX231" fmla="*/ 504527 w 703547"/>
                <a:gd name="connsiteY231" fmla="*/ 79220 h 238565"/>
                <a:gd name="connsiteX232" fmla="*/ 504657 w 703547"/>
                <a:gd name="connsiteY232" fmla="*/ 79737 h 238565"/>
                <a:gd name="connsiteX233" fmla="*/ 504915 w 703547"/>
                <a:gd name="connsiteY233" fmla="*/ 80254 h 238565"/>
                <a:gd name="connsiteX234" fmla="*/ 506208 w 703547"/>
                <a:gd name="connsiteY234" fmla="*/ 81934 h 238565"/>
                <a:gd name="connsiteX235" fmla="*/ 507242 w 703547"/>
                <a:gd name="connsiteY235" fmla="*/ 83743 h 238565"/>
                <a:gd name="connsiteX236" fmla="*/ 507500 w 703547"/>
                <a:gd name="connsiteY236" fmla="*/ 84260 h 238565"/>
                <a:gd name="connsiteX237" fmla="*/ 507758 w 703547"/>
                <a:gd name="connsiteY237" fmla="*/ 85423 h 238565"/>
                <a:gd name="connsiteX238" fmla="*/ 507888 w 703547"/>
                <a:gd name="connsiteY238" fmla="*/ 86069 h 238565"/>
                <a:gd name="connsiteX239" fmla="*/ 507888 w 703547"/>
                <a:gd name="connsiteY239" fmla="*/ 86716 h 238565"/>
                <a:gd name="connsiteX240" fmla="*/ 507629 w 703547"/>
                <a:gd name="connsiteY240" fmla="*/ 87620 h 238565"/>
                <a:gd name="connsiteX241" fmla="*/ 506983 w 703547"/>
                <a:gd name="connsiteY241" fmla="*/ 88525 h 238565"/>
                <a:gd name="connsiteX242" fmla="*/ 505432 w 703547"/>
                <a:gd name="connsiteY242" fmla="*/ 90205 h 238565"/>
                <a:gd name="connsiteX243" fmla="*/ 504527 w 703547"/>
                <a:gd name="connsiteY243" fmla="*/ 90980 h 238565"/>
                <a:gd name="connsiteX244" fmla="*/ 503494 w 703547"/>
                <a:gd name="connsiteY244" fmla="*/ 91497 h 238565"/>
                <a:gd name="connsiteX245" fmla="*/ 502460 w 703547"/>
                <a:gd name="connsiteY245" fmla="*/ 91756 h 238565"/>
                <a:gd name="connsiteX246" fmla="*/ 500780 w 703547"/>
                <a:gd name="connsiteY246" fmla="*/ 92402 h 238565"/>
                <a:gd name="connsiteX247" fmla="*/ 499875 w 703547"/>
                <a:gd name="connsiteY247" fmla="*/ 92919 h 238565"/>
                <a:gd name="connsiteX248" fmla="*/ 499229 w 703547"/>
                <a:gd name="connsiteY248" fmla="*/ 93436 h 238565"/>
                <a:gd name="connsiteX249" fmla="*/ 498583 w 703547"/>
                <a:gd name="connsiteY249" fmla="*/ 94987 h 238565"/>
                <a:gd name="connsiteX250" fmla="*/ 498066 w 703547"/>
                <a:gd name="connsiteY250" fmla="*/ 95762 h 238565"/>
                <a:gd name="connsiteX251" fmla="*/ 497290 w 703547"/>
                <a:gd name="connsiteY251" fmla="*/ 96667 h 238565"/>
                <a:gd name="connsiteX252" fmla="*/ 492896 w 703547"/>
                <a:gd name="connsiteY252" fmla="*/ 101061 h 238565"/>
                <a:gd name="connsiteX253" fmla="*/ 492121 w 703547"/>
                <a:gd name="connsiteY253" fmla="*/ 101707 h 238565"/>
                <a:gd name="connsiteX254" fmla="*/ 491346 w 703547"/>
                <a:gd name="connsiteY254" fmla="*/ 101965 h 238565"/>
                <a:gd name="connsiteX255" fmla="*/ 485789 w 703547"/>
                <a:gd name="connsiteY255" fmla="*/ 102224 h 238565"/>
                <a:gd name="connsiteX256" fmla="*/ 483979 w 703547"/>
                <a:gd name="connsiteY256" fmla="*/ 102611 h 238565"/>
                <a:gd name="connsiteX257" fmla="*/ 482816 w 703547"/>
                <a:gd name="connsiteY257" fmla="*/ 102999 h 238565"/>
                <a:gd name="connsiteX258" fmla="*/ 480878 w 703547"/>
                <a:gd name="connsiteY258" fmla="*/ 104033 h 238565"/>
                <a:gd name="connsiteX259" fmla="*/ 475062 w 703547"/>
                <a:gd name="connsiteY259" fmla="*/ 107910 h 238565"/>
                <a:gd name="connsiteX260" fmla="*/ 474546 w 703547"/>
                <a:gd name="connsiteY260" fmla="*/ 108168 h 238565"/>
                <a:gd name="connsiteX261" fmla="*/ 473511 w 703547"/>
                <a:gd name="connsiteY261" fmla="*/ 108556 h 238565"/>
                <a:gd name="connsiteX262" fmla="*/ 472090 w 703547"/>
                <a:gd name="connsiteY262" fmla="*/ 108685 h 238565"/>
                <a:gd name="connsiteX263" fmla="*/ 467825 w 703547"/>
                <a:gd name="connsiteY263" fmla="*/ 107005 h 238565"/>
                <a:gd name="connsiteX264" fmla="*/ 465241 w 703547"/>
                <a:gd name="connsiteY264" fmla="*/ 104421 h 238565"/>
                <a:gd name="connsiteX265" fmla="*/ 463819 w 703547"/>
                <a:gd name="connsiteY265" fmla="*/ 103774 h 238565"/>
                <a:gd name="connsiteX266" fmla="*/ 461363 w 703547"/>
                <a:gd name="connsiteY266" fmla="*/ 102999 h 238565"/>
                <a:gd name="connsiteX267" fmla="*/ 460588 w 703547"/>
                <a:gd name="connsiteY267" fmla="*/ 102482 h 238565"/>
                <a:gd name="connsiteX268" fmla="*/ 459942 w 703547"/>
                <a:gd name="connsiteY268" fmla="*/ 102094 h 238565"/>
                <a:gd name="connsiteX269" fmla="*/ 459554 w 703547"/>
                <a:gd name="connsiteY269" fmla="*/ 101707 h 238565"/>
                <a:gd name="connsiteX270" fmla="*/ 455677 w 703547"/>
                <a:gd name="connsiteY270" fmla="*/ 97959 h 238565"/>
                <a:gd name="connsiteX271" fmla="*/ 454773 w 703547"/>
                <a:gd name="connsiteY271" fmla="*/ 96925 h 238565"/>
                <a:gd name="connsiteX272" fmla="*/ 454256 w 703547"/>
                <a:gd name="connsiteY272" fmla="*/ 96021 h 238565"/>
                <a:gd name="connsiteX273" fmla="*/ 453351 w 703547"/>
                <a:gd name="connsiteY273" fmla="*/ 91110 h 238565"/>
                <a:gd name="connsiteX274" fmla="*/ 453222 w 703547"/>
                <a:gd name="connsiteY274" fmla="*/ 88396 h 238565"/>
                <a:gd name="connsiteX275" fmla="*/ 452963 w 703547"/>
                <a:gd name="connsiteY275" fmla="*/ 87233 h 238565"/>
                <a:gd name="connsiteX276" fmla="*/ 452059 w 703547"/>
                <a:gd name="connsiteY276" fmla="*/ 84519 h 238565"/>
                <a:gd name="connsiteX277" fmla="*/ 451800 w 703547"/>
                <a:gd name="connsiteY277" fmla="*/ 83356 h 238565"/>
                <a:gd name="connsiteX278" fmla="*/ 451800 w 703547"/>
                <a:gd name="connsiteY278" fmla="*/ 82709 h 238565"/>
                <a:gd name="connsiteX279" fmla="*/ 451930 w 703547"/>
                <a:gd name="connsiteY279" fmla="*/ 82063 h 238565"/>
                <a:gd name="connsiteX280" fmla="*/ 452188 w 703547"/>
                <a:gd name="connsiteY280" fmla="*/ 81546 h 238565"/>
                <a:gd name="connsiteX281" fmla="*/ 452446 w 703547"/>
                <a:gd name="connsiteY281" fmla="*/ 81029 h 238565"/>
                <a:gd name="connsiteX282" fmla="*/ 453093 w 703547"/>
                <a:gd name="connsiteY282" fmla="*/ 80254 h 238565"/>
                <a:gd name="connsiteX283" fmla="*/ 453351 w 703547"/>
                <a:gd name="connsiteY283" fmla="*/ 79608 h 238565"/>
                <a:gd name="connsiteX284" fmla="*/ 453480 w 703547"/>
                <a:gd name="connsiteY284" fmla="*/ 78703 h 238565"/>
                <a:gd name="connsiteX285" fmla="*/ 453222 w 703547"/>
                <a:gd name="connsiteY285" fmla="*/ 77023 h 238565"/>
                <a:gd name="connsiteX286" fmla="*/ 452705 w 703547"/>
                <a:gd name="connsiteY286" fmla="*/ 76248 h 238565"/>
                <a:gd name="connsiteX287" fmla="*/ 452188 w 703547"/>
                <a:gd name="connsiteY287" fmla="*/ 75731 h 238565"/>
                <a:gd name="connsiteX288" fmla="*/ 449215 w 703547"/>
                <a:gd name="connsiteY288" fmla="*/ 74955 h 238565"/>
                <a:gd name="connsiteX289" fmla="*/ 447794 w 703547"/>
                <a:gd name="connsiteY289" fmla="*/ 74180 h 238565"/>
                <a:gd name="connsiteX290" fmla="*/ 446631 w 703547"/>
                <a:gd name="connsiteY290" fmla="*/ 73792 h 238565"/>
                <a:gd name="connsiteX291" fmla="*/ 445985 w 703547"/>
                <a:gd name="connsiteY291" fmla="*/ 73663 h 238565"/>
                <a:gd name="connsiteX292" fmla="*/ 445339 w 703547"/>
                <a:gd name="connsiteY292" fmla="*/ 73663 h 238565"/>
                <a:gd name="connsiteX293" fmla="*/ 444692 w 703547"/>
                <a:gd name="connsiteY293" fmla="*/ 73792 h 238565"/>
                <a:gd name="connsiteX294" fmla="*/ 443659 w 703547"/>
                <a:gd name="connsiteY294" fmla="*/ 74309 h 238565"/>
                <a:gd name="connsiteX295" fmla="*/ 442754 w 703547"/>
                <a:gd name="connsiteY295" fmla="*/ 74955 h 238565"/>
                <a:gd name="connsiteX296" fmla="*/ 442366 w 703547"/>
                <a:gd name="connsiteY296" fmla="*/ 75343 h 238565"/>
                <a:gd name="connsiteX297" fmla="*/ 441591 w 703547"/>
                <a:gd name="connsiteY297" fmla="*/ 75989 h 238565"/>
                <a:gd name="connsiteX298" fmla="*/ 440815 w 703547"/>
                <a:gd name="connsiteY298" fmla="*/ 76377 h 238565"/>
                <a:gd name="connsiteX299" fmla="*/ 440557 w 703547"/>
                <a:gd name="connsiteY299" fmla="*/ 76506 h 238565"/>
                <a:gd name="connsiteX300" fmla="*/ 440040 w 703547"/>
                <a:gd name="connsiteY300" fmla="*/ 76635 h 238565"/>
                <a:gd name="connsiteX301" fmla="*/ 439394 w 703547"/>
                <a:gd name="connsiteY301" fmla="*/ 76635 h 238565"/>
                <a:gd name="connsiteX302" fmla="*/ 437455 w 703547"/>
                <a:gd name="connsiteY302" fmla="*/ 76506 h 238565"/>
                <a:gd name="connsiteX303" fmla="*/ 436939 w 703547"/>
                <a:gd name="connsiteY303" fmla="*/ 76635 h 238565"/>
                <a:gd name="connsiteX304" fmla="*/ 436422 w 703547"/>
                <a:gd name="connsiteY304" fmla="*/ 76894 h 238565"/>
                <a:gd name="connsiteX305" fmla="*/ 435517 w 703547"/>
                <a:gd name="connsiteY305" fmla="*/ 77540 h 238565"/>
                <a:gd name="connsiteX306" fmla="*/ 434224 w 703547"/>
                <a:gd name="connsiteY306" fmla="*/ 78186 h 238565"/>
                <a:gd name="connsiteX307" fmla="*/ 433837 w 703547"/>
                <a:gd name="connsiteY307" fmla="*/ 78315 h 238565"/>
                <a:gd name="connsiteX308" fmla="*/ 433191 w 703547"/>
                <a:gd name="connsiteY308" fmla="*/ 78445 h 238565"/>
                <a:gd name="connsiteX309" fmla="*/ 432286 w 703547"/>
                <a:gd name="connsiteY309" fmla="*/ 78445 h 238565"/>
                <a:gd name="connsiteX310" fmla="*/ 431898 w 703547"/>
                <a:gd name="connsiteY310" fmla="*/ 78315 h 238565"/>
                <a:gd name="connsiteX311" fmla="*/ 431640 w 703547"/>
                <a:gd name="connsiteY311" fmla="*/ 78186 h 238565"/>
                <a:gd name="connsiteX312" fmla="*/ 431511 w 703547"/>
                <a:gd name="connsiteY312" fmla="*/ 78057 h 238565"/>
                <a:gd name="connsiteX313" fmla="*/ 431252 w 703547"/>
                <a:gd name="connsiteY313" fmla="*/ 77799 h 238565"/>
                <a:gd name="connsiteX314" fmla="*/ 430994 w 703547"/>
                <a:gd name="connsiteY314" fmla="*/ 77411 h 238565"/>
                <a:gd name="connsiteX315" fmla="*/ 430865 w 703547"/>
                <a:gd name="connsiteY315" fmla="*/ 76894 h 238565"/>
                <a:gd name="connsiteX316" fmla="*/ 430994 w 703547"/>
                <a:gd name="connsiteY316" fmla="*/ 76377 h 238565"/>
                <a:gd name="connsiteX317" fmla="*/ 431381 w 703547"/>
                <a:gd name="connsiteY317" fmla="*/ 75343 h 238565"/>
                <a:gd name="connsiteX318" fmla="*/ 431898 w 703547"/>
                <a:gd name="connsiteY318" fmla="*/ 74309 h 238565"/>
                <a:gd name="connsiteX319" fmla="*/ 436163 w 703547"/>
                <a:gd name="connsiteY319" fmla="*/ 71466 h 238565"/>
                <a:gd name="connsiteX320" fmla="*/ 437455 w 703547"/>
                <a:gd name="connsiteY320" fmla="*/ 70174 h 238565"/>
                <a:gd name="connsiteX321" fmla="*/ 437714 w 703547"/>
                <a:gd name="connsiteY321" fmla="*/ 69657 h 238565"/>
                <a:gd name="connsiteX322" fmla="*/ 442108 w 703547"/>
                <a:gd name="connsiteY322" fmla="*/ 62937 h 238565"/>
                <a:gd name="connsiteX323" fmla="*/ 442366 w 703547"/>
                <a:gd name="connsiteY323" fmla="*/ 62420 h 238565"/>
                <a:gd name="connsiteX324" fmla="*/ 443400 w 703547"/>
                <a:gd name="connsiteY324" fmla="*/ 59577 h 238565"/>
                <a:gd name="connsiteX325" fmla="*/ 443788 w 703547"/>
                <a:gd name="connsiteY325" fmla="*/ 58930 h 238565"/>
                <a:gd name="connsiteX326" fmla="*/ 444305 w 703547"/>
                <a:gd name="connsiteY326" fmla="*/ 58414 h 238565"/>
                <a:gd name="connsiteX327" fmla="*/ 445209 w 703547"/>
                <a:gd name="connsiteY327" fmla="*/ 57897 h 238565"/>
                <a:gd name="connsiteX328" fmla="*/ 447923 w 703547"/>
                <a:gd name="connsiteY328" fmla="*/ 56604 h 238565"/>
                <a:gd name="connsiteX329" fmla="*/ 449345 w 703547"/>
                <a:gd name="connsiteY329" fmla="*/ 55570 h 238565"/>
                <a:gd name="connsiteX330" fmla="*/ 449991 w 703547"/>
                <a:gd name="connsiteY330" fmla="*/ 54795 h 238565"/>
                <a:gd name="connsiteX331" fmla="*/ 450379 w 703547"/>
                <a:gd name="connsiteY331" fmla="*/ 54149 h 238565"/>
                <a:gd name="connsiteX332" fmla="*/ 450508 w 703547"/>
                <a:gd name="connsiteY332" fmla="*/ 53503 h 238565"/>
                <a:gd name="connsiteX333" fmla="*/ 450637 w 703547"/>
                <a:gd name="connsiteY333" fmla="*/ 52856 h 238565"/>
                <a:gd name="connsiteX334" fmla="*/ 450637 w 703547"/>
                <a:gd name="connsiteY334" fmla="*/ 52210 h 238565"/>
                <a:gd name="connsiteX335" fmla="*/ 450508 w 703547"/>
                <a:gd name="connsiteY335" fmla="*/ 51564 h 238565"/>
                <a:gd name="connsiteX336" fmla="*/ 450120 w 703547"/>
                <a:gd name="connsiteY336" fmla="*/ 50401 h 238565"/>
                <a:gd name="connsiteX337" fmla="*/ 448440 w 703547"/>
                <a:gd name="connsiteY337" fmla="*/ 47558 h 238565"/>
                <a:gd name="connsiteX338" fmla="*/ 447665 w 703547"/>
                <a:gd name="connsiteY338" fmla="*/ 45361 h 238565"/>
                <a:gd name="connsiteX339" fmla="*/ 445856 w 703547"/>
                <a:gd name="connsiteY339" fmla="*/ 41355 h 238565"/>
                <a:gd name="connsiteX340" fmla="*/ 445597 w 703547"/>
                <a:gd name="connsiteY340" fmla="*/ 40838 h 238565"/>
                <a:gd name="connsiteX341" fmla="*/ 445339 w 703547"/>
                <a:gd name="connsiteY341" fmla="*/ 40321 h 238565"/>
                <a:gd name="connsiteX342" fmla="*/ 445339 w 703547"/>
                <a:gd name="connsiteY342" fmla="*/ 39287 h 238565"/>
                <a:gd name="connsiteX343" fmla="*/ 445468 w 703547"/>
                <a:gd name="connsiteY343" fmla="*/ 37736 h 238565"/>
                <a:gd name="connsiteX344" fmla="*/ 446114 w 703547"/>
                <a:gd name="connsiteY344" fmla="*/ 34635 h 238565"/>
                <a:gd name="connsiteX345" fmla="*/ 446631 w 703547"/>
                <a:gd name="connsiteY345" fmla="*/ 33342 h 238565"/>
                <a:gd name="connsiteX346" fmla="*/ 447148 w 703547"/>
                <a:gd name="connsiteY346" fmla="*/ 32438 h 238565"/>
                <a:gd name="connsiteX347" fmla="*/ 447535 w 703547"/>
                <a:gd name="connsiteY347" fmla="*/ 32050 h 238565"/>
                <a:gd name="connsiteX348" fmla="*/ 448052 w 703547"/>
                <a:gd name="connsiteY348" fmla="*/ 31791 h 238565"/>
                <a:gd name="connsiteX349" fmla="*/ 448569 w 703547"/>
                <a:gd name="connsiteY349" fmla="*/ 31533 h 238565"/>
                <a:gd name="connsiteX350" fmla="*/ 449087 w 703547"/>
                <a:gd name="connsiteY350" fmla="*/ 31274 h 238565"/>
                <a:gd name="connsiteX351" fmla="*/ 449603 w 703547"/>
                <a:gd name="connsiteY351" fmla="*/ 31145 h 238565"/>
                <a:gd name="connsiteX352" fmla="*/ 451542 w 703547"/>
                <a:gd name="connsiteY352" fmla="*/ 30111 h 238565"/>
                <a:gd name="connsiteX353" fmla="*/ 452059 w 703547"/>
                <a:gd name="connsiteY353" fmla="*/ 29982 h 238565"/>
                <a:gd name="connsiteX354" fmla="*/ 455289 w 703547"/>
                <a:gd name="connsiteY354" fmla="*/ 29724 h 238565"/>
                <a:gd name="connsiteX355" fmla="*/ 455936 w 703547"/>
                <a:gd name="connsiteY355" fmla="*/ 29594 h 238565"/>
                <a:gd name="connsiteX356" fmla="*/ 458133 w 703547"/>
                <a:gd name="connsiteY356" fmla="*/ 28819 h 238565"/>
                <a:gd name="connsiteX357" fmla="*/ 460588 w 703547"/>
                <a:gd name="connsiteY357" fmla="*/ 27527 h 238565"/>
                <a:gd name="connsiteX358" fmla="*/ 466791 w 703547"/>
                <a:gd name="connsiteY358" fmla="*/ 25330 h 238565"/>
                <a:gd name="connsiteX359" fmla="*/ 467567 w 703547"/>
                <a:gd name="connsiteY359" fmla="*/ 24942 h 238565"/>
                <a:gd name="connsiteX360" fmla="*/ 468601 w 703547"/>
                <a:gd name="connsiteY360" fmla="*/ 24167 h 238565"/>
                <a:gd name="connsiteX361" fmla="*/ 468988 w 703547"/>
                <a:gd name="connsiteY361" fmla="*/ 23520 h 238565"/>
                <a:gd name="connsiteX362" fmla="*/ 469118 w 703547"/>
                <a:gd name="connsiteY362" fmla="*/ 22874 h 238565"/>
                <a:gd name="connsiteX363" fmla="*/ 468988 w 703547"/>
                <a:gd name="connsiteY363" fmla="*/ 22357 h 238565"/>
                <a:gd name="connsiteX364" fmla="*/ 468730 w 703547"/>
                <a:gd name="connsiteY364" fmla="*/ 21840 h 238565"/>
                <a:gd name="connsiteX365" fmla="*/ 466920 w 703547"/>
                <a:gd name="connsiteY365" fmla="*/ 19127 h 238565"/>
                <a:gd name="connsiteX366" fmla="*/ 466662 w 703547"/>
                <a:gd name="connsiteY366" fmla="*/ 18610 h 238565"/>
                <a:gd name="connsiteX367" fmla="*/ 466404 w 703547"/>
                <a:gd name="connsiteY367" fmla="*/ 18093 h 238565"/>
                <a:gd name="connsiteX368" fmla="*/ 466274 w 703547"/>
                <a:gd name="connsiteY368" fmla="*/ 17447 h 238565"/>
                <a:gd name="connsiteX369" fmla="*/ 466274 w 703547"/>
                <a:gd name="connsiteY369" fmla="*/ 16800 h 238565"/>
                <a:gd name="connsiteX370" fmla="*/ 466404 w 703547"/>
                <a:gd name="connsiteY370" fmla="*/ 14862 h 238565"/>
                <a:gd name="connsiteX371" fmla="*/ 466274 w 703547"/>
                <a:gd name="connsiteY371" fmla="*/ 14216 h 238565"/>
                <a:gd name="connsiteX372" fmla="*/ 466016 w 703547"/>
                <a:gd name="connsiteY372" fmla="*/ 13699 h 238565"/>
                <a:gd name="connsiteX373" fmla="*/ 465628 w 703547"/>
                <a:gd name="connsiteY373" fmla="*/ 13311 h 238565"/>
                <a:gd name="connsiteX374" fmla="*/ 465241 w 703547"/>
                <a:gd name="connsiteY374" fmla="*/ 13053 h 238565"/>
                <a:gd name="connsiteX375" fmla="*/ 464724 w 703547"/>
                <a:gd name="connsiteY375" fmla="*/ 12794 h 238565"/>
                <a:gd name="connsiteX376" fmla="*/ 464207 w 703547"/>
                <a:gd name="connsiteY376" fmla="*/ 12665 h 238565"/>
                <a:gd name="connsiteX377" fmla="*/ 463561 w 703547"/>
                <a:gd name="connsiteY377" fmla="*/ 12665 h 238565"/>
                <a:gd name="connsiteX378" fmla="*/ 461751 w 703547"/>
                <a:gd name="connsiteY378" fmla="*/ 12923 h 238565"/>
                <a:gd name="connsiteX379" fmla="*/ 461105 w 703547"/>
                <a:gd name="connsiteY379" fmla="*/ 12923 h 238565"/>
                <a:gd name="connsiteX380" fmla="*/ 460588 w 703547"/>
                <a:gd name="connsiteY380" fmla="*/ 12794 h 238565"/>
                <a:gd name="connsiteX381" fmla="*/ 460071 w 703547"/>
                <a:gd name="connsiteY381" fmla="*/ 12536 h 238565"/>
                <a:gd name="connsiteX382" fmla="*/ 456840 w 703547"/>
                <a:gd name="connsiteY382" fmla="*/ 10209 h 238565"/>
                <a:gd name="connsiteX383" fmla="*/ 452188 w 703547"/>
                <a:gd name="connsiteY383" fmla="*/ 8142 h 238565"/>
                <a:gd name="connsiteX384" fmla="*/ 444046 w 703547"/>
                <a:gd name="connsiteY384" fmla="*/ 1809 h 238565"/>
                <a:gd name="connsiteX385" fmla="*/ 442237 w 703547"/>
                <a:gd name="connsiteY385" fmla="*/ 646 h 238565"/>
                <a:gd name="connsiteX386" fmla="*/ 440945 w 703547"/>
                <a:gd name="connsiteY386" fmla="*/ 0 h 238565"/>
                <a:gd name="connsiteX387" fmla="*/ 440428 w 703547"/>
                <a:gd name="connsiteY387" fmla="*/ 129 h 238565"/>
                <a:gd name="connsiteX388" fmla="*/ 440040 w 703547"/>
                <a:gd name="connsiteY388" fmla="*/ 258 h 238565"/>
                <a:gd name="connsiteX389" fmla="*/ 438360 w 703547"/>
                <a:gd name="connsiteY389" fmla="*/ 1034 h 238565"/>
                <a:gd name="connsiteX390" fmla="*/ 430994 w 703547"/>
                <a:gd name="connsiteY390" fmla="*/ 2972 h 238565"/>
                <a:gd name="connsiteX391" fmla="*/ 430477 w 703547"/>
                <a:gd name="connsiteY391" fmla="*/ 3231 h 238565"/>
                <a:gd name="connsiteX392" fmla="*/ 429960 w 703547"/>
                <a:gd name="connsiteY392" fmla="*/ 3619 h 238565"/>
                <a:gd name="connsiteX393" fmla="*/ 429572 w 703547"/>
                <a:gd name="connsiteY393" fmla="*/ 4006 h 238565"/>
                <a:gd name="connsiteX394" fmla="*/ 429184 w 703547"/>
                <a:gd name="connsiteY394" fmla="*/ 5040 h 238565"/>
                <a:gd name="connsiteX395" fmla="*/ 429055 w 703547"/>
                <a:gd name="connsiteY395" fmla="*/ 5686 h 238565"/>
                <a:gd name="connsiteX396" fmla="*/ 428409 w 703547"/>
                <a:gd name="connsiteY396" fmla="*/ 7237 h 238565"/>
                <a:gd name="connsiteX397" fmla="*/ 427763 w 703547"/>
                <a:gd name="connsiteY397" fmla="*/ 8142 h 238565"/>
                <a:gd name="connsiteX398" fmla="*/ 426987 w 703547"/>
                <a:gd name="connsiteY398" fmla="*/ 8917 h 238565"/>
                <a:gd name="connsiteX399" fmla="*/ 426600 w 703547"/>
                <a:gd name="connsiteY399" fmla="*/ 9176 h 238565"/>
                <a:gd name="connsiteX400" fmla="*/ 425954 w 703547"/>
                <a:gd name="connsiteY400" fmla="*/ 9563 h 238565"/>
                <a:gd name="connsiteX401" fmla="*/ 425178 w 703547"/>
                <a:gd name="connsiteY401" fmla="*/ 9822 h 238565"/>
                <a:gd name="connsiteX402" fmla="*/ 423886 w 703547"/>
                <a:gd name="connsiteY402" fmla="*/ 10209 h 238565"/>
                <a:gd name="connsiteX403" fmla="*/ 423110 w 703547"/>
                <a:gd name="connsiteY403" fmla="*/ 10209 h 238565"/>
                <a:gd name="connsiteX404" fmla="*/ 422723 w 703547"/>
                <a:gd name="connsiteY404" fmla="*/ 9822 h 238565"/>
                <a:gd name="connsiteX405" fmla="*/ 422593 w 703547"/>
                <a:gd name="connsiteY405" fmla="*/ 9176 h 238565"/>
                <a:gd name="connsiteX406" fmla="*/ 422335 w 703547"/>
                <a:gd name="connsiteY406" fmla="*/ 8400 h 238565"/>
                <a:gd name="connsiteX407" fmla="*/ 421947 w 703547"/>
                <a:gd name="connsiteY407" fmla="*/ 8271 h 238565"/>
                <a:gd name="connsiteX408" fmla="*/ 421430 w 703547"/>
                <a:gd name="connsiteY408" fmla="*/ 8271 h 238565"/>
                <a:gd name="connsiteX409" fmla="*/ 417036 w 703547"/>
                <a:gd name="connsiteY409" fmla="*/ 10080 h 238565"/>
                <a:gd name="connsiteX410" fmla="*/ 416519 w 703547"/>
                <a:gd name="connsiteY410" fmla="*/ 10468 h 238565"/>
                <a:gd name="connsiteX411" fmla="*/ 416132 w 703547"/>
                <a:gd name="connsiteY411" fmla="*/ 10985 h 238565"/>
                <a:gd name="connsiteX412" fmla="*/ 416003 w 703547"/>
                <a:gd name="connsiteY412" fmla="*/ 11502 h 238565"/>
                <a:gd name="connsiteX413" fmla="*/ 415744 w 703547"/>
                <a:gd name="connsiteY413" fmla="*/ 13440 h 238565"/>
                <a:gd name="connsiteX414" fmla="*/ 415486 w 703547"/>
                <a:gd name="connsiteY414" fmla="*/ 13957 h 238565"/>
                <a:gd name="connsiteX415" fmla="*/ 414581 w 703547"/>
                <a:gd name="connsiteY415" fmla="*/ 15120 h 238565"/>
                <a:gd name="connsiteX416" fmla="*/ 413289 w 703547"/>
                <a:gd name="connsiteY416" fmla="*/ 16283 h 238565"/>
                <a:gd name="connsiteX417" fmla="*/ 411867 w 703547"/>
                <a:gd name="connsiteY417" fmla="*/ 17834 h 238565"/>
                <a:gd name="connsiteX418" fmla="*/ 411608 w 703547"/>
                <a:gd name="connsiteY418" fmla="*/ 18222 h 238565"/>
                <a:gd name="connsiteX419" fmla="*/ 410704 w 703547"/>
                <a:gd name="connsiteY419" fmla="*/ 20160 h 238565"/>
                <a:gd name="connsiteX420" fmla="*/ 409799 w 703547"/>
                <a:gd name="connsiteY420" fmla="*/ 21453 h 238565"/>
                <a:gd name="connsiteX421" fmla="*/ 409412 w 703547"/>
                <a:gd name="connsiteY421" fmla="*/ 21840 h 238565"/>
                <a:gd name="connsiteX422" fmla="*/ 409024 w 703547"/>
                <a:gd name="connsiteY422" fmla="*/ 22099 h 238565"/>
                <a:gd name="connsiteX423" fmla="*/ 404242 w 703547"/>
                <a:gd name="connsiteY423" fmla="*/ 24684 h 238565"/>
                <a:gd name="connsiteX424" fmla="*/ 392353 w 703547"/>
                <a:gd name="connsiteY424" fmla="*/ 29594 h 238565"/>
                <a:gd name="connsiteX425" fmla="*/ 391836 w 703547"/>
                <a:gd name="connsiteY425" fmla="*/ 29982 h 238565"/>
                <a:gd name="connsiteX426" fmla="*/ 389251 w 703547"/>
                <a:gd name="connsiteY426" fmla="*/ 32567 h 238565"/>
                <a:gd name="connsiteX427" fmla="*/ 386149 w 703547"/>
                <a:gd name="connsiteY427" fmla="*/ 36961 h 238565"/>
                <a:gd name="connsiteX428" fmla="*/ 385633 w 703547"/>
                <a:gd name="connsiteY428" fmla="*/ 37478 h 238565"/>
                <a:gd name="connsiteX429" fmla="*/ 384857 w 703547"/>
                <a:gd name="connsiteY429" fmla="*/ 38124 h 238565"/>
                <a:gd name="connsiteX430" fmla="*/ 383306 w 703547"/>
                <a:gd name="connsiteY430" fmla="*/ 39028 h 238565"/>
                <a:gd name="connsiteX431" fmla="*/ 375294 w 703547"/>
                <a:gd name="connsiteY431" fmla="*/ 41613 h 238565"/>
                <a:gd name="connsiteX432" fmla="*/ 374260 w 703547"/>
                <a:gd name="connsiteY432" fmla="*/ 42001 h 238565"/>
                <a:gd name="connsiteX433" fmla="*/ 372968 w 703547"/>
                <a:gd name="connsiteY433" fmla="*/ 42906 h 238565"/>
                <a:gd name="connsiteX434" fmla="*/ 371805 w 703547"/>
                <a:gd name="connsiteY434" fmla="*/ 43939 h 238565"/>
                <a:gd name="connsiteX435" fmla="*/ 371159 w 703547"/>
                <a:gd name="connsiteY435" fmla="*/ 44844 h 238565"/>
                <a:gd name="connsiteX436" fmla="*/ 369479 w 703547"/>
                <a:gd name="connsiteY436" fmla="*/ 48333 h 238565"/>
                <a:gd name="connsiteX437" fmla="*/ 368316 w 703547"/>
                <a:gd name="connsiteY437" fmla="*/ 50143 h 238565"/>
                <a:gd name="connsiteX438" fmla="*/ 367928 w 703547"/>
                <a:gd name="connsiteY438" fmla="*/ 50530 h 238565"/>
                <a:gd name="connsiteX439" fmla="*/ 367281 w 703547"/>
                <a:gd name="connsiteY439" fmla="*/ 51047 h 238565"/>
                <a:gd name="connsiteX440" fmla="*/ 364826 w 703547"/>
                <a:gd name="connsiteY440" fmla="*/ 52856 h 238565"/>
                <a:gd name="connsiteX441" fmla="*/ 363792 w 703547"/>
                <a:gd name="connsiteY441" fmla="*/ 53244 h 238565"/>
                <a:gd name="connsiteX442" fmla="*/ 363017 w 703547"/>
                <a:gd name="connsiteY442" fmla="*/ 53373 h 238565"/>
                <a:gd name="connsiteX443" fmla="*/ 358494 w 703547"/>
                <a:gd name="connsiteY443" fmla="*/ 51306 h 238565"/>
                <a:gd name="connsiteX444" fmla="*/ 357718 w 703547"/>
                <a:gd name="connsiteY444" fmla="*/ 51176 h 238565"/>
                <a:gd name="connsiteX445" fmla="*/ 356814 w 703547"/>
                <a:gd name="connsiteY445" fmla="*/ 51176 h 238565"/>
                <a:gd name="connsiteX446" fmla="*/ 355263 w 703547"/>
                <a:gd name="connsiteY446" fmla="*/ 51306 h 238565"/>
                <a:gd name="connsiteX447" fmla="*/ 354487 w 703547"/>
                <a:gd name="connsiteY447" fmla="*/ 51564 h 238565"/>
                <a:gd name="connsiteX448" fmla="*/ 353841 w 703547"/>
                <a:gd name="connsiteY448" fmla="*/ 51952 h 238565"/>
                <a:gd name="connsiteX449" fmla="*/ 353195 w 703547"/>
                <a:gd name="connsiteY449" fmla="*/ 52727 h 238565"/>
                <a:gd name="connsiteX450" fmla="*/ 352290 w 703547"/>
                <a:gd name="connsiteY450" fmla="*/ 54020 h 238565"/>
                <a:gd name="connsiteX451" fmla="*/ 352032 w 703547"/>
                <a:gd name="connsiteY451" fmla="*/ 54536 h 238565"/>
                <a:gd name="connsiteX452" fmla="*/ 351903 w 703547"/>
                <a:gd name="connsiteY452" fmla="*/ 55053 h 238565"/>
                <a:gd name="connsiteX453" fmla="*/ 352032 w 703547"/>
                <a:gd name="connsiteY453" fmla="*/ 55570 h 238565"/>
                <a:gd name="connsiteX454" fmla="*/ 352290 w 703547"/>
                <a:gd name="connsiteY454" fmla="*/ 56087 h 238565"/>
                <a:gd name="connsiteX455" fmla="*/ 352549 w 703547"/>
                <a:gd name="connsiteY455" fmla="*/ 56475 h 238565"/>
                <a:gd name="connsiteX456" fmla="*/ 352807 w 703547"/>
                <a:gd name="connsiteY456" fmla="*/ 56992 h 238565"/>
                <a:gd name="connsiteX457" fmla="*/ 353066 w 703547"/>
                <a:gd name="connsiteY457" fmla="*/ 57509 h 238565"/>
                <a:gd name="connsiteX458" fmla="*/ 353066 w 703547"/>
                <a:gd name="connsiteY458" fmla="*/ 58026 h 238565"/>
                <a:gd name="connsiteX459" fmla="*/ 352678 w 703547"/>
                <a:gd name="connsiteY459" fmla="*/ 58543 h 238565"/>
                <a:gd name="connsiteX460" fmla="*/ 352161 w 703547"/>
                <a:gd name="connsiteY460" fmla="*/ 58672 h 238565"/>
                <a:gd name="connsiteX461" fmla="*/ 351515 w 703547"/>
                <a:gd name="connsiteY461" fmla="*/ 58672 h 238565"/>
                <a:gd name="connsiteX462" fmla="*/ 348801 w 703547"/>
                <a:gd name="connsiteY462" fmla="*/ 57638 h 238565"/>
                <a:gd name="connsiteX463" fmla="*/ 348284 w 703547"/>
                <a:gd name="connsiteY463" fmla="*/ 57380 h 238565"/>
                <a:gd name="connsiteX464" fmla="*/ 347896 w 703547"/>
                <a:gd name="connsiteY464" fmla="*/ 57121 h 238565"/>
                <a:gd name="connsiteX465" fmla="*/ 347638 w 703547"/>
                <a:gd name="connsiteY465" fmla="*/ 56863 h 238565"/>
                <a:gd name="connsiteX466" fmla="*/ 347379 w 703547"/>
                <a:gd name="connsiteY466" fmla="*/ 56475 h 238565"/>
                <a:gd name="connsiteX467" fmla="*/ 347121 w 703547"/>
                <a:gd name="connsiteY467" fmla="*/ 55312 h 238565"/>
                <a:gd name="connsiteX468" fmla="*/ 346992 w 703547"/>
                <a:gd name="connsiteY468" fmla="*/ 54666 h 238565"/>
                <a:gd name="connsiteX469" fmla="*/ 346863 w 703547"/>
                <a:gd name="connsiteY469" fmla="*/ 54149 h 238565"/>
                <a:gd name="connsiteX470" fmla="*/ 346475 w 703547"/>
                <a:gd name="connsiteY470" fmla="*/ 53632 h 238565"/>
                <a:gd name="connsiteX471" fmla="*/ 345958 w 703547"/>
                <a:gd name="connsiteY471" fmla="*/ 53244 h 238565"/>
                <a:gd name="connsiteX472" fmla="*/ 345183 w 703547"/>
                <a:gd name="connsiteY472" fmla="*/ 52986 h 238565"/>
                <a:gd name="connsiteX473" fmla="*/ 344666 w 703547"/>
                <a:gd name="connsiteY473" fmla="*/ 53244 h 238565"/>
                <a:gd name="connsiteX474" fmla="*/ 344278 w 703547"/>
                <a:gd name="connsiteY474" fmla="*/ 53632 h 238565"/>
                <a:gd name="connsiteX475" fmla="*/ 344020 w 703547"/>
                <a:gd name="connsiteY475" fmla="*/ 54149 h 238565"/>
                <a:gd name="connsiteX476" fmla="*/ 343503 w 703547"/>
                <a:gd name="connsiteY476" fmla="*/ 55958 h 238565"/>
                <a:gd name="connsiteX477" fmla="*/ 343244 w 703547"/>
                <a:gd name="connsiteY477" fmla="*/ 56475 h 238565"/>
                <a:gd name="connsiteX478" fmla="*/ 342857 w 703547"/>
                <a:gd name="connsiteY478" fmla="*/ 57121 h 238565"/>
                <a:gd name="connsiteX479" fmla="*/ 342340 w 703547"/>
                <a:gd name="connsiteY479" fmla="*/ 57767 h 238565"/>
                <a:gd name="connsiteX480" fmla="*/ 341305 w 703547"/>
                <a:gd name="connsiteY480" fmla="*/ 58543 h 238565"/>
                <a:gd name="connsiteX481" fmla="*/ 340530 w 703547"/>
                <a:gd name="connsiteY481" fmla="*/ 58930 h 238565"/>
                <a:gd name="connsiteX482" fmla="*/ 339755 w 703547"/>
                <a:gd name="connsiteY482" fmla="*/ 59189 h 238565"/>
                <a:gd name="connsiteX483" fmla="*/ 339109 w 703547"/>
                <a:gd name="connsiteY483" fmla="*/ 59189 h 238565"/>
                <a:gd name="connsiteX484" fmla="*/ 338463 w 703547"/>
                <a:gd name="connsiteY484" fmla="*/ 59060 h 238565"/>
                <a:gd name="connsiteX485" fmla="*/ 337946 w 703547"/>
                <a:gd name="connsiteY485" fmla="*/ 58801 h 238565"/>
                <a:gd name="connsiteX486" fmla="*/ 337558 w 703547"/>
                <a:gd name="connsiteY486" fmla="*/ 58543 h 238565"/>
                <a:gd name="connsiteX487" fmla="*/ 337170 w 703547"/>
                <a:gd name="connsiteY487" fmla="*/ 58155 h 238565"/>
                <a:gd name="connsiteX488" fmla="*/ 336653 w 703547"/>
                <a:gd name="connsiteY488" fmla="*/ 57897 h 238565"/>
                <a:gd name="connsiteX489" fmla="*/ 336007 w 703547"/>
                <a:gd name="connsiteY489" fmla="*/ 57638 h 238565"/>
                <a:gd name="connsiteX490" fmla="*/ 335620 w 703547"/>
                <a:gd name="connsiteY490" fmla="*/ 57767 h 238565"/>
                <a:gd name="connsiteX491" fmla="*/ 335490 w 703547"/>
                <a:gd name="connsiteY491" fmla="*/ 58284 h 238565"/>
                <a:gd name="connsiteX492" fmla="*/ 335490 w 703547"/>
                <a:gd name="connsiteY492" fmla="*/ 58930 h 238565"/>
                <a:gd name="connsiteX493" fmla="*/ 335490 w 703547"/>
                <a:gd name="connsiteY493" fmla="*/ 59577 h 238565"/>
                <a:gd name="connsiteX494" fmla="*/ 335361 w 703547"/>
                <a:gd name="connsiteY494" fmla="*/ 60223 h 238565"/>
                <a:gd name="connsiteX495" fmla="*/ 334973 w 703547"/>
                <a:gd name="connsiteY495" fmla="*/ 60869 h 238565"/>
                <a:gd name="connsiteX496" fmla="*/ 334327 w 703547"/>
                <a:gd name="connsiteY496" fmla="*/ 61515 h 238565"/>
                <a:gd name="connsiteX497" fmla="*/ 333681 w 703547"/>
                <a:gd name="connsiteY497" fmla="*/ 61774 h 238565"/>
                <a:gd name="connsiteX498" fmla="*/ 333035 w 703547"/>
                <a:gd name="connsiteY498" fmla="*/ 61774 h 238565"/>
                <a:gd name="connsiteX499" fmla="*/ 332001 w 703547"/>
                <a:gd name="connsiteY499" fmla="*/ 61386 h 238565"/>
                <a:gd name="connsiteX500" fmla="*/ 330450 w 703547"/>
                <a:gd name="connsiteY500" fmla="*/ 60610 h 238565"/>
                <a:gd name="connsiteX501" fmla="*/ 329933 w 703547"/>
                <a:gd name="connsiteY501" fmla="*/ 60481 h 238565"/>
                <a:gd name="connsiteX502" fmla="*/ 328770 w 703547"/>
                <a:gd name="connsiteY502" fmla="*/ 60352 h 238565"/>
                <a:gd name="connsiteX503" fmla="*/ 328382 w 703547"/>
                <a:gd name="connsiteY503" fmla="*/ 60094 h 238565"/>
                <a:gd name="connsiteX504" fmla="*/ 328124 w 703547"/>
                <a:gd name="connsiteY504" fmla="*/ 59706 h 238565"/>
                <a:gd name="connsiteX505" fmla="*/ 327994 w 703547"/>
                <a:gd name="connsiteY505" fmla="*/ 59060 h 238565"/>
                <a:gd name="connsiteX506" fmla="*/ 327994 w 703547"/>
                <a:gd name="connsiteY506" fmla="*/ 58414 h 238565"/>
                <a:gd name="connsiteX507" fmla="*/ 328511 w 703547"/>
                <a:gd name="connsiteY507" fmla="*/ 56604 h 238565"/>
                <a:gd name="connsiteX508" fmla="*/ 328641 w 703547"/>
                <a:gd name="connsiteY508" fmla="*/ 55958 h 238565"/>
                <a:gd name="connsiteX509" fmla="*/ 328641 w 703547"/>
                <a:gd name="connsiteY509" fmla="*/ 55312 h 238565"/>
                <a:gd name="connsiteX510" fmla="*/ 328511 w 703547"/>
                <a:gd name="connsiteY510" fmla="*/ 54666 h 238565"/>
                <a:gd name="connsiteX511" fmla="*/ 327607 w 703547"/>
                <a:gd name="connsiteY511" fmla="*/ 51952 h 238565"/>
                <a:gd name="connsiteX512" fmla="*/ 327090 w 703547"/>
                <a:gd name="connsiteY512" fmla="*/ 50918 h 238565"/>
                <a:gd name="connsiteX513" fmla="*/ 326573 w 703547"/>
                <a:gd name="connsiteY513" fmla="*/ 50013 h 238565"/>
                <a:gd name="connsiteX514" fmla="*/ 325410 w 703547"/>
                <a:gd name="connsiteY514" fmla="*/ 47429 h 238565"/>
                <a:gd name="connsiteX515" fmla="*/ 325151 w 703547"/>
                <a:gd name="connsiteY515" fmla="*/ 47041 h 238565"/>
                <a:gd name="connsiteX516" fmla="*/ 324764 w 703547"/>
                <a:gd name="connsiteY516" fmla="*/ 46653 h 238565"/>
                <a:gd name="connsiteX517" fmla="*/ 323859 w 703547"/>
                <a:gd name="connsiteY517" fmla="*/ 46007 h 238565"/>
                <a:gd name="connsiteX518" fmla="*/ 322567 w 703547"/>
                <a:gd name="connsiteY518" fmla="*/ 45619 h 238565"/>
                <a:gd name="connsiteX519" fmla="*/ 319594 w 703547"/>
                <a:gd name="connsiteY519" fmla="*/ 47558 h 238565"/>
                <a:gd name="connsiteX520" fmla="*/ 318173 w 703547"/>
                <a:gd name="connsiteY520" fmla="*/ 49238 h 238565"/>
                <a:gd name="connsiteX521" fmla="*/ 317139 w 703547"/>
                <a:gd name="connsiteY521" fmla="*/ 50660 h 238565"/>
                <a:gd name="connsiteX522" fmla="*/ 316493 w 703547"/>
                <a:gd name="connsiteY522" fmla="*/ 51176 h 238565"/>
                <a:gd name="connsiteX523" fmla="*/ 315847 w 703547"/>
                <a:gd name="connsiteY523" fmla="*/ 51306 h 238565"/>
                <a:gd name="connsiteX524" fmla="*/ 315459 w 703547"/>
                <a:gd name="connsiteY524" fmla="*/ 50918 h 238565"/>
                <a:gd name="connsiteX525" fmla="*/ 315200 w 703547"/>
                <a:gd name="connsiteY525" fmla="*/ 50401 h 238565"/>
                <a:gd name="connsiteX526" fmla="*/ 314813 w 703547"/>
                <a:gd name="connsiteY526" fmla="*/ 49884 h 238565"/>
                <a:gd name="connsiteX527" fmla="*/ 314296 w 703547"/>
                <a:gd name="connsiteY527" fmla="*/ 49367 h 238565"/>
                <a:gd name="connsiteX528" fmla="*/ 312874 w 703547"/>
                <a:gd name="connsiteY528" fmla="*/ 49238 h 238565"/>
                <a:gd name="connsiteX529" fmla="*/ 312228 w 703547"/>
                <a:gd name="connsiteY529" fmla="*/ 49496 h 238565"/>
                <a:gd name="connsiteX530" fmla="*/ 311582 w 703547"/>
                <a:gd name="connsiteY530" fmla="*/ 50013 h 238565"/>
                <a:gd name="connsiteX531" fmla="*/ 311065 w 703547"/>
                <a:gd name="connsiteY531" fmla="*/ 50660 h 238565"/>
                <a:gd name="connsiteX532" fmla="*/ 309902 w 703547"/>
                <a:gd name="connsiteY532" fmla="*/ 51693 h 238565"/>
                <a:gd name="connsiteX533" fmla="*/ 308609 w 703547"/>
                <a:gd name="connsiteY533" fmla="*/ 52210 h 238565"/>
                <a:gd name="connsiteX534" fmla="*/ 306283 w 703547"/>
                <a:gd name="connsiteY534" fmla="*/ 52856 h 238565"/>
                <a:gd name="connsiteX535" fmla="*/ 305120 w 703547"/>
                <a:gd name="connsiteY535" fmla="*/ 52986 h 238565"/>
                <a:gd name="connsiteX536" fmla="*/ 304345 w 703547"/>
                <a:gd name="connsiteY536" fmla="*/ 52986 h 238565"/>
                <a:gd name="connsiteX537" fmla="*/ 303828 w 703547"/>
                <a:gd name="connsiteY537" fmla="*/ 52727 h 238565"/>
                <a:gd name="connsiteX538" fmla="*/ 303440 w 703547"/>
                <a:gd name="connsiteY538" fmla="*/ 52469 h 238565"/>
                <a:gd name="connsiteX539" fmla="*/ 302665 w 703547"/>
                <a:gd name="connsiteY539" fmla="*/ 51823 h 238565"/>
                <a:gd name="connsiteX540" fmla="*/ 302019 w 703547"/>
                <a:gd name="connsiteY540" fmla="*/ 51564 h 238565"/>
                <a:gd name="connsiteX541" fmla="*/ 301243 w 703547"/>
                <a:gd name="connsiteY541" fmla="*/ 51306 h 238565"/>
                <a:gd name="connsiteX542" fmla="*/ 299693 w 703547"/>
                <a:gd name="connsiteY542" fmla="*/ 51306 h 238565"/>
                <a:gd name="connsiteX543" fmla="*/ 298271 w 703547"/>
                <a:gd name="connsiteY543" fmla="*/ 50918 h 238565"/>
                <a:gd name="connsiteX544" fmla="*/ 297625 w 703547"/>
                <a:gd name="connsiteY544" fmla="*/ 50143 h 238565"/>
                <a:gd name="connsiteX545" fmla="*/ 297625 w 703547"/>
                <a:gd name="connsiteY545" fmla="*/ 47816 h 238565"/>
                <a:gd name="connsiteX546" fmla="*/ 297883 w 703547"/>
                <a:gd name="connsiteY546" fmla="*/ 46395 h 238565"/>
                <a:gd name="connsiteX547" fmla="*/ 297754 w 703547"/>
                <a:gd name="connsiteY547" fmla="*/ 45490 h 238565"/>
                <a:gd name="connsiteX548" fmla="*/ 297495 w 703547"/>
                <a:gd name="connsiteY548" fmla="*/ 44973 h 238565"/>
                <a:gd name="connsiteX549" fmla="*/ 296978 w 703547"/>
                <a:gd name="connsiteY549" fmla="*/ 44844 h 238565"/>
                <a:gd name="connsiteX550" fmla="*/ 296462 w 703547"/>
                <a:gd name="connsiteY550" fmla="*/ 44844 h 238565"/>
                <a:gd name="connsiteX551" fmla="*/ 294782 w 703547"/>
                <a:gd name="connsiteY551" fmla="*/ 45232 h 238565"/>
                <a:gd name="connsiteX552" fmla="*/ 294135 w 703547"/>
                <a:gd name="connsiteY552" fmla="*/ 45232 h 238565"/>
                <a:gd name="connsiteX553" fmla="*/ 293489 w 703547"/>
                <a:gd name="connsiteY553" fmla="*/ 44973 h 238565"/>
                <a:gd name="connsiteX554" fmla="*/ 292326 w 703547"/>
                <a:gd name="connsiteY554" fmla="*/ 44456 h 238565"/>
                <a:gd name="connsiteX555" fmla="*/ 291809 w 703547"/>
                <a:gd name="connsiteY555" fmla="*/ 43939 h 238565"/>
                <a:gd name="connsiteX556" fmla="*/ 291421 w 703547"/>
                <a:gd name="connsiteY556" fmla="*/ 43422 h 238565"/>
                <a:gd name="connsiteX557" fmla="*/ 291034 w 703547"/>
                <a:gd name="connsiteY557" fmla="*/ 42389 h 238565"/>
                <a:gd name="connsiteX558" fmla="*/ 290775 w 703547"/>
                <a:gd name="connsiteY558" fmla="*/ 41225 h 238565"/>
                <a:gd name="connsiteX559" fmla="*/ 290646 w 703547"/>
                <a:gd name="connsiteY559" fmla="*/ 39416 h 238565"/>
                <a:gd name="connsiteX560" fmla="*/ 290388 w 703547"/>
                <a:gd name="connsiteY560" fmla="*/ 38124 h 238565"/>
                <a:gd name="connsiteX561" fmla="*/ 290000 w 703547"/>
                <a:gd name="connsiteY561" fmla="*/ 37607 h 238565"/>
                <a:gd name="connsiteX562" fmla="*/ 289483 w 703547"/>
                <a:gd name="connsiteY562" fmla="*/ 37607 h 238565"/>
                <a:gd name="connsiteX563" fmla="*/ 288966 w 703547"/>
                <a:gd name="connsiteY563" fmla="*/ 37736 h 238565"/>
                <a:gd name="connsiteX564" fmla="*/ 288449 w 703547"/>
                <a:gd name="connsiteY564" fmla="*/ 37865 h 238565"/>
                <a:gd name="connsiteX565" fmla="*/ 287803 w 703547"/>
                <a:gd name="connsiteY565" fmla="*/ 37865 h 238565"/>
                <a:gd name="connsiteX566" fmla="*/ 287286 w 703547"/>
                <a:gd name="connsiteY566" fmla="*/ 37865 h 238565"/>
                <a:gd name="connsiteX567" fmla="*/ 285865 w 703547"/>
                <a:gd name="connsiteY567" fmla="*/ 37478 h 238565"/>
                <a:gd name="connsiteX568" fmla="*/ 282634 w 703547"/>
                <a:gd name="connsiteY568" fmla="*/ 38512 h 238565"/>
                <a:gd name="connsiteX569" fmla="*/ 281471 w 703547"/>
                <a:gd name="connsiteY569" fmla="*/ 39287 h 238565"/>
                <a:gd name="connsiteX570" fmla="*/ 280308 w 703547"/>
                <a:gd name="connsiteY570" fmla="*/ 41355 h 238565"/>
                <a:gd name="connsiteX571" fmla="*/ 279791 w 703547"/>
                <a:gd name="connsiteY571" fmla="*/ 41613 h 238565"/>
                <a:gd name="connsiteX572" fmla="*/ 279273 w 703547"/>
                <a:gd name="connsiteY572" fmla="*/ 41742 h 238565"/>
                <a:gd name="connsiteX573" fmla="*/ 278886 w 703547"/>
                <a:gd name="connsiteY573" fmla="*/ 41484 h 238565"/>
                <a:gd name="connsiteX574" fmla="*/ 278110 w 703547"/>
                <a:gd name="connsiteY574" fmla="*/ 41225 h 238565"/>
                <a:gd name="connsiteX575" fmla="*/ 276947 w 703547"/>
                <a:gd name="connsiteY575" fmla="*/ 41096 h 238565"/>
                <a:gd name="connsiteX576" fmla="*/ 274621 w 703547"/>
                <a:gd name="connsiteY576" fmla="*/ 41484 h 238565"/>
                <a:gd name="connsiteX577" fmla="*/ 273587 w 703547"/>
                <a:gd name="connsiteY577" fmla="*/ 41872 h 238565"/>
                <a:gd name="connsiteX578" fmla="*/ 272812 w 703547"/>
                <a:gd name="connsiteY578" fmla="*/ 42259 h 238565"/>
                <a:gd name="connsiteX579" fmla="*/ 272166 w 703547"/>
                <a:gd name="connsiteY579" fmla="*/ 43164 h 238565"/>
                <a:gd name="connsiteX580" fmla="*/ 271907 w 703547"/>
                <a:gd name="connsiteY580" fmla="*/ 43681 h 238565"/>
                <a:gd name="connsiteX581" fmla="*/ 271778 w 703547"/>
                <a:gd name="connsiteY581" fmla="*/ 44198 h 238565"/>
                <a:gd name="connsiteX582" fmla="*/ 271390 w 703547"/>
                <a:gd name="connsiteY582" fmla="*/ 46395 h 238565"/>
                <a:gd name="connsiteX583" fmla="*/ 271003 w 703547"/>
                <a:gd name="connsiteY583" fmla="*/ 47299 h 238565"/>
                <a:gd name="connsiteX584" fmla="*/ 270615 w 703547"/>
                <a:gd name="connsiteY584" fmla="*/ 47558 h 238565"/>
                <a:gd name="connsiteX585" fmla="*/ 270227 w 703547"/>
                <a:gd name="connsiteY585" fmla="*/ 47429 h 238565"/>
                <a:gd name="connsiteX586" fmla="*/ 269969 w 703547"/>
                <a:gd name="connsiteY586" fmla="*/ 47041 h 238565"/>
                <a:gd name="connsiteX587" fmla="*/ 269581 w 703547"/>
                <a:gd name="connsiteY587" fmla="*/ 46653 h 238565"/>
                <a:gd name="connsiteX588" fmla="*/ 269064 w 703547"/>
                <a:gd name="connsiteY588" fmla="*/ 46395 h 238565"/>
                <a:gd name="connsiteX589" fmla="*/ 268160 w 703547"/>
                <a:gd name="connsiteY589" fmla="*/ 46395 h 238565"/>
                <a:gd name="connsiteX590" fmla="*/ 267643 w 703547"/>
                <a:gd name="connsiteY590" fmla="*/ 46653 h 238565"/>
                <a:gd name="connsiteX591" fmla="*/ 267255 w 703547"/>
                <a:gd name="connsiteY591" fmla="*/ 47041 h 238565"/>
                <a:gd name="connsiteX592" fmla="*/ 265962 w 703547"/>
                <a:gd name="connsiteY592" fmla="*/ 48980 h 238565"/>
                <a:gd name="connsiteX593" fmla="*/ 263507 w 703547"/>
                <a:gd name="connsiteY593" fmla="*/ 51564 h 238565"/>
                <a:gd name="connsiteX594" fmla="*/ 262602 w 703547"/>
                <a:gd name="connsiteY594" fmla="*/ 52856 h 238565"/>
                <a:gd name="connsiteX595" fmla="*/ 260923 w 703547"/>
                <a:gd name="connsiteY595" fmla="*/ 56346 h 238565"/>
                <a:gd name="connsiteX596" fmla="*/ 259759 w 703547"/>
                <a:gd name="connsiteY596" fmla="*/ 58026 h 238565"/>
                <a:gd name="connsiteX597" fmla="*/ 258596 w 703547"/>
                <a:gd name="connsiteY597" fmla="*/ 60094 h 238565"/>
                <a:gd name="connsiteX598" fmla="*/ 257175 w 703547"/>
                <a:gd name="connsiteY598" fmla="*/ 61903 h 238565"/>
                <a:gd name="connsiteX599" fmla="*/ 256528 w 703547"/>
                <a:gd name="connsiteY599" fmla="*/ 62161 h 238565"/>
                <a:gd name="connsiteX600" fmla="*/ 256012 w 703547"/>
                <a:gd name="connsiteY600" fmla="*/ 62032 h 238565"/>
                <a:gd name="connsiteX601" fmla="*/ 255624 w 703547"/>
                <a:gd name="connsiteY601" fmla="*/ 61644 h 238565"/>
                <a:gd name="connsiteX602" fmla="*/ 254331 w 703547"/>
                <a:gd name="connsiteY602" fmla="*/ 59189 h 238565"/>
                <a:gd name="connsiteX603" fmla="*/ 253814 w 703547"/>
                <a:gd name="connsiteY603" fmla="*/ 58930 h 238565"/>
                <a:gd name="connsiteX604" fmla="*/ 252781 w 703547"/>
                <a:gd name="connsiteY604" fmla="*/ 59189 h 238565"/>
                <a:gd name="connsiteX605" fmla="*/ 250971 w 703547"/>
                <a:gd name="connsiteY605" fmla="*/ 59964 h 238565"/>
                <a:gd name="connsiteX606" fmla="*/ 248128 w 703547"/>
                <a:gd name="connsiteY606" fmla="*/ 61774 h 238565"/>
                <a:gd name="connsiteX607" fmla="*/ 246707 w 703547"/>
                <a:gd name="connsiteY607" fmla="*/ 62420 h 238565"/>
                <a:gd name="connsiteX608" fmla="*/ 245802 w 703547"/>
                <a:gd name="connsiteY608" fmla="*/ 62549 h 238565"/>
                <a:gd name="connsiteX609" fmla="*/ 245414 w 703547"/>
                <a:gd name="connsiteY609" fmla="*/ 62161 h 238565"/>
                <a:gd name="connsiteX610" fmla="*/ 245156 w 703547"/>
                <a:gd name="connsiteY610" fmla="*/ 61644 h 238565"/>
                <a:gd name="connsiteX611" fmla="*/ 244768 w 703547"/>
                <a:gd name="connsiteY611" fmla="*/ 60610 h 238565"/>
                <a:gd name="connsiteX612" fmla="*/ 242442 w 703547"/>
                <a:gd name="connsiteY612" fmla="*/ 52727 h 238565"/>
                <a:gd name="connsiteX613" fmla="*/ 242054 w 703547"/>
                <a:gd name="connsiteY613" fmla="*/ 51693 h 238565"/>
                <a:gd name="connsiteX614" fmla="*/ 241408 w 703547"/>
                <a:gd name="connsiteY614" fmla="*/ 50789 h 238565"/>
                <a:gd name="connsiteX615" fmla="*/ 240633 w 703547"/>
                <a:gd name="connsiteY615" fmla="*/ 50013 h 238565"/>
                <a:gd name="connsiteX616" fmla="*/ 239857 w 703547"/>
                <a:gd name="connsiteY616" fmla="*/ 49367 h 238565"/>
                <a:gd name="connsiteX617" fmla="*/ 236627 w 703547"/>
                <a:gd name="connsiteY617" fmla="*/ 47429 h 238565"/>
                <a:gd name="connsiteX618" fmla="*/ 235464 w 703547"/>
                <a:gd name="connsiteY618" fmla="*/ 47041 h 238565"/>
                <a:gd name="connsiteX619" fmla="*/ 234946 w 703547"/>
                <a:gd name="connsiteY619" fmla="*/ 46912 h 238565"/>
                <a:gd name="connsiteX620" fmla="*/ 233912 w 703547"/>
                <a:gd name="connsiteY620" fmla="*/ 46395 h 238565"/>
                <a:gd name="connsiteX621" fmla="*/ 227451 w 703547"/>
                <a:gd name="connsiteY621" fmla="*/ 43810 h 238565"/>
                <a:gd name="connsiteX622" fmla="*/ 225642 w 703547"/>
                <a:gd name="connsiteY622" fmla="*/ 42647 h 238565"/>
                <a:gd name="connsiteX623" fmla="*/ 220860 w 703547"/>
                <a:gd name="connsiteY623" fmla="*/ 37607 h 238565"/>
                <a:gd name="connsiteX624" fmla="*/ 220214 w 703547"/>
                <a:gd name="connsiteY624" fmla="*/ 36573 h 238565"/>
                <a:gd name="connsiteX625" fmla="*/ 219051 w 703547"/>
                <a:gd name="connsiteY625" fmla="*/ 33342 h 238565"/>
                <a:gd name="connsiteX626" fmla="*/ 218275 w 703547"/>
                <a:gd name="connsiteY626" fmla="*/ 31791 h 238565"/>
                <a:gd name="connsiteX627" fmla="*/ 217371 w 703547"/>
                <a:gd name="connsiteY627" fmla="*/ 30499 h 238565"/>
                <a:gd name="connsiteX628" fmla="*/ 216724 w 703547"/>
                <a:gd name="connsiteY628" fmla="*/ 29853 h 238565"/>
                <a:gd name="connsiteX629" fmla="*/ 216078 w 703547"/>
                <a:gd name="connsiteY629" fmla="*/ 29465 h 238565"/>
                <a:gd name="connsiteX630" fmla="*/ 213752 w 703547"/>
                <a:gd name="connsiteY630" fmla="*/ 28819 h 238565"/>
                <a:gd name="connsiteX631" fmla="*/ 212460 w 703547"/>
                <a:gd name="connsiteY631" fmla="*/ 28690 h 238565"/>
                <a:gd name="connsiteX632" fmla="*/ 208453 w 703547"/>
                <a:gd name="connsiteY632" fmla="*/ 27397 h 238565"/>
                <a:gd name="connsiteX633" fmla="*/ 204189 w 703547"/>
                <a:gd name="connsiteY633" fmla="*/ 24425 h 238565"/>
                <a:gd name="connsiteX634" fmla="*/ 203026 w 703547"/>
                <a:gd name="connsiteY634" fmla="*/ 23779 h 238565"/>
                <a:gd name="connsiteX635" fmla="*/ 202121 w 703547"/>
                <a:gd name="connsiteY635" fmla="*/ 23391 h 238565"/>
                <a:gd name="connsiteX636" fmla="*/ 197985 w 703547"/>
                <a:gd name="connsiteY636" fmla="*/ 22487 h 238565"/>
                <a:gd name="connsiteX637" fmla="*/ 197210 w 703547"/>
                <a:gd name="connsiteY637" fmla="*/ 22099 h 238565"/>
                <a:gd name="connsiteX638" fmla="*/ 196564 w 703547"/>
                <a:gd name="connsiteY638" fmla="*/ 21711 h 238565"/>
                <a:gd name="connsiteX639" fmla="*/ 194884 w 703547"/>
                <a:gd name="connsiteY639" fmla="*/ 20031 h 238565"/>
                <a:gd name="connsiteX640" fmla="*/ 192041 w 703547"/>
                <a:gd name="connsiteY640" fmla="*/ 17705 h 238565"/>
                <a:gd name="connsiteX641" fmla="*/ 185967 w 703547"/>
                <a:gd name="connsiteY641" fmla="*/ 12148 h 238565"/>
                <a:gd name="connsiteX642" fmla="*/ 183770 w 703547"/>
                <a:gd name="connsiteY642" fmla="*/ 10856 h 238565"/>
                <a:gd name="connsiteX643" fmla="*/ 163093 w 703547"/>
                <a:gd name="connsiteY643" fmla="*/ 8271 h 238565"/>
                <a:gd name="connsiteX644" fmla="*/ 154305 w 703547"/>
                <a:gd name="connsiteY644" fmla="*/ 9046 h 238565"/>
                <a:gd name="connsiteX645" fmla="*/ 151978 w 703547"/>
                <a:gd name="connsiteY645" fmla="*/ 9563 h 238565"/>
                <a:gd name="connsiteX646" fmla="*/ 146163 w 703547"/>
                <a:gd name="connsiteY646" fmla="*/ 11889 h 238565"/>
                <a:gd name="connsiteX647" fmla="*/ 142286 w 703547"/>
                <a:gd name="connsiteY647" fmla="*/ 13828 h 238565"/>
                <a:gd name="connsiteX648" fmla="*/ 140089 w 703547"/>
                <a:gd name="connsiteY648" fmla="*/ 14474 h 238565"/>
                <a:gd name="connsiteX649" fmla="*/ 130784 w 703547"/>
                <a:gd name="connsiteY649" fmla="*/ 15637 h 238565"/>
                <a:gd name="connsiteX650" fmla="*/ 128458 w 703547"/>
                <a:gd name="connsiteY650" fmla="*/ 15637 h 238565"/>
                <a:gd name="connsiteX651" fmla="*/ 119024 w 703547"/>
                <a:gd name="connsiteY651" fmla="*/ 13053 h 238565"/>
                <a:gd name="connsiteX652" fmla="*/ 117732 w 703547"/>
                <a:gd name="connsiteY652" fmla="*/ 12923 h 238565"/>
                <a:gd name="connsiteX653" fmla="*/ 116698 w 703547"/>
                <a:gd name="connsiteY653" fmla="*/ 12923 h 238565"/>
                <a:gd name="connsiteX654" fmla="*/ 115405 w 703547"/>
                <a:gd name="connsiteY654" fmla="*/ 13182 h 238565"/>
                <a:gd name="connsiteX655" fmla="*/ 89429 w 703547"/>
                <a:gd name="connsiteY655" fmla="*/ 12794 h 238565"/>
                <a:gd name="connsiteX656" fmla="*/ 77669 w 703547"/>
                <a:gd name="connsiteY656" fmla="*/ 13699 h 238565"/>
                <a:gd name="connsiteX657" fmla="*/ 76765 w 703547"/>
                <a:gd name="connsiteY657" fmla="*/ 13957 h 238565"/>
                <a:gd name="connsiteX658" fmla="*/ 74568 w 703547"/>
                <a:gd name="connsiteY658" fmla="*/ 15120 h 238565"/>
                <a:gd name="connsiteX659" fmla="*/ 73922 w 703547"/>
                <a:gd name="connsiteY659" fmla="*/ 15508 h 238565"/>
                <a:gd name="connsiteX660" fmla="*/ 73534 w 703547"/>
                <a:gd name="connsiteY660" fmla="*/ 15766 h 238565"/>
                <a:gd name="connsiteX661" fmla="*/ 73405 w 703547"/>
                <a:gd name="connsiteY661" fmla="*/ 16025 h 238565"/>
                <a:gd name="connsiteX662" fmla="*/ 73275 w 703547"/>
                <a:gd name="connsiteY662" fmla="*/ 16413 h 238565"/>
                <a:gd name="connsiteX663" fmla="*/ 73146 w 703547"/>
                <a:gd name="connsiteY663" fmla="*/ 16930 h 238565"/>
                <a:gd name="connsiteX664" fmla="*/ 72629 w 703547"/>
                <a:gd name="connsiteY664" fmla="*/ 22357 h 238565"/>
                <a:gd name="connsiteX665" fmla="*/ 72629 w 703547"/>
                <a:gd name="connsiteY665" fmla="*/ 23004 h 238565"/>
                <a:gd name="connsiteX666" fmla="*/ 73146 w 703547"/>
                <a:gd name="connsiteY666" fmla="*/ 25459 h 238565"/>
                <a:gd name="connsiteX667" fmla="*/ 73405 w 703547"/>
                <a:gd name="connsiteY667" fmla="*/ 25976 h 238565"/>
                <a:gd name="connsiteX668" fmla="*/ 77540 w 703547"/>
                <a:gd name="connsiteY668" fmla="*/ 33730 h 238565"/>
                <a:gd name="connsiteX669" fmla="*/ 79737 w 703547"/>
                <a:gd name="connsiteY669" fmla="*/ 36573 h 238565"/>
                <a:gd name="connsiteX670" fmla="*/ 79996 w 703547"/>
                <a:gd name="connsiteY670" fmla="*/ 37090 h 238565"/>
                <a:gd name="connsiteX671" fmla="*/ 80642 w 703547"/>
                <a:gd name="connsiteY671" fmla="*/ 39416 h 238565"/>
                <a:gd name="connsiteX672" fmla="*/ 80771 w 703547"/>
                <a:gd name="connsiteY672" fmla="*/ 40192 h 238565"/>
                <a:gd name="connsiteX673" fmla="*/ 80642 w 703547"/>
                <a:gd name="connsiteY673" fmla="*/ 42776 h 238565"/>
                <a:gd name="connsiteX674" fmla="*/ 80383 w 703547"/>
                <a:gd name="connsiteY674" fmla="*/ 43681 h 238565"/>
                <a:gd name="connsiteX675" fmla="*/ 80125 w 703547"/>
                <a:gd name="connsiteY675" fmla="*/ 44456 h 238565"/>
                <a:gd name="connsiteX676" fmla="*/ 79479 w 703547"/>
                <a:gd name="connsiteY676" fmla="*/ 45361 h 238565"/>
                <a:gd name="connsiteX677" fmla="*/ 79091 w 703547"/>
                <a:gd name="connsiteY677" fmla="*/ 45749 h 238565"/>
                <a:gd name="connsiteX678" fmla="*/ 77798 w 703547"/>
                <a:gd name="connsiteY678" fmla="*/ 47946 h 238565"/>
                <a:gd name="connsiteX679" fmla="*/ 76635 w 703547"/>
                <a:gd name="connsiteY679" fmla="*/ 50401 h 238565"/>
                <a:gd name="connsiteX680" fmla="*/ 76248 w 703547"/>
                <a:gd name="connsiteY680" fmla="*/ 51693 h 238565"/>
                <a:gd name="connsiteX681" fmla="*/ 76248 w 703547"/>
                <a:gd name="connsiteY681" fmla="*/ 52598 h 238565"/>
                <a:gd name="connsiteX682" fmla="*/ 76894 w 703547"/>
                <a:gd name="connsiteY682" fmla="*/ 53373 h 238565"/>
                <a:gd name="connsiteX683" fmla="*/ 77669 w 703547"/>
                <a:gd name="connsiteY683" fmla="*/ 54020 h 238565"/>
                <a:gd name="connsiteX684" fmla="*/ 83872 w 703547"/>
                <a:gd name="connsiteY684" fmla="*/ 56734 h 238565"/>
                <a:gd name="connsiteX685" fmla="*/ 85682 w 703547"/>
                <a:gd name="connsiteY685" fmla="*/ 57897 h 238565"/>
                <a:gd name="connsiteX686" fmla="*/ 87749 w 703547"/>
                <a:gd name="connsiteY686" fmla="*/ 59577 h 238565"/>
                <a:gd name="connsiteX687" fmla="*/ 88396 w 703547"/>
                <a:gd name="connsiteY687" fmla="*/ 60352 h 238565"/>
                <a:gd name="connsiteX688" fmla="*/ 89171 w 703547"/>
                <a:gd name="connsiteY688" fmla="*/ 62161 h 238565"/>
                <a:gd name="connsiteX689" fmla="*/ 89946 w 703547"/>
                <a:gd name="connsiteY689" fmla="*/ 68235 h 238565"/>
                <a:gd name="connsiteX690" fmla="*/ 89300 w 703547"/>
                <a:gd name="connsiteY690" fmla="*/ 77799 h 238565"/>
                <a:gd name="connsiteX691" fmla="*/ 88654 w 703547"/>
                <a:gd name="connsiteY691" fmla="*/ 81676 h 238565"/>
                <a:gd name="connsiteX692" fmla="*/ 85165 w 703547"/>
                <a:gd name="connsiteY692" fmla="*/ 89559 h 238565"/>
                <a:gd name="connsiteX693" fmla="*/ 84389 w 703547"/>
                <a:gd name="connsiteY693" fmla="*/ 90980 h 238565"/>
                <a:gd name="connsiteX694" fmla="*/ 83743 w 703547"/>
                <a:gd name="connsiteY694" fmla="*/ 91885 h 238565"/>
                <a:gd name="connsiteX695" fmla="*/ 83355 w 703547"/>
                <a:gd name="connsiteY695" fmla="*/ 92273 h 238565"/>
                <a:gd name="connsiteX696" fmla="*/ 82968 w 703547"/>
                <a:gd name="connsiteY696" fmla="*/ 92660 h 238565"/>
                <a:gd name="connsiteX697" fmla="*/ 82580 w 703547"/>
                <a:gd name="connsiteY697" fmla="*/ 92919 h 238565"/>
                <a:gd name="connsiteX698" fmla="*/ 82063 w 703547"/>
                <a:gd name="connsiteY698" fmla="*/ 92919 h 238565"/>
                <a:gd name="connsiteX699" fmla="*/ 81288 w 703547"/>
                <a:gd name="connsiteY699" fmla="*/ 93177 h 238565"/>
                <a:gd name="connsiteX700" fmla="*/ 80383 w 703547"/>
                <a:gd name="connsiteY700" fmla="*/ 93565 h 238565"/>
                <a:gd name="connsiteX701" fmla="*/ 77928 w 703547"/>
                <a:gd name="connsiteY701" fmla="*/ 96279 h 238565"/>
                <a:gd name="connsiteX702" fmla="*/ 75860 w 703547"/>
                <a:gd name="connsiteY702" fmla="*/ 98217 h 238565"/>
                <a:gd name="connsiteX703" fmla="*/ 74180 w 703547"/>
                <a:gd name="connsiteY703" fmla="*/ 100285 h 238565"/>
                <a:gd name="connsiteX704" fmla="*/ 73663 w 703547"/>
                <a:gd name="connsiteY704" fmla="*/ 100802 h 238565"/>
                <a:gd name="connsiteX705" fmla="*/ 66814 w 703547"/>
                <a:gd name="connsiteY705" fmla="*/ 104938 h 238565"/>
                <a:gd name="connsiteX706" fmla="*/ 66296 w 703547"/>
                <a:gd name="connsiteY706" fmla="*/ 105584 h 238565"/>
                <a:gd name="connsiteX707" fmla="*/ 65780 w 703547"/>
                <a:gd name="connsiteY707" fmla="*/ 106488 h 238565"/>
                <a:gd name="connsiteX708" fmla="*/ 65521 w 703547"/>
                <a:gd name="connsiteY708" fmla="*/ 107264 h 238565"/>
                <a:gd name="connsiteX709" fmla="*/ 64100 w 703547"/>
                <a:gd name="connsiteY709" fmla="*/ 110753 h 238565"/>
                <a:gd name="connsiteX710" fmla="*/ 60998 w 703547"/>
                <a:gd name="connsiteY710" fmla="*/ 112433 h 238565"/>
                <a:gd name="connsiteX711" fmla="*/ 59964 w 703547"/>
                <a:gd name="connsiteY711" fmla="*/ 113467 h 238565"/>
                <a:gd name="connsiteX712" fmla="*/ 59706 w 703547"/>
                <a:gd name="connsiteY712" fmla="*/ 113984 h 238565"/>
                <a:gd name="connsiteX713" fmla="*/ 59318 w 703547"/>
                <a:gd name="connsiteY713" fmla="*/ 115535 h 238565"/>
                <a:gd name="connsiteX714" fmla="*/ 58672 w 703547"/>
                <a:gd name="connsiteY714" fmla="*/ 116956 h 238565"/>
                <a:gd name="connsiteX715" fmla="*/ 58155 w 703547"/>
                <a:gd name="connsiteY715" fmla="*/ 117473 h 238565"/>
                <a:gd name="connsiteX716" fmla="*/ 57509 w 703547"/>
                <a:gd name="connsiteY716" fmla="*/ 117602 h 238565"/>
                <a:gd name="connsiteX717" fmla="*/ 56992 w 703547"/>
                <a:gd name="connsiteY717" fmla="*/ 117473 h 238565"/>
                <a:gd name="connsiteX718" fmla="*/ 56475 w 703547"/>
                <a:gd name="connsiteY718" fmla="*/ 117215 h 238565"/>
                <a:gd name="connsiteX719" fmla="*/ 54666 w 703547"/>
                <a:gd name="connsiteY719" fmla="*/ 116052 h 238565"/>
                <a:gd name="connsiteX720" fmla="*/ 54149 w 703547"/>
                <a:gd name="connsiteY720" fmla="*/ 115793 h 238565"/>
                <a:gd name="connsiteX721" fmla="*/ 53502 w 703547"/>
                <a:gd name="connsiteY721" fmla="*/ 115535 h 238565"/>
                <a:gd name="connsiteX722" fmla="*/ 52469 w 703547"/>
                <a:gd name="connsiteY722" fmla="*/ 115535 h 238565"/>
                <a:gd name="connsiteX723" fmla="*/ 51952 w 703547"/>
                <a:gd name="connsiteY723" fmla="*/ 115922 h 238565"/>
                <a:gd name="connsiteX724" fmla="*/ 51693 w 703547"/>
                <a:gd name="connsiteY724" fmla="*/ 116439 h 238565"/>
                <a:gd name="connsiteX725" fmla="*/ 51047 w 703547"/>
                <a:gd name="connsiteY725" fmla="*/ 119541 h 238565"/>
                <a:gd name="connsiteX726" fmla="*/ 50918 w 703547"/>
                <a:gd name="connsiteY726" fmla="*/ 120833 h 238565"/>
                <a:gd name="connsiteX727" fmla="*/ 50789 w 703547"/>
                <a:gd name="connsiteY727" fmla="*/ 121738 h 238565"/>
                <a:gd name="connsiteX728" fmla="*/ 50401 w 703547"/>
                <a:gd name="connsiteY728" fmla="*/ 122643 h 238565"/>
                <a:gd name="connsiteX729" fmla="*/ 49367 w 703547"/>
                <a:gd name="connsiteY729" fmla="*/ 124193 h 238565"/>
                <a:gd name="connsiteX730" fmla="*/ 48463 w 703547"/>
                <a:gd name="connsiteY730" fmla="*/ 124840 h 238565"/>
                <a:gd name="connsiteX731" fmla="*/ 47816 w 703547"/>
                <a:gd name="connsiteY731" fmla="*/ 125098 h 238565"/>
                <a:gd name="connsiteX732" fmla="*/ 47428 w 703547"/>
                <a:gd name="connsiteY732" fmla="*/ 124969 h 238565"/>
                <a:gd name="connsiteX733" fmla="*/ 46782 w 703547"/>
                <a:gd name="connsiteY733" fmla="*/ 124581 h 238565"/>
                <a:gd name="connsiteX734" fmla="*/ 45878 w 703547"/>
                <a:gd name="connsiteY734" fmla="*/ 124193 h 238565"/>
                <a:gd name="connsiteX735" fmla="*/ 41613 w 703547"/>
                <a:gd name="connsiteY735" fmla="*/ 123160 h 238565"/>
                <a:gd name="connsiteX736" fmla="*/ 40708 w 703547"/>
                <a:gd name="connsiteY736" fmla="*/ 123030 h 238565"/>
                <a:gd name="connsiteX737" fmla="*/ 39674 w 703547"/>
                <a:gd name="connsiteY737" fmla="*/ 123030 h 238565"/>
                <a:gd name="connsiteX738" fmla="*/ 37865 w 703547"/>
                <a:gd name="connsiteY738" fmla="*/ 123547 h 238565"/>
                <a:gd name="connsiteX739" fmla="*/ 36961 w 703547"/>
                <a:gd name="connsiteY739" fmla="*/ 123935 h 238565"/>
                <a:gd name="connsiteX740" fmla="*/ 36444 w 703547"/>
                <a:gd name="connsiteY740" fmla="*/ 124452 h 238565"/>
                <a:gd name="connsiteX741" fmla="*/ 36056 w 703547"/>
                <a:gd name="connsiteY741" fmla="*/ 125744 h 238565"/>
                <a:gd name="connsiteX742" fmla="*/ 35668 w 703547"/>
                <a:gd name="connsiteY742" fmla="*/ 126520 h 238565"/>
                <a:gd name="connsiteX743" fmla="*/ 35022 w 703547"/>
                <a:gd name="connsiteY743" fmla="*/ 127424 h 238565"/>
                <a:gd name="connsiteX744" fmla="*/ 33471 w 703547"/>
                <a:gd name="connsiteY744" fmla="*/ 128975 h 238565"/>
                <a:gd name="connsiteX745" fmla="*/ 32825 w 703547"/>
                <a:gd name="connsiteY745" fmla="*/ 129880 h 238565"/>
                <a:gd name="connsiteX746" fmla="*/ 32437 w 703547"/>
                <a:gd name="connsiteY746" fmla="*/ 130784 h 238565"/>
                <a:gd name="connsiteX747" fmla="*/ 32308 w 703547"/>
                <a:gd name="connsiteY747" fmla="*/ 132335 h 238565"/>
                <a:gd name="connsiteX748" fmla="*/ 32050 w 703547"/>
                <a:gd name="connsiteY748" fmla="*/ 132981 h 238565"/>
                <a:gd name="connsiteX749" fmla="*/ 31662 w 703547"/>
                <a:gd name="connsiteY749" fmla="*/ 133627 h 238565"/>
                <a:gd name="connsiteX750" fmla="*/ 30887 w 703547"/>
                <a:gd name="connsiteY750" fmla="*/ 134661 h 238565"/>
                <a:gd name="connsiteX751" fmla="*/ 30241 w 703547"/>
                <a:gd name="connsiteY751" fmla="*/ 135178 h 238565"/>
                <a:gd name="connsiteX752" fmla="*/ 29594 w 703547"/>
                <a:gd name="connsiteY752" fmla="*/ 135437 h 238565"/>
                <a:gd name="connsiteX753" fmla="*/ 29078 w 703547"/>
                <a:gd name="connsiteY753" fmla="*/ 135566 h 238565"/>
                <a:gd name="connsiteX754" fmla="*/ 26363 w 703547"/>
                <a:gd name="connsiteY754" fmla="*/ 135954 h 238565"/>
                <a:gd name="connsiteX755" fmla="*/ 24037 w 703547"/>
                <a:gd name="connsiteY755" fmla="*/ 136471 h 238565"/>
                <a:gd name="connsiteX756" fmla="*/ 23262 w 703547"/>
                <a:gd name="connsiteY756" fmla="*/ 136858 h 238565"/>
                <a:gd name="connsiteX757" fmla="*/ 22745 w 703547"/>
                <a:gd name="connsiteY757" fmla="*/ 137246 h 238565"/>
                <a:gd name="connsiteX758" fmla="*/ 21582 w 703547"/>
                <a:gd name="connsiteY758" fmla="*/ 139055 h 238565"/>
                <a:gd name="connsiteX759" fmla="*/ 21194 w 703547"/>
                <a:gd name="connsiteY759" fmla="*/ 139443 h 238565"/>
                <a:gd name="connsiteX760" fmla="*/ 20677 w 703547"/>
                <a:gd name="connsiteY760" fmla="*/ 140348 h 238565"/>
                <a:gd name="connsiteX761" fmla="*/ 19902 w 703547"/>
                <a:gd name="connsiteY761" fmla="*/ 142545 h 238565"/>
                <a:gd name="connsiteX762" fmla="*/ 19126 w 703547"/>
                <a:gd name="connsiteY762" fmla="*/ 143966 h 238565"/>
                <a:gd name="connsiteX763" fmla="*/ 18222 w 703547"/>
                <a:gd name="connsiteY763" fmla="*/ 145258 h 238565"/>
                <a:gd name="connsiteX764" fmla="*/ 17705 w 703547"/>
                <a:gd name="connsiteY764" fmla="*/ 145905 h 238565"/>
                <a:gd name="connsiteX765" fmla="*/ 17188 w 703547"/>
                <a:gd name="connsiteY765" fmla="*/ 146422 h 238565"/>
                <a:gd name="connsiteX766" fmla="*/ 9563 w 703547"/>
                <a:gd name="connsiteY766" fmla="*/ 150557 h 238565"/>
                <a:gd name="connsiteX767" fmla="*/ 0 w 703547"/>
                <a:gd name="connsiteY767" fmla="*/ 154692 h 238565"/>
                <a:gd name="connsiteX768" fmla="*/ 2972 w 703547"/>
                <a:gd name="connsiteY768" fmla="*/ 156373 h 238565"/>
                <a:gd name="connsiteX769" fmla="*/ 4782 w 703547"/>
                <a:gd name="connsiteY769" fmla="*/ 157148 h 238565"/>
                <a:gd name="connsiteX770" fmla="*/ 5557 w 703547"/>
                <a:gd name="connsiteY770" fmla="*/ 157277 h 238565"/>
                <a:gd name="connsiteX771" fmla="*/ 7883 w 703547"/>
                <a:gd name="connsiteY771" fmla="*/ 157406 h 238565"/>
                <a:gd name="connsiteX772" fmla="*/ 8788 w 703547"/>
                <a:gd name="connsiteY772" fmla="*/ 157406 h 238565"/>
                <a:gd name="connsiteX773" fmla="*/ 9563 w 703547"/>
                <a:gd name="connsiteY773" fmla="*/ 157277 h 238565"/>
                <a:gd name="connsiteX774" fmla="*/ 11372 w 703547"/>
                <a:gd name="connsiteY774" fmla="*/ 156889 h 238565"/>
                <a:gd name="connsiteX775" fmla="*/ 12406 w 703547"/>
                <a:gd name="connsiteY775" fmla="*/ 156502 h 238565"/>
                <a:gd name="connsiteX776" fmla="*/ 13828 w 703547"/>
                <a:gd name="connsiteY776" fmla="*/ 155726 h 238565"/>
                <a:gd name="connsiteX777" fmla="*/ 16542 w 703547"/>
                <a:gd name="connsiteY777" fmla="*/ 154951 h 238565"/>
                <a:gd name="connsiteX778" fmla="*/ 22616 w 703547"/>
                <a:gd name="connsiteY778" fmla="*/ 154305 h 238565"/>
                <a:gd name="connsiteX779" fmla="*/ 24554 w 703547"/>
                <a:gd name="connsiteY779" fmla="*/ 154434 h 238565"/>
                <a:gd name="connsiteX780" fmla="*/ 26751 w 703547"/>
                <a:gd name="connsiteY780" fmla="*/ 154822 h 238565"/>
                <a:gd name="connsiteX781" fmla="*/ 27785 w 703547"/>
                <a:gd name="connsiteY781" fmla="*/ 155209 h 238565"/>
                <a:gd name="connsiteX782" fmla="*/ 28561 w 703547"/>
                <a:gd name="connsiteY782" fmla="*/ 155597 h 238565"/>
                <a:gd name="connsiteX783" fmla="*/ 28819 w 703547"/>
                <a:gd name="connsiteY783" fmla="*/ 155985 h 238565"/>
                <a:gd name="connsiteX784" fmla="*/ 29078 w 703547"/>
                <a:gd name="connsiteY784" fmla="*/ 156373 h 238565"/>
                <a:gd name="connsiteX785" fmla="*/ 29207 w 703547"/>
                <a:gd name="connsiteY785" fmla="*/ 157019 h 238565"/>
                <a:gd name="connsiteX786" fmla="*/ 29207 w 703547"/>
                <a:gd name="connsiteY786" fmla="*/ 157665 h 238565"/>
                <a:gd name="connsiteX787" fmla="*/ 28819 w 703547"/>
                <a:gd name="connsiteY787" fmla="*/ 160249 h 238565"/>
                <a:gd name="connsiteX788" fmla="*/ 28819 w 703547"/>
                <a:gd name="connsiteY788" fmla="*/ 160896 h 238565"/>
                <a:gd name="connsiteX789" fmla="*/ 28948 w 703547"/>
                <a:gd name="connsiteY789" fmla="*/ 161542 h 238565"/>
                <a:gd name="connsiteX790" fmla="*/ 29336 w 703547"/>
                <a:gd name="connsiteY790" fmla="*/ 162059 h 238565"/>
                <a:gd name="connsiteX791" fmla="*/ 30111 w 703547"/>
                <a:gd name="connsiteY791" fmla="*/ 162705 h 238565"/>
                <a:gd name="connsiteX792" fmla="*/ 30887 w 703547"/>
                <a:gd name="connsiteY792" fmla="*/ 162963 h 238565"/>
                <a:gd name="connsiteX793" fmla="*/ 31662 w 703547"/>
                <a:gd name="connsiteY793" fmla="*/ 163093 h 238565"/>
                <a:gd name="connsiteX794" fmla="*/ 32437 w 703547"/>
                <a:gd name="connsiteY794" fmla="*/ 163093 h 238565"/>
                <a:gd name="connsiteX795" fmla="*/ 35022 w 703547"/>
                <a:gd name="connsiteY795" fmla="*/ 162705 h 238565"/>
                <a:gd name="connsiteX796" fmla="*/ 37995 w 703547"/>
                <a:gd name="connsiteY796" fmla="*/ 161671 h 238565"/>
                <a:gd name="connsiteX797" fmla="*/ 39028 w 703547"/>
                <a:gd name="connsiteY797" fmla="*/ 161413 h 238565"/>
                <a:gd name="connsiteX798" fmla="*/ 39545 w 703547"/>
                <a:gd name="connsiteY798" fmla="*/ 161413 h 238565"/>
                <a:gd name="connsiteX799" fmla="*/ 39933 w 703547"/>
                <a:gd name="connsiteY799" fmla="*/ 161542 h 238565"/>
                <a:gd name="connsiteX800" fmla="*/ 40579 w 703547"/>
                <a:gd name="connsiteY800" fmla="*/ 162188 h 238565"/>
                <a:gd name="connsiteX801" fmla="*/ 40837 w 703547"/>
                <a:gd name="connsiteY801" fmla="*/ 162576 h 238565"/>
                <a:gd name="connsiteX802" fmla="*/ 41096 w 703547"/>
                <a:gd name="connsiteY802" fmla="*/ 163093 h 238565"/>
                <a:gd name="connsiteX803" fmla="*/ 41226 w 703547"/>
                <a:gd name="connsiteY803" fmla="*/ 163610 h 238565"/>
                <a:gd name="connsiteX804" fmla="*/ 41226 w 703547"/>
                <a:gd name="connsiteY804" fmla="*/ 164902 h 238565"/>
                <a:gd name="connsiteX805" fmla="*/ 41354 w 703547"/>
                <a:gd name="connsiteY805" fmla="*/ 165419 h 238565"/>
                <a:gd name="connsiteX806" fmla="*/ 41613 w 703547"/>
                <a:gd name="connsiteY806" fmla="*/ 165936 h 238565"/>
                <a:gd name="connsiteX807" fmla="*/ 42001 w 703547"/>
                <a:gd name="connsiteY807" fmla="*/ 166453 h 238565"/>
                <a:gd name="connsiteX808" fmla="*/ 42647 w 703547"/>
                <a:gd name="connsiteY808" fmla="*/ 167099 h 238565"/>
                <a:gd name="connsiteX809" fmla="*/ 43939 w 703547"/>
                <a:gd name="connsiteY809" fmla="*/ 167874 h 238565"/>
                <a:gd name="connsiteX810" fmla="*/ 44844 w 703547"/>
                <a:gd name="connsiteY810" fmla="*/ 168133 h 238565"/>
                <a:gd name="connsiteX811" fmla="*/ 45619 w 703547"/>
                <a:gd name="connsiteY811" fmla="*/ 168133 h 238565"/>
                <a:gd name="connsiteX812" fmla="*/ 46136 w 703547"/>
                <a:gd name="connsiteY812" fmla="*/ 167874 h 238565"/>
                <a:gd name="connsiteX813" fmla="*/ 47041 w 703547"/>
                <a:gd name="connsiteY813" fmla="*/ 167099 h 238565"/>
                <a:gd name="connsiteX814" fmla="*/ 47558 w 703547"/>
                <a:gd name="connsiteY814" fmla="*/ 166840 h 238565"/>
                <a:gd name="connsiteX815" fmla="*/ 48075 w 703547"/>
                <a:gd name="connsiteY815" fmla="*/ 166970 h 238565"/>
                <a:gd name="connsiteX816" fmla="*/ 48592 w 703547"/>
                <a:gd name="connsiteY816" fmla="*/ 167228 h 238565"/>
                <a:gd name="connsiteX817" fmla="*/ 49109 w 703547"/>
                <a:gd name="connsiteY817" fmla="*/ 167616 h 238565"/>
                <a:gd name="connsiteX818" fmla="*/ 50530 w 703547"/>
                <a:gd name="connsiteY818" fmla="*/ 168908 h 238565"/>
                <a:gd name="connsiteX819" fmla="*/ 51176 w 703547"/>
                <a:gd name="connsiteY819" fmla="*/ 169684 h 238565"/>
                <a:gd name="connsiteX820" fmla="*/ 51564 w 703547"/>
                <a:gd name="connsiteY820" fmla="*/ 170330 h 238565"/>
                <a:gd name="connsiteX821" fmla="*/ 51822 w 703547"/>
                <a:gd name="connsiteY821" fmla="*/ 170976 h 238565"/>
                <a:gd name="connsiteX822" fmla="*/ 51822 w 703547"/>
                <a:gd name="connsiteY822" fmla="*/ 171622 h 238565"/>
                <a:gd name="connsiteX823" fmla="*/ 51693 w 703547"/>
                <a:gd name="connsiteY823" fmla="*/ 172268 h 238565"/>
                <a:gd name="connsiteX824" fmla="*/ 51176 w 703547"/>
                <a:gd name="connsiteY824" fmla="*/ 174077 h 238565"/>
                <a:gd name="connsiteX825" fmla="*/ 50659 w 703547"/>
                <a:gd name="connsiteY825" fmla="*/ 178730 h 238565"/>
                <a:gd name="connsiteX826" fmla="*/ 50659 w 703547"/>
                <a:gd name="connsiteY826" fmla="*/ 179376 h 238565"/>
                <a:gd name="connsiteX827" fmla="*/ 50659 w 703547"/>
                <a:gd name="connsiteY827" fmla="*/ 180022 h 238565"/>
                <a:gd name="connsiteX828" fmla="*/ 51176 w 703547"/>
                <a:gd name="connsiteY828" fmla="*/ 182348 h 238565"/>
                <a:gd name="connsiteX829" fmla="*/ 51306 w 703547"/>
                <a:gd name="connsiteY829" fmla="*/ 183641 h 238565"/>
                <a:gd name="connsiteX830" fmla="*/ 50918 w 703547"/>
                <a:gd name="connsiteY830" fmla="*/ 187001 h 238565"/>
                <a:gd name="connsiteX831" fmla="*/ 50918 w 703547"/>
                <a:gd name="connsiteY831" fmla="*/ 188422 h 238565"/>
                <a:gd name="connsiteX832" fmla="*/ 51176 w 703547"/>
                <a:gd name="connsiteY832" fmla="*/ 189715 h 238565"/>
                <a:gd name="connsiteX833" fmla="*/ 51435 w 703547"/>
                <a:gd name="connsiteY833" fmla="*/ 190361 h 238565"/>
                <a:gd name="connsiteX834" fmla="*/ 51952 w 703547"/>
                <a:gd name="connsiteY834" fmla="*/ 191136 h 238565"/>
                <a:gd name="connsiteX835" fmla="*/ 54407 w 703547"/>
                <a:gd name="connsiteY835" fmla="*/ 193721 h 238565"/>
                <a:gd name="connsiteX836" fmla="*/ 54666 w 703547"/>
                <a:gd name="connsiteY836" fmla="*/ 194238 h 238565"/>
                <a:gd name="connsiteX837" fmla="*/ 54924 w 703547"/>
                <a:gd name="connsiteY837" fmla="*/ 194755 h 238565"/>
                <a:gd name="connsiteX838" fmla="*/ 55053 w 703547"/>
                <a:gd name="connsiteY838" fmla="*/ 195272 h 238565"/>
                <a:gd name="connsiteX839" fmla="*/ 55183 w 703547"/>
                <a:gd name="connsiteY839" fmla="*/ 195918 h 238565"/>
                <a:gd name="connsiteX840" fmla="*/ 54924 w 703547"/>
                <a:gd name="connsiteY840" fmla="*/ 199924 h 238565"/>
                <a:gd name="connsiteX841" fmla="*/ 54924 w 703547"/>
                <a:gd name="connsiteY841" fmla="*/ 200700 h 238565"/>
                <a:gd name="connsiteX842" fmla="*/ 55053 w 703547"/>
                <a:gd name="connsiteY842" fmla="*/ 201475 h 238565"/>
                <a:gd name="connsiteX843" fmla="*/ 55312 w 703547"/>
                <a:gd name="connsiteY843" fmla="*/ 202250 h 238565"/>
                <a:gd name="connsiteX844" fmla="*/ 55700 w 703547"/>
                <a:gd name="connsiteY844" fmla="*/ 202638 h 238565"/>
                <a:gd name="connsiteX845" fmla="*/ 56216 w 703547"/>
                <a:gd name="connsiteY845" fmla="*/ 202897 h 238565"/>
                <a:gd name="connsiteX846" fmla="*/ 57509 w 703547"/>
                <a:gd name="connsiteY846" fmla="*/ 203026 h 238565"/>
                <a:gd name="connsiteX847" fmla="*/ 58543 w 703547"/>
                <a:gd name="connsiteY847" fmla="*/ 203414 h 238565"/>
                <a:gd name="connsiteX848" fmla="*/ 64875 w 703547"/>
                <a:gd name="connsiteY848" fmla="*/ 207549 h 238565"/>
                <a:gd name="connsiteX849" fmla="*/ 65521 w 703547"/>
                <a:gd name="connsiteY849" fmla="*/ 207678 h 238565"/>
                <a:gd name="connsiteX850" fmla="*/ 66814 w 703547"/>
                <a:gd name="connsiteY850" fmla="*/ 207807 h 238565"/>
                <a:gd name="connsiteX851" fmla="*/ 69140 w 703547"/>
                <a:gd name="connsiteY851" fmla="*/ 207937 h 238565"/>
                <a:gd name="connsiteX852" fmla="*/ 70174 w 703547"/>
                <a:gd name="connsiteY852" fmla="*/ 208324 h 238565"/>
                <a:gd name="connsiteX853" fmla="*/ 70691 w 703547"/>
                <a:gd name="connsiteY853" fmla="*/ 208712 h 238565"/>
                <a:gd name="connsiteX854" fmla="*/ 71078 w 703547"/>
                <a:gd name="connsiteY854" fmla="*/ 209229 h 238565"/>
                <a:gd name="connsiteX855" fmla="*/ 71207 w 703547"/>
                <a:gd name="connsiteY855" fmla="*/ 209746 h 238565"/>
                <a:gd name="connsiteX856" fmla="*/ 71207 w 703547"/>
                <a:gd name="connsiteY856" fmla="*/ 210392 h 238565"/>
                <a:gd name="connsiteX857" fmla="*/ 71078 w 703547"/>
                <a:gd name="connsiteY857" fmla="*/ 211038 h 238565"/>
                <a:gd name="connsiteX858" fmla="*/ 71078 w 703547"/>
                <a:gd name="connsiteY858" fmla="*/ 211684 h 238565"/>
                <a:gd name="connsiteX859" fmla="*/ 71078 w 703547"/>
                <a:gd name="connsiteY859" fmla="*/ 212331 h 238565"/>
                <a:gd name="connsiteX860" fmla="*/ 71466 w 703547"/>
                <a:gd name="connsiteY860" fmla="*/ 214657 h 238565"/>
                <a:gd name="connsiteX861" fmla="*/ 71595 w 703547"/>
                <a:gd name="connsiteY861" fmla="*/ 215174 h 238565"/>
                <a:gd name="connsiteX862" fmla="*/ 71724 w 703547"/>
                <a:gd name="connsiteY862" fmla="*/ 215691 h 238565"/>
                <a:gd name="connsiteX863" fmla="*/ 72112 w 703547"/>
                <a:gd name="connsiteY863" fmla="*/ 216466 h 238565"/>
                <a:gd name="connsiteX864" fmla="*/ 72370 w 703547"/>
                <a:gd name="connsiteY864" fmla="*/ 217112 h 238565"/>
                <a:gd name="connsiteX865" fmla="*/ 72500 w 703547"/>
                <a:gd name="connsiteY865" fmla="*/ 217888 h 238565"/>
                <a:gd name="connsiteX866" fmla="*/ 72241 w 703547"/>
                <a:gd name="connsiteY866" fmla="*/ 220343 h 238565"/>
                <a:gd name="connsiteX867" fmla="*/ 72241 w 703547"/>
                <a:gd name="connsiteY867" fmla="*/ 220860 h 238565"/>
                <a:gd name="connsiteX868" fmla="*/ 72370 w 703547"/>
                <a:gd name="connsiteY868" fmla="*/ 221377 h 238565"/>
                <a:gd name="connsiteX869" fmla="*/ 72500 w 703547"/>
                <a:gd name="connsiteY869" fmla="*/ 221894 h 238565"/>
                <a:gd name="connsiteX870" fmla="*/ 72629 w 703547"/>
                <a:gd name="connsiteY870" fmla="*/ 222411 h 238565"/>
                <a:gd name="connsiteX871" fmla="*/ 72629 w 703547"/>
                <a:gd name="connsiteY871" fmla="*/ 222928 h 238565"/>
                <a:gd name="connsiteX872" fmla="*/ 72241 w 703547"/>
                <a:gd name="connsiteY872" fmla="*/ 223832 h 238565"/>
                <a:gd name="connsiteX873" fmla="*/ 71466 w 703547"/>
                <a:gd name="connsiteY873" fmla="*/ 225254 h 238565"/>
                <a:gd name="connsiteX874" fmla="*/ 70820 w 703547"/>
                <a:gd name="connsiteY874" fmla="*/ 226805 h 238565"/>
                <a:gd name="connsiteX875" fmla="*/ 69657 w 703547"/>
                <a:gd name="connsiteY875" fmla="*/ 228614 h 238565"/>
                <a:gd name="connsiteX876" fmla="*/ 68235 w 703547"/>
                <a:gd name="connsiteY876" fmla="*/ 230165 h 238565"/>
                <a:gd name="connsiteX877" fmla="*/ 67460 w 703547"/>
                <a:gd name="connsiteY877" fmla="*/ 230811 h 238565"/>
                <a:gd name="connsiteX878" fmla="*/ 67072 w 703547"/>
                <a:gd name="connsiteY878" fmla="*/ 231199 h 238565"/>
                <a:gd name="connsiteX879" fmla="*/ 65392 w 703547"/>
                <a:gd name="connsiteY879" fmla="*/ 234559 h 238565"/>
                <a:gd name="connsiteX880" fmla="*/ 66168 w 703547"/>
                <a:gd name="connsiteY880" fmla="*/ 234171 h 238565"/>
                <a:gd name="connsiteX881" fmla="*/ 68881 w 703547"/>
                <a:gd name="connsiteY881" fmla="*/ 233913 h 238565"/>
                <a:gd name="connsiteX882" fmla="*/ 69657 w 703547"/>
                <a:gd name="connsiteY882" fmla="*/ 234042 h 238565"/>
                <a:gd name="connsiteX883" fmla="*/ 70820 w 703547"/>
                <a:gd name="connsiteY883" fmla="*/ 234688 h 238565"/>
                <a:gd name="connsiteX884" fmla="*/ 73275 w 703547"/>
                <a:gd name="connsiteY884" fmla="*/ 236627 h 238565"/>
                <a:gd name="connsiteX885" fmla="*/ 74309 w 703547"/>
                <a:gd name="connsiteY885" fmla="*/ 237014 h 238565"/>
                <a:gd name="connsiteX886" fmla="*/ 75472 w 703547"/>
                <a:gd name="connsiteY886" fmla="*/ 237273 h 238565"/>
                <a:gd name="connsiteX887" fmla="*/ 77669 w 703547"/>
                <a:gd name="connsiteY887" fmla="*/ 238307 h 238565"/>
                <a:gd name="connsiteX888" fmla="*/ 78832 w 703547"/>
                <a:gd name="connsiteY888" fmla="*/ 238565 h 238565"/>
                <a:gd name="connsiteX889" fmla="*/ 80125 w 703547"/>
                <a:gd name="connsiteY889" fmla="*/ 238436 h 238565"/>
                <a:gd name="connsiteX890" fmla="*/ 87362 w 703547"/>
                <a:gd name="connsiteY890" fmla="*/ 235980 h 238565"/>
                <a:gd name="connsiteX891" fmla="*/ 88783 w 703547"/>
                <a:gd name="connsiteY891" fmla="*/ 234947 h 238565"/>
                <a:gd name="connsiteX892" fmla="*/ 90076 w 703547"/>
                <a:gd name="connsiteY892" fmla="*/ 231069 h 238565"/>
                <a:gd name="connsiteX893" fmla="*/ 91755 w 703547"/>
                <a:gd name="connsiteY893" fmla="*/ 230165 h 238565"/>
                <a:gd name="connsiteX894" fmla="*/ 96150 w 703547"/>
                <a:gd name="connsiteY894" fmla="*/ 229648 h 238565"/>
                <a:gd name="connsiteX895" fmla="*/ 98476 w 703547"/>
                <a:gd name="connsiteY895" fmla="*/ 228485 h 238565"/>
                <a:gd name="connsiteX896" fmla="*/ 101190 w 703547"/>
                <a:gd name="connsiteY896" fmla="*/ 225125 h 238565"/>
                <a:gd name="connsiteX897" fmla="*/ 103128 w 703547"/>
                <a:gd name="connsiteY897" fmla="*/ 224349 h 238565"/>
                <a:gd name="connsiteX898" fmla="*/ 104033 w 703547"/>
                <a:gd name="connsiteY898" fmla="*/ 224608 h 238565"/>
                <a:gd name="connsiteX899" fmla="*/ 106230 w 703547"/>
                <a:gd name="connsiteY899" fmla="*/ 225642 h 238565"/>
                <a:gd name="connsiteX900" fmla="*/ 107522 w 703547"/>
                <a:gd name="connsiteY900" fmla="*/ 225900 h 238565"/>
                <a:gd name="connsiteX901" fmla="*/ 108814 w 703547"/>
                <a:gd name="connsiteY901" fmla="*/ 225771 h 238565"/>
                <a:gd name="connsiteX902" fmla="*/ 109849 w 703547"/>
                <a:gd name="connsiteY902" fmla="*/ 225383 h 238565"/>
                <a:gd name="connsiteX903" fmla="*/ 110753 w 703547"/>
                <a:gd name="connsiteY903" fmla="*/ 224737 h 238565"/>
                <a:gd name="connsiteX904" fmla="*/ 111399 w 703547"/>
                <a:gd name="connsiteY904" fmla="*/ 223703 h 238565"/>
                <a:gd name="connsiteX905" fmla="*/ 111399 w 703547"/>
                <a:gd name="connsiteY905" fmla="*/ 219955 h 238565"/>
                <a:gd name="connsiteX906" fmla="*/ 112692 w 703547"/>
                <a:gd name="connsiteY906" fmla="*/ 217112 h 238565"/>
                <a:gd name="connsiteX907" fmla="*/ 117344 w 703547"/>
                <a:gd name="connsiteY907" fmla="*/ 196952 h 238565"/>
                <a:gd name="connsiteX908" fmla="*/ 119799 w 703547"/>
                <a:gd name="connsiteY908" fmla="*/ 193333 h 238565"/>
                <a:gd name="connsiteX909" fmla="*/ 123935 w 703547"/>
                <a:gd name="connsiteY909" fmla="*/ 192558 h 238565"/>
                <a:gd name="connsiteX910" fmla="*/ 126003 w 703547"/>
                <a:gd name="connsiteY910" fmla="*/ 193204 h 238565"/>
                <a:gd name="connsiteX911" fmla="*/ 127553 w 703547"/>
                <a:gd name="connsiteY911" fmla="*/ 193979 h 238565"/>
                <a:gd name="connsiteX912" fmla="*/ 128070 w 703547"/>
                <a:gd name="connsiteY912" fmla="*/ 194496 h 238565"/>
                <a:gd name="connsiteX913" fmla="*/ 129104 w 703547"/>
                <a:gd name="connsiteY913" fmla="*/ 195789 h 238565"/>
                <a:gd name="connsiteX914" fmla="*/ 129750 w 703547"/>
                <a:gd name="connsiteY914" fmla="*/ 196306 h 238565"/>
                <a:gd name="connsiteX915" fmla="*/ 130397 w 703547"/>
                <a:gd name="connsiteY915" fmla="*/ 196435 h 238565"/>
                <a:gd name="connsiteX916" fmla="*/ 131689 w 703547"/>
                <a:gd name="connsiteY916" fmla="*/ 196306 h 238565"/>
                <a:gd name="connsiteX917" fmla="*/ 132335 w 703547"/>
                <a:gd name="connsiteY917" fmla="*/ 196564 h 238565"/>
                <a:gd name="connsiteX918" fmla="*/ 134403 w 703547"/>
                <a:gd name="connsiteY918" fmla="*/ 196823 h 238565"/>
                <a:gd name="connsiteX919" fmla="*/ 136729 w 703547"/>
                <a:gd name="connsiteY919" fmla="*/ 195530 h 238565"/>
                <a:gd name="connsiteX920" fmla="*/ 140864 w 703547"/>
                <a:gd name="connsiteY920" fmla="*/ 192558 h 238565"/>
                <a:gd name="connsiteX921" fmla="*/ 145388 w 703547"/>
                <a:gd name="connsiteY921" fmla="*/ 191136 h 238565"/>
                <a:gd name="connsiteX922" fmla="*/ 149911 w 703547"/>
                <a:gd name="connsiteY922" fmla="*/ 190361 h 238565"/>
                <a:gd name="connsiteX923" fmla="*/ 151462 w 703547"/>
                <a:gd name="connsiteY923" fmla="*/ 189327 h 238565"/>
                <a:gd name="connsiteX924" fmla="*/ 157665 w 703547"/>
                <a:gd name="connsiteY924" fmla="*/ 182995 h 238565"/>
                <a:gd name="connsiteX925" fmla="*/ 158440 w 703547"/>
                <a:gd name="connsiteY925" fmla="*/ 181315 h 238565"/>
                <a:gd name="connsiteX926" fmla="*/ 159345 w 703547"/>
                <a:gd name="connsiteY926" fmla="*/ 178601 h 238565"/>
                <a:gd name="connsiteX927" fmla="*/ 159862 w 703547"/>
                <a:gd name="connsiteY927" fmla="*/ 176016 h 238565"/>
                <a:gd name="connsiteX928" fmla="*/ 159603 w 703547"/>
                <a:gd name="connsiteY928" fmla="*/ 174853 h 238565"/>
                <a:gd name="connsiteX929" fmla="*/ 158828 w 703547"/>
                <a:gd name="connsiteY929" fmla="*/ 173948 h 238565"/>
                <a:gd name="connsiteX930" fmla="*/ 158052 w 703547"/>
                <a:gd name="connsiteY930" fmla="*/ 171881 h 238565"/>
                <a:gd name="connsiteX931" fmla="*/ 157536 w 703547"/>
                <a:gd name="connsiteY931" fmla="*/ 169425 h 238565"/>
                <a:gd name="connsiteX932" fmla="*/ 157794 w 703547"/>
                <a:gd name="connsiteY932" fmla="*/ 167487 h 238565"/>
                <a:gd name="connsiteX933" fmla="*/ 159215 w 703547"/>
                <a:gd name="connsiteY933" fmla="*/ 166065 h 238565"/>
                <a:gd name="connsiteX934" fmla="*/ 161413 w 703547"/>
                <a:gd name="connsiteY934" fmla="*/ 165419 h 238565"/>
                <a:gd name="connsiteX935" fmla="*/ 168520 w 703547"/>
                <a:gd name="connsiteY935" fmla="*/ 164902 h 238565"/>
                <a:gd name="connsiteX936" fmla="*/ 173043 w 703547"/>
                <a:gd name="connsiteY936" fmla="*/ 163480 h 238565"/>
                <a:gd name="connsiteX937" fmla="*/ 175499 w 703547"/>
                <a:gd name="connsiteY937" fmla="*/ 162963 h 238565"/>
                <a:gd name="connsiteX938" fmla="*/ 178213 w 703547"/>
                <a:gd name="connsiteY938" fmla="*/ 162705 h 238565"/>
                <a:gd name="connsiteX939" fmla="*/ 180022 w 703547"/>
                <a:gd name="connsiteY939" fmla="*/ 162188 h 238565"/>
                <a:gd name="connsiteX940" fmla="*/ 181056 w 703547"/>
                <a:gd name="connsiteY940" fmla="*/ 160896 h 238565"/>
                <a:gd name="connsiteX941" fmla="*/ 181315 w 703547"/>
                <a:gd name="connsiteY941" fmla="*/ 158182 h 238565"/>
                <a:gd name="connsiteX942" fmla="*/ 179764 w 703547"/>
                <a:gd name="connsiteY942" fmla="*/ 151074 h 238565"/>
                <a:gd name="connsiteX943" fmla="*/ 179893 w 703547"/>
                <a:gd name="connsiteY943" fmla="*/ 149006 h 238565"/>
                <a:gd name="connsiteX944" fmla="*/ 181056 w 703547"/>
                <a:gd name="connsiteY944" fmla="*/ 148102 h 238565"/>
                <a:gd name="connsiteX945" fmla="*/ 183124 w 703547"/>
                <a:gd name="connsiteY945" fmla="*/ 147714 h 238565"/>
                <a:gd name="connsiteX946" fmla="*/ 187647 w 703547"/>
                <a:gd name="connsiteY946" fmla="*/ 147585 h 238565"/>
                <a:gd name="connsiteX947" fmla="*/ 189068 w 703547"/>
                <a:gd name="connsiteY947" fmla="*/ 147197 h 238565"/>
                <a:gd name="connsiteX948" fmla="*/ 210651 w 703547"/>
                <a:gd name="connsiteY948" fmla="*/ 135566 h 238565"/>
                <a:gd name="connsiteX949" fmla="*/ 212848 w 703547"/>
                <a:gd name="connsiteY949" fmla="*/ 134920 h 238565"/>
                <a:gd name="connsiteX950" fmla="*/ 215044 w 703547"/>
                <a:gd name="connsiteY950" fmla="*/ 134920 h 238565"/>
                <a:gd name="connsiteX951" fmla="*/ 218922 w 703547"/>
                <a:gd name="connsiteY951" fmla="*/ 137246 h 238565"/>
                <a:gd name="connsiteX952" fmla="*/ 222928 w 703547"/>
                <a:gd name="connsiteY952" fmla="*/ 138280 h 238565"/>
                <a:gd name="connsiteX953" fmla="*/ 224608 w 703547"/>
                <a:gd name="connsiteY953" fmla="*/ 139960 h 238565"/>
                <a:gd name="connsiteX954" fmla="*/ 226805 w 703547"/>
                <a:gd name="connsiteY954" fmla="*/ 145775 h 238565"/>
                <a:gd name="connsiteX955" fmla="*/ 228355 w 703547"/>
                <a:gd name="connsiteY955" fmla="*/ 146938 h 238565"/>
                <a:gd name="connsiteX956" fmla="*/ 229002 w 703547"/>
                <a:gd name="connsiteY956" fmla="*/ 147714 h 238565"/>
                <a:gd name="connsiteX957" fmla="*/ 229518 w 703547"/>
                <a:gd name="connsiteY957" fmla="*/ 148619 h 238565"/>
                <a:gd name="connsiteX958" fmla="*/ 229777 w 703547"/>
                <a:gd name="connsiteY958" fmla="*/ 149135 h 238565"/>
                <a:gd name="connsiteX959" fmla="*/ 230165 w 703547"/>
                <a:gd name="connsiteY959" fmla="*/ 150686 h 238565"/>
                <a:gd name="connsiteX960" fmla="*/ 231069 w 703547"/>
                <a:gd name="connsiteY960" fmla="*/ 151074 h 238565"/>
                <a:gd name="connsiteX961" fmla="*/ 232620 w 703547"/>
                <a:gd name="connsiteY961" fmla="*/ 150815 h 238565"/>
                <a:gd name="connsiteX962" fmla="*/ 235334 w 703547"/>
                <a:gd name="connsiteY962" fmla="*/ 151203 h 238565"/>
                <a:gd name="connsiteX963" fmla="*/ 236239 w 703547"/>
                <a:gd name="connsiteY963" fmla="*/ 151591 h 238565"/>
                <a:gd name="connsiteX964" fmla="*/ 237143 w 703547"/>
                <a:gd name="connsiteY964" fmla="*/ 152366 h 238565"/>
                <a:gd name="connsiteX965" fmla="*/ 237531 w 703547"/>
                <a:gd name="connsiteY965" fmla="*/ 153142 h 238565"/>
                <a:gd name="connsiteX966" fmla="*/ 238177 w 703547"/>
                <a:gd name="connsiteY966" fmla="*/ 153659 h 238565"/>
                <a:gd name="connsiteX967" fmla="*/ 241666 w 703547"/>
                <a:gd name="connsiteY967" fmla="*/ 154046 h 238565"/>
                <a:gd name="connsiteX968" fmla="*/ 250584 w 703547"/>
                <a:gd name="connsiteY968" fmla="*/ 156631 h 238565"/>
                <a:gd name="connsiteX969" fmla="*/ 253039 w 703547"/>
                <a:gd name="connsiteY969" fmla="*/ 157794 h 238565"/>
                <a:gd name="connsiteX970" fmla="*/ 255107 w 703547"/>
                <a:gd name="connsiteY970" fmla="*/ 159474 h 238565"/>
                <a:gd name="connsiteX971" fmla="*/ 256012 w 703547"/>
                <a:gd name="connsiteY971" fmla="*/ 161542 h 238565"/>
                <a:gd name="connsiteX972" fmla="*/ 257175 w 703547"/>
                <a:gd name="connsiteY972" fmla="*/ 162705 h 238565"/>
                <a:gd name="connsiteX973" fmla="*/ 259759 w 703547"/>
                <a:gd name="connsiteY973" fmla="*/ 162834 h 238565"/>
                <a:gd name="connsiteX974" fmla="*/ 264929 w 703547"/>
                <a:gd name="connsiteY974" fmla="*/ 161930 h 238565"/>
                <a:gd name="connsiteX975" fmla="*/ 268160 w 703547"/>
                <a:gd name="connsiteY975" fmla="*/ 160637 h 238565"/>
                <a:gd name="connsiteX976" fmla="*/ 269323 w 703547"/>
                <a:gd name="connsiteY976" fmla="*/ 160508 h 238565"/>
                <a:gd name="connsiteX977" fmla="*/ 270227 w 703547"/>
                <a:gd name="connsiteY977" fmla="*/ 160766 h 238565"/>
                <a:gd name="connsiteX978" fmla="*/ 272424 w 703547"/>
                <a:gd name="connsiteY978" fmla="*/ 161800 h 238565"/>
                <a:gd name="connsiteX979" fmla="*/ 275526 w 703547"/>
                <a:gd name="connsiteY979" fmla="*/ 162447 h 238565"/>
                <a:gd name="connsiteX980" fmla="*/ 276689 w 703547"/>
                <a:gd name="connsiteY980" fmla="*/ 163351 h 238565"/>
                <a:gd name="connsiteX981" fmla="*/ 277593 w 703547"/>
                <a:gd name="connsiteY981" fmla="*/ 164514 h 238565"/>
                <a:gd name="connsiteX982" fmla="*/ 278886 w 703547"/>
                <a:gd name="connsiteY982" fmla="*/ 165677 h 238565"/>
                <a:gd name="connsiteX983" fmla="*/ 283021 w 703547"/>
                <a:gd name="connsiteY983" fmla="*/ 167228 h 238565"/>
                <a:gd name="connsiteX984" fmla="*/ 285218 w 703547"/>
                <a:gd name="connsiteY984" fmla="*/ 168391 h 238565"/>
                <a:gd name="connsiteX985" fmla="*/ 286252 w 703547"/>
                <a:gd name="connsiteY985" fmla="*/ 169813 h 238565"/>
                <a:gd name="connsiteX986" fmla="*/ 286640 w 703547"/>
                <a:gd name="connsiteY986" fmla="*/ 172010 h 238565"/>
                <a:gd name="connsiteX987" fmla="*/ 290646 w 703547"/>
                <a:gd name="connsiteY987" fmla="*/ 181961 h 238565"/>
                <a:gd name="connsiteX988" fmla="*/ 291939 w 703547"/>
                <a:gd name="connsiteY988" fmla="*/ 183124 h 238565"/>
                <a:gd name="connsiteX989" fmla="*/ 294006 w 703547"/>
                <a:gd name="connsiteY989" fmla="*/ 183512 h 238565"/>
                <a:gd name="connsiteX990" fmla="*/ 295815 w 703547"/>
                <a:gd name="connsiteY990" fmla="*/ 182478 h 238565"/>
                <a:gd name="connsiteX991" fmla="*/ 296462 w 703547"/>
                <a:gd name="connsiteY991" fmla="*/ 179893 h 238565"/>
                <a:gd name="connsiteX992" fmla="*/ 296591 w 703547"/>
                <a:gd name="connsiteY992" fmla="*/ 174724 h 238565"/>
                <a:gd name="connsiteX993" fmla="*/ 297883 w 703547"/>
                <a:gd name="connsiteY993" fmla="*/ 170330 h 238565"/>
                <a:gd name="connsiteX994" fmla="*/ 300597 w 703547"/>
                <a:gd name="connsiteY994" fmla="*/ 167228 h 238565"/>
                <a:gd name="connsiteX995" fmla="*/ 304474 w 703547"/>
                <a:gd name="connsiteY995" fmla="*/ 166194 h 238565"/>
                <a:gd name="connsiteX996" fmla="*/ 309126 w 703547"/>
                <a:gd name="connsiteY996" fmla="*/ 168133 h 238565"/>
                <a:gd name="connsiteX997" fmla="*/ 311194 w 703547"/>
                <a:gd name="connsiteY997" fmla="*/ 171105 h 238565"/>
                <a:gd name="connsiteX998" fmla="*/ 310548 w 703547"/>
                <a:gd name="connsiteY998" fmla="*/ 174077 h 238565"/>
                <a:gd name="connsiteX999" fmla="*/ 306283 w 703547"/>
                <a:gd name="connsiteY999" fmla="*/ 180022 h 238565"/>
                <a:gd name="connsiteX1000" fmla="*/ 307446 w 703547"/>
                <a:gd name="connsiteY1000" fmla="*/ 181444 h 238565"/>
                <a:gd name="connsiteX1001" fmla="*/ 309643 w 703547"/>
                <a:gd name="connsiteY1001" fmla="*/ 185708 h 238565"/>
                <a:gd name="connsiteX1002" fmla="*/ 311065 w 703547"/>
                <a:gd name="connsiteY1002" fmla="*/ 186613 h 238565"/>
                <a:gd name="connsiteX1003" fmla="*/ 313133 w 703547"/>
                <a:gd name="connsiteY1003" fmla="*/ 187259 h 238565"/>
                <a:gd name="connsiteX1004" fmla="*/ 315071 w 703547"/>
                <a:gd name="connsiteY1004" fmla="*/ 188552 h 238565"/>
                <a:gd name="connsiteX1005" fmla="*/ 317398 w 703547"/>
                <a:gd name="connsiteY1005" fmla="*/ 189456 h 238565"/>
                <a:gd name="connsiteX1006" fmla="*/ 320370 w 703547"/>
                <a:gd name="connsiteY1006" fmla="*/ 188939 h 238565"/>
                <a:gd name="connsiteX1007" fmla="*/ 322954 w 703547"/>
                <a:gd name="connsiteY1007" fmla="*/ 187389 h 238565"/>
                <a:gd name="connsiteX1008" fmla="*/ 325151 w 703547"/>
                <a:gd name="connsiteY1008" fmla="*/ 185579 h 238565"/>
                <a:gd name="connsiteX1009" fmla="*/ 326961 w 703547"/>
                <a:gd name="connsiteY1009" fmla="*/ 184416 h 238565"/>
                <a:gd name="connsiteX1010" fmla="*/ 327994 w 703547"/>
                <a:gd name="connsiteY1010" fmla="*/ 184933 h 238565"/>
                <a:gd name="connsiteX1011" fmla="*/ 328641 w 703547"/>
                <a:gd name="connsiteY1011" fmla="*/ 186096 h 238565"/>
                <a:gd name="connsiteX1012" fmla="*/ 329546 w 703547"/>
                <a:gd name="connsiteY1012" fmla="*/ 186742 h 238565"/>
                <a:gd name="connsiteX1013" fmla="*/ 330450 w 703547"/>
                <a:gd name="connsiteY1013" fmla="*/ 187259 h 238565"/>
                <a:gd name="connsiteX1014" fmla="*/ 330579 w 703547"/>
                <a:gd name="connsiteY1014" fmla="*/ 188422 h 238565"/>
                <a:gd name="connsiteX1015" fmla="*/ 330321 w 703547"/>
                <a:gd name="connsiteY1015" fmla="*/ 189844 h 238565"/>
                <a:gd name="connsiteX1016" fmla="*/ 329933 w 703547"/>
                <a:gd name="connsiteY1016" fmla="*/ 191007 h 238565"/>
                <a:gd name="connsiteX1017" fmla="*/ 329028 w 703547"/>
                <a:gd name="connsiteY1017" fmla="*/ 192041 h 238565"/>
                <a:gd name="connsiteX1018" fmla="*/ 327994 w 703547"/>
                <a:gd name="connsiteY1018" fmla="*/ 192816 h 238565"/>
                <a:gd name="connsiteX1019" fmla="*/ 327478 w 703547"/>
                <a:gd name="connsiteY1019" fmla="*/ 193850 h 238565"/>
                <a:gd name="connsiteX1020" fmla="*/ 328382 w 703547"/>
                <a:gd name="connsiteY1020" fmla="*/ 195401 h 238565"/>
                <a:gd name="connsiteX1021" fmla="*/ 327865 w 703547"/>
                <a:gd name="connsiteY1021" fmla="*/ 196435 h 238565"/>
                <a:gd name="connsiteX1022" fmla="*/ 327607 w 703547"/>
                <a:gd name="connsiteY1022" fmla="*/ 197598 h 238565"/>
                <a:gd name="connsiteX1023" fmla="*/ 327478 w 703547"/>
                <a:gd name="connsiteY1023" fmla="*/ 198761 h 238565"/>
                <a:gd name="connsiteX1024" fmla="*/ 327607 w 703547"/>
                <a:gd name="connsiteY1024" fmla="*/ 199924 h 238565"/>
                <a:gd name="connsiteX1025" fmla="*/ 328253 w 703547"/>
                <a:gd name="connsiteY1025" fmla="*/ 201217 h 238565"/>
                <a:gd name="connsiteX1026" fmla="*/ 330192 w 703547"/>
                <a:gd name="connsiteY1026" fmla="*/ 203672 h 238565"/>
                <a:gd name="connsiteX1027" fmla="*/ 330579 w 703547"/>
                <a:gd name="connsiteY1027" fmla="*/ 204706 h 238565"/>
                <a:gd name="connsiteX1028" fmla="*/ 330838 w 703547"/>
                <a:gd name="connsiteY1028" fmla="*/ 207032 h 238565"/>
                <a:gd name="connsiteX1029" fmla="*/ 334456 w 703547"/>
                <a:gd name="connsiteY1029" fmla="*/ 218275 h 238565"/>
                <a:gd name="connsiteX1030" fmla="*/ 336007 w 703547"/>
                <a:gd name="connsiteY1030" fmla="*/ 221377 h 238565"/>
                <a:gd name="connsiteX1031" fmla="*/ 341047 w 703547"/>
                <a:gd name="connsiteY1031" fmla="*/ 218146 h 238565"/>
                <a:gd name="connsiteX1032" fmla="*/ 344795 w 703547"/>
                <a:gd name="connsiteY1032" fmla="*/ 214528 h 238565"/>
                <a:gd name="connsiteX1033" fmla="*/ 347121 w 703547"/>
                <a:gd name="connsiteY1033" fmla="*/ 210263 h 238565"/>
                <a:gd name="connsiteX1034" fmla="*/ 348931 w 703547"/>
                <a:gd name="connsiteY1034" fmla="*/ 207807 h 238565"/>
                <a:gd name="connsiteX1035" fmla="*/ 350223 w 703547"/>
                <a:gd name="connsiteY1035" fmla="*/ 206515 h 238565"/>
                <a:gd name="connsiteX1036" fmla="*/ 351386 w 703547"/>
                <a:gd name="connsiteY1036" fmla="*/ 205610 h 238565"/>
                <a:gd name="connsiteX1037" fmla="*/ 355392 w 703547"/>
                <a:gd name="connsiteY1037" fmla="*/ 204577 h 238565"/>
                <a:gd name="connsiteX1038" fmla="*/ 361466 w 703547"/>
                <a:gd name="connsiteY1038" fmla="*/ 202897 h 238565"/>
                <a:gd name="connsiteX1039" fmla="*/ 364438 w 703547"/>
                <a:gd name="connsiteY1039" fmla="*/ 201087 h 238565"/>
                <a:gd name="connsiteX1040" fmla="*/ 368186 w 703547"/>
                <a:gd name="connsiteY1040" fmla="*/ 195789 h 238565"/>
                <a:gd name="connsiteX1041" fmla="*/ 372063 w 703547"/>
                <a:gd name="connsiteY1041" fmla="*/ 191912 h 238565"/>
                <a:gd name="connsiteX1042" fmla="*/ 375940 w 703547"/>
                <a:gd name="connsiteY1042" fmla="*/ 189327 h 238565"/>
                <a:gd name="connsiteX1043" fmla="*/ 378912 w 703547"/>
                <a:gd name="connsiteY1043" fmla="*/ 186613 h 238565"/>
                <a:gd name="connsiteX1044" fmla="*/ 380205 w 703547"/>
                <a:gd name="connsiteY1044" fmla="*/ 184933 h 238565"/>
                <a:gd name="connsiteX1045" fmla="*/ 380851 w 703547"/>
                <a:gd name="connsiteY1045" fmla="*/ 183382 h 238565"/>
                <a:gd name="connsiteX1046" fmla="*/ 380980 w 703547"/>
                <a:gd name="connsiteY1046" fmla="*/ 182219 h 238565"/>
                <a:gd name="connsiteX1047" fmla="*/ 380851 w 703547"/>
                <a:gd name="connsiteY1047" fmla="*/ 180539 h 238565"/>
                <a:gd name="connsiteX1048" fmla="*/ 380851 w 703547"/>
                <a:gd name="connsiteY1048" fmla="*/ 179376 h 238565"/>
                <a:gd name="connsiteX1049" fmla="*/ 381497 w 703547"/>
                <a:gd name="connsiteY1049" fmla="*/ 176533 h 238565"/>
                <a:gd name="connsiteX1050" fmla="*/ 381497 w 703547"/>
                <a:gd name="connsiteY1050" fmla="*/ 175370 h 238565"/>
                <a:gd name="connsiteX1051" fmla="*/ 381627 w 703547"/>
                <a:gd name="connsiteY1051" fmla="*/ 174336 h 238565"/>
                <a:gd name="connsiteX1052" fmla="*/ 382402 w 703547"/>
                <a:gd name="connsiteY1052" fmla="*/ 173431 h 238565"/>
                <a:gd name="connsiteX1053" fmla="*/ 385633 w 703547"/>
                <a:gd name="connsiteY1053" fmla="*/ 171105 h 238565"/>
                <a:gd name="connsiteX1054" fmla="*/ 386925 w 703547"/>
                <a:gd name="connsiteY1054" fmla="*/ 170717 h 238565"/>
                <a:gd name="connsiteX1055" fmla="*/ 387959 w 703547"/>
                <a:gd name="connsiteY1055" fmla="*/ 170976 h 238565"/>
                <a:gd name="connsiteX1056" fmla="*/ 390027 w 703547"/>
                <a:gd name="connsiteY1056" fmla="*/ 173173 h 238565"/>
                <a:gd name="connsiteX1057" fmla="*/ 390544 w 703547"/>
                <a:gd name="connsiteY1057" fmla="*/ 173948 h 238565"/>
                <a:gd name="connsiteX1058" fmla="*/ 390931 w 703547"/>
                <a:gd name="connsiteY1058" fmla="*/ 174724 h 238565"/>
                <a:gd name="connsiteX1059" fmla="*/ 391448 w 703547"/>
                <a:gd name="connsiteY1059" fmla="*/ 175628 h 238565"/>
                <a:gd name="connsiteX1060" fmla="*/ 393387 w 703547"/>
                <a:gd name="connsiteY1060" fmla="*/ 178084 h 238565"/>
                <a:gd name="connsiteX1061" fmla="*/ 393775 w 703547"/>
                <a:gd name="connsiteY1061" fmla="*/ 179118 h 238565"/>
                <a:gd name="connsiteX1062" fmla="*/ 393904 w 703547"/>
                <a:gd name="connsiteY1062" fmla="*/ 180281 h 238565"/>
                <a:gd name="connsiteX1063" fmla="*/ 394162 w 703547"/>
                <a:gd name="connsiteY1063" fmla="*/ 181444 h 238565"/>
                <a:gd name="connsiteX1064" fmla="*/ 394550 w 703547"/>
                <a:gd name="connsiteY1064" fmla="*/ 182478 h 238565"/>
                <a:gd name="connsiteX1065" fmla="*/ 395196 w 703547"/>
                <a:gd name="connsiteY1065" fmla="*/ 183512 h 238565"/>
                <a:gd name="connsiteX1066" fmla="*/ 396359 w 703547"/>
                <a:gd name="connsiteY1066" fmla="*/ 184287 h 238565"/>
                <a:gd name="connsiteX1067" fmla="*/ 397781 w 703547"/>
                <a:gd name="connsiteY1067" fmla="*/ 184804 h 238565"/>
                <a:gd name="connsiteX1068" fmla="*/ 399590 w 703547"/>
                <a:gd name="connsiteY1068" fmla="*/ 184675 h 238565"/>
                <a:gd name="connsiteX1069" fmla="*/ 401012 w 703547"/>
                <a:gd name="connsiteY1069" fmla="*/ 184158 h 238565"/>
                <a:gd name="connsiteX1070" fmla="*/ 405534 w 703547"/>
                <a:gd name="connsiteY1070" fmla="*/ 180927 h 238565"/>
                <a:gd name="connsiteX1071" fmla="*/ 406956 w 703547"/>
                <a:gd name="connsiteY1071" fmla="*/ 180281 h 238565"/>
                <a:gd name="connsiteX1072" fmla="*/ 408249 w 703547"/>
                <a:gd name="connsiteY1072" fmla="*/ 179893 h 238565"/>
                <a:gd name="connsiteX1073" fmla="*/ 410704 w 703547"/>
                <a:gd name="connsiteY1073" fmla="*/ 179764 h 238565"/>
                <a:gd name="connsiteX1074" fmla="*/ 412643 w 703547"/>
                <a:gd name="connsiteY1074" fmla="*/ 180022 h 238565"/>
                <a:gd name="connsiteX1075" fmla="*/ 414581 w 703547"/>
                <a:gd name="connsiteY1075" fmla="*/ 182478 h 238565"/>
                <a:gd name="connsiteX1076" fmla="*/ 415744 w 703547"/>
                <a:gd name="connsiteY1076" fmla="*/ 184675 h 238565"/>
                <a:gd name="connsiteX1077" fmla="*/ 416649 w 703547"/>
                <a:gd name="connsiteY1077" fmla="*/ 185708 h 238565"/>
                <a:gd name="connsiteX1078" fmla="*/ 417682 w 703547"/>
                <a:gd name="connsiteY1078" fmla="*/ 186484 h 238565"/>
                <a:gd name="connsiteX1079" fmla="*/ 420267 w 703547"/>
                <a:gd name="connsiteY1079" fmla="*/ 187259 h 238565"/>
                <a:gd name="connsiteX1080" fmla="*/ 421430 w 703547"/>
                <a:gd name="connsiteY1080" fmla="*/ 187776 h 238565"/>
                <a:gd name="connsiteX1081" fmla="*/ 426083 w 703547"/>
                <a:gd name="connsiteY1081" fmla="*/ 190619 h 238565"/>
                <a:gd name="connsiteX1082" fmla="*/ 448699 w 703547"/>
                <a:gd name="connsiteY1082" fmla="*/ 212072 h 238565"/>
                <a:gd name="connsiteX1083" fmla="*/ 454643 w 703547"/>
                <a:gd name="connsiteY1083" fmla="*/ 215303 h 238565"/>
                <a:gd name="connsiteX1084" fmla="*/ 455936 w 703547"/>
                <a:gd name="connsiteY1084" fmla="*/ 215691 h 238565"/>
                <a:gd name="connsiteX1085" fmla="*/ 462656 w 703547"/>
                <a:gd name="connsiteY1085" fmla="*/ 216725 h 238565"/>
                <a:gd name="connsiteX1086" fmla="*/ 465499 w 703547"/>
                <a:gd name="connsiteY1086" fmla="*/ 217500 h 238565"/>
                <a:gd name="connsiteX1087" fmla="*/ 468213 w 703547"/>
                <a:gd name="connsiteY1087" fmla="*/ 219051 h 238565"/>
                <a:gd name="connsiteX1088" fmla="*/ 471831 w 703547"/>
                <a:gd name="connsiteY1088" fmla="*/ 222928 h 238565"/>
                <a:gd name="connsiteX1089" fmla="*/ 472865 w 703547"/>
                <a:gd name="connsiteY1089" fmla="*/ 223832 h 238565"/>
                <a:gd name="connsiteX1090" fmla="*/ 474546 w 703547"/>
                <a:gd name="connsiteY1090" fmla="*/ 224349 h 238565"/>
                <a:gd name="connsiteX1091" fmla="*/ 478293 w 703547"/>
                <a:gd name="connsiteY1091" fmla="*/ 217371 h 238565"/>
                <a:gd name="connsiteX1092" fmla="*/ 481007 w 703547"/>
                <a:gd name="connsiteY1092" fmla="*/ 215174 h 238565"/>
                <a:gd name="connsiteX1093" fmla="*/ 483592 w 703547"/>
                <a:gd name="connsiteY1093" fmla="*/ 214657 h 238565"/>
                <a:gd name="connsiteX1094" fmla="*/ 486047 w 703547"/>
                <a:gd name="connsiteY1094" fmla="*/ 214528 h 238565"/>
                <a:gd name="connsiteX1095" fmla="*/ 505174 w 703547"/>
                <a:gd name="connsiteY1095" fmla="*/ 216078 h 238565"/>
                <a:gd name="connsiteX1096" fmla="*/ 506337 w 703547"/>
                <a:gd name="connsiteY1096" fmla="*/ 216337 h 238565"/>
                <a:gd name="connsiteX1097" fmla="*/ 507500 w 703547"/>
                <a:gd name="connsiteY1097" fmla="*/ 216725 h 238565"/>
                <a:gd name="connsiteX1098" fmla="*/ 510214 w 703547"/>
                <a:gd name="connsiteY1098" fmla="*/ 217888 h 238565"/>
                <a:gd name="connsiteX1099" fmla="*/ 511894 w 703547"/>
                <a:gd name="connsiteY1099" fmla="*/ 218146 h 238565"/>
                <a:gd name="connsiteX1100" fmla="*/ 513186 w 703547"/>
                <a:gd name="connsiteY1100" fmla="*/ 217758 h 238565"/>
                <a:gd name="connsiteX1101" fmla="*/ 514220 w 703547"/>
                <a:gd name="connsiteY1101" fmla="*/ 216854 h 238565"/>
                <a:gd name="connsiteX1102" fmla="*/ 515125 w 703547"/>
                <a:gd name="connsiteY1102" fmla="*/ 215820 h 238565"/>
                <a:gd name="connsiteX1103" fmla="*/ 517451 w 703547"/>
                <a:gd name="connsiteY1103" fmla="*/ 214269 h 238565"/>
                <a:gd name="connsiteX1104" fmla="*/ 521199 w 703547"/>
                <a:gd name="connsiteY1104" fmla="*/ 212589 h 238565"/>
                <a:gd name="connsiteX1105" fmla="*/ 524947 w 703547"/>
                <a:gd name="connsiteY1105" fmla="*/ 210004 h 238565"/>
                <a:gd name="connsiteX1106" fmla="*/ 526756 w 703547"/>
                <a:gd name="connsiteY1106" fmla="*/ 208971 h 238565"/>
                <a:gd name="connsiteX1107" fmla="*/ 528177 w 703547"/>
                <a:gd name="connsiteY1107" fmla="*/ 208583 h 238565"/>
                <a:gd name="connsiteX1108" fmla="*/ 538128 w 703547"/>
                <a:gd name="connsiteY1108" fmla="*/ 207807 h 238565"/>
                <a:gd name="connsiteX1109" fmla="*/ 546787 w 703547"/>
                <a:gd name="connsiteY1109" fmla="*/ 201475 h 238565"/>
                <a:gd name="connsiteX1110" fmla="*/ 547304 w 703547"/>
                <a:gd name="connsiteY1110" fmla="*/ 199924 h 238565"/>
                <a:gd name="connsiteX1111" fmla="*/ 548208 w 703547"/>
                <a:gd name="connsiteY1111" fmla="*/ 197986 h 238565"/>
                <a:gd name="connsiteX1112" fmla="*/ 548725 w 703547"/>
                <a:gd name="connsiteY1112" fmla="*/ 196435 h 238565"/>
                <a:gd name="connsiteX1113" fmla="*/ 549630 w 703547"/>
                <a:gd name="connsiteY1113" fmla="*/ 195530 h 238565"/>
                <a:gd name="connsiteX1114" fmla="*/ 562037 w 703547"/>
                <a:gd name="connsiteY1114" fmla="*/ 187776 h 238565"/>
                <a:gd name="connsiteX1115" fmla="*/ 562812 w 703547"/>
                <a:gd name="connsiteY1115" fmla="*/ 186872 h 238565"/>
                <a:gd name="connsiteX1116" fmla="*/ 563070 w 703547"/>
                <a:gd name="connsiteY1116" fmla="*/ 186355 h 238565"/>
                <a:gd name="connsiteX1117" fmla="*/ 563070 w 703547"/>
                <a:gd name="connsiteY1117" fmla="*/ 185967 h 238565"/>
                <a:gd name="connsiteX1118" fmla="*/ 562812 w 703547"/>
                <a:gd name="connsiteY1118" fmla="*/ 185321 h 238565"/>
                <a:gd name="connsiteX1119" fmla="*/ 562424 w 703547"/>
                <a:gd name="connsiteY1119" fmla="*/ 184545 h 238565"/>
                <a:gd name="connsiteX1120" fmla="*/ 562037 w 703547"/>
                <a:gd name="connsiteY1120" fmla="*/ 183770 h 238565"/>
                <a:gd name="connsiteX1121" fmla="*/ 562037 w 703547"/>
                <a:gd name="connsiteY1121" fmla="*/ 182995 h 238565"/>
                <a:gd name="connsiteX1122" fmla="*/ 562812 w 703547"/>
                <a:gd name="connsiteY1122" fmla="*/ 182478 h 238565"/>
                <a:gd name="connsiteX1123" fmla="*/ 565397 w 703547"/>
                <a:gd name="connsiteY1123" fmla="*/ 181444 h 238565"/>
                <a:gd name="connsiteX1124" fmla="*/ 567593 w 703547"/>
                <a:gd name="connsiteY1124" fmla="*/ 179118 h 238565"/>
                <a:gd name="connsiteX1125" fmla="*/ 573409 w 703547"/>
                <a:gd name="connsiteY1125" fmla="*/ 174982 h 238565"/>
                <a:gd name="connsiteX1126" fmla="*/ 574314 w 703547"/>
                <a:gd name="connsiteY1126" fmla="*/ 174724 h 238565"/>
                <a:gd name="connsiteX1127" fmla="*/ 575348 w 703547"/>
                <a:gd name="connsiteY1127" fmla="*/ 174594 h 238565"/>
                <a:gd name="connsiteX1128" fmla="*/ 576640 w 703547"/>
                <a:gd name="connsiteY1128" fmla="*/ 176016 h 238565"/>
                <a:gd name="connsiteX1129" fmla="*/ 577932 w 703547"/>
                <a:gd name="connsiteY1129" fmla="*/ 176404 h 238565"/>
                <a:gd name="connsiteX1130" fmla="*/ 579354 w 703547"/>
                <a:gd name="connsiteY1130" fmla="*/ 175887 h 238565"/>
                <a:gd name="connsiteX1131" fmla="*/ 584523 w 703547"/>
                <a:gd name="connsiteY1131" fmla="*/ 173561 h 238565"/>
                <a:gd name="connsiteX1132" fmla="*/ 587496 w 703547"/>
                <a:gd name="connsiteY1132" fmla="*/ 172914 h 238565"/>
                <a:gd name="connsiteX1133" fmla="*/ 592535 w 703547"/>
                <a:gd name="connsiteY1133" fmla="*/ 172656 h 238565"/>
                <a:gd name="connsiteX1134" fmla="*/ 594862 w 703547"/>
                <a:gd name="connsiteY1134" fmla="*/ 172139 h 238565"/>
                <a:gd name="connsiteX1135" fmla="*/ 596283 w 703547"/>
                <a:gd name="connsiteY1135" fmla="*/ 172268 h 238565"/>
                <a:gd name="connsiteX1136" fmla="*/ 596671 w 703547"/>
                <a:gd name="connsiteY1136" fmla="*/ 172914 h 238565"/>
                <a:gd name="connsiteX1137" fmla="*/ 596542 w 703547"/>
                <a:gd name="connsiteY1137" fmla="*/ 173819 h 238565"/>
                <a:gd name="connsiteX1138" fmla="*/ 596800 w 703547"/>
                <a:gd name="connsiteY1138" fmla="*/ 174724 h 238565"/>
                <a:gd name="connsiteX1139" fmla="*/ 597834 w 703547"/>
                <a:gd name="connsiteY1139" fmla="*/ 175499 h 238565"/>
                <a:gd name="connsiteX1140" fmla="*/ 599902 w 703547"/>
                <a:gd name="connsiteY1140" fmla="*/ 176016 h 238565"/>
                <a:gd name="connsiteX1141" fmla="*/ 602745 w 703547"/>
                <a:gd name="connsiteY1141" fmla="*/ 177308 h 238565"/>
                <a:gd name="connsiteX1142" fmla="*/ 604813 w 703547"/>
                <a:gd name="connsiteY1142" fmla="*/ 177696 h 238565"/>
                <a:gd name="connsiteX1143" fmla="*/ 606105 w 703547"/>
                <a:gd name="connsiteY1143" fmla="*/ 177567 h 238565"/>
                <a:gd name="connsiteX1144" fmla="*/ 607268 w 703547"/>
                <a:gd name="connsiteY1144" fmla="*/ 177050 h 238565"/>
                <a:gd name="connsiteX1145" fmla="*/ 614764 w 703547"/>
                <a:gd name="connsiteY1145" fmla="*/ 172397 h 238565"/>
                <a:gd name="connsiteX1146" fmla="*/ 616573 w 703547"/>
                <a:gd name="connsiteY1146" fmla="*/ 171622 h 238565"/>
                <a:gd name="connsiteX1147" fmla="*/ 627170 w 703547"/>
                <a:gd name="connsiteY1147" fmla="*/ 168650 h 238565"/>
                <a:gd name="connsiteX1148" fmla="*/ 629755 w 703547"/>
                <a:gd name="connsiteY1148" fmla="*/ 168262 h 238565"/>
                <a:gd name="connsiteX1149" fmla="*/ 631435 w 703547"/>
                <a:gd name="connsiteY1149" fmla="*/ 168391 h 238565"/>
                <a:gd name="connsiteX1150" fmla="*/ 631564 w 703547"/>
                <a:gd name="connsiteY1150" fmla="*/ 168908 h 238565"/>
                <a:gd name="connsiteX1151" fmla="*/ 631693 w 703547"/>
                <a:gd name="connsiteY1151" fmla="*/ 169554 h 238565"/>
                <a:gd name="connsiteX1152" fmla="*/ 631952 w 703547"/>
                <a:gd name="connsiteY1152" fmla="*/ 170201 h 238565"/>
                <a:gd name="connsiteX1153" fmla="*/ 632598 w 703547"/>
                <a:gd name="connsiteY1153" fmla="*/ 170847 h 238565"/>
                <a:gd name="connsiteX1154" fmla="*/ 633503 w 703547"/>
                <a:gd name="connsiteY1154" fmla="*/ 171364 h 238565"/>
                <a:gd name="connsiteX1155" fmla="*/ 637251 w 703547"/>
                <a:gd name="connsiteY1155" fmla="*/ 172397 h 238565"/>
                <a:gd name="connsiteX1156" fmla="*/ 640094 w 703547"/>
                <a:gd name="connsiteY1156" fmla="*/ 173690 h 238565"/>
                <a:gd name="connsiteX1157" fmla="*/ 649657 w 703547"/>
                <a:gd name="connsiteY1157" fmla="*/ 173819 h 238565"/>
                <a:gd name="connsiteX1158" fmla="*/ 660254 w 703547"/>
                <a:gd name="connsiteY1158" fmla="*/ 175758 h 238565"/>
                <a:gd name="connsiteX1159" fmla="*/ 663356 w 703547"/>
                <a:gd name="connsiteY1159" fmla="*/ 175628 h 238565"/>
                <a:gd name="connsiteX1160" fmla="*/ 664389 w 703547"/>
                <a:gd name="connsiteY1160" fmla="*/ 175887 h 238565"/>
                <a:gd name="connsiteX1161" fmla="*/ 666069 w 703547"/>
                <a:gd name="connsiteY1161" fmla="*/ 176921 h 238565"/>
                <a:gd name="connsiteX1162" fmla="*/ 666069 w 703547"/>
                <a:gd name="connsiteY1162" fmla="*/ 176921 h 238565"/>
                <a:gd name="connsiteX1163" fmla="*/ 666199 w 703547"/>
                <a:gd name="connsiteY1163" fmla="*/ 176791 h 238565"/>
                <a:gd name="connsiteX1164" fmla="*/ 667232 w 703547"/>
                <a:gd name="connsiteY1164" fmla="*/ 172397 h 238565"/>
                <a:gd name="connsiteX1165" fmla="*/ 667749 w 703547"/>
                <a:gd name="connsiteY1165" fmla="*/ 167616 h 238565"/>
                <a:gd name="connsiteX1166" fmla="*/ 668396 w 703547"/>
                <a:gd name="connsiteY1166" fmla="*/ 165419 h 238565"/>
                <a:gd name="connsiteX1167" fmla="*/ 671756 w 703547"/>
                <a:gd name="connsiteY1167" fmla="*/ 160637 h 238565"/>
                <a:gd name="connsiteX1168" fmla="*/ 672919 w 703547"/>
                <a:gd name="connsiteY1168" fmla="*/ 158440 h 238565"/>
                <a:gd name="connsiteX1169" fmla="*/ 673048 w 703547"/>
                <a:gd name="connsiteY1169" fmla="*/ 154176 h 238565"/>
                <a:gd name="connsiteX1170" fmla="*/ 673436 w 703547"/>
                <a:gd name="connsiteY1170" fmla="*/ 151979 h 238565"/>
                <a:gd name="connsiteX1171" fmla="*/ 674599 w 703547"/>
                <a:gd name="connsiteY1171" fmla="*/ 151074 h 238565"/>
                <a:gd name="connsiteX1172" fmla="*/ 674470 w 703547"/>
                <a:gd name="connsiteY1172" fmla="*/ 150040 h 238565"/>
                <a:gd name="connsiteX1173" fmla="*/ 679122 w 703547"/>
                <a:gd name="connsiteY1173" fmla="*/ 140735 h 238565"/>
                <a:gd name="connsiteX1174" fmla="*/ 686488 w 703547"/>
                <a:gd name="connsiteY1174" fmla="*/ 119929 h 238565"/>
                <a:gd name="connsiteX1175" fmla="*/ 686617 w 703547"/>
                <a:gd name="connsiteY1175" fmla="*/ 119024 h 238565"/>
                <a:gd name="connsiteX1176" fmla="*/ 687005 w 703547"/>
                <a:gd name="connsiteY1176" fmla="*/ 117990 h 238565"/>
                <a:gd name="connsiteX1177" fmla="*/ 687652 w 703547"/>
                <a:gd name="connsiteY1177" fmla="*/ 117086 h 238565"/>
                <a:gd name="connsiteX1178" fmla="*/ 688298 w 703547"/>
                <a:gd name="connsiteY1178" fmla="*/ 116439 h 238565"/>
                <a:gd name="connsiteX1179" fmla="*/ 688427 w 703547"/>
                <a:gd name="connsiteY1179" fmla="*/ 116052 h 238565"/>
                <a:gd name="connsiteX1180" fmla="*/ 688039 w 703547"/>
                <a:gd name="connsiteY1180" fmla="*/ 115018 h 238565"/>
                <a:gd name="connsiteX1181" fmla="*/ 688039 w 703547"/>
                <a:gd name="connsiteY1181" fmla="*/ 112045 h 238565"/>
                <a:gd name="connsiteX1182" fmla="*/ 688427 w 703547"/>
                <a:gd name="connsiteY1182" fmla="*/ 107910 h 238565"/>
                <a:gd name="connsiteX1183" fmla="*/ 689202 w 703547"/>
                <a:gd name="connsiteY1183" fmla="*/ 104679 h 238565"/>
                <a:gd name="connsiteX1184" fmla="*/ 690365 w 703547"/>
                <a:gd name="connsiteY1184" fmla="*/ 101707 h 238565"/>
                <a:gd name="connsiteX1185" fmla="*/ 692175 w 703547"/>
                <a:gd name="connsiteY1185" fmla="*/ 98993 h 238565"/>
                <a:gd name="connsiteX1186" fmla="*/ 692562 w 703547"/>
                <a:gd name="connsiteY1186" fmla="*/ 97959 h 238565"/>
                <a:gd name="connsiteX1187" fmla="*/ 693208 w 703547"/>
                <a:gd name="connsiteY1187" fmla="*/ 93823 h 238565"/>
                <a:gd name="connsiteX1188" fmla="*/ 694630 w 703547"/>
                <a:gd name="connsiteY1188" fmla="*/ 89947 h 238565"/>
                <a:gd name="connsiteX1189" fmla="*/ 694759 w 703547"/>
                <a:gd name="connsiteY1189" fmla="*/ 88266 h 238565"/>
                <a:gd name="connsiteX1190" fmla="*/ 694501 w 703547"/>
                <a:gd name="connsiteY1190" fmla="*/ 89042 h 238565"/>
                <a:gd name="connsiteX1191" fmla="*/ 694113 w 703547"/>
                <a:gd name="connsiteY1191" fmla="*/ 89817 h 238565"/>
                <a:gd name="connsiteX1192" fmla="*/ 693208 w 703547"/>
                <a:gd name="connsiteY1192" fmla="*/ 88783 h 238565"/>
                <a:gd name="connsiteX1193" fmla="*/ 692950 w 703547"/>
                <a:gd name="connsiteY1193" fmla="*/ 87879 h 238565"/>
                <a:gd name="connsiteX1194" fmla="*/ 692950 w 703547"/>
                <a:gd name="connsiteY1194" fmla="*/ 86845 h 238565"/>
                <a:gd name="connsiteX1195" fmla="*/ 692562 w 703547"/>
                <a:gd name="connsiteY1195" fmla="*/ 85553 h 238565"/>
                <a:gd name="connsiteX1196" fmla="*/ 691916 w 703547"/>
                <a:gd name="connsiteY1196" fmla="*/ 84519 h 238565"/>
                <a:gd name="connsiteX1197" fmla="*/ 691270 w 703547"/>
                <a:gd name="connsiteY1197" fmla="*/ 83743 h 238565"/>
                <a:gd name="connsiteX1198" fmla="*/ 689590 w 703547"/>
                <a:gd name="connsiteY1198" fmla="*/ 82580 h 238565"/>
                <a:gd name="connsiteX1199" fmla="*/ 691270 w 703547"/>
                <a:gd name="connsiteY1199" fmla="*/ 82580 h 238565"/>
                <a:gd name="connsiteX1200" fmla="*/ 692562 w 703547"/>
                <a:gd name="connsiteY1200" fmla="*/ 83356 h 238565"/>
                <a:gd name="connsiteX1201" fmla="*/ 694759 w 703547"/>
                <a:gd name="connsiteY1201" fmla="*/ 85553 h 238565"/>
                <a:gd name="connsiteX1202" fmla="*/ 696569 w 703547"/>
                <a:gd name="connsiteY1202" fmla="*/ 86328 h 238565"/>
                <a:gd name="connsiteX1203" fmla="*/ 697861 w 703547"/>
                <a:gd name="connsiteY1203" fmla="*/ 86199 h 238565"/>
                <a:gd name="connsiteX1204" fmla="*/ 698378 w 703547"/>
                <a:gd name="connsiteY1204" fmla="*/ 85165 h 238565"/>
                <a:gd name="connsiteX1205" fmla="*/ 698378 w 703547"/>
                <a:gd name="connsiteY1205" fmla="*/ 83226 h 238565"/>
                <a:gd name="connsiteX1206" fmla="*/ 700963 w 703547"/>
                <a:gd name="connsiteY1206" fmla="*/ 73663 h 238565"/>
                <a:gd name="connsiteX1207" fmla="*/ 701996 w 703547"/>
                <a:gd name="connsiteY1207" fmla="*/ 71595 h 238565"/>
                <a:gd name="connsiteX1208" fmla="*/ 701480 w 703547"/>
                <a:gd name="connsiteY1208" fmla="*/ 70691 h 238565"/>
                <a:gd name="connsiteX1209" fmla="*/ 701221 w 703547"/>
                <a:gd name="connsiteY1209" fmla="*/ 70045 h 238565"/>
                <a:gd name="connsiteX1210" fmla="*/ 701480 w 703547"/>
                <a:gd name="connsiteY1210" fmla="*/ 69398 h 238565"/>
                <a:gd name="connsiteX1211" fmla="*/ 703289 w 703547"/>
                <a:gd name="connsiteY1211" fmla="*/ 66684 h 238565"/>
                <a:gd name="connsiteX1212" fmla="*/ 700704 w 703547"/>
                <a:gd name="connsiteY1212" fmla="*/ 44198 h 238565"/>
                <a:gd name="connsiteX1213" fmla="*/ 699670 w 703547"/>
                <a:gd name="connsiteY1213" fmla="*/ 44069 h 238565"/>
                <a:gd name="connsiteX1214" fmla="*/ 699024 w 703547"/>
                <a:gd name="connsiteY1214" fmla="*/ 44198 h 238565"/>
                <a:gd name="connsiteX1215" fmla="*/ 698636 w 703547"/>
                <a:gd name="connsiteY1215" fmla="*/ 44973 h 238565"/>
                <a:gd name="connsiteX1216" fmla="*/ 698507 w 703547"/>
                <a:gd name="connsiteY1216" fmla="*/ 46136 h 238565"/>
                <a:gd name="connsiteX1217" fmla="*/ 698249 w 703547"/>
                <a:gd name="connsiteY1217" fmla="*/ 47558 h 238565"/>
                <a:gd name="connsiteX1218" fmla="*/ 697086 w 703547"/>
                <a:gd name="connsiteY1218" fmla="*/ 49109 h 238565"/>
                <a:gd name="connsiteX1219" fmla="*/ 696052 w 703547"/>
                <a:gd name="connsiteY1219" fmla="*/ 50272 h 238565"/>
                <a:gd name="connsiteX1220" fmla="*/ 695793 w 703547"/>
                <a:gd name="connsiteY1220" fmla="*/ 51564 h 238565"/>
                <a:gd name="connsiteX1221" fmla="*/ 695664 w 703547"/>
                <a:gd name="connsiteY1221" fmla="*/ 54020 h 238565"/>
                <a:gd name="connsiteX1222" fmla="*/ 695664 w 703547"/>
                <a:gd name="connsiteY1222" fmla="*/ 55700 h 238565"/>
                <a:gd name="connsiteX1223" fmla="*/ 696827 w 703547"/>
                <a:gd name="connsiteY1223" fmla="*/ 56217 h 238565"/>
                <a:gd name="connsiteX1224" fmla="*/ 698507 w 703547"/>
                <a:gd name="connsiteY1224" fmla="*/ 56604 h 238565"/>
                <a:gd name="connsiteX1225" fmla="*/ 699928 w 703547"/>
                <a:gd name="connsiteY1225" fmla="*/ 56604 h 238565"/>
                <a:gd name="connsiteX1226" fmla="*/ 700704 w 703547"/>
                <a:gd name="connsiteY1226" fmla="*/ 56346 h 238565"/>
                <a:gd name="connsiteX1227" fmla="*/ 700833 w 703547"/>
                <a:gd name="connsiteY1227" fmla="*/ 54795 h 238565"/>
                <a:gd name="connsiteX1228" fmla="*/ 701221 w 703547"/>
                <a:gd name="connsiteY1228" fmla="*/ 52986 h 238565"/>
                <a:gd name="connsiteX1229" fmla="*/ 701996 w 703547"/>
                <a:gd name="connsiteY1229" fmla="*/ 51564 h 238565"/>
                <a:gd name="connsiteX1230" fmla="*/ 702513 w 703547"/>
                <a:gd name="connsiteY1230" fmla="*/ 49884 h 238565"/>
                <a:gd name="connsiteX1231" fmla="*/ 702513 w 703547"/>
                <a:gd name="connsiteY1231" fmla="*/ 48721 h 238565"/>
                <a:gd name="connsiteX1232" fmla="*/ 701867 w 703547"/>
                <a:gd name="connsiteY1232" fmla="*/ 47170 h 238565"/>
                <a:gd name="connsiteX1233" fmla="*/ 701350 w 703547"/>
                <a:gd name="connsiteY1233" fmla="*/ 45878 h 238565"/>
                <a:gd name="connsiteX1234" fmla="*/ 701609 w 703547"/>
                <a:gd name="connsiteY1234" fmla="*/ 44973 h 238565"/>
                <a:gd name="connsiteX1235" fmla="*/ 700704 w 703547"/>
                <a:gd name="connsiteY1235" fmla="*/ 44198 h 23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Lst>
              <a:rect l="l" t="t" r="r" b="b"/>
              <a:pathLst>
                <a:path w="703547" h="238565">
                  <a:moveTo>
                    <a:pt x="703289" y="66684"/>
                  </a:moveTo>
                  <a:lnTo>
                    <a:pt x="702643" y="65392"/>
                  </a:lnTo>
                  <a:lnTo>
                    <a:pt x="701738" y="62807"/>
                  </a:lnTo>
                  <a:lnTo>
                    <a:pt x="701092" y="61515"/>
                  </a:lnTo>
                  <a:lnTo>
                    <a:pt x="699670" y="64487"/>
                  </a:lnTo>
                  <a:lnTo>
                    <a:pt x="699800" y="60610"/>
                  </a:lnTo>
                  <a:lnTo>
                    <a:pt x="699412" y="59189"/>
                  </a:lnTo>
                  <a:lnTo>
                    <a:pt x="699282" y="57897"/>
                  </a:lnTo>
                  <a:lnTo>
                    <a:pt x="695276" y="57121"/>
                  </a:lnTo>
                  <a:lnTo>
                    <a:pt x="694372" y="55958"/>
                  </a:lnTo>
                  <a:lnTo>
                    <a:pt x="694501" y="51435"/>
                  </a:lnTo>
                  <a:lnTo>
                    <a:pt x="695276" y="49626"/>
                  </a:lnTo>
                  <a:lnTo>
                    <a:pt x="696181" y="48721"/>
                  </a:lnTo>
                  <a:lnTo>
                    <a:pt x="696827" y="47816"/>
                  </a:lnTo>
                  <a:lnTo>
                    <a:pt x="697215" y="46782"/>
                  </a:lnTo>
                  <a:lnTo>
                    <a:pt x="696827" y="46395"/>
                  </a:lnTo>
                  <a:lnTo>
                    <a:pt x="695922" y="46395"/>
                  </a:lnTo>
                  <a:lnTo>
                    <a:pt x="694759" y="47429"/>
                  </a:lnTo>
                  <a:lnTo>
                    <a:pt x="692691" y="48592"/>
                  </a:lnTo>
                  <a:lnTo>
                    <a:pt x="693467" y="46912"/>
                  </a:lnTo>
                  <a:lnTo>
                    <a:pt x="694889" y="45878"/>
                  </a:lnTo>
                  <a:lnTo>
                    <a:pt x="696052" y="45361"/>
                  </a:lnTo>
                  <a:lnTo>
                    <a:pt x="697344" y="45619"/>
                  </a:lnTo>
                  <a:lnTo>
                    <a:pt x="697732" y="43552"/>
                  </a:lnTo>
                  <a:lnTo>
                    <a:pt x="696052" y="38382"/>
                  </a:lnTo>
                  <a:lnTo>
                    <a:pt x="696310" y="36315"/>
                  </a:lnTo>
                  <a:lnTo>
                    <a:pt x="696956" y="37865"/>
                  </a:lnTo>
                  <a:lnTo>
                    <a:pt x="699282" y="42130"/>
                  </a:lnTo>
                  <a:lnTo>
                    <a:pt x="699282" y="40579"/>
                  </a:lnTo>
                  <a:lnTo>
                    <a:pt x="699412" y="39933"/>
                  </a:lnTo>
                  <a:lnTo>
                    <a:pt x="699800" y="39158"/>
                  </a:lnTo>
                  <a:lnTo>
                    <a:pt x="699800" y="40450"/>
                  </a:lnTo>
                  <a:lnTo>
                    <a:pt x="700058" y="41613"/>
                  </a:lnTo>
                  <a:lnTo>
                    <a:pt x="700058" y="43035"/>
                  </a:lnTo>
                  <a:lnTo>
                    <a:pt x="700833" y="43164"/>
                  </a:lnTo>
                  <a:lnTo>
                    <a:pt x="701996" y="40192"/>
                  </a:lnTo>
                  <a:lnTo>
                    <a:pt x="702772" y="38641"/>
                  </a:lnTo>
                  <a:lnTo>
                    <a:pt x="703547" y="36961"/>
                  </a:lnTo>
                  <a:lnTo>
                    <a:pt x="703159" y="36056"/>
                  </a:lnTo>
                  <a:lnTo>
                    <a:pt x="701867" y="34505"/>
                  </a:lnTo>
                  <a:lnTo>
                    <a:pt x="700704" y="32696"/>
                  </a:lnTo>
                  <a:lnTo>
                    <a:pt x="700317" y="30628"/>
                  </a:lnTo>
                  <a:lnTo>
                    <a:pt x="697086" y="29594"/>
                  </a:lnTo>
                  <a:lnTo>
                    <a:pt x="690236" y="29853"/>
                  </a:lnTo>
                  <a:lnTo>
                    <a:pt x="691916" y="28948"/>
                  </a:lnTo>
                  <a:lnTo>
                    <a:pt x="693596" y="28431"/>
                  </a:lnTo>
                  <a:lnTo>
                    <a:pt x="693984" y="28431"/>
                  </a:lnTo>
                  <a:lnTo>
                    <a:pt x="693984" y="28431"/>
                  </a:lnTo>
                  <a:lnTo>
                    <a:pt x="690624" y="26622"/>
                  </a:lnTo>
                  <a:lnTo>
                    <a:pt x="684808" y="25071"/>
                  </a:lnTo>
                  <a:lnTo>
                    <a:pt x="684162" y="24684"/>
                  </a:lnTo>
                  <a:lnTo>
                    <a:pt x="684033" y="24167"/>
                  </a:lnTo>
                  <a:lnTo>
                    <a:pt x="683904" y="23650"/>
                  </a:lnTo>
                  <a:lnTo>
                    <a:pt x="683774" y="23004"/>
                  </a:lnTo>
                  <a:lnTo>
                    <a:pt x="683645" y="22487"/>
                  </a:lnTo>
                  <a:lnTo>
                    <a:pt x="682482" y="20290"/>
                  </a:lnTo>
                  <a:lnTo>
                    <a:pt x="677959" y="15896"/>
                  </a:lnTo>
                  <a:lnTo>
                    <a:pt x="675633" y="14216"/>
                  </a:lnTo>
                  <a:lnTo>
                    <a:pt x="673436" y="13440"/>
                  </a:lnTo>
                  <a:lnTo>
                    <a:pt x="670980" y="12923"/>
                  </a:lnTo>
                  <a:lnTo>
                    <a:pt x="670334" y="12923"/>
                  </a:lnTo>
                  <a:lnTo>
                    <a:pt x="669688" y="13053"/>
                  </a:lnTo>
                  <a:lnTo>
                    <a:pt x="667362" y="13699"/>
                  </a:lnTo>
                  <a:lnTo>
                    <a:pt x="665811" y="13828"/>
                  </a:lnTo>
                  <a:lnTo>
                    <a:pt x="657411" y="11631"/>
                  </a:lnTo>
                  <a:lnTo>
                    <a:pt x="655214" y="11243"/>
                  </a:lnTo>
                  <a:lnTo>
                    <a:pt x="653534" y="11243"/>
                  </a:lnTo>
                  <a:lnTo>
                    <a:pt x="652371" y="11502"/>
                  </a:lnTo>
                  <a:lnTo>
                    <a:pt x="651595" y="11760"/>
                  </a:lnTo>
                  <a:lnTo>
                    <a:pt x="649527" y="12794"/>
                  </a:lnTo>
                  <a:lnTo>
                    <a:pt x="648623" y="13440"/>
                  </a:lnTo>
                  <a:lnTo>
                    <a:pt x="645521" y="16154"/>
                  </a:lnTo>
                  <a:lnTo>
                    <a:pt x="643453" y="18739"/>
                  </a:lnTo>
                  <a:lnTo>
                    <a:pt x="642420" y="19643"/>
                  </a:lnTo>
                  <a:lnTo>
                    <a:pt x="641257" y="20290"/>
                  </a:lnTo>
                  <a:lnTo>
                    <a:pt x="640481" y="20548"/>
                  </a:lnTo>
                  <a:lnTo>
                    <a:pt x="639706" y="20548"/>
                  </a:lnTo>
                  <a:lnTo>
                    <a:pt x="639189" y="20419"/>
                  </a:lnTo>
                  <a:lnTo>
                    <a:pt x="638672" y="20160"/>
                  </a:lnTo>
                  <a:lnTo>
                    <a:pt x="638284" y="19902"/>
                  </a:lnTo>
                  <a:lnTo>
                    <a:pt x="637767" y="19643"/>
                  </a:lnTo>
                  <a:lnTo>
                    <a:pt x="636992" y="19385"/>
                  </a:lnTo>
                  <a:lnTo>
                    <a:pt x="630659" y="19127"/>
                  </a:lnTo>
                  <a:lnTo>
                    <a:pt x="629755" y="19256"/>
                  </a:lnTo>
                  <a:lnTo>
                    <a:pt x="629109" y="19514"/>
                  </a:lnTo>
                  <a:lnTo>
                    <a:pt x="628721" y="19902"/>
                  </a:lnTo>
                  <a:lnTo>
                    <a:pt x="628204" y="20936"/>
                  </a:lnTo>
                  <a:lnTo>
                    <a:pt x="627687" y="22487"/>
                  </a:lnTo>
                  <a:lnTo>
                    <a:pt x="626653" y="28561"/>
                  </a:lnTo>
                  <a:lnTo>
                    <a:pt x="624198" y="38382"/>
                  </a:lnTo>
                  <a:lnTo>
                    <a:pt x="622905" y="40838"/>
                  </a:lnTo>
                  <a:lnTo>
                    <a:pt x="616831" y="42906"/>
                  </a:lnTo>
                  <a:lnTo>
                    <a:pt x="615022" y="44069"/>
                  </a:lnTo>
                  <a:lnTo>
                    <a:pt x="612308" y="46266"/>
                  </a:lnTo>
                  <a:lnTo>
                    <a:pt x="611533" y="46782"/>
                  </a:lnTo>
                  <a:lnTo>
                    <a:pt x="610757" y="47170"/>
                  </a:lnTo>
                  <a:lnTo>
                    <a:pt x="610241" y="47299"/>
                  </a:lnTo>
                  <a:lnTo>
                    <a:pt x="609724" y="47299"/>
                  </a:lnTo>
                  <a:lnTo>
                    <a:pt x="609207" y="47170"/>
                  </a:lnTo>
                  <a:lnTo>
                    <a:pt x="608173" y="46653"/>
                  </a:lnTo>
                  <a:lnTo>
                    <a:pt x="607656" y="46524"/>
                  </a:lnTo>
                  <a:lnTo>
                    <a:pt x="607010" y="46524"/>
                  </a:lnTo>
                  <a:lnTo>
                    <a:pt x="606364" y="46653"/>
                  </a:lnTo>
                  <a:lnTo>
                    <a:pt x="596930" y="50272"/>
                  </a:lnTo>
                  <a:lnTo>
                    <a:pt x="595766" y="50530"/>
                  </a:lnTo>
                  <a:lnTo>
                    <a:pt x="594474" y="50660"/>
                  </a:lnTo>
                  <a:lnTo>
                    <a:pt x="593440" y="50918"/>
                  </a:lnTo>
                  <a:lnTo>
                    <a:pt x="590856" y="51823"/>
                  </a:lnTo>
                  <a:lnTo>
                    <a:pt x="590209" y="51823"/>
                  </a:lnTo>
                  <a:lnTo>
                    <a:pt x="589692" y="51693"/>
                  </a:lnTo>
                  <a:lnTo>
                    <a:pt x="589305" y="51435"/>
                  </a:lnTo>
                  <a:lnTo>
                    <a:pt x="589046" y="51047"/>
                  </a:lnTo>
                  <a:lnTo>
                    <a:pt x="589046" y="50530"/>
                  </a:lnTo>
                  <a:lnTo>
                    <a:pt x="589176" y="50013"/>
                  </a:lnTo>
                  <a:lnTo>
                    <a:pt x="589305" y="49496"/>
                  </a:lnTo>
                  <a:lnTo>
                    <a:pt x="589046" y="48980"/>
                  </a:lnTo>
                  <a:lnTo>
                    <a:pt x="588529" y="48721"/>
                  </a:lnTo>
                  <a:lnTo>
                    <a:pt x="587625" y="48721"/>
                  </a:lnTo>
                  <a:lnTo>
                    <a:pt x="587108" y="48980"/>
                  </a:lnTo>
                  <a:lnTo>
                    <a:pt x="586591" y="49367"/>
                  </a:lnTo>
                  <a:lnTo>
                    <a:pt x="586332" y="49884"/>
                  </a:lnTo>
                  <a:lnTo>
                    <a:pt x="586074" y="50401"/>
                  </a:lnTo>
                  <a:lnTo>
                    <a:pt x="585945" y="51047"/>
                  </a:lnTo>
                  <a:lnTo>
                    <a:pt x="585945" y="51693"/>
                  </a:lnTo>
                  <a:lnTo>
                    <a:pt x="586074" y="52210"/>
                  </a:lnTo>
                  <a:lnTo>
                    <a:pt x="586332" y="52598"/>
                  </a:lnTo>
                  <a:lnTo>
                    <a:pt x="586720" y="52986"/>
                  </a:lnTo>
                  <a:lnTo>
                    <a:pt x="587625" y="53632"/>
                  </a:lnTo>
                  <a:lnTo>
                    <a:pt x="589046" y="54407"/>
                  </a:lnTo>
                  <a:lnTo>
                    <a:pt x="589434" y="54666"/>
                  </a:lnTo>
                  <a:lnTo>
                    <a:pt x="589822" y="55053"/>
                  </a:lnTo>
                  <a:lnTo>
                    <a:pt x="590080" y="55570"/>
                  </a:lnTo>
                  <a:lnTo>
                    <a:pt x="590080" y="56217"/>
                  </a:lnTo>
                  <a:lnTo>
                    <a:pt x="589692" y="56992"/>
                  </a:lnTo>
                  <a:lnTo>
                    <a:pt x="589176" y="57380"/>
                  </a:lnTo>
                  <a:lnTo>
                    <a:pt x="588529" y="57509"/>
                  </a:lnTo>
                  <a:lnTo>
                    <a:pt x="587883" y="57509"/>
                  </a:lnTo>
                  <a:lnTo>
                    <a:pt x="585945" y="57121"/>
                  </a:lnTo>
                  <a:lnTo>
                    <a:pt x="585169" y="56992"/>
                  </a:lnTo>
                  <a:lnTo>
                    <a:pt x="584135" y="56992"/>
                  </a:lnTo>
                  <a:lnTo>
                    <a:pt x="583618" y="57380"/>
                  </a:lnTo>
                  <a:lnTo>
                    <a:pt x="583360" y="57897"/>
                  </a:lnTo>
                  <a:lnTo>
                    <a:pt x="583360" y="58414"/>
                  </a:lnTo>
                  <a:lnTo>
                    <a:pt x="583489" y="59577"/>
                  </a:lnTo>
                  <a:lnTo>
                    <a:pt x="583489" y="60223"/>
                  </a:lnTo>
                  <a:lnTo>
                    <a:pt x="583102" y="60869"/>
                  </a:lnTo>
                  <a:lnTo>
                    <a:pt x="582585" y="60998"/>
                  </a:lnTo>
                  <a:lnTo>
                    <a:pt x="582197" y="60869"/>
                  </a:lnTo>
                  <a:lnTo>
                    <a:pt x="581809" y="60481"/>
                  </a:lnTo>
                  <a:lnTo>
                    <a:pt x="580776" y="59318"/>
                  </a:lnTo>
                  <a:lnTo>
                    <a:pt x="580387" y="59060"/>
                  </a:lnTo>
                  <a:lnTo>
                    <a:pt x="579354" y="58543"/>
                  </a:lnTo>
                  <a:lnTo>
                    <a:pt x="578837" y="58414"/>
                  </a:lnTo>
                  <a:lnTo>
                    <a:pt x="577545" y="58284"/>
                  </a:lnTo>
                  <a:lnTo>
                    <a:pt x="575218" y="58414"/>
                  </a:lnTo>
                  <a:lnTo>
                    <a:pt x="569274" y="59964"/>
                  </a:lnTo>
                  <a:lnTo>
                    <a:pt x="568628" y="59964"/>
                  </a:lnTo>
                  <a:lnTo>
                    <a:pt x="567981" y="59964"/>
                  </a:lnTo>
                  <a:lnTo>
                    <a:pt x="567464" y="59706"/>
                  </a:lnTo>
                  <a:lnTo>
                    <a:pt x="567076" y="59318"/>
                  </a:lnTo>
                  <a:lnTo>
                    <a:pt x="566818" y="58801"/>
                  </a:lnTo>
                  <a:lnTo>
                    <a:pt x="566689" y="58155"/>
                  </a:lnTo>
                  <a:lnTo>
                    <a:pt x="566818" y="56217"/>
                  </a:lnTo>
                  <a:lnTo>
                    <a:pt x="566818" y="55700"/>
                  </a:lnTo>
                  <a:lnTo>
                    <a:pt x="566689" y="55312"/>
                  </a:lnTo>
                  <a:lnTo>
                    <a:pt x="566560" y="55053"/>
                  </a:lnTo>
                  <a:lnTo>
                    <a:pt x="566301" y="54666"/>
                  </a:lnTo>
                  <a:lnTo>
                    <a:pt x="565784" y="54278"/>
                  </a:lnTo>
                  <a:lnTo>
                    <a:pt x="565138" y="54020"/>
                  </a:lnTo>
                  <a:lnTo>
                    <a:pt x="563846" y="54020"/>
                  </a:lnTo>
                  <a:lnTo>
                    <a:pt x="563070" y="54149"/>
                  </a:lnTo>
                  <a:lnTo>
                    <a:pt x="562554" y="54407"/>
                  </a:lnTo>
                  <a:lnTo>
                    <a:pt x="562166" y="54666"/>
                  </a:lnTo>
                  <a:lnTo>
                    <a:pt x="559969" y="57509"/>
                  </a:lnTo>
                  <a:lnTo>
                    <a:pt x="558806" y="58414"/>
                  </a:lnTo>
                  <a:lnTo>
                    <a:pt x="558030" y="58801"/>
                  </a:lnTo>
                  <a:lnTo>
                    <a:pt x="557255" y="58930"/>
                  </a:lnTo>
                  <a:lnTo>
                    <a:pt x="555187" y="59060"/>
                  </a:lnTo>
                  <a:lnTo>
                    <a:pt x="554541" y="59060"/>
                  </a:lnTo>
                  <a:lnTo>
                    <a:pt x="554024" y="58930"/>
                  </a:lnTo>
                  <a:lnTo>
                    <a:pt x="553636" y="58543"/>
                  </a:lnTo>
                  <a:lnTo>
                    <a:pt x="553378" y="58026"/>
                  </a:lnTo>
                  <a:lnTo>
                    <a:pt x="553249" y="57380"/>
                  </a:lnTo>
                  <a:lnTo>
                    <a:pt x="553249" y="56734"/>
                  </a:lnTo>
                  <a:lnTo>
                    <a:pt x="552990" y="55441"/>
                  </a:lnTo>
                  <a:lnTo>
                    <a:pt x="551956" y="54536"/>
                  </a:lnTo>
                  <a:lnTo>
                    <a:pt x="549113" y="57767"/>
                  </a:lnTo>
                  <a:lnTo>
                    <a:pt x="547691" y="58672"/>
                  </a:lnTo>
                  <a:lnTo>
                    <a:pt x="546658" y="59189"/>
                  </a:lnTo>
                  <a:lnTo>
                    <a:pt x="545882" y="59318"/>
                  </a:lnTo>
                  <a:lnTo>
                    <a:pt x="544590" y="59189"/>
                  </a:lnTo>
                  <a:lnTo>
                    <a:pt x="543944" y="59060"/>
                  </a:lnTo>
                  <a:lnTo>
                    <a:pt x="541747" y="58284"/>
                  </a:lnTo>
                  <a:lnTo>
                    <a:pt x="539162" y="57897"/>
                  </a:lnTo>
                  <a:lnTo>
                    <a:pt x="532184" y="58414"/>
                  </a:lnTo>
                  <a:lnTo>
                    <a:pt x="530633" y="58801"/>
                  </a:lnTo>
                  <a:lnTo>
                    <a:pt x="529728" y="59318"/>
                  </a:lnTo>
                  <a:lnTo>
                    <a:pt x="529599" y="59835"/>
                  </a:lnTo>
                  <a:lnTo>
                    <a:pt x="529599" y="60352"/>
                  </a:lnTo>
                  <a:lnTo>
                    <a:pt x="529858" y="60740"/>
                  </a:lnTo>
                  <a:lnTo>
                    <a:pt x="530762" y="62032"/>
                  </a:lnTo>
                  <a:lnTo>
                    <a:pt x="531021" y="62549"/>
                  </a:lnTo>
                  <a:lnTo>
                    <a:pt x="531150" y="63066"/>
                  </a:lnTo>
                  <a:lnTo>
                    <a:pt x="531150" y="63712"/>
                  </a:lnTo>
                  <a:lnTo>
                    <a:pt x="531021" y="64358"/>
                  </a:lnTo>
                  <a:lnTo>
                    <a:pt x="530762" y="64875"/>
                  </a:lnTo>
                  <a:lnTo>
                    <a:pt x="530504" y="65392"/>
                  </a:lnTo>
                  <a:lnTo>
                    <a:pt x="530116" y="65780"/>
                  </a:lnTo>
                  <a:lnTo>
                    <a:pt x="529599" y="66297"/>
                  </a:lnTo>
                  <a:lnTo>
                    <a:pt x="527273" y="68106"/>
                  </a:lnTo>
                  <a:lnTo>
                    <a:pt x="526110" y="68752"/>
                  </a:lnTo>
                  <a:lnTo>
                    <a:pt x="525205" y="69011"/>
                  </a:lnTo>
                  <a:lnTo>
                    <a:pt x="524430" y="69011"/>
                  </a:lnTo>
                  <a:lnTo>
                    <a:pt x="521845" y="68752"/>
                  </a:lnTo>
                  <a:lnTo>
                    <a:pt x="516805" y="69269"/>
                  </a:lnTo>
                  <a:lnTo>
                    <a:pt x="514220" y="69915"/>
                  </a:lnTo>
                  <a:lnTo>
                    <a:pt x="513186" y="70432"/>
                  </a:lnTo>
                  <a:lnTo>
                    <a:pt x="512799" y="71078"/>
                  </a:lnTo>
                  <a:lnTo>
                    <a:pt x="513316" y="71983"/>
                  </a:lnTo>
                  <a:lnTo>
                    <a:pt x="513445" y="72500"/>
                  </a:lnTo>
                  <a:lnTo>
                    <a:pt x="513445" y="73017"/>
                  </a:lnTo>
                  <a:lnTo>
                    <a:pt x="513057" y="73275"/>
                  </a:lnTo>
                  <a:lnTo>
                    <a:pt x="512411" y="73275"/>
                  </a:lnTo>
                  <a:lnTo>
                    <a:pt x="511636" y="73146"/>
                  </a:lnTo>
                  <a:lnTo>
                    <a:pt x="510731" y="73146"/>
                  </a:lnTo>
                  <a:lnTo>
                    <a:pt x="509568" y="73405"/>
                  </a:lnTo>
                  <a:lnTo>
                    <a:pt x="508663" y="73792"/>
                  </a:lnTo>
                  <a:lnTo>
                    <a:pt x="508146" y="74180"/>
                  </a:lnTo>
                  <a:lnTo>
                    <a:pt x="505174" y="77799"/>
                  </a:lnTo>
                  <a:lnTo>
                    <a:pt x="504786" y="78315"/>
                  </a:lnTo>
                  <a:lnTo>
                    <a:pt x="504657" y="78703"/>
                  </a:lnTo>
                  <a:lnTo>
                    <a:pt x="504527" y="79220"/>
                  </a:lnTo>
                  <a:lnTo>
                    <a:pt x="504657" y="79737"/>
                  </a:lnTo>
                  <a:lnTo>
                    <a:pt x="504915" y="80254"/>
                  </a:lnTo>
                  <a:lnTo>
                    <a:pt x="506208" y="81934"/>
                  </a:lnTo>
                  <a:lnTo>
                    <a:pt x="507242" y="83743"/>
                  </a:lnTo>
                  <a:lnTo>
                    <a:pt x="507500" y="84260"/>
                  </a:lnTo>
                  <a:lnTo>
                    <a:pt x="507758" y="85423"/>
                  </a:lnTo>
                  <a:lnTo>
                    <a:pt x="507888" y="86069"/>
                  </a:lnTo>
                  <a:lnTo>
                    <a:pt x="507888" y="86716"/>
                  </a:lnTo>
                  <a:lnTo>
                    <a:pt x="507629" y="87620"/>
                  </a:lnTo>
                  <a:lnTo>
                    <a:pt x="506983" y="88525"/>
                  </a:lnTo>
                  <a:lnTo>
                    <a:pt x="505432" y="90205"/>
                  </a:lnTo>
                  <a:lnTo>
                    <a:pt x="504527" y="90980"/>
                  </a:lnTo>
                  <a:lnTo>
                    <a:pt x="503494" y="91497"/>
                  </a:lnTo>
                  <a:lnTo>
                    <a:pt x="502460" y="91756"/>
                  </a:lnTo>
                  <a:lnTo>
                    <a:pt x="500780" y="92402"/>
                  </a:lnTo>
                  <a:lnTo>
                    <a:pt x="499875" y="92919"/>
                  </a:lnTo>
                  <a:lnTo>
                    <a:pt x="499229" y="93436"/>
                  </a:lnTo>
                  <a:lnTo>
                    <a:pt x="498583" y="94987"/>
                  </a:lnTo>
                  <a:lnTo>
                    <a:pt x="498066" y="95762"/>
                  </a:lnTo>
                  <a:lnTo>
                    <a:pt x="497290" y="96667"/>
                  </a:lnTo>
                  <a:lnTo>
                    <a:pt x="492896" y="101061"/>
                  </a:lnTo>
                  <a:lnTo>
                    <a:pt x="492121" y="101707"/>
                  </a:lnTo>
                  <a:lnTo>
                    <a:pt x="491346" y="101965"/>
                  </a:lnTo>
                  <a:lnTo>
                    <a:pt x="485789" y="102224"/>
                  </a:lnTo>
                  <a:lnTo>
                    <a:pt x="483979" y="102611"/>
                  </a:lnTo>
                  <a:lnTo>
                    <a:pt x="482816" y="102999"/>
                  </a:lnTo>
                  <a:lnTo>
                    <a:pt x="480878" y="104033"/>
                  </a:lnTo>
                  <a:lnTo>
                    <a:pt x="475062" y="107910"/>
                  </a:lnTo>
                  <a:lnTo>
                    <a:pt x="474546" y="108168"/>
                  </a:lnTo>
                  <a:lnTo>
                    <a:pt x="473511" y="108556"/>
                  </a:lnTo>
                  <a:lnTo>
                    <a:pt x="472090" y="108685"/>
                  </a:lnTo>
                  <a:lnTo>
                    <a:pt x="467825" y="107005"/>
                  </a:lnTo>
                  <a:lnTo>
                    <a:pt x="465241" y="104421"/>
                  </a:lnTo>
                  <a:lnTo>
                    <a:pt x="463819" y="103774"/>
                  </a:lnTo>
                  <a:lnTo>
                    <a:pt x="461363" y="102999"/>
                  </a:lnTo>
                  <a:lnTo>
                    <a:pt x="460588" y="102482"/>
                  </a:lnTo>
                  <a:lnTo>
                    <a:pt x="459942" y="102094"/>
                  </a:lnTo>
                  <a:lnTo>
                    <a:pt x="459554" y="101707"/>
                  </a:lnTo>
                  <a:lnTo>
                    <a:pt x="455677" y="97959"/>
                  </a:lnTo>
                  <a:lnTo>
                    <a:pt x="454773" y="96925"/>
                  </a:lnTo>
                  <a:lnTo>
                    <a:pt x="454256" y="96021"/>
                  </a:lnTo>
                  <a:lnTo>
                    <a:pt x="453351" y="91110"/>
                  </a:lnTo>
                  <a:lnTo>
                    <a:pt x="453222" y="88396"/>
                  </a:lnTo>
                  <a:lnTo>
                    <a:pt x="452963" y="87233"/>
                  </a:lnTo>
                  <a:lnTo>
                    <a:pt x="452059" y="84519"/>
                  </a:lnTo>
                  <a:lnTo>
                    <a:pt x="451800" y="83356"/>
                  </a:lnTo>
                  <a:lnTo>
                    <a:pt x="451800" y="82709"/>
                  </a:lnTo>
                  <a:lnTo>
                    <a:pt x="451930" y="82063"/>
                  </a:lnTo>
                  <a:lnTo>
                    <a:pt x="452188" y="81546"/>
                  </a:lnTo>
                  <a:lnTo>
                    <a:pt x="452446" y="81029"/>
                  </a:lnTo>
                  <a:lnTo>
                    <a:pt x="453093" y="80254"/>
                  </a:lnTo>
                  <a:lnTo>
                    <a:pt x="453351" y="79608"/>
                  </a:lnTo>
                  <a:lnTo>
                    <a:pt x="453480" y="78703"/>
                  </a:lnTo>
                  <a:lnTo>
                    <a:pt x="453222" y="77023"/>
                  </a:lnTo>
                  <a:lnTo>
                    <a:pt x="452705" y="76248"/>
                  </a:lnTo>
                  <a:lnTo>
                    <a:pt x="452188" y="75731"/>
                  </a:lnTo>
                  <a:lnTo>
                    <a:pt x="449215" y="74955"/>
                  </a:lnTo>
                  <a:lnTo>
                    <a:pt x="447794" y="74180"/>
                  </a:lnTo>
                  <a:lnTo>
                    <a:pt x="446631" y="73792"/>
                  </a:lnTo>
                  <a:lnTo>
                    <a:pt x="445985" y="73663"/>
                  </a:lnTo>
                  <a:lnTo>
                    <a:pt x="445339" y="73663"/>
                  </a:lnTo>
                  <a:lnTo>
                    <a:pt x="444692" y="73792"/>
                  </a:lnTo>
                  <a:lnTo>
                    <a:pt x="443659" y="74309"/>
                  </a:lnTo>
                  <a:lnTo>
                    <a:pt x="442754" y="74955"/>
                  </a:lnTo>
                  <a:lnTo>
                    <a:pt x="442366" y="75343"/>
                  </a:lnTo>
                  <a:lnTo>
                    <a:pt x="441591" y="75989"/>
                  </a:lnTo>
                  <a:lnTo>
                    <a:pt x="440815" y="76377"/>
                  </a:lnTo>
                  <a:lnTo>
                    <a:pt x="440557" y="76506"/>
                  </a:lnTo>
                  <a:lnTo>
                    <a:pt x="440040" y="76635"/>
                  </a:lnTo>
                  <a:lnTo>
                    <a:pt x="439394" y="76635"/>
                  </a:lnTo>
                  <a:lnTo>
                    <a:pt x="437455" y="76506"/>
                  </a:lnTo>
                  <a:lnTo>
                    <a:pt x="436939" y="76635"/>
                  </a:lnTo>
                  <a:lnTo>
                    <a:pt x="436422" y="76894"/>
                  </a:lnTo>
                  <a:lnTo>
                    <a:pt x="435517" y="77540"/>
                  </a:lnTo>
                  <a:lnTo>
                    <a:pt x="434224" y="78186"/>
                  </a:lnTo>
                  <a:lnTo>
                    <a:pt x="433837" y="78315"/>
                  </a:lnTo>
                  <a:lnTo>
                    <a:pt x="433191" y="78445"/>
                  </a:lnTo>
                  <a:lnTo>
                    <a:pt x="432286" y="78445"/>
                  </a:lnTo>
                  <a:lnTo>
                    <a:pt x="431898" y="78315"/>
                  </a:lnTo>
                  <a:lnTo>
                    <a:pt x="431640" y="78186"/>
                  </a:lnTo>
                  <a:lnTo>
                    <a:pt x="431511" y="78057"/>
                  </a:lnTo>
                  <a:lnTo>
                    <a:pt x="431252" y="77799"/>
                  </a:lnTo>
                  <a:lnTo>
                    <a:pt x="430994" y="77411"/>
                  </a:lnTo>
                  <a:lnTo>
                    <a:pt x="430865" y="76894"/>
                  </a:lnTo>
                  <a:lnTo>
                    <a:pt x="430994" y="76377"/>
                  </a:lnTo>
                  <a:lnTo>
                    <a:pt x="431381" y="75343"/>
                  </a:lnTo>
                  <a:lnTo>
                    <a:pt x="431898" y="74309"/>
                  </a:lnTo>
                  <a:lnTo>
                    <a:pt x="436163" y="71466"/>
                  </a:lnTo>
                  <a:lnTo>
                    <a:pt x="437455" y="70174"/>
                  </a:lnTo>
                  <a:lnTo>
                    <a:pt x="437714" y="69657"/>
                  </a:lnTo>
                  <a:lnTo>
                    <a:pt x="442108" y="62937"/>
                  </a:lnTo>
                  <a:lnTo>
                    <a:pt x="442366" y="62420"/>
                  </a:lnTo>
                  <a:lnTo>
                    <a:pt x="443400" y="59577"/>
                  </a:lnTo>
                  <a:lnTo>
                    <a:pt x="443788" y="58930"/>
                  </a:lnTo>
                  <a:lnTo>
                    <a:pt x="444305" y="58414"/>
                  </a:lnTo>
                  <a:lnTo>
                    <a:pt x="445209" y="57897"/>
                  </a:lnTo>
                  <a:lnTo>
                    <a:pt x="447923" y="56604"/>
                  </a:lnTo>
                  <a:lnTo>
                    <a:pt x="449345" y="55570"/>
                  </a:lnTo>
                  <a:lnTo>
                    <a:pt x="449991" y="54795"/>
                  </a:lnTo>
                  <a:lnTo>
                    <a:pt x="450379" y="54149"/>
                  </a:lnTo>
                  <a:lnTo>
                    <a:pt x="450508" y="53503"/>
                  </a:lnTo>
                  <a:lnTo>
                    <a:pt x="450637" y="52856"/>
                  </a:lnTo>
                  <a:lnTo>
                    <a:pt x="450637" y="52210"/>
                  </a:lnTo>
                  <a:lnTo>
                    <a:pt x="450508" y="51564"/>
                  </a:lnTo>
                  <a:lnTo>
                    <a:pt x="450120" y="50401"/>
                  </a:lnTo>
                  <a:lnTo>
                    <a:pt x="448440" y="47558"/>
                  </a:lnTo>
                  <a:lnTo>
                    <a:pt x="447665" y="45361"/>
                  </a:lnTo>
                  <a:lnTo>
                    <a:pt x="445856" y="41355"/>
                  </a:lnTo>
                  <a:lnTo>
                    <a:pt x="445597" y="40838"/>
                  </a:lnTo>
                  <a:lnTo>
                    <a:pt x="445339" y="40321"/>
                  </a:lnTo>
                  <a:lnTo>
                    <a:pt x="445339" y="39287"/>
                  </a:lnTo>
                  <a:lnTo>
                    <a:pt x="445468" y="37736"/>
                  </a:lnTo>
                  <a:lnTo>
                    <a:pt x="446114" y="34635"/>
                  </a:lnTo>
                  <a:lnTo>
                    <a:pt x="446631" y="33342"/>
                  </a:lnTo>
                  <a:lnTo>
                    <a:pt x="447148" y="32438"/>
                  </a:lnTo>
                  <a:lnTo>
                    <a:pt x="447535" y="32050"/>
                  </a:lnTo>
                  <a:lnTo>
                    <a:pt x="448052" y="31791"/>
                  </a:lnTo>
                  <a:lnTo>
                    <a:pt x="448569" y="31533"/>
                  </a:lnTo>
                  <a:lnTo>
                    <a:pt x="449087" y="31274"/>
                  </a:lnTo>
                  <a:lnTo>
                    <a:pt x="449603" y="31145"/>
                  </a:lnTo>
                  <a:lnTo>
                    <a:pt x="451542" y="30111"/>
                  </a:lnTo>
                  <a:lnTo>
                    <a:pt x="452059" y="29982"/>
                  </a:lnTo>
                  <a:lnTo>
                    <a:pt x="455289" y="29724"/>
                  </a:lnTo>
                  <a:lnTo>
                    <a:pt x="455936" y="29594"/>
                  </a:lnTo>
                  <a:lnTo>
                    <a:pt x="458133" y="28819"/>
                  </a:lnTo>
                  <a:lnTo>
                    <a:pt x="460588" y="27527"/>
                  </a:lnTo>
                  <a:lnTo>
                    <a:pt x="466791" y="25330"/>
                  </a:lnTo>
                  <a:lnTo>
                    <a:pt x="467567" y="24942"/>
                  </a:lnTo>
                  <a:lnTo>
                    <a:pt x="468601" y="24167"/>
                  </a:lnTo>
                  <a:lnTo>
                    <a:pt x="468988" y="23520"/>
                  </a:lnTo>
                  <a:lnTo>
                    <a:pt x="469118" y="22874"/>
                  </a:lnTo>
                  <a:lnTo>
                    <a:pt x="468988" y="22357"/>
                  </a:lnTo>
                  <a:lnTo>
                    <a:pt x="468730" y="21840"/>
                  </a:lnTo>
                  <a:lnTo>
                    <a:pt x="466920" y="19127"/>
                  </a:lnTo>
                  <a:lnTo>
                    <a:pt x="466662" y="18610"/>
                  </a:lnTo>
                  <a:lnTo>
                    <a:pt x="466404" y="18093"/>
                  </a:lnTo>
                  <a:lnTo>
                    <a:pt x="466274" y="17447"/>
                  </a:lnTo>
                  <a:lnTo>
                    <a:pt x="466274" y="16800"/>
                  </a:lnTo>
                  <a:lnTo>
                    <a:pt x="466404" y="14862"/>
                  </a:lnTo>
                  <a:lnTo>
                    <a:pt x="466274" y="14216"/>
                  </a:lnTo>
                  <a:lnTo>
                    <a:pt x="466016" y="13699"/>
                  </a:lnTo>
                  <a:lnTo>
                    <a:pt x="465628" y="13311"/>
                  </a:lnTo>
                  <a:lnTo>
                    <a:pt x="465241" y="13053"/>
                  </a:lnTo>
                  <a:lnTo>
                    <a:pt x="464724" y="12794"/>
                  </a:lnTo>
                  <a:lnTo>
                    <a:pt x="464207" y="12665"/>
                  </a:lnTo>
                  <a:lnTo>
                    <a:pt x="463561" y="12665"/>
                  </a:lnTo>
                  <a:lnTo>
                    <a:pt x="461751" y="12923"/>
                  </a:lnTo>
                  <a:lnTo>
                    <a:pt x="461105" y="12923"/>
                  </a:lnTo>
                  <a:lnTo>
                    <a:pt x="460588" y="12794"/>
                  </a:lnTo>
                  <a:lnTo>
                    <a:pt x="460071" y="12536"/>
                  </a:lnTo>
                  <a:lnTo>
                    <a:pt x="456840" y="10209"/>
                  </a:lnTo>
                  <a:lnTo>
                    <a:pt x="452188" y="8142"/>
                  </a:lnTo>
                  <a:lnTo>
                    <a:pt x="444046" y="1809"/>
                  </a:lnTo>
                  <a:lnTo>
                    <a:pt x="442237" y="646"/>
                  </a:lnTo>
                  <a:lnTo>
                    <a:pt x="440945" y="0"/>
                  </a:lnTo>
                  <a:lnTo>
                    <a:pt x="440428" y="129"/>
                  </a:lnTo>
                  <a:lnTo>
                    <a:pt x="440040" y="258"/>
                  </a:lnTo>
                  <a:lnTo>
                    <a:pt x="438360" y="1034"/>
                  </a:lnTo>
                  <a:lnTo>
                    <a:pt x="430994" y="2972"/>
                  </a:lnTo>
                  <a:lnTo>
                    <a:pt x="430477" y="3231"/>
                  </a:lnTo>
                  <a:lnTo>
                    <a:pt x="429960" y="3619"/>
                  </a:lnTo>
                  <a:lnTo>
                    <a:pt x="429572" y="4006"/>
                  </a:lnTo>
                  <a:lnTo>
                    <a:pt x="429184" y="5040"/>
                  </a:lnTo>
                  <a:lnTo>
                    <a:pt x="429055" y="5686"/>
                  </a:lnTo>
                  <a:lnTo>
                    <a:pt x="428409" y="7237"/>
                  </a:lnTo>
                  <a:lnTo>
                    <a:pt x="427763" y="8142"/>
                  </a:lnTo>
                  <a:lnTo>
                    <a:pt x="426987" y="8917"/>
                  </a:lnTo>
                  <a:lnTo>
                    <a:pt x="426600" y="9176"/>
                  </a:lnTo>
                  <a:lnTo>
                    <a:pt x="425954" y="9563"/>
                  </a:lnTo>
                  <a:lnTo>
                    <a:pt x="425178" y="9822"/>
                  </a:lnTo>
                  <a:lnTo>
                    <a:pt x="423886" y="10209"/>
                  </a:lnTo>
                  <a:lnTo>
                    <a:pt x="423110" y="10209"/>
                  </a:lnTo>
                  <a:lnTo>
                    <a:pt x="422723" y="9822"/>
                  </a:lnTo>
                  <a:lnTo>
                    <a:pt x="422593" y="9176"/>
                  </a:lnTo>
                  <a:lnTo>
                    <a:pt x="422335" y="8400"/>
                  </a:lnTo>
                  <a:lnTo>
                    <a:pt x="421947" y="8271"/>
                  </a:lnTo>
                  <a:lnTo>
                    <a:pt x="421430" y="8271"/>
                  </a:lnTo>
                  <a:lnTo>
                    <a:pt x="417036" y="10080"/>
                  </a:lnTo>
                  <a:lnTo>
                    <a:pt x="416519" y="10468"/>
                  </a:lnTo>
                  <a:lnTo>
                    <a:pt x="416132" y="10985"/>
                  </a:lnTo>
                  <a:lnTo>
                    <a:pt x="416003" y="11502"/>
                  </a:lnTo>
                  <a:lnTo>
                    <a:pt x="415744" y="13440"/>
                  </a:lnTo>
                  <a:lnTo>
                    <a:pt x="415486" y="13957"/>
                  </a:lnTo>
                  <a:lnTo>
                    <a:pt x="414581" y="15120"/>
                  </a:lnTo>
                  <a:lnTo>
                    <a:pt x="413289" y="16283"/>
                  </a:lnTo>
                  <a:lnTo>
                    <a:pt x="411867" y="17834"/>
                  </a:lnTo>
                  <a:lnTo>
                    <a:pt x="411608" y="18222"/>
                  </a:lnTo>
                  <a:lnTo>
                    <a:pt x="410704" y="20160"/>
                  </a:lnTo>
                  <a:lnTo>
                    <a:pt x="409799" y="21453"/>
                  </a:lnTo>
                  <a:lnTo>
                    <a:pt x="409412" y="21840"/>
                  </a:lnTo>
                  <a:lnTo>
                    <a:pt x="409024" y="22099"/>
                  </a:lnTo>
                  <a:lnTo>
                    <a:pt x="404242" y="24684"/>
                  </a:lnTo>
                  <a:lnTo>
                    <a:pt x="392353" y="29594"/>
                  </a:lnTo>
                  <a:lnTo>
                    <a:pt x="391836" y="29982"/>
                  </a:lnTo>
                  <a:lnTo>
                    <a:pt x="389251" y="32567"/>
                  </a:lnTo>
                  <a:lnTo>
                    <a:pt x="386149" y="36961"/>
                  </a:lnTo>
                  <a:lnTo>
                    <a:pt x="385633" y="37478"/>
                  </a:lnTo>
                  <a:lnTo>
                    <a:pt x="384857" y="38124"/>
                  </a:lnTo>
                  <a:lnTo>
                    <a:pt x="383306" y="39028"/>
                  </a:lnTo>
                  <a:lnTo>
                    <a:pt x="375294" y="41613"/>
                  </a:lnTo>
                  <a:lnTo>
                    <a:pt x="374260" y="42001"/>
                  </a:lnTo>
                  <a:lnTo>
                    <a:pt x="372968" y="42906"/>
                  </a:lnTo>
                  <a:lnTo>
                    <a:pt x="371805" y="43939"/>
                  </a:lnTo>
                  <a:lnTo>
                    <a:pt x="371159" y="44844"/>
                  </a:lnTo>
                  <a:lnTo>
                    <a:pt x="369479" y="48333"/>
                  </a:lnTo>
                  <a:lnTo>
                    <a:pt x="368316" y="50143"/>
                  </a:lnTo>
                  <a:lnTo>
                    <a:pt x="367928" y="50530"/>
                  </a:lnTo>
                  <a:lnTo>
                    <a:pt x="367281" y="51047"/>
                  </a:lnTo>
                  <a:lnTo>
                    <a:pt x="364826" y="52856"/>
                  </a:lnTo>
                  <a:lnTo>
                    <a:pt x="363792" y="53244"/>
                  </a:lnTo>
                  <a:lnTo>
                    <a:pt x="363017" y="53373"/>
                  </a:lnTo>
                  <a:lnTo>
                    <a:pt x="358494" y="51306"/>
                  </a:lnTo>
                  <a:lnTo>
                    <a:pt x="357718" y="51176"/>
                  </a:lnTo>
                  <a:lnTo>
                    <a:pt x="356814" y="51176"/>
                  </a:lnTo>
                  <a:lnTo>
                    <a:pt x="355263" y="51306"/>
                  </a:lnTo>
                  <a:lnTo>
                    <a:pt x="354487" y="51564"/>
                  </a:lnTo>
                  <a:lnTo>
                    <a:pt x="353841" y="51952"/>
                  </a:lnTo>
                  <a:lnTo>
                    <a:pt x="353195" y="52727"/>
                  </a:lnTo>
                  <a:lnTo>
                    <a:pt x="352290" y="54020"/>
                  </a:lnTo>
                  <a:lnTo>
                    <a:pt x="352032" y="54536"/>
                  </a:lnTo>
                  <a:lnTo>
                    <a:pt x="351903" y="55053"/>
                  </a:lnTo>
                  <a:lnTo>
                    <a:pt x="352032" y="55570"/>
                  </a:lnTo>
                  <a:lnTo>
                    <a:pt x="352290" y="56087"/>
                  </a:lnTo>
                  <a:lnTo>
                    <a:pt x="352549" y="56475"/>
                  </a:lnTo>
                  <a:lnTo>
                    <a:pt x="352807" y="56992"/>
                  </a:lnTo>
                  <a:lnTo>
                    <a:pt x="353066" y="57509"/>
                  </a:lnTo>
                  <a:lnTo>
                    <a:pt x="353066" y="58026"/>
                  </a:lnTo>
                  <a:lnTo>
                    <a:pt x="352678" y="58543"/>
                  </a:lnTo>
                  <a:lnTo>
                    <a:pt x="352161" y="58672"/>
                  </a:lnTo>
                  <a:lnTo>
                    <a:pt x="351515" y="58672"/>
                  </a:lnTo>
                  <a:lnTo>
                    <a:pt x="348801" y="57638"/>
                  </a:lnTo>
                  <a:lnTo>
                    <a:pt x="348284" y="57380"/>
                  </a:lnTo>
                  <a:lnTo>
                    <a:pt x="347896" y="57121"/>
                  </a:lnTo>
                  <a:lnTo>
                    <a:pt x="347638" y="56863"/>
                  </a:lnTo>
                  <a:lnTo>
                    <a:pt x="347379" y="56475"/>
                  </a:lnTo>
                  <a:lnTo>
                    <a:pt x="347121" y="55312"/>
                  </a:lnTo>
                  <a:lnTo>
                    <a:pt x="346992" y="54666"/>
                  </a:lnTo>
                  <a:lnTo>
                    <a:pt x="346863" y="54149"/>
                  </a:lnTo>
                  <a:lnTo>
                    <a:pt x="346475" y="53632"/>
                  </a:lnTo>
                  <a:lnTo>
                    <a:pt x="345958" y="53244"/>
                  </a:lnTo>
                  <a:lnTo>
                    <a:pt x="345183" y="52986"/>
                  </a:lnTo>
                  <a:lnTo>
                    <a:pt x="344666" y="53244"/>
                  </a:lnTo>
                  <a:lnTo>
                    <a:pt x="344278" y="53632"/>
                  </a:lnTo>
                  <a:lnTo>
                    <a:pt x="344020" y="54149"/>
                  </a:lnTo>
                  <a:lnTo>
                    <a:pt x="343503" y="55958"/>
                  </a:lnTo>
                  <a:lnTo>
                    <a:pt x="343244" y="56475"/>
                  </a:lnTo>
                  <a:lnTo>
                    <a:pt x="342857" y="57121"/>
                  </a:lnTo>
                  <a:lnTo>
                    <a:pt x="342340" y="57767"/>
                  </a:lnTo>
                  <a:lnTo>
                    <a:pt x="341305" y="58543"/>
                  </a:lnTo>
                  <a:lnTo>
                    <a:pt x="340530" y="58930"/>
                  </a:lnTo>
                  <a:lnTo>
                    <a:pt x="339755" y="59189"/>
                  </a:lnTo>
                  <a:lnTo>
                    <a:pt x="339109" y="59189"/>
                  </a:lnTo>
                  <a:lnTo>
                    <a:pt x="338463" y="59060"/>
                  </a:lnTo>
                  <a:lnTo>
                    <a:pt x="337946" y="58801"/>
                  </a:lnTo>
                  <a:lnTo>
                    <a:pt x="337558" y="58543"/>
                  </a:lnTo>
                  <a:lnTo>
                    <a:pt x="337170" y="58155"/>
                  </a:lnTo>
                  <a:lnTo>
                    <a:pt x="336653" y="57897"/>
                  </a:lnTo>
                  <a:lnTo>
                    <a:pt x="336007" y="57638"/>
                  </a:lnTo>
                  <a:lnTo>
                    <a:pt x="335620" y="57767"/>
                  </a:lnTo>
                  <a:lnTo>
                    <a:pt x="335490" y="58284"/>
                  </a:lnTo>
                  <a:lnTo>
                    <a:pt x="335490" y="58930"/>
                  </a:lnTo>
                  <a:lnTo>
                    <a:pt x="335490" y="59577"/>
                  </a:lnTo>
                  <a:lnTo>
                    <a:pt x="335361" y="60223"/>
                  </a:lnTo>
                  <a:lnTo>
                    <a:pt x="334973" y="60869"/>
                  </a:lnTo>
                  <a:lnTo>
                    <a:pt x="334327" y="61515"/>
                  </a:lnTo>
                  <a:lnTo>
                    <a:pt x="333681" y="61774"/>
                  </a:lnTo>
                  <a:lnTo>
                    <a:pt x="333035" y="61774"/>
                  </a:lnTo>
                  <a:lnTo>
                    <a:pt x="332001" y="61386"/>
                  </a:lnTo>
                  <a:lnTo>
                    <a:pt x="330450" y="60610"/>
                  </a:lnTo>
                  <a:lnTo>
                    <a:pt x="329933" y="60481"/>
                  </a:lnTo>
                  <a:lnTo>
                    <a:pt x="328770" y="60352"/>
                  </a:lnTo>
                  <a:lnTo>
                    <a:pt x="328382" y="60094"/>
                  </a:lnTo>
                  <a:lnTo>
                    <a:pt x="328124" y="59706"/>
                  </a:lnTo>
                  <a:lnTo>
                    <a:pt x="327994" y="59060"/>
                  </a:lnTo>
                  <a:lnTo>
                    <a:pt x="327994" y="58414"/>
                  </a:lnTo>
                  <a:lnTo>
                    <a:pt x="328511" y="56604"/>
                  </a:lnTo>
                  <a:lnTo>
                    <a:pt x="328641" y="55958"/>
                  </a:lnTo>
                  <a:lnTo>
                    <a:pt x="328641" y="55312"/>
                  </a:lnTo>
                  <a:lnTo>
                    <a:pt x="328511" y="54666"/>
                  </a:lnTo>
                  <a:lnTo>
                    <a:pt x="327607" y="51952"/>
                  </a:lnTo>
                  <a:lnTo>
                    <a:pt x="327090" y="50918"/>
                  </a:lnTo>
                  <a:lnTo>
                    <a:pt x="326573" y="50013"/>
                  </a:lnTo>
                  <a:lnTo>
                    <a:pt x="325410" y="47429"/>
                  </a:lnTo>
                  <a:lnTo>
                    <a:pt x="325151" y="47041"/>
                  </a:lnTo>
                  <a:lnTo>
                    <a:pt x="324764" y="46653"/>
                  </a:lnTo>
                  <a:lnTo>
                    <a:pt x="323859" y="46007"/>
                  </a:lnTo>
                  <a:lnTo>
                    <a:pt x="322567" y="45619"/>
                  </a:lnTo>
                  <a:lnTo>
                    <a:pt x="319594" y="47558"/>
                  </a:lnTo>
                  <a:lnTo>
                    <a:pt x="318173" y="49238"/>
                  </a:lnTo>
                  <a:lnTo>
                    <a:pt x="317139" y="50660"/>
                  </a:lnTo>
                  <a:lnTo>
                    <a:pt x="316493" y="51176"/>
                  </a:lnTo>
                  <a:lnTo>
                    <a:pt x="315847" y="51306"/>
                  </a:lnTo>
                  <a:lnTo>
                    <a:pt x="315459" y="50918"/>
                  </a:lnTo>
                  <a:lnTo>
                    <a:pt x="315200" y="50401"/>
                  </a:lnTo>
                  <a:lnTo>
                    <a:pt x="314813" y="49884"/>
                  </a:lnTo>
                  <a:lnTo>
                    <a:pt x="314296" y="49367"/>
                  </a:lnTo>
                  <a:lnTo>
                    <a:pt x="312874" y="49238"/>
                  </a:lnTo>
                  <a:lnTo>
                    <a:pt x="312228" y="49496"/>
                  </a:lnTo>
                  <a:lnTo>
                    <a:pt x="311582" y="50013"/>
                  </a:lnTo>
                  <a:lnTo>
                    <a:pt x="311065" y="50660"/>
                  </a:lnTo>
                  <a:lnTo>
                    <a:pt x="309902" y="51693"/>
                  </a:lnTo>
                  <a:lnTo>
                    <a:pt x="308609" y="52210"/>
                  </a:lnTo>
                  <a:lnTo>
                    <a:pt x="306283" y="52856"/>
                  </a:lnTo>
                  <a:lnTo>
                    <a:pt x="305120" y="52986"/>
                  </a:lnTo>
                  <a:lnTo>
                    <a:pt x="304345" y="52986"/>
                  </a:lnTo>
                  <a:lnTo>
                    <a:pt x="303828" y="52727"/>
                  </a:lnTo>
                  <a:lnTo>
                    <a:pt x="303440" y="52469"/>
                  </a:lnTo>
                  <a:lnTo>
                    <a:pt x="302665" y="51823"/>
                  </a:lnTo>
                  <a:lnTo>
                    <a:pt x="302019" y="51564"/>
                  </a:lnTo>
                  <a:lnTo>
                    <a:pt x="301243" y="51306"/>
                  </a:lnTo>
                  <a:lnTo>
                    <a:pt x="299693" y="51306"/>
                  </a:lnTo>
                  <a:lnTo>
                    <a:pt x="298271" y="50918"/>
                  </a:lnTo>
                  <a:lnTo>
                    <a:pt x="297625" y="50143"/>
                  </a:lnTo>
                  <a:lnTo>
                    <a:pt x="297625" y="47816"/>
                  </a:lnTo>
                  <a:lnTo>
                    <a:pt x="297883" y="46395"/>
                  </a:lnTo>
                  <a:lnTo>
                    <a:pt x="297754" y="45490"/>
                  </a:lnTo>
                  <a:lnTo>
                    <a:pt x="297495" y="44973"/>
                  </a:lnTo>
                  <a:lnTo>
                    <a:pt x="296978" y="44844"/>
                  </a:lnTo>
                  <a:lnTo>
                    <a:pt x="296462" y="44844"/>
                  </a:lnTo>
                  <a:lnTo>
                    <a:pt x="294782" y="45232"/>
                  </a:lnTo>
                  <a:lnTo>
                    <a:pt x="294135" y="45232"/>
                  </a:lnTo>
                  <a:lnTo>
                    <a:pt x="293489" y="44973"/>
                  </a:lnTo>
                  <a:lnTo>
                    <a:pt x="292326" y="44456"/>
                  </a:lnTo>
                  <a:lnTo>
                    <a:pt x="291809" y="43939"/>
                  </a:lnTo>
                  <a:lnTo>
                    <a:pt x="291421" y="43422"/>
                  </a:lnTo>
                  <a:lnTo>
                    <a:pt x="291034" y="42389"/>
                  </a:lnTo>
                  <a:lnTo>
                    <a:pt x="290775" y="41225"/>
                  </a:lnTo>
                  <a:lnTo>
                    <a:pt x="290646" y="39416"/>
                  </a:lnTo>
                  <a:lnTo>
                    <a:pt x="290388" y="38124"/>
                  </a:lnTo>
                  <a:lnTo>
                    <a:pt x="290000" y="37607"/>
                  </a:lnTo>
                  <a:lnTo>
                    <a:pt x="289483" y="37607"/>
                  </a:lnTo>
                  <a:lnTo>
                    <a:pt x="288966" y="37736"/>
                  </a:lnTo>
                  <a:lnTo>
                    <a:pt x="288449" y="37865"/>
                  </a:lnTo>
                  <a:lnTo>
                    <a:pt x="287803" y="37865"/>
                  </a:lnTo>
                  <a:lnTo>
                    <a:pt x="287286" y="37865"/>
                  </a:lnTo>
                  <a:lnTo>
                    <a:pt x="285865" y="37478"/>
                  </a:lnTo>
                  <a:lnTo>
                    <a:pt x="282634" y="38512"/>
                  </a:lnTo>
                  <a:lnTo>
                    <a:pt x="281471" y="39287"/>
                  </a:lnTo>
                  <a:lnTo>
                    <a:pt x="280308" y="41355"/>
                  </a:lnTo>
                  <a:lnTo>
                    <a:pt x="279791" y="41613"/>
                  </a:lnTo>
                  <a:lnTo>
                    <a:pt x="279273" y="41742"/>
                  </a:lnTo>
                  <a:lnTo>
                    <a:pt x="278886" y="41484"/>
                  </a:lnTo>
                  <a:lnTo>
                    <a:pt x="278110" y="41225"/>
                  </a:lnTo>
                  <a:lnTo>
                    <a:pt x="276947" y="41096"/>
                  </a:lnTo>
                  <a:lnTo>
                    <a:pt x="274621" y="41484"/>
                  </a:lnTo>
                  <a:lnTo>
                    <a:pt x="273587" y="41872"/>
                  </a:lnTo>
                  <a:lnTo>
                    <a:pt x="272812" y="42259"/>
                  </a:lnTo>
                  <a:lnTo>
                    <a:pt x="272166" y="43164"/>
                  </a:lnTo>
                  <a:lnTo>
                    <a:pt x="271907" y="43681"/>
                  </a:lnTo>
                  <a:lnTo>
                    <a:pt x="271778" y="44198"/>
                  </a:lnTo>
                  <a:lnTo>
                    <a:pt x="271390" y="46395"/>
                  </a:lnTo>
                  <a:lnTo>
                    <a:pt x="271003" y="47299"/>
                  </a:lnTo>
                  <a:lnTo>
                    <a:pt x="270615" y="47558"/>
                  </a:lnTo>
                  <a:lnTo>
                    <a:pt x="270227" y="47429"/>
                  </a:lnTo>
                  <a:lnTo>
                    <a:pt x="269969" y="47041"/>
                  </a:lnTo>
                  <a:lnTo>
                    <a:pt x="269581" y="46653"/>
                  </a:lnTo>
                  <a:lnTo>
                    <a:pt x="269064" y="46395"/>
                  </a:lnTo>
                  <a:lnTo>
                    <a:pt x="268160" y="46395"/>
                  </a:lnTo>
                  <a:lnTo>
                    <a:pt x="267643" y="46653"/>
                  </a:lnTo>
                  <a:lnTo>
                    <a:pt x="267255" y="47041"/>
                  </a:lnTo>
                  <a:lnTo>
                    <a:pt x="265962" y="48980"/>
                  </a:lnTo>
                  <a:lnTo>
                    <a:pt x="263507" y="51564"/>
                  </a:lnTo>
                  <a:lnTo>
                    <a:pt x="262602" y="52856"/>
                  </a:lnTo>
                  <a:lnTo>
                    <a:pt x="260923" y="56346"/>
                  </a:lnTo>
                  <a:lnTo>
                    <a:pt x="259759" y="58026"/>
                  </a:lnTo>
                  <a:lnTo>
                    <a:pt x="258596" y="60094"/>
                  </a:lnTo>
                  <a:lnTo>
                    <a:pt x="257175" y="61903"/>
                  </a:lnTo>
                  <a:lnTo>
                    <a:pt x="256528" y="62161"/>
                  </a:lnTo>
                  <a:lnTo>
                    <a:pt x="256012" y="62032"/>
                  </a:lnTo>
                  <a:lnTo>
                    <a:pt x="255624" y="61644"/>
                  </a:lnTo>
                  <a:lnTo>
                    <a:pt x="254331" y="59189"/>
                  </a:lnTo>
                  <a:lnTo>
                    <a:pt x="253814" y="58930"/>
                  </a:lnTo>
                  <a:lnTo>
                    <a:pt x="252781" y="59189"/>
                  </a:lnTo>
                  <a:lnTo>
                    <a:pt x="250971" y="59964"/>
                  </a:lnTo>
                  <a:lnTo>
                    <a:pt x="248128" y="61774"/>
                  </a:lnTo>
                  <a:lnTo>
                    <a:pt x="246707" y="62420"/>
                  </a:lnTo>
                  <a:lnTo>
                    <a:pt x="245802" y="62549"/>
                  </a:lnTo>
                  <a:lnTo>
                    <a:pt x="245414" y="62161"/>
                  </a:lnTo>
                  <a:lnTo>
                    <a:pt x="245156" y="61644"/>
                  </a:lnTo>
                  <a:lnTo>
                    <a:pt x="244768" y="60610"/>
                  </a:lnTo>
                  <a:lnTo>
                    <a:pt x="242442" y="52727"/>
                  </a:lnTo>
                  <a:lnTo>
                    <a:pt x="242054" y="51693"/>
                  </a:lnTo>
                  <a:lnTo>
                    <a:pt x="241408" y="50789"/>
                  </a:lnTo>
                  <a:lnTo>
                    <a:pt x="240633" y="50013"/>
                  </a:lnTo>
                  <a:lnTo>
                    <a:pt x="239857" y="49367"/>
                  </a:lnTo>
                  <a:lnTo>
                    <a:pt x="236627" y="47429"/>
                  </a:lnTo>
                  <a:lnTo>
                    <a:pt x="235464" y="47041"/>
                  </a:lnTo>
                  <a:lnTo>
                    <a:pt x="234946" y="46912"/>
                  </a:lnTo>
                  <a:lnTo>
                    <a:pt x="233912" y="46395"/>
                  </a:lnTo>
                  <a:lnTo>
                    <a:pt x="227451" y="43810"/>
                  </a:lnTo>
                  <a:lnTo>
                    <a:pt x="225642" y="42647"/>
                  </a:lnTo>
                  <a:lnTo>
                    <a:pt x="220860" y="37607"/>
                  </a:lnTo>
                  <a:lnTo>
                    <a:pt x="220214" y="36573"/>
                  </a:lnTo>
                  <a:lnTo>
                    <a:pt x="219051" y="33342"/>
                  </a:lnTo>
                  <a:lnTo>
                    <a:pt x="218275" y="31791"/>
                  </a:lnTo>
                  <a:lnTo>
                    <a:pt x="217371" y="30499"/>
                  </a:lnTo>
                  <a:lnTo>
                    <a:pt x="216724" y="29853"/>
                  </a:lnTo>
                  <a:lnTo>
                    <a:pt x="216078" y="29465"/>
                  </a:lnTo>
                  <a:lnTo>
                    <a:pt x="213752" y="28819"/>
                  </a:lnTo>
                  <a:lnTo>
                    <a:pt x="212460" y="28690"/>
                  </a:lnTo>
                  <a:lnTo>
                    <a:pt x="208453" y="27397"/>
                  </a:lnTo>
                  <a:lnTo>
                    <a:pt x="204189" y="24425"/>
                  </a:lnTo>
                  <a:lnTo>
                    <a:pt x="203026" y="23779"/>
                  </a:lnTo>
                  <a:lnTo>
                    <a:pt x="202121" y="23391"/>
                  </a:lnTo>
                  <a:lnTo>
                    <a:pt x="197985" y="22487"/>
                  </a:lnTo>
                  <a:lnTo>
                    <a:pt x="197210" y="22099"/>
                  </a:lnTo>
                  <a:lnTo>
                    <a:pt x="196564" y="21711"/>
                  </a:lnTo>
                  <a:lnTo>
                    <a:pt x="194884" y="20031"/>
                  </a:lnTo>
                  <a:lnTo>
                    <a:pt x="192041" y="17705"/>
                  </a:lnTo>
                  <a:lnTo>
                    <a:pt x="185967" y="12148"/>
                  </a:lnTo>
                  <a:lnTo>
                    <a:pt x="183770" y="10856"/>
                  </a:lnTo>
                  <a:lnTo>
                    <a:pt x="163093" y="8271"/>
                  </a:lnTo>
                  <a:lnTo>
                    <a:pt x="154305" y="9046"/>
                  </a:lnTo>
                  <a:lnTo>
                    <a:pt x="151978" y="9563"/>
                  </a:lnTo>
                  <a:lnTo>
                    <a:pt x="146163" y="11889"/>
                  </a:lnTo>
                  <a:lnTo>
                    <a:pt x="142286" y="13828"/>
                  </a:lnTo>
                  <a:lnTo>
                    <a:pt x="140089" y="14474"/>
                  </a:lnTo>
                  <a:lnTo>
                    <a:pt x="130784" y="15637"/>
                  </a:lnTo>
                  <a:lnTo>
                    <a:pt x="128458" y="15637"/>
                  </a:lnTo>
                  <a:lnTo>
                    <a:pt x="119024" y="13053"/>
                  </a:lnTo>
                  <a:lnTo>
                    <a:pt x="117732" y="12923"/>
                  </a:lnTo>
                  <a:lnTo>
                    <a:pt x="116698" y="12923"/>
                  </a:lnTo>
                  <a:lnTo>
                    <a:pt x="115405" y="13182"/>
                  </a:lnTo>
                  <a:lnTo>
                    <a:pt x="89429" y="12794"/>
                  </a:lnTo>
                  <a:lnTo>
                    <a:pt x="77669" y="13699"/>
                  </a:lnTo>
                  <a:lnTo>
                    <a:pt x="76765" y="13957"/>
                  </a:lnTo>
                  <a:lnTo>
                    <a:pt x="74568" y="15120"/>
                  </a:lnTo>
                  <a:lnTo>
                    <a:pt x="73922" y="15508"/>
                  </a:lnTo>
                  <a:lnTo>
                    <a:pt x="73534" y="15766"/>
                  </a:lnTo>
                  <a:lnTo>
                    <a:pt x="73405" y="16025"/>
                  </a:lnTo>
                  <a:lnTo>
                    <a:pt x="73275" y="16413"/>
                  </a:lnTo>
                  <a:lnTo>
                    <a:pt x="73146" y="16930"/>
                  </a:lnTo>
                  <a:lnTo>
                    <a:pt x="72629" y="22357"/>
                  </a:lnTo>
                  <a:lnTo>
                    <a:pt x="72629" y="23004"/>
                  </a:lnTo>
                  <a:lnTo>
                    <a:pt x="73146" y="25459"/>
                  </a:lnTo>
                  <a:lnTo>
                    <a:pt x="73405" y="25976"/>
                  </a:lnTo>
                  <a:lnTo>
                    <a:pt x="77540" y="33730"/>
                  </a:lnTo>
                  <a:lnTo>
                    <a:pt x="79737" y="36573"/>
                  </a:lnTo>
                  <a:lnTo>
                    <a:pt x="79996" y="37090"/>
                  </a:lnTo>
                  <a:lnTo>
                    <a:pt x="80642" y="39416"/>
                  </a:lnTo>
                  <a:lnTo>
                    <a:pt x="80771" y="40192"/>
                  </a:lnTo>
                  <a:lnTo>
                    <a:pt x="80642" y="42776"/>
                  </a:lnTo>
                  <a:lnTo>
                    <a:pt x="80383" y="43681"/>
                  </a:lnTo>
                  <a:lnTo>
                    <a:pt x="80125" y="44456"/>
                  </a:lnTo>
                  <a:lnTo>
                    <a:pt x="79479" y="45361"/>
                  </a:lnTo>
                  <a:lnTo>
                    <a:pt x="79091" y="45749"/>
                  </a:lnTo>
                  <a:lnTo>
                    <a:pt x="77798" y="47946"/>
                  </a:lnTo>
                  <a:lnTo>
                    <a:pt x="76635" y="50401"/>
                  </a:lnTo>
                  <a:lnTo>
                    <a:pt x="76248" y="51693"/>
                  </a:lnTo>
                  <a:lnTo>
                    <a:pt x="76248" y="52598"/>
                  </a:lnTo>
                  <a:lnTo>
                    <a:pt x="76894" y="53373"/>
                  </a:lnTo>
                  <a:lnTo>
                    <a:pt x="77669" y="54020"/>
                  </a:lnTo>
                  <a:lnTo>
                    <a:pt x="83872" y="56734"/>
                  </a:lnTo>
                  <a:lnTo>
                    <a:pt x="85682" y="57897"/>
                  </a:lnTo>
                  <a:lnTo>
                    <a:pt x="87749" y="59577"/>
                  </a:lnTo>
                  <a:lnTo>
                    <a:pt x="88396" y="60352"/>
                  </a:lnTo>
                  <a:lnTo>
                    <a:pt x="89171" y="62161"/>
                  </a:lnTo>
                  <a:lnTo>
                    <a:pt x="89946" y="68235"/>
                  </a:lnTo>
                  <a:lnTo>
                    <a:pt x="89300" y="77799"/>
                  </a:lnTo>
                  <a:lnTo>
                    <a:pt x="88654" y="81676"/>
                  </a:lnTo>
                  <a:lnTo>
                    <a:pt x="85165" y="89559"/>
                  </a:lnTo>
                  <a:lnTo>
                    <a:pt x="84389" y="90980"/>
                  </a:lnTo>
                  <a:lnTo>
                    <a:pt x="83743" y="91885"/>
                  </a:lnTo>
                  <a:lnTo>
                    <a:pt x="83355" y="92273"/>
                  </a:lnTo>
                  <a:lnTo>
                    <a:pt x="82968" y="92660"/>
                  </a:lnTo>
                  <a:lnTo>
                    <a:pt x="82580" y="92919"/>
                  </a:lnTo>
                  <a:lnTo>
                    <a:pt x="82063" y="92919"/>
                  </a:lnTo>
                  <a:lnTo>
                    <a:pt x="81288" y="93177"/>
                  </a:lnTo>
                  <a:lnTo>
                    <a:pt x="80383" y="93565"/>
                  </a:lnTo>
                  <a:lnTo>
                    <a:pt x="77928" y="96279"/>
                  </a:lnTo>
                  <a:lnTo>
                    <a:pt x="75860" y="98217"/>
                  </a:lnTo>
                  <a:lnTo>
                    <a:pt x="74180" y="100285"/>
                  </a:lnTo>
                  <a:lnTo>
                    <a:pt x="73663" y="100802"/>
                  </a:lnTo>
                  <a:lnTo>
                    <a:pt x="66814" y="104938"/>
                  </a:lnTo>
                  <a:lnTo>
                    <a:pt x="66296" y="105584"/>
                  </a:lnTo>
                  <a:lnTo>
                    <a:pt x="65780" y="106488"/>
                  </a:lnTo>
                  <a:lnTo>
                    <a:pt x="65521" y="107264"/>
                  </a:lnTo>
                  <a:lnTo>
                    <a:pt x="64100" y="110753"/>
                  </a:lnTo>
                  <a:lnTo>
                    <a:pt x="60998" y="112433"/>
                  </a:lnTo>
                  <a:lnTo>
                    <a:pt x="59964" y="113467"/>
                  </a:lnTo>
                  <a:lnTo>
                    <a:pt x="59706" y="113984"/>
                  </a:lnTo>
                  <a:lnTo>
                    <a:pt x="59318" y="115535"/>
                  </a:lnTo>
                  <a:lnTo>
                    <a:pt x="58672" y="116956"/>
                  </a:lnTo>
                  <a:lnTo>
                    <a:pt x="58155" y="117473"/>
                  </a:lnTo>
                  <a:lnTo>
                    <a:pt x="57509" y="117602"/>
                  </a:lnTo>
                  <a:lnTo>
                    <a:pt x="56992" y="117473"/>
                  </a:lnTo>
                  <a:lnTo>
                    <a:pt x="56475" y="117215"/>
                  </a:lnTo>
                  <a:lnTo>
                    <a:pt x="54666" y="116052"/>
                  </a:lnTo>
                  <a:lnTo>
                    <a:pt x="54149" y="115793"/>
                  </a:lnTo>
                  <a:lnTo>
                    <a:pt x="53502" y="115535"/>
                  </a:lnTo>
                  <a:lnTo>
                    <a:pt x="52469" y="115535"/>
                  </a:lnTo>
                  <a:lnTo>
                    <a:pt x="51952" y="115922"/>
                  </a:lnTo>
                  <a:lnTo>
                    <a:pt x="51693" y="116439"/>
                  </a:lnTo>
                  <a:lnTo>
                    <a:pt x="51047" y="119541"/>
                  </a:lnTo>
                  <a:lnTo>
                    <a:pt x="50918" y="120833"/>
                  </a:lnTo>
                  <a:lnTo>
                    <a:pt x="50789" y="121738"/>
                  </a:lnTo>
                  <a:lnTo>
                    <a:pt x="50401" y="122643"/>
                  </a:lnTo>
                  <a:lnTo>
                    <a:pt x="49367" y="124193"/>
                  </a:lnTo>
                  <a:lnTo>
                    <a:pt x="48463" y="124840"/>
                  </a:lnTo>
                  <a:lnTo>
                    <a:pt x="47816" y="125098"/>
                  </a:lnTo>
                  <a:lnTo>
                    <a:pt x="47428" y="124969"/>
                  </a:lnTo>
                  <a:lnTo>
                    <a:pt x="46782" y="124581"/>
                  </a:lnTo>
                  <a:lnTo>
                    <a:pt x="45878" y="124193"/>
                  </a:lnTo>
                  <a:lnTo>
                    <a:pt x="41613" y="123160"/>
                  </a:lnTo>
                  <a:lnTo>
                    <a:pt x="40708" y="123030"/>
                  </a:lnTo>
                  <a:lnTo>
                    <a:pt x="39674" y="123030"/>
                  </a:lnTo>
                  <a:lnTo>
                    <a:pt x="37865" y="123547"/>
                  </a:lnTo>
                  <a:lnTo>
                    <a:pt x="36961" y="123935"/>
                  </a:lnTo>
                  <a:lnTo>
                    <a:pt x="36444" y="124452"/>
                  </a:lnTo>
                  <a:lnTo>
                    <a:pt x="36056" y="125744"/>
                  </a:lnTo>
                  <a:lnTo>
                    <a:pt x="35668" y="126520"/>
                  </a:lnTo>
                  <a:lnTo>
                    <a:pt x="35022" y="127424"/>
                  </a:lnTo>
                  <a:lnTo>
                    <a:pt x="33471" y="128975"/>
                  </a:lnTo>
                  <a:lnTo>
                    <a:pt x="32825" y="129880"/>
                  </a:lnTo>
                  <a:lnTo>
                    <a:pt x="32437" y="130784"/>
                  </a:lnTo>
                  <a:lnTo>
                    <a:pt x="32308" y="132335"/>
                  </a:lnTo>
                  <a:lnTo>
                    <a:pt x="32050" y="132981"/>
                  </a:lnTo>
                  <a:lnTo>
                    <a:pt x="31662" y="133627"/>
                  </a:lnTo>
                  <a:lnTo>
                    <a:pt x="30887" y="134661"/>
                  </a:lnTo>
                  <a:lnTo>
                    <a:pt x="30241" y="135178"/>
                  </a:lnTo>
                  <a:lnTo>
                    <a:pt x="29594" y="135437"/>
                  </a:lnTo>
                  <a:lnTo>
                    <a:pt x="29078" y="135566"/>
                  </a:lnTo>
                  <a:lnTo>
                    <a:pt x="26363" y="135954"/>
                  </a:lnTo>
                  <a:lnTo>
                    <a:pt x="24037" y="136471"/>
                  </a:lnTo>
                  <a:lnTo>
                    <a:pt x="23262" y="136858"/>
                  </a:lnTo>
                  <a:lnTo>
                    <a:pt x="22745" y="137246"/>
                  </a:lnTo>
                  <a:lnTo>
                    <a:pt x="21582" y="139055"/>
                  </a:lnTo>
                  <a:lnTo>
                    <a:pt x="21194" y="139443"/>
                  </a:lnTo>
                  <a:lnTo>
                    <a:pt x="20677" y="140348"/>
                  </a:lnTo>
                  <a:lnTo>
                    <a:pt x="19902" y="142545"/>
                  </a:lnTo>
                  <a:lnTo>
                    <a:pt x="19126" y="143966"/>
                  </a:lnTo>
                  <a:lnTo>
                    <a:pt x="18222" y="145258"/>
                  </a:lnTo>
                  <a:lnTo>
                    <a:pt x="17705" y="145905"/>
                  </a:lnTo>
                  <a:lnTo>
                    <a:pt x="17188" y="146422"/>
                  </a:lnTo>
                  <a:lnTo>
                    <a:pt x="9563" y="150557"/>
                  </a:lnTo>
                  <a:lnTo>
                    <a:pt x="0" y="154692"/>
                  </a:lnTo>
                  <a:lnTo>
                    <a:pt x="2972" y="156373"/>
                  </a:lnTo>
                  <a:lnTo>
                    <a:pt x="4782" y="157148"/>
                  </a:lnTo>
                  <a:lnTo>
                    <a:pt x="5557" y="157277"/>
                  </a:lnTo>
                  <a:lnTo>
                    <a:pt x="7883" y="157406"/>
                  </a:lnTo>
                  <a:lnTo>
                    <a:pt x="8788" y="157406"/>
                  </a:lnTo>
                  <a:lnTo>
                    <a:pt x="9563" y="157277"/>
                  </a:lnTo>
                  <a:lnTo>
                    <a:pt x="11372" y="156889"/>
                  </a:lnTo>
                  <a:lnTo>
                    <a:pt x="12406" y="156502"/>
                  </a:lnTo>
                  <a:lnTo>
                    <a:pt x="13828" y="155726"/>
                  </a:lnTo>
                  <a:lnTo>
                    <a:pt x="16542" y="154951"/>
                  </a:lnTo>
                  <a:lnTo>
                    <a:pt x="22616" y="154305"/>
                  </a:lnTo>
                  <a:lnTo>
                    <a:pt x="24554" y="154434"/>
                  </a:lnTo>
                  <a:lnTo>
                    <a:pt x="26751" y="154822"/>
                  </a:lnTo>
                  <a:lnTo>
                    <a:pt x="27785" y="155209"/>
                  </a:lnTo>
                  <a:lnTo>
                    <a:pt x="28561" y="155597"/>
                  </a:lnTo>
                  <a:lnTo>
                    <a:pt x="28819" y="155985"/>
                  </a:lnTo>
                  <a:lnTo>
                    <a:pt x="29078" y="156373"/>
                  </a:lnTo>
                  <a:lnTo>
                    <a:pt x="29207" y="157019"/>
                  </a:lnTo>
                  <a:lnTo>
                    <a:pt x="29207" y="157665"/>
                  </a:lnTo>
                  <a:lnTo>
                    <a:pt x="28819" y="160249"/>
                  </a:lnTo>
                  <a:lnTo>
                    <a:pt x="28819" y="160896"/>
                  </a:lnTo>
                  <a:lnTo>
                    <a:pt x="28948" y="161542"/>
                  </a:lnTo>
                  <a:lnTo>
                    <a:pt x="29336" y="162059"/>
                  </a:lnTo>
                  <a:lnTo>
                    <a:pt x="30111" y="162705"/>
                  </a:lnTo>
                  <a:lnTo>
                    <a:pt x="30887" y="162963"/>
                  </a:lnTo>
                  <a:lnTo>
                    <a:pt x="31662" y="163093"/>
                  </a:lnTo>
                  <a:lnTo>
                    <a:pt x="32437" y="163093"/>
                  </a:lnTo>
                  <a:lnTo>
                    <a:pt x="35022" y="162705"/>
                  </a:lnTo>
                  <a:lnTo>
                    <a:pt x="37995" y="161671"/>
                  </a:lnTo>
                  <a:lnTo>
                    <a:pt x="39028" y="161413"/>
                  </a:lnTo>
                  <a:lnTo>
                    <a:pt x="39545" y="161413"/>
                  </a:lnTo>
                  <a:lnTo>
                    <a:pt x="39933" y="161542"/>
                  </a:lnTo>
                  <a:lnTo>
                    <a:pt x="40579" y="162188"/>
                  </a:lnTo>
                  <a:lnTo>
                    <a:pt x="40837" y="162576"/>
                  </a:lnTo>
                  <a:lnTo>
                    <a:pt x="41096" y="163093"/>
                  </a:lnTo>
                  <a:lnTo>
                    <a:pt x="41226" y="163610"/>
                  </a:lnTo>
                  <a:lnTo>
                    <a:pt x="41226" y="164902"/>
                  </a:lnTo>
                  <a:lnTo>
                    <a:pt x="41354" y="165419"/>
                  </a:lnTo>
                  <a:lnTo>
                    <a:pt x="41613" y="165936"/>
                  </a:lnTo>
                  <a:lnTo>
                    <a:pt x="42001" y="166453"/>
                  </a:lnTo>
                  <a:lnTo>
                    <a:pt x="42647" y="167099"/>
                  </a:lnTo>
                  <a:lnTo>
                    <a:pt x="43939" y="167874"/>
                  </a:lnTo>
                  <a:lnTo>
                    <a:pt x="44844" y="168133"/>
                  </a:lnTo>
                  <a:lnTo>
                    <a:pt x="45619" y="168133"/>
                  </a:lnTo>
                  <a:lnTo>
                    <a:pt x="46136" y="167874"/>
                  </a:lnTo>
                  <a:lnTo>
                    <a:pt x="47041" y="167099"/>
                  </a:lnTo>
                  <a:lnTo>
                    <a:pt x="47558" y="166840"/>
                  </a:lnTo>
                  <a:lnTo>
                    <a:pt x="48075" y="166970"/>
                  </a:lnTo>
                  <a:lnTo>
                    <a:pt x="48592" y="167228"/>
                  </a:lnTo>
                  <a:lnTo>
                    <a:pt x="49109" y="167616"/>
                  </a:lnTo>
                  <a:lnTo>
                    <a:pt x="50530" y="168908"/>
                  </a:lnTo>
                  <a:lnTo>
                    <a:pt x="51176" y="169684"/>
                  </a:lnTo>
                  <a:lnTo>
                    <a:pt x="51564" y="170330"/>
                  </a:lnTo>
                  <a:lnTo>
                    <a:pt x="51822" y="170976"/>
                  </a:lnTo>
                  <a:lnTo>
                    <a:pt x="51822" y="171622"/>
                  </a:lnTo>
                  <a:lnTo>
                    <a:pt x="51693" y="172268"/>
                  </a:lnTo>
                  <a:lnTo>
                    <a:pt x="51176" y="174077"/>
                  </a:lnTo>
                  <a:lnTo>
                    <a:pt x="50659" y="178730"/>
                  </a:lnTo>
                  <a:lnTo>
                    <a:pt x="50659" y="179376"/>
                  </a:lnTo>
                  <a:lnTo>
                    <a:pt x="50659" y="180022"/>
                  </a:lnTo>
                  <a:lnTo>
                    <a:pt x="51176" y="182348"/>
                  </a:lnTo>
                  <a:lnTo>
                    <a:pt x="51306" y="183641"/>
                  </a:lnTo>
                  <a:lnTo>
                    <a:pt x="50918" y="187001"/>
                  </a:lnTo>
                  <a:lnTo>
                    <a:pt x="50918" y="188422"/>
                  </a:lnTo>
                  <a:lnTo>
                    <a:pt x="51176" y="189715"/>
                  </a:lnTo>
                  <a:lnTo>
                    <a:pt x="51435" y="190361"/>
                  </a:lnTo>
                  <a:lnTo>
                    <a:pt x="51952" y="191136"/>
                  </a:lnTo>
                  <a:lnTo>
                    <a:pt x="54407" y="193721"/>
                  </a:lnTo>
                  <a:lnTo>
                    <a:pt x="54666" y="194238"/>
                  </a:lnTo>
                  <a:lnTo>
                    <a:pt x="54924" y="194755"/>
                  </a:lnTo>
                  <a:lnTo>
                    <a:pt x="55053" y="195272"/>
                  </a:lnTo>
                  <a:lnTo>
                    <a:pt x="55183" y="195918"/>
                  </a:lnTo>
                  <a:lnTo>
                    <a:pt x="54924" y="199924"/>
                  </a:lnTo>
                  <a:lnTo>
                    <a:pt x="54924" y="200700"/>
                  </a:lnTo>
                  <a:lnTo>
                    <a:pt x="55053" y="201475"/>
                  </a:lnTo>
                  <a:lnTo>
                    <a:pt x="55312" y="202250"/>
                  </a:lnTo>
                  <a:lnTo>
                    <a:pt x="55700" y="202638"/>
                  </a:lnTo>
                  <a:lnTo>
                    <a:pt x="56216" y="202897"/>
                  </a:lnTo>
                  <a:lnTo>
                    <a:pt x="57509" y="203026"/>
                  </a:lnTo>
                  <a:lnTo>
                    <a:pt x="58543" y="203414"/>
                  </a:lnTo>
                  <a:lnTo>
                    <a:pt x="64875" y="207549"/>
                  </a:lnTo>
                  <a:lnTo>
                    <a:pt x="65521" y="207678"/>
                  </a:lnTo>
                  <a:lnTo>
                    <a:pt x="66814" y="207807"/>
                  </a:lnTo>
                  <a:lnTo>
                    <a:pt x="69140" y="207937"/>
                  </a:lnTo>
                  <a:lnTo>
                    <a:pt x="70174" y="208324"/>
                  </a:lnTo>
                  <a:lnTo>
                    <a:pt x="70691" y="208712"/>
                  </a:lnTo>
                  <a:lnTo>
                    <a:pt x="71078" y="209229"/>
                  </a:lnTo>
                  <a:lnTo>
                    <a:pt x="71207" y="209746"/>
                  </a:lnTo>
                  <a:lnTo>
                    <a:pt x="71207" y="210392"/>
                  </a:lnTo>
                  <a:lnTo>
                    <a:pt x="71078" y="211038"/>
                  </a:lnTo>
                  <a:lnTo>
                    <a:pt x="71078" y="211684"/>
                  </a:lnTo>
                  <a:lnTo>
                    <a:pt x="71078" y="212331"/>
                  </a:lnTo>
                  <a:lnTo>
                    <a:pt x="71466" y="214657"/>
                  </a:lnTo>
                  <a:lnTo>
                    <a:pt x="71595" y="215174"/>
                  </a:lnTo>
                  <a:lnTo>
                    <a:pt x="71724" y="215691"/>
                  </a:lnTo>
                  <a:lnTo>
                    <a:pt x="72112" y="216466"/>
                  </a:lnTo>
                  <a:lnTo>
                    <a:pt x="72370" y="217112"/>
                  </a:lnTo>
                  <a:lnTo>
                    <a:pt x="72500" y="217888"/>
                  </a:lnTo>
                  <a:lnTo>
                    <a:pt x="72241" y="220343"/>
                  </a:lnTo>
                  <a:lnTo>
                    <a:pt x="72241" y="220860"/>
                  </a:lnTo>
                  <a:lnTo>
                    <a:pt x="72370" y="221377"/>
                  </a:lnTo>
                  <a:lnTo>
                    <a:pt x="72500" y="221894"/>
                  </a:lnTo>
                  <a:lnTo>
                    <a:pt x="72629" y="222411"/>
                  </a:lnTo>
                  <a:lnTo>
                    <a:pt x="72629" y="222928"/>
                  </a:lnTo>
                  <a:lnTo>
                    <a:pt x="72241" y="223832"/>
                  </a:lnTo>
                  <a:lnTo>
                    <a:pt x="71466" y="225254"/>
                  </a:lnTo>
                  <a:lnTo>
                    <a:pt x="70820" y="226805"/>
                  </a:lnTo>
                  <a:lnTo>
                    <a:pt x="69657" y="228614"/>
                  </a:lnTo>
                  <a:lnTo>
                    <a:pt x="68235" y="230165"/>
                  </a:lnTo>
                  <a:lnTo>
                    <a:pt x="67460" y="230811"/>
                  </a:lnTo>
                  <a:lnTo>
                    <a:pt x="67072" y="231199"/>
                  </a:lnTo>
                  <a:lnTo>
                    <a:pt x="65392" y="234559"/>
                  </a:lnTo>
                  <a:lnTo>
                    <a:pt x="66168" y="234171"/>
                  </a:lnTo>
                  <a:lnTo>
                    <a:pt x="68881" y="233913"/>
                  </a:lnTo>
                  <a:lnTo>
                    <a:pt x="69657" y="234042"/>
                  </a:lnTo>
                  <a:lnTo>
                    <a:pt x="70820" y="234688"/>
                  </a:lnTo>
                  <a:lnTo>
                    <a:pt x="73275" y="236627"/>
                  </a:lnTo>
                  <a:lnTo>
                    <a:pt x="74309" y="237014"/>
                  </a:lnTo>
                  <a:lnTo>
                    <a:pt x="75472" y="237273"/>
                  </a:lnTo>
                  <a:lnTo>
                    <a:pt x="77669" y="238307"/>
                  </a:lnTo>
                  <a:lnTo>
                    <a:pt x="78832" y="238565"/>
                  </a:lnTo>
                  <a:lnTo>
                    <a:pt x="80125" y="238436"/>
                  </a:lnTo>
                  <a:lnTo>
                    <a:pt x="87362" y="235980"/>
                  </a:lnTo>
                  <a:lnTo>
                    <a:pt x="88783" y="234947"/>
                  </a:lnTo>
                  <a:lnTo>
                    <a:pt x="90076" y="231069"/>
                  </a:lnTo>
                  <a:lnTo>
                    <a:pt x="91755" y="230165"/>
                  </a:lnTo>
                  <a:lnTo>
                    <a:pt x="96150" y="229648"/>
                  </a:lnTo>
                  <a:lnTo>
                    <a:pt x="98476" y="228485"/>
                  </a:lnTo>
                  <a:lnTo>
                    <a:pt x="101190" y="225125"/>
                  </a:lnTo>
                  <a:lnTo>
                    <a:pt x="103128" y="224349"/>
                  </a:lnTo>
                  <a:lnTo>
                    <a:pt x="104033" y="224608"/>
                  </a:lnTo>
                  <a:lnTo>
                    <a:pt x="106230" y="225642"/>
                  </a:lnTo>
                  <a:lnTo>
                    <a:pt x="107522" y="225900"/>
                  </a:lnTo>
                  <a:lnTo>
                    <a:pt x="108814" y="225771"/>
                  </a:lnTo>
                  <a:lnTo>
                    <a:pt x="109849" y="225383"/>
                  </a:lnTo>
                  <a:lnTo>
                    <a:pt x="110753" y="224737"/>
                  </a:lnTo>
                  <a:lnTo>
                    <a:pt x="111399" y="223703"/>
                  </a:lnTo>
                  <a:lnTo>
                    <a:pt x="111399" y="219955"/>
                  </a:lnTo>
                  <a:lnTo>
                    <a:pt x="112692" y="217112"/>
                  </a:lnTo>
                  <a:lnTo>
                    <a:pt x="117344" y="196952"/>
                  </a:lnTo>
                  <a:lnTo>
                    <a:pt x="119799" y="193333"/>
                  </a:lnTo>
                  <a:lnTo>
                    <a:pt x="123935" y="192558"/>
                  </a:lnTo>
                  <a:lnTo>
                    <a:pt x="126003" y="193204"/>
                  </a:lnTo>
                  <a:lnTo>
                    <a:pt x="127553" y="193979"/>
                  </a:lnTo>
                  <a:lnTo>
                    <a:pt x="128070" y="194496"/>
                  </a:lnTo>
                  <a:lnTo>
                    <a:pt x="129104" y="195789"/>
                  </a:lnTo>
                  <a:lnTo>
                    <a:pt x="129750" y="196306"/>
                  </a:lnTo>
                  <a:lnTo>
                    <a:pt x="130397" y="196435"/>
                  </a:lnTo>
                  <a:lnTo>
                    <a:pt x="131689" y="196306"/>
                  </a:lnTo>
                  <a:lnTo>
                    <a:pt x="132335" y="196564"/>
                  </a:lnTo>
                  <a:lnTo>
                    <a:pt x="134403" y="196823"/>
                  </a:lnTo>
                  <a:lnTo>
                    <a:pt x="136729" y="195530"/>
                  </a:lnTo>
                  <a:lnTo>
                    <a:pt x="140864" y="192558"/>
                  </a:lnTo>
                  <a:lnTo>
                    <a:pt x="145388" y="191136"/>
                  </a:lnTo>
                  <a:lnTo>
                    <a:pt x="149911" y="190361"/>
                  </a:lnTo>
                  <a:lnTo>
                    <a:pt x="151462" y="189327"/>
                  </a:lnTo>
                  <a:lnTo>
                    <a:pt x="157665" y="182995"/>
                  </a:lnTo>
                  <a:lnTo>
                    <a:pt x="158440" y="181315"/>
                  </a:lnTo>
                  <a:lnTo>
                    <a:pt x="159345" y="178601"/>
                  </a:lnTo>
                  <a:lnTo>
                    <a:pt x="159862" y="176016"/>
                  </a:lnTo>
                  <a:lnTo>
                    <a:pt x="159603" y="174853"/>
                  </a:lnTo>
                  <a:lnTo>
                    <a:pt x="158828" y="173948"/>
                  </a:lnTo>
                  <a:lnTo>
                    <a:pt x="158052" y="171881"/>
                  </a:lnTo>
                  <a:lnTo>
                    <a:pt x="157536" y="169425"/>
                  </a:lnTo>
                  <a:lnTo>
                    <a:pt x="157794" y="167487"/>
                  </a:lnTo>
                  <a:lnTo>
                    <a:pt x="159215" y="166065"/>
                  </a:lnTo>
                  <a:lnTo>
                    <a:pt x="161413" y="165419"/>
                  </a:lnTo>
                  <a:lnTo>
                    <a:pt x="168520" y="164902"/>
                  </a:lnTo>
                  <a:lnTo>
                    <a:pt x="173043" y="163480"/>
                  </a:lnTo>
                  <a:lnTo>
                    <a:pt x="175499" y="162963"/>
                  </a:lnTo>
                  <a:lnTo>
                    <a:pt x="178213" y="162705"/>
                  </a:lnTo>
                  <a:lnTo>
                    <a:pt x="180022" y="162188"/>
                  </a:lnTo>
                  <a:lnTo>
                    <a:pt x="181056" y="160896"/>
                  </a:lnTo>
                  <a:lnTo>
                    <a:pt x="181315" y="158182"/>
                  </a:lnTo>
                  <a:lnTo>
                    <a:pt x="179764" y="151074"/>
                  </a:lnTo>
                  <a:lnTo>
                    <a:pt x="179893" y="149006"/>
                  </a:lnTo>
                  <a:lnTo>
                    <a:pt x="181056" y="148102"/>
                  </a:lnTo>
                  <a:lnTo>
                    <a:pt x="183124" y="147714"/>
                  </a:lnTo>
                  <a:lnTo>
                    <a:pt x="187647" y="147585"/>
                  </a:lnTo>
                  <a:lnTo>
                    <a:pt x="189068" y="147197"/>
                  </a:lnTo>
                  <a:lnTo>
                    <a:pt x="210651" y="135566"/>
                  </a:lnTo>
                  <a:lnTo>
                    <a:pt x="212848" y="134920"/>
                  </a:lnTo>
                  <a:lnTo>
                    <a:pt x="215044" y="134920"/>
                  </a:lnTo>
                  <a:lnTo>
                    <a:pt x="218922" y="137246"/>
                  </a:lnTo>
                  <a:lnTo>
                    <a:pt x="222928" y="138280"/>
                  </a:lnTo>
                  <a:lnTo>
                    <a:pt x="224608" y="139960"/>
                  </a:lnTo>
                  <a:lnTo>
                    <a:pt x="226805" y="145775"/>
                  </a:lnTo>
                  <a:lnTo>
                    <a:pt x="228355" y="146938"/>
                  </a:lnTo>
                  <a:lnTo>
                    <a:pt x="229002" y="147714"/>
                  </a:lnTo>
                  <a:lnTo>
                    <a:pt x="229518" y="148619"/>
                  </a:lnTo>
                  <a:lnTo>
                    <a:pt x="229777" y="149135"/>
                  </a:lnTo>
                  <a:lnTo>
                    <a:pt x="230165" y="150686"/>
                  </a:lnTo>
                  <a:lnTo>
                    <a:pt x="231069" y="151074"/>
                  </a:lnTo>
                  <a:lnTo>
                    <a:pt x="232620" y="150815"/>
                  </a:lnTo>
                  <a:lnTo>
                    <a:pt x="235334" y="151203"/>
                  </a:lnTo>
                  <a:lnTo>
                    <a:pt x="236239" y="151591"/>
                  </a:lnTo>
                  <a:lnTo>
                    <a:pt x="237143" y="152366"/>
                  </a:lnTo>
                  <a:lnTo>
                    <a:pt x="237531" y="153142"/>
                  </a:lnTo>
                  <a:lnTo>
                    <a:pt x="238177" y="153659"/>
                  </a:lnTo>
                  <a:lnTo>
                    <a:pt x="241666" y="154046"/>
                  </a:lnTo>
                  <a:lnTo>
                    <a:pt x="250584" y="156631"/>
                  </a:lnTo>
                  <a:lnTo>
                    <a:pt x="253039" y="157794"/>
                  </a:lnTo>
                  <a:lnTo>
                    <a:pt x="255107" y="159474"/>
                  </a:lnTo>
                  <a:lnTo>
                    <a:pt x="256012" y="161542"/>
                  </a:lnTo>
                  <a:lnTo>
                    <a:pt x="257175" y="162705"/>
                  </a:lnTo>
                  <a:lnTo>
                    <a:pt x="259759" y="162834"/>
                  </a:lnTo>
                  <a:lnTo>
                    <a:pt x="264929" y="161930"/>
                  </a:lnTo>
                  <a:lnTo>
                    <a:pt x="268160" y="160637"/>
                  </a:lnTo>
                  <a:lnTo>
                    <a:pt x="269323" y="160508"/>
                  </a:lnTo>
                  <a:lnTo>
                    <a:pt x="270227" y="160766"/>
                  </a:lnTo>
                  <a:lnTo>
                    <a:pt x="272424" y="161800"/>
                  </a:lnTo>
                  <a:lnTo>
                    <a:pt x="275526" y="162447"/>
                  </a:lnTo>
                  <a:lnTo>
                    <a:pt x="276689" y="163351"/>
                  </a:lnTo>
                  <a:lnTo>
                    <a:pt x="277593" y="164514"/>
                  </a:lnTo>
                  <a:lnTo>
                    <a:pt x="278886" y="165677"/>
                  </a:lnTo>
                  <a:lnTo>
                    <a:pt x="283021" y="167228"/>
                  </a:lnTo>
                  <a:lnTo>
                    <a:pt x="285218" y="168391"/>
                  </a:lnTo>
                  <a:lnTo>
                    <a:pt x="286252" y="169813"/>
                  </a:lnTo>
                  <a:lnTo>
                    <a:pt x="286640" y="172010"/>
                  </a:lnTo>
                  <a:lnTo>
                    <a:pt x="290646" y="181961"/>
                  </a:lnTo>
                  <a:lnTo>
                    <a:pt x="291939" y="183124"/>
                  </a:lnTo>
                  <a:lnTo>
                    <a:pt x="294006" y="183512"/>
                  </a:lnTo>
                  <a:lnTo>
                    <a:pt x="295815" y="182478"/>
                  </a:lnTo>
                  <a:lnTo>
                    <a:pt x="296462" y="179893"/>
                  </a:lnTo>
                  <a:lnTo>
                    <a:pt x="296591" y="174724"/>
                  </a:lnTo>
                  <a:lnTo>
                    <a:pt x="297883" y="170330"/>
                  </a:lnTo>
                  <a:lnTo>
                    <a:pt x="300597" y="167228"/>
                  </a:lnTo>
                  <a:lnTo>
                    <a:pt x="304474" y="166194"/>
                  </a:lnTo>
                  <a:lnTo>
                    <a:pt x="309126" y="168133"/>
                  </a:lnTo>
                  <a:lnTo>
                    <a:pt x="311194" y="171105"/>
                  </a:lnTo>
                  <a:lnTo>
                    <a:pt x="310548" y="174077"/>
                  </a:lnTo>
                  <a:lnTo>
                    <a:pt x="306283" y="180022"/>
                  </a:lnTo>
                  <a:lnTo>
                    <a:pt x="307446" y="181444"/>
                  </a:lnTo>
                  <a:lnTo>
                    <a:pt x="309643" y="185708"/>
                  </a:lnTo>
                  <a:lnTo>
                    <a:pt x="311065" y="186613"/>
                  </a:lnTo>
                  <a:lnTo>
                    <a:pt x="313133" y="187259"/>
                  </a:lnTo>
                  <a:lnTo>
                    <a:pt x="315071" y="188552"/>
                  </a:lnTo>
                  <a:lnTo>
                    <a:pt x="317398" y="189456"/>
                  </a:lnTo>
                  <a:lnTo>
                    <a:pt x="320370" y="188939"/>
                  </a:lnTo>
                  <a:lnTo>
                    <a:pt x="322954" y="187389"/>
                  </a:lnTo>
                  <a:lnTo>
                    <a:pt x="325151" y="185579"/>
                  </a:lnTo>
                  <a:lnTo>
                    <a:pt x="326961" y="184416"/>
                  </a:lnTo>
                  <a:lnTo>
                    <a:pt x="327994" y="184933"/>
                  </a:lnTo>
                  <a:lnTo>
                    <a:pt x="328641" y="186096"/>
                  </a:lnTo>
                  <a:lnTo>
                    <a:pt x="329546" y="186742"/>
                  </a:lnTo>
                  <a:lnTo>
                    <a:pt x="330450" y="187259"/>
                  </a:lnTo>
                  <a:lnTo>
                    <a:pt x="330579" y="188422"/>
                  </a:lnTo>
                  <a:lnTo>
                    <a:pt x="330321" y="189844"/>
                  </a:lnTo>
                  <a:lnTo>
                    <a:pt x="329933" y="191007"/>
                  </a:lnTo>
                  <a:lnTo>
                    <a:pt x="329028" y="192041"/>
                  </a:lnTo>
                  <a:lnTo>
                    <a:pt x="327994" y="192816"/>
                  </a:lnTo>
                  <a:lnTo>
                    <a:pt x="327478" y="193850"/>
                  </a:lnTo>
                  <a:lnTo>
                    <a:pt x="328382" y="195401"/>
                  </a:lnTo>
                  <a:lnTo>
                    <a:pt x="327865" y="196435"/>
                  </a:lnTo>
                  <a:lnTo>
                    <a:pt x="327607" y="197598"/>
                  </a:lnTo>
                  <a:lnTo>
                    <a:pt x="327478" y="198761"/>
                  </a:lnTo>
                  <a:lnTo>
                    <a:pt x="327607" y="199924"/>
                  </a:lnTo>
                  <a:lnTo>
                    <a:pt x="328253" y="201217"/>
                  </a:lnTo>
                  <a:lnTo>
                    <a:pt x="330192" y="203672"/>
                  </a:lnTo>
                  <a:lnTo>
                    <a:pt x="330579" y="204706"/>
                  </a:lnTo>
                  <a:lnTo>
                    <a:pt x="330838" y="207032"/>
                  </a:lnTo>
                  <a:lnTo>
                    <a:pt x="334456" y="218275"/>
                  </a:lnTo>
                  <a:lnTo>
                    <a:pt x="336007" y="221377"/>
                  </a:lnTo>
                  <a:lnTo>
                    <a:pt x="341047" y="218146"/>
                  </a:lnTo>
                  <a:lnTo>
                    <a:pt x="344795" y="214528"/>
                  </a:lnTo>
                  <a:lnTo>
                    <a:pt x="347121" y="210263"/>
                  </a:lnTo>
                  <a:lnTo>
                    <a:pt x="348931" y="207807"/>
                  </a:lnTo>
                  <a:lnTo>
                    <a:pt x="350223" y="206515"/>
                  </a:lnTo>
                  <a:lnTo>
                    <a:pt x="351386" y="205610"/>
                  </a:lnTo>
                  <a:lnTo>
                    <a:pt x="355392" y="204577"/>
                  </a:lnTo>
                  <a:lnTo>
                    <a:pt x="361466" y="202897"/>
                  </a:lnTo>
                  <a:lnTo>
                    <a:pt x="364438" y="201087"/>
                  </a:lnTo>
                  <a:lnTo>
                    <a:pt x="368186" y="195789"/>
                  </a:lnTo>
                  <a:lnTo>
                    <a:pt x="372063" y="191912"/>
                  </a:lnTo>
                  <a:lnTo>
                    <a:pt x="375940" y="189327"/>
                  </a:lnTo>
                  <a:lnTo>
                    <a:pt x="378912" y="186613"/>
                  </a:lnTo>
                  <a:lnTo>
                    <a:pt x="380205" y="184933"/>
                  </a:lnTo>
                  <a:lnTo>
                    <a:pt x="380851" y="183382"/>
                  </a:lnTo>
                  <a:lnTo>
                    <a:pt x="380980" y="182219"/>
                  </a:lnTo>
                  <a:lnTo>
                    <a:pt x="380851" y="180539"/>
                  </a:lnTo>
                  <a:lnTo>
                    <a:pt x="380851" y="179376"/>
                  </a:lnTo>
                  <a:lnTo>
                    <a:pt x="381497" y="176533"/>
                  </a:lnTo>
                  <a:lnTo>
                    <a:pt x="381497" y="175370"/>
                  </a:lnTo>
                  <a:lnTo>
                    <a:pt x="381627" y="174336"/>
                  </a:lnTo>
                  <a:lnTo>
                    <a:pt x="382402" y="173431"/>
                  </a:lnTo>
                  <a:lnTo>
                    <a:pt x="385633" y="171105"/>
                  </a:lnTo>
                  <a:lnTo>
                    <a:pt x="386925" y="170717"/>
                  </a:lnTo>
                  <a:lnTo>
                    <a:pt x="387959" y="170976"/>
                  </a:lnTo>
                  <a:lnTo>
                    <a:pt x="390027" y="173173"/>
                  </a:lnTo>
                  <a:lnTo>
                    <a:pt x="390544" y="173948"/>
                  </a:lnTo>
                  <a:lnTo>
                    <a:pt x="390931" y="174724"/>
                  </a:lnTo>
                  <a:lnTo>
                    <a:pt x="391448" y="175628"/>
                  </a:lnTo>
                  <a:lnTo>
                    <a:pt x="393387" y="178084"/>
                  </a:lnTo>
                  <a:lnTo>
                    <a:pt x="393775" y="179118"/>
                  </a:lnTo>
                  <a:lnTo>
                    <a:pt x="393904" y="180281"/>
                  </a:lnTo>
                  <a:lnTo>
                    <a:pt x="394162" y="181444"/>
                  </a:lnTo>
                  <a:lnTo>
                    <a:pt x="394550" y="182478"/>
                  </a:lnTo>
                  <a:lnTo>
                    <a:pt x="395196" y="183512"/>
                  </a:lnTo>
                  <a:lnTo>
                    <a:pt x="396359" y="184287"/>
                  </a:lnTo>
                  <a:lnTo>
                    <a:pt x="397781" y="184804"/>
                  </a:lnTo>
                  <a:lnTo>
                    <a:pt x="399590" y="184675"/>
                  </a:lnTo>
                  <a:lnTo>
                    <a:pt x="401012" y="184158"/>
                  </a:lnTo>
                  <a:lnTo>
                    <a:pt x="405534" y="180927"/>
                  </a:lnTo>
                  <a:lnTo>
                    <a:pt x="406956" y="180281"/>
                  </a:lnTo>
                  <a:lnTo>
                    <a:pt x="408249" y="179893"/>
                  </a:lnTo>
                  <a:lnTo>
                    <a:pt x="410704" y="179764"/>
                  </a:lnTo>
                  <a:lnTo>
                    <a:pt x="412643" y="180022"/>
                  </a:lnTo>
                  <a:lnTo>
                    <a:pt x="414581" y="182478"/>
                  </a:lnTo>
                  <a:lnTo>
                    <a:pt x="415744" y="184675"/>
                  </a:lnTo>
                  <a:lnTo>
                    <a:pt x="416649" y="185708"/>
                  </a:lnTo>
                  <a:lnTo>
                    <a:pt x="417682" y="186484"/>
                  </a:lnTo>
                  <a:lnTo>
                    <a:pt x="420267" y="187259"/>
                  </a:lnTo>
                  <a:lnTo>
                    <a:pt x="421430" y="187776"/>
                  </a:lnTo>
                  <a:lnTo>
                    <a:pt x="426083" y="190619"/>
                  </a:lnTo>
                  <a:lnTo>
                    <a:pt x="448699" y="212072"/>
                  </a:lnTo>
                  <a:lnTo>
                    <a:pt x="454643" y="215303"/>
                  </a:lnTo>
                  <a:lnTo>
                    <a:pt x="455936" y="215691"/>
                  </a:lnTo>
                  <a:lnTo>
                    <a:pt x="462656" y="216725"/>
                  </a:lnTo>
                  <a:lnTo>
                    <a:pt x="465499" y="217500"/>
                  </a:lnTo>
                  <a:lnTo>
                    <a:pt x="468213" y="219051"/>
                  </a:lnTo>
                  <a:lnTo>
                    <a:pt x="471831" y="222928"/>
                  </a:lnTo>
                  <a:lnTo>
                    <a:pt x="472865" y="223832"/>
                  </a:lnTo>
                  <a:lnTo>
                    <a:pt x="474546" y="224349"/>
                  </a:lnTo>
                  <a:lnTo>
                    <a:pt x="478293" y="217371"/>
                  </a:lnTo>
                  <a:lnTo>
                    <a:pt x="481007" y="215174"/>
                  </a:lnTo>
                  <a:lnTo>
                    <a:pt x="483592" y="214657"/>
                  </a:lnTo>
                  <a:lnTo>
                    <a:pt x="486047" y="214528"/>
                  </a:lnTo>
                  <a:lnTo>
                    <a:pt x="505174" y="216078"/>
                  </a:lnTo>
                  <a:lnTo>
                    <a:pt x="506337" y="216337"/>
                  </a:lnTo>
                  <a:lnTo>
                    <a:pt x="507500" y="216725"/>
                  </a:lnTo>
                  <a:lnTo>
                    <a:pt x="510214" y="217888"/>
                  </a:lnTo>
                  <a:lnTo>
                    <a:pt x="511894" y="218146"/>
                  </a:lnTo>
                  <a:lnTo>
                    <a:pt x="513186" y="217758"/>
                  </a:lnTo>
                  <a:lnTo>
                    <a:pt x="514220" y="216854"/>
                  </a:lnTo>
                  <a:lnTo>
                    <a:pt x="515125" y="215820"/>
                  </a:lnTo>
                  <a:lnTo>
                    <a:pt x="517451" y="214269"/>
                  </a:lnTo>
                  <a:lnTo>
                    <a:pt x="521199" y="212589"/>
                  </a:lnTo>
                  <a:lnTo>
                    <a:pt x="524947" y="210004"/>
                  </a:lnTo>
                  <a:lnTo>
                    <a:pt x="526756" y="208971"/>
                  </a:lnTo>
                  <a:lnTo>
                    <a:pt x="528177" y="208583"/>
                  </a:lnTo>
                  <a:lnTo>
                    <a:pt x="538128" y="207807"/>
                  </a:lnTo>
                  <a:lnTo>
                    <a:pt x="546787" y="201475"/>
                  </a:lnTo>
                  <a:lnTo>
                    <a:pt x="547304" y="199924"/>
                  </a:lnTo>
                  <a:lnTo>
                    <a:pt x="548208" y="197986"/>
                  </a:lnTo>
                  <a:lnTo>
                    <a:pt x="548725" y="196435"/>
                  </a:lnTo>
                  <a:lnTo>
                    <a:pt x="549630" y="195530"/>
                  </a:lnTo>
                  <a:lnTo>
                    <a:pt x="562037" y="187776"/>
                  </a:lnTo>
                  <a:lnTo>
                    <a:pt x="562812" y="186872"/>
                  </a:lnTo>
                  <a:lnTo>
                    <a:pt x="563070" y="186355"/>
                  </a:lnTo>
                  <a:lnTo>
                    <a:pt x="563070" y="185967"/>
                  </a:lnTo>
                  <a:lnTo>
                    <a:pt x="562812" y="185321"/>
                  </a:lnTo>
                  <a:lnTo>
                    <a:pt x="562424" y="184545"/>
                  </a:lnTo>
                  <a:lnTo>
                    <a:pt x="562037" y="183770"/>
                  </a:lnTo>
                  <a:lnTo>
                    <a:pt x="562037" y="182995"/>
                  </a:lnTo>
                  <a:lnTo>
                    <a:pt x="562812" y="182478"/>
                  </a:lnTo>
                  <a:lnTo>
                    <a:pt x="565397" y="181444"/>
                  </a:lnTo>
                  <a:lnTo>
                    <a:pt x="567593" y="179118"/>
                  </a:lnTo>
                  <a:lnTo>
                    <a:pt x="573409" y="174982"/>
                  </a:lnTo>
                  <a:lnTo>
                    <a:pt x="574314" y="174724"/>
                  </a:lnTo>
                  <a:lnTo>
                    <a:pt x="575348" y="174594"/>
                  </a:lnTo>
                  <a:lnTo>
                    <a:pt x="576640" y="176016"/>
                  </a:lnTo>
                  <a:lnTo>
                    <a:pt x="577932" y="176404"/>
                  </a:lnTo>
                  <a:lnTo>
                    <a:pt x="579354" y="175887"/>
                  </a:lnTo>
                  <a:lnTo>
                    <a:pt x="584523" y="173561"/>
                  </a:lnTo>
                  <a:lnTo>
                    <a:pt x="587496" y="172914"/>
                  </a:lnTo>
                  <a:lnTo>
                    <a:pt x="592535" y="172656"/>
                  </a:lnTo>
                  <a:lnTo>
                    <a:pt x="594862" y="172139"/>
                  </a:lnTo>
                  <a:lnTo>
                    <a:pt x="596283" y="172268"/>
                  </a:lnTo>
                  <a:lnTo>
                    <a:pt x="596671" y="172914"/>
                  </a:lnTo>
                  <a:lnTo>
                    <a:pt x="596542" y="173819"/>
                  </a:lnTo>
                  <a:lnTo>
                    <a:pt x="596800" y="174724"/>
                  </a:lnTo>
                  <a:lnTo>
                    <a:pt x="597834" y="175499"/>
                  </a:lnTo>
                  <a:lnTo>
                    <a:pt x="599902" y="176016"/>
                  </a:lnTo>
                  <a:lnTo>
                    <a:pt x="602745" y="177308"/>
                  </a:lnTo>
                  <a:lnTo>
                    <a:pt x="604813" y="177696"/>
                  </a:lnTo>
                  <a:lnTo>
                    <a:pt x="606105" y="177567"/>
                  </a:lnTo>
                  <a:lnTo>
                    <a:pt x="607268" y="177050"/>
                  </a:lnTo>
                  <a:lnTo>
                    <a:pt x="614764" y="172397"/>
                  </a:lnTo>
                  <a:lnTo>
                    <a:pt x="616573" y="171622"/>
                  </a:lnTo>
                  <a:lnTo>
                    <a:pt x="627170" y="168650"/>
                  </a:lnTo>
                  <a:lnTo>
                    <a:pt x="629755" y="168262"/>
                  </a:lnTo>
                  <a:lnTo>
                    <a:pt x="631435" y="168391"/>
                  </a:lnTo>
                  <a:lnTo>
                    <a:pt x="631564" y="168908"/>
                  </a:lnTo>
                  <a:lnTo>
                    <a:pt x="631693" y="169554"/>
                  </a:lnTo>
                  <a:lnTo>
                    <a:pt x="631952" y="170201"/>
                  </a:lnTo>
                  <a:lnTo>
                    <a:pt x="632598" y="170847"/>
                  </a:lnTo>
                  <a:lnTo>
                    <a:pt x="633503" y="171364"/>
                  </a:lnTo>
                  <a:lnTo>
                    <a:pt x="637251" y="172397"/>
                  </a:lnTo>
                  <a:lnTo>
                    <a:pt x="640094" y="173690"/>
                  </a:lnTo>
                  <a:lnTo>
                    <a:pt x="649657" y="173819"/>
                  </a:lnTo>
                  <a:lnTo>
                    <a:pt x="660254" y="175758"/>
                  </a:lnTo>
                  <a:lnTo>
                    <a:pt x="663356" y="175628"/>
                  </a:lnTo>
                  <a:lnTo>
                    <a:pt x="664389" y="175887"/>
                  </a:lnTo>
                  <a:lnTo>
                    <a:pt x="666069" y="176921"/>
                  </a:lnTo>
                  <a:lnTo>
                    <a:pt x="666069" y="176921"/>
                  </a:lnTo>
                  <a:lnTo>
                    <a:pt x="666199" y="176791"/>
                  </a:lnTo>
                  <a:lnTo>
                    <a:pt x="667232" y="172397"/>
                  </a:lnTo>
                  <a:lnTo>
                    <a:pt x="667749" y="167616"/>
                  </a:lnTo>
                  <a:lnTo>
                    <a:pt x="668396" y="165419"/>
                  </a:lnTo>
                  <a:lnTo>
                    <a:pt x="671756" y="160637"/>
                  </a:lnTo>
                  <a:lnTo>
                    <a:pt x="672919" y="158440"/>
                  </a:lnTo>
                  <a:lnTo>
                    <a:pt x="673048" y="154176"/>
                  </a:lnTo>
                  <a:lnTo>
                    <a:pt x="673436" y="151979"/>
                  </a:lnTo>
                  <a:lnTo>
                    <a:pt x="674599" y="151074"/>
                  </a:lnTo>
                  <a:lnTo>
                    <a:pt x="674470" y="150040"/>
                  </a:lnTo>
                  <a:lnTo>
                    <a:pt x="679122" y="140735"/>
                  </a:lnTo>
                  <a:lnTo>
                    <a:pt x="686488" y="119929"/>
                  </a:lnTo>
                  <a:lnTo>
                    <a:pt x="686617" y="119024"/>
                  </a:lnTo>
                  <a:lnTo>
                    <a:pt x="687005" y="117990"/>
                  </a:lnTo>
                  <a:lnTo>
                    <a:pt x="687652" y="117086"/>
                  </a:lnTo>
                  <a:lnTo>
                    <a:pt x="688298" y="116439"/>
                  </a:lnTo>
                  <a:lnTo>
                    <a:pt x="688427" y="116052"/>
                  </a:lnTo>
                  <a:lnTo>
                    <a:pt x="688039" y="115018"/>
                  </a:lnTo>
                  <a:lnTo>
                    <a:pt x="688039" y="112045"/>
                  </a:lnTo>
                  <a:lnTo>
                    <a:pt x="688427" y="107910"/>
                  </a:lnTo>
                  <a:lnTo>
                    <a:pt x="689202" y="104679"/>
                  </a:lnTo>
                  <a:lnTo>
                    <a:pt x="690365" y="101707"/>
                  </a:lnTo>
                  <a:lnTo>
                    <a:pt x="692175" y="98993"/>
                  </a:lnTo>
                  <a:lnTo>
                    <a:pt x="692562" y="97959"/>
                  </a:lnTo>
                  <a:lnTo>
                    <a:pt x="693208" y="93823"/>
                  </a:lnTo>
                  <a:lnTo>
                    <a:pt x="694630" y="89947"/>
                  </a:lnTo>
                  <a:lnTo>
                    <a:pt x="694759" y="88266"/>
                  </a:lnTo>
                  <a:lnTo>
                    <a:pt x="694501" y="89042"/>
                  </a:lnTo>
                  <a:lnTo>
                    <a:pt x="694113" y="89817"/>
                  </a:lnTo>
                  <a:lnTo>
                    <a:pt x="693208" y="88783"/>
                  </a:lnTo>
                  <a:lnTo>
                    <a:pt x="692950" y="87879"/>
                  </a:lnTo>
                  <a:lnTo>
                    <a:pt x="692950" y="86845"/>
                  </a:lnTo>
                  <a:lnTo>
                    <a:pt x="692562" y="85553"/>
                  </a:lnTo>
                  <a:lnTo>
                    <a:pt x="691916" y="84519"/>
                  </a:lnTo>
                  <a:lnTo>
                    <a:pt x="691270" y="83743"/>
                  </a:lnTo>
                  <a:lnTo>
                    <a:pt x="689590" y="82580"/>
                  </a:lnTo>
                  <a:lnTo>
                    <a:pt x="691270" y="82580"/>
                  </a:lnTo>
                  <a:lnTo>
                    <a:pt x="692562" y="83356"/>
                  </a:lnTo>
                  <a:lnTo>
                    <a:pt x="694759" y="85553"/>
                  </a:lnTo>
                  <a:lnTo>
                    <a:pt x="696569" y="86328"/>
                  </a:lnTo>
                  <a:lnTo>
                    <a:pt x="697861" y="86199"/>
                  </a:lnTo>
                  <a:lnTo>
                    <a:pt x="698378" y="85165"/>
                  </a:lnTo>
                  <a:lnTo>
                    <a:pt x="698378" y="83226"/>
                  </a:lnTo>
                  <a:lnTo>
                    <a:pt x="700963" y="73663"/>
                  </a:lnTo>
                  <a:lnTo>
                    <a:pt x="701996" y="71595"/>
                  </a:lnTo>
                  <a:lnTo>
                    <a:pt x="701480" y="70691"/>
                  </a:lnTo>
                  <a:lnTo>
                    <a:pt x="701221" y="70045"/>
                  </a:lnTo>
                  <a:lnTo>
                    <a:pt x="701480" y="69398"/>
                  </a:lnTo>
                  <a:lnTo>
                    <a:pt x="703289" y="66684"/>
                  </a:lnTo>
                  <a:close/>
                  <a:moveTo>
                    <a:pt x="700704" y="44198"/>
                  </a:moveTo>
                  <a:lnTo>
                    <a:pt x="699670" y="44069"/>
                  </a:lnTo>
                  <a:lnTo>
                    <a:pt x="699024" y="44198"/>
                  </a:lnTo>
                  <a:lnTo>
                    <a:pt x="698636" y="44973"/>
                  </a:lnTo>
                  <a:lnTo>
                    <a:pt x="698507" y="46136"/>
                  </a:lnTo>
                  <a:lnTo>
                    <a:pt x="698249" y="47558"/>
                  </a:lnTo>
                  <a:lnTo>
                    <a:pt x="697086" y="49109"/>
                  </a:lnTo>
                  <a:lnTo>
                    <a:pt x="696052" y="50272"/>
                  </a:lnTo>
                  <a:lnTo>
                    <a:pt x="695793" y="51564"/>
                  </a:lnTo>
                  <a:lnTo>
                    <a:pt x="695664" y="54020"/>
                  </a:lnTo>
                  <a:lnTo>
                    <a:pt x="695664" y="55700"/>
                  </a:lnTo>
                  <a:lnTo>
                    <a:pt x="696827" y="56217"/>
                  </a:lnTo>
                  <a:lnTo>
                    <a:pt x="698507" y="56604"/>
                  </a:lnTo>
                  <a:lnTo>
                    <a:pt x="699928" y="56604"/>
                  </a:lnTo>
                  <a:lnTo>
                    <a:pt x="700704" y="56346"/>
                  </a:lnTo>
                  <a:lnTo>
                    <a:pt x="700833" y="54795"/>
                  </a:lnTo>
                  <a:lnTo>
                    <a:pt x="701221" y="52986"/>
                  </a:lnTo>
                  <a:lnTo>
                    <a:pt x="701996" y="51564"/>
                  </a:lnTo>
                  <a:lnTo>
                    <a:pt x="702513" y="49884"/>
                  </a:lnTo>
                  <a:lnTo>
                    <a:pt x="702513" y="48721"/>
                  </a:lnTo>
                  <a:lnTo>
                    <a:pt x="701867" y="47170"/>
                  </a:lnTo>
                  <a:lnTo>
                    <a:pt x="701350" y="45878"/>
                  </a:lnTo>
                  <a:lnTo>
                    <a:pt x="701609" y="44973"/>
                  </a:lnTo>
                  <a:lnTo>
                    <a:pt x="700704" y="44198"/>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4" name="Graphic 2">
              <a:extLst>
                <a:ext uri="{FF2B5EF4-FFF2-40B4-BE49-F238E27FC236}">
                  <a16:creationId xmlns:a16="http://schemas.microsoft.com/office/drawing/2014/main" id="{0A9F8EA7-BD8B-B90E-DD7E-2A3C10249210}"/>
                </a:ext>
              </a:extLst>
            </p:cNvPr>
            <p:cNvSpPr/>
            <p:nvPr/>
          </p:nvSpPr>
          <p:spPr>
            <a:xfrm>
              <a:off x="5757666" y="4261134"/>
              <a:ext cx="704451" cy="489924"/>
            </a:xfrm>
            <a:custGeom>
              <a:avLst/>
              <a:gdLst>
                <a:gd name="connsiteX0" fmla="*/ 681578 w 704451"/>
                <a:gd name="connsiteY0" fmla="*/ 330579 h 489924"/>
                <a:gd name="connsiteX1" fmla="*/ 681061 w 704451"/>
                <a:gd name="connsiteY1" fmla="*/ 328641 h 489924"/>
                <a:gd name="connsiteX2" fmla="*/ 679639 w 704451"/>
                <a:gd name="connsiteY2" fmla="*/ 328641 h 489924"/>
                <a:gd name="connsiteX3" fmla="*/ 676537 w 704451"/>
                <a:gd name="connsiteY3" fmla="*/ 330838 h 489924"/>
                <a:gd name="connsiteX4" fmla="*/ 673953 w 704451"/>
                <a:gd name="connsiteY4" fmla="*/ 332905 h 489924"/>
                <a:gd name="connsiteX5" fmla="*/ 672273 w 704451"/>
                <a:gd name="connsiteY5" fmla="*/ 335749 h 489924"/>
                <a:gd name="connsiteX6" fmla="*/ 672144 w 704451"/>
                <a:gd name="connsiteY6" fmla="*/ 337816 h 489924"/>
                <a:gd name="connsiteX7" fmla="*/ 674082 w 704451"/>
                <a:gd name="connsiteY7" fmla="*/ 339755 h 489924"/>
                <a:gd name="connsiteX8" fmla="*/ 674340 w 704451"/>
                <a:gd name="connsiteY8" fmla="*/ 341177 h 489924"/>
                <a:gd name="connsiteX9" fmla="*/ 673824 w 704451"/>
                <a:gd name="connsiteY9" fmla="*/ 342727 h 489924"/>
                <a:gd name="connsiteX10" fmla="*/ 675374 w 704451"/>
                <a:gd name="connsiteY10" fmla="*/ 344924 h 489924"/>
                <a:gd name="connsiteX11" fmla="*/ 677313 w 704451"/>
                <a:gd name="connsiteY11" fmla="*/ 345312 h 489924"/>
                <a:gd name="connsiteX12" fmla="*/ 679639 w 704451"/>
                <a:gd name="connsiteY12" fmla="*/ 343761 h 489924"/>
                <a:gd name="connsiteX13" fmla="*/ 681061 w 704451"/>
                <a:gd name="connsiteY13" fmla="*/ 342598 h 489924"/>
                <a:gd name="connsiteX14" fmla="*/ 679897 w 704451"/>
                <a:gd name="connsiteY14" fmla="*/ 340272 h 489924"/>
                <a:gd name="connsiteX15" fmla="*/ 679768 w 704451"/>
                <a:gd name="connsiteY15" fmla="*/ 337946 h 489924"/>
                <a:gd name="connsiteX16" fmla="*/ 681061 w 704451"/>
                <a:gd name="connsiteY16" fmla="*/ 333552 h 489924"/>
                <a:gd name="connsiteX17" fmla="*/ 681578 w 704451"/>
                <a:gd name="connsiteY17" fmla="*/ 330579 h 489924"/>
                <a:gd name="connsiteX18" fmla="*/ 704452 w 704451"/>
                <a:gd name="connsiteY18" fmla="*/ 313779 h 489924"/>
                <a:gd name="connsiteX19" fmla="*/ 703935 w 704451"/>
                <a:gd name="connsiteY19" fmla="*/ 313391 h 489924"/>
                <a:gd name="connsiteX20" fmla="*/ 703160 w 704451"/>
                <a:gd name="connsiteY20" fmla="*/ 313391 h 489924"/>
                <a:gd name="connsiteX21" fmla="*/ 702643 w 704451"/>
                <a:gd name="connsiteY21" fmla="*/ 313520 h 489924"/>
                <a:gd name="connsiteX22" fmla="*/ 702126 w 704451"/>
                <a:gd name="connsiteY22" fmla="*/ 313908 h 489924"/>
                <a:gd name="connsiteX23" fmla="*/ 701738 w 704451"/>
                <a:gd name="connsiteY23" fmla="*/ 314296 h 489924"/>
                <a:gd name="connsiteX24" fmla="*/ 701350 w 704451"/>
                <a:gd name="connsiteY24" fmla="*/ 314813 h 489924"/>
                <a:gd name="connsiteX25" fmla="*/ 700963 w 704451"/>
                <a:gd name="connsiteY25" fmla="*/ 315201 h 489924"/>
                <a:gd name="connsiteX26" fmla="*/ 700446 w 704451"/>
                <a:gd name="connsiteY26" fmla="*/ 315588 h 489924"/>
                <a:gd name="connsiteX27" fmla="*/ 699800 w 704451"/>
                <a:gd name="connsiteY27" fmla="*/ 315718 h 489924"/>
                <a:gd name="connsiteX28" fmla="*/ 699024 w 704451"/>
                <a:gd name="connsiteY28" fmla="*/ 315718 h 489924"/>
                <a:gd name="connsiteX29" fmla="*/ 698249 w 704451"/>
                <a:gd name="connsiteY29" fmla="*/ 315588 h 489924"/>
                <a:gd name="connsiteX30" fmla="*/ 692175 w 704451"/>
                <a:gd name="connsiteY30" fmla="*/ 313908 h 489924"/>
                <a:gd name="connsiteX31" fmla="*/ 691399 w 704451"/>
                <a:gd name="connsiteY31" fmla="*/ 313520 h 489924"/>
                <a:gd name="connsiteX32" fmla="*/ 690495 w 704451"/>
                <a:gd name="connsiteY32" fmla="*/ 312874 h 489924"/>
                <a:gd name="connsiteX33" fmla="*/ 689073 w 704451"/>
                <a:gd name="connsiteY33" fmla="*/ 311711 h 489924"/>
                <a:gd name="connsiteX34" fmla="*/ 688427 w 704451"/>
                <a:gd name="connsiteY34" fmla="*/ 310807 h 489924"/>
                <a:gd name="connsiteX35" fmla="*/ 688169 w 704451"/>
                <a:gd name="connsiteY35" fmla="*/ 310031 h 489924"/>
                <a:gd name="connsiteX36" fmla="*/ 688298 w 704451"/>
                <a:gd name="connsiteY36" fmla="*/ 309256 h 489924"/>
                <a:gd name="connsiteX37" fmla="*/ 688685 w 704451"/>
                <a:gd name="connsiteY37" fmla="*/ 307963 h 489924"/>
                <a:gd name="connsiteX38" fmla="*/ 688685 w 704451"/>
                <a:gd name="connsiteY38" fmla="*/ 306800 h 489924"/>
                <a:gd name="connsiteX39" fmla="*/ 688298 w 704451"/>
                <a:gd name="connsiteY39" fmla="*/ 305250 h 489924"/>
                <a:gd name="connsiteX40" fmla="*/ 686101 w 704451"/>
                <a:gd name="connsiteY40" fmla="*/ 299305 h 489924"/>
                <a:gd name="connsiteX41" fmla="*/ 686101 w 704451"/>
                <a:gd name="connsiteY41" fmla="*/ 298529 h 489924"/>
                <a:gd name="connsiteX42" fmla="*/ 685584 w 704451"/>
                <a:gd name="connsiteY42" fmla="*/ 296074 h 489924"/>
                <a:gd name="connsiteX43" fmla="*/ 683516 w 704451"/>
                <a:gd name="connsiteY43" fmla="*/ 289354 h 489924"/>
                <a:gd name="connsiteX44" fmla="*/ 679897 w 704451"/>
                <a:gd name="connsiteY44" fmla="*/ 291809 h 489924"/>
                <a:gd name="connsiteX45" fmla="*/ 679251 w 704451"/>
                <a:gd name="connsiteY45" fmla="*/ 291809 h 489924"/>
                <a:gd name="connsiteX46" fmla="*/ 678605 w 704451"/>
                <a:gd name="connsiteY46" fmla="*/ 291680 h 489924"/>
                <a:gd name="connsiteX47" fmla="*/ 678347 w 704451"/>
                <a:gd name="connsiteY47" fmla="*/ 291163 h 489924"/>
                <a:gd name="connsiteX48" fmla="*/ 678218 w 704451"/>
                <a:gd name="connsiteY48" fmla="*/ 290517 h 489924"/>
                <a:gd name="connsiteX49" fmla="*/ 677959 w 704451"/>
                <a:gd name="connsiteY49" fmla="*/ 289871 h 489924"/>
                <a:gd name="connsiteX50" fmla="*/ 676925 w 704451"/>
                <a:gd name="connsiteY50" fmla="*/ 289354 h 489924"/>
                <a:gd name="connsiteX51" fmla="*/ 675762 w 704451"/>
                <a:gd name="connsiteY51" fmla="*/ 289354 h 489924"/>
                <a:gd name="connsiteX52" fmla="*/ 673824 w 704451"/>
                <a:gd name="connsiteY52" fmla="*/ 289742 h 489924"/>
                <a:gd name="connsiteX53" fmla="*/ 672790 w 704451"/>
                <a:gd name="connsiteY53" fmla="*/ 289612 h 489924"/>
                <a:gd name="connsiteX54" fmla="*/ 672144 w 704451"/>
                <a:gd name="connsiteY54" fmla="*/ 289354 h 489924"/>
                <a:gd name="connsiteX55" fmla="*/ 671885 w 704451"/>
                <a:gd name="connsiteY55" fmla="*/ 288837 h 489924"/>
                <a:gd name="connsiteX56" fmla="*/ 671756 w 704451"/>
                <a:gd name="connsiteY56" fmla="*/ 288320 h 489924"/>
                <a:gd name="connsiteX57" fmla="*/ 671627 w 704451"/>
                <a:gd name="connsiteY57" fmla="*/ 287932 h 489924"/>
                <a:gd name="connsiteX58" fmla="*/ 671497 w 704451"/>
                <a:gd name="connsiteY58" fmla="*/ 287415 h 489924"/>
                <a:gd name="connsiteX59" fmla="*/ 671239 w 704451"/>
                <a:gd name="connsiteY59" fmla="*/ 287028 h 489924"/>
                <a:gd name="connsiteX60" fmla="*/ 670851 w 704451"/>
                <a:gd name="connsiteY60" fmla="*/ 286511 h 489924"/>
                <a:gd name="connsiteX61" fmla="*/ 670334 w 704451"/>
                <a:gd name="connsiteY61" fmla="*/ 285994 h 489924"/>
                <a:gd name="connsiteX62" fmla="*/ 669430 w 704451"/>
                <a:gd name="connsiteY62" fmla="*/ 285348 h 489924"/>
                <a:gd name="connsiteX63" fmla="*/ 668525 w 704451"/>
                <a:gd name="connsiteY63" fmla="*/ 285089 h 489924"/>
                <a:gd name="connsiteX64" fmla="*/ 666328 w 704451"/>
                <a:gd name="connsiteY64" fmla="*/ 284960 h 489924"/>
                <a:gd name="connsiteX65" fmla="*/ 665553 w 704451"/>
                <a:gd name="connsiteY65" fmla="*/ 284572 h 489924"/>
                <a:gd name="connsiteX66" fmla="*/ 663873 w 704451"/>
                <a:gd name="connsiteY66" fmla="*/ 283280 h 489924"/>
                <a:gd name="connsiteX67" fmla="*/ 663226 w 704451"/>
                <a:gd name="connsiteY67" fmla="*/ 283280 h 489924"/>
                <a:gd name="connsiteX68" fmla="*/ 662968 w 704451"/>
                <a:gd name="connsiteY68" fmla="*/ 283409 h 489924"/>
                <a:gd name="connsiteX69" fmla="*/ 662710 w 704451"/>
                <a:gd name="connsiteY69" fmla="*/ 284185 h 489924"/>
                <a:gd name="connsiteX70" fmla="*/ 662322 w 704451"/>
                <a:gd name="connsiteY70" fmla="*/ 284572 h 489924"/>
                <a:gd name="connsiteX71" fmla="*/ 660254 w 704451"/>
                <a:gd name="connsiteY71" fmla="*/ 285735 h 489924"/>
                <a:gd name="connsiteX72" fmla="*/ 659349 w 704451"/>
                <a:gd name="connsiteY72" fmla="*/ 286511 h 489924"/>
                <a:gd name="connsiteX73" fmla="*/ 658962 w 704451"/>
                <a:gd name="connsiteY73" fmla="*/ 287028 h 489924"/>
                <a:gd name="connsiteX74" fmla="*/ 658703 w 704451"/>
                <a:gd name="connsiteY74" fmla="*/ 287545 h 489924"/>
                <a:gd name="connsiteX75" fmla="*/ 658574 w 704451"/>
                <a:gd name="connsiteY75" fmla="*/ 288061 h 489924"/>
                <a:gd name="connsiteX76" fmla="*/ 658574 w 704451"/>
                <a:gd name="connsiteY76" fmla="*/ 288191 h 489924"/>
                <a:gd name="connsiteX77" fmla="*/ 658574 w 704451"/>
                <a:gd name="connsiteY77" fmla="*/ 289096 h 489924"/>
                <a:gd name="connsiteX78" fmla="*/ 659091 w 704451"/>
                <a:gd name="connsiteY78" fmla="*/ 290905 h 489924"/>
                <a:gd name="connsiteX79" fmla="*/ 659091 w 704451"/>
                <a:gd name="connsiteY79" fmla="*/ 291551 h 489924"/>
                <a:gd name="connsiteX80" fmla="*/ 658962 w 704451"/>
                <a:gd name="connsiteY80" fmla="*/ 292197 h 489924"/>
                <a:gd name="connsiteX81" fmla="*/ 658703 w 704451"/>
                <a:gd name="connsiteY81" fmla="*/ 292714 h 489924"/>
                <a:gd name="connsiteX82" fmla="*/ 658315 w 704451"/>
                <a:gd name="connsiteY82" fmla="*/ 293102 h 489924"/>
                <a:gd name="connsiteX83" fmla="*/ 657411 w 704451"/>
                <a:gd name="connsiteY83" fmla="*/ 293748 h 489924"/>
                <a:gd name="connsiteX84" fmla="*/ 657023 w 704451"/>
                <a:gd name="connsiteY84" fmla="*/ 294135 h 489924"/>
                <a:gd name="connsiteX85" fmla="*/ 656636 w 704451"/>
                <a:gd name="connsiteY85" fmla="*/ 294652 h 489924"/>
                <a:gd name="connsiteX86" fmla="*/ 656377 w 704451"/>
                <a:gd name="connsiteY86" fmla="*/ 295170 h 489924"/>
                <a:gd name="connsiteX87" fmla="*/ 655860 w 704451"/>
                <a:gd name="connsiteY87" fmla="*/ 296462 h 489924"/>
                <a:gd name="connsiteX88" fmla="*/ 655472 w 704451"/>
                <a:gd name="connsiteY88" fmla="*/ 297108 h 489924"/>
                <a:gd name="connsiteX89" fmla="*/ 654955 w 704451"/>
                <a:gd name="connsiteY89" fmla="*/ 297754 h 489924"/>
                <a:gd name="connsiteX90" fmla="*/ 654439 w 704451"/>
                <a:gd name="connsiteY90" fmla="*/ 297883 h 489924"/>
                <a:gd name="connsiteX91" fmla="*/ 653792 w 704451"/>
                <a:gd name="connsiteY91" fmla="*/ 297754 h 489924"/>
                <a:gd name="connsiteX92" fmla="*/ 650303 w 704451"/>
                <a:gd name="connsiteY92" fmla="*/ 296074 h 489924"/>
                <a:gd name="connsiteX93" fmla="*/ 647848 w 704451"/>
                <a:gd name="connsiteY93" fmla="*/ 294652 h 489924"/>
                <a:gd name="connsiteX94" fmla="*/ 647460 w 704451"/>
                <a:gd name="connsiteY94" fmla="*/ 294135 h 489924"/>
                <a:gd name="connsiteX95" fmla="*/ 646943 w 704451"/>
                <a:gd name="connsiteY95" fmla="*/ 293489 h 489924"/>
                <a:gd name="connsiteX96" fmla="*/ 645392 w 704451"/>
                <a:gd name="connsiteY96" fmla="*/ 289742 h 489924"/>
                <a:gd name="connsiteX97" fmla="*/ 645134 w 704451"/>
                <a:gd name="connsiteY97" fmla="*/ 288708 h 489924"/>
                <a:gd name="connsiteX98" fmla="*/ 645004 w 704451"/>
                <a:gd name="connsiteY98" fmla="*/ 288061 h 489924"/>
                <a:gd name="connsiteX99" fmla="*/ 645004 w 704451"/>
                <a:gd name="connsiteY99" fmla="*/ 287932 h 489924"/>
                <a:gd name="connsiteX100" fmla="*/ 645004 w 704451"/>
                <a:gd name="connsiteY100" fmla="*/ 287932 h 489924"/>
                <a:gd name="connsiteX101" fmla="*/ 645004 w 704451"/>
                <a:gd name="connsiteY101" fmla="*/ 287932 h 489924"/>
                <a:gd name="connsiteX102" fmla="*/ 645392 w 704451"/>
                <a:gd name="connsiteY102" fmla="*/ 287545 h 489924"/>
                <a:gd name="connsiteX103" fmla="*/ 647331 w 704451"/>
                <a:gd name="connsiteY103" fmla="*/ 286252 h 489924"/>
                <a:gd name="connsiteX104" fmla="*/ 647718 w 704451"/>
                <a:gd name="connsiteY104" fmla="*/ 285865 h 489924"/>
                <a:gd name="connsiteX105" fmla="*/ 648106 w 704451"/>
                <a:gd name="connsiteY105" fmla="*/ 285089 h 489924"/>
                <a:gd name="connsiteX106" fmla="*/ 648365 w 704451"/>
                <a:gd name="connsiteY106" fmla="*/ 284443 h 489924"/>
                <a:gd name="connsiteX107" fmla="*/ 648752 w 704451"/>
                <a:gd name="connsiteY107" fmla="*/ 281471 h 489924"/>
                <a:gd name="connsiteX108" fmla="*/ 648235 w 704451"/>
                <a:gd name="connsiteY108" fmla="*/ 277723 h 489924"/>
                <a:gd name="connsiteX109" fmla="*/ 648623 w 704451"/>
                <a:gd name="connsiteY109" fmla="*/ 276172 h 489924"/>
                <a:gd name="connsiteX110" fmla="*/ 649011 w 704451"/>
                <a:gd name="connsiteY110" fmla="*/ 275655 h 489924"/>
                <a:gd name="connsiteX111" fmla="*/ 650045 w 704451"/>
                <a:gd name="connsiteY111" fmla="*/ 274750 h 489924"/>
                <a:gd name="connsiteX112" fmla="*/ 650691 w 704451"/>
                <a:gd name="connsiteY112" fmla="*/ 273975 h 489924"/>
                <a:gd name="connsiteX113" fmla="*/ 650562 w 704451"/>
                <a:gd name="connsiteY113" fmla="*/ 272941 h 489924"/>
                <a:gd name="connsiteX114" fmla="*/ 650303 w 704451"/>
                <a:gd name="connsiteY114" fmla="*/ 271520 h 489924"/>
                <a:gd name="connsiteX115" fmla="*/ 649915 w 704451"/>
                <a:gd name="connsiteY115" fmla="*/ 268289 h 489924"/>
                <a:gd name="connsiteX116" fmla="*/ 650045 w 704451"/>
                <a:gd name="connsiteY116" fmla="*/ 266867 h 489924"/>
                <a:gd name="connsiteX117" fmla="*/ 650303 w 704451"/>
                <a:gd name="connsiteY117" fmla="*/ 265963 h 489924"/>
                <a:gd name="connsiteX118" fmla="*/ 651208 w 704451"/>
                <a:gd name="connsiteY118" fmla="*/ 265316 h 489924"/>
                <a:gd name="connsiteX119" fmla="*/ 653275 w 704451"/>
                <a:gd name="connsiteY119" fmla="*/ 264153 h 489924"/>
                <a:gd name="connsiteX120" fmla="*/ 653922 w 704451"/>
                <a:gd name="connsiteY120" fmla="*/ 263378 h 489924"/>
                <a:gd name="connsiteX121" fmla="*/ 654697 w 704451"/>
                <a:gd name="connsiteY121" fmla="*/ 262215 h 489924"/>
                <a:gd name="connsiteX122" fmla="*/ 655989 w 704451"/>
                <a:gd name="connsiteY122" fmla="*/ 259630 h 489924"/>
                <a:gd name="connsiteX123" fmla="*/ 656248 w 704451"/>
                <a:gd name="connsiteY123" fmla="*/ 258338 h 489924"/>
                <a:gd name="connsiteX124" fmla="*/ 655989 w 704451"/>
                <a:gd name="connsiteY124" fmla="*/ 257562 h 489924"/>
                <a:gd name="connsiteX125" fmla="*/ 655472 w 704451"/>
                <a:gd name="connsiteY125" fmla="*/ 257304 h 489924"/>
                <a:gd name="connsiteX126" fmla="*/ 649786 w 704451"/>
                <a:gd name="connsiteY126" fmla="*/ 255236 h 489924"/>
                <a:gd name="connsiteX127" fmla="*/ 649269 w 704451"/>
                <a:gd name="connsiteY127" fmla="*/ 254978 h 489924"/>
                <a:gd name="connsiteX128" fmla="*/ 648752 w 704451"/>
                <a:gd name="connsiteY128" fmla="*/ 254590 h 489924"/>
                <a:gd name="connsiteX129" fmla="*/ 648365 w 704451"/>
                <a:gd name="connsiteY129" fmla="*/ 254202 h 489924"/>
                <a:gd name="connsiteX130" fmla="*/ 647718 w 704451"/>
                <a:gd name="connsiteY130" fmla="*/ 253168 h 489924"/>
                <a:gd name="connsiteX131" fmla="*/ 647460 w 704451"/>
                <a:gd name="connsiteY131" fmla="*/ 252652 h 489924"/>
                <a:gd name="connsiteX132" fmla="*/ 647201 w 704451"/>
                <a:gd name="connsiteY132" fmla="*/ 252005 h 489924"/>
                <a:gd name="connsiteX133" fmla="*/ 646814 w 704451"/>
                <a:gd name="connsiteY133" fmla="*/ 251489 h 489924"/>
                <a:gd name="connsiteX134" fmla="*/ 646168 w 704451"/>
                <a:gd name="connsiteY134" fmla="*/ 250971 h 489924"/>
                <a:gd name="connsiteX135" fmla="*/ 645521 w 704451"/>
                <a:gd name="connsiteY135" fmla="*/ 250713 h 489924"/>
                <a:gd name="connsiteX136" fmla="*/ 644746 w 704451"/>
                <a:gd name="connsiteY136" fmla="*/ 250584 h 489924"/>
                <a:gd name="connsiteX137" fmla="*/ 643971 w 704451"/>
                <a:gd name="connsiteY137" fmla="*/ 250584 h 489924"/>
                <a:gd name="connsiteX138" fmla="*/ 643325 w 704451"/>
                <a:gd name="connsiteY138" fmla="*/ 250713 h 489924"/>
                <a:gd name="connsiteX139" fmla="*/ 642678 w 704451"/>
                <a:gd name="connsiteY139" fmla="*/ 250842 h 489924"/>
                <a:gd name="connsiteX140" fmla="*/ 640611 w 704451"/>
                <a:gd name="connsiteY140" fmla="*/ 252005 h 489924"/>
                <a:gd name="connsiteX141" fmla="*/ 639706 w 704451"/>
                <a:gd name="connsiteY141" fmla="*/ 252652 h 489924"/>
                <a:gd name="connsiteX142" fmla="*/ 638801 w 704451"/>
                <a:gd name="connsiteY142" fmla="*/ 253427 h 489924"/>
                <a:gd name="connsiteX143" fmla="*/ 638284 w 704451"/>
                <a:gd name="connsiteY143" fmla="*/ 253685 h 489924"/>
                <a:gd name="connsiteX144" fmla="*/ 637638 w 704451"/>
                <a:gd name="connsiteY144" fmla="*/ 253685 h 489924"/>
                <a:gd name="connsiteX145" fmla="*/ 636863 w 704451"/>
                <a:gd name="connsiteY145" fmla="*/ 253168 h 489924"/>
                <a:gd name="connsiteX146" fmla="*/ 636604 w 704451"/>
                <a:gd name="connsiteY146" fmla="*/ 252393 h 489924"/>
                <a:gd name="connsiteX147" fmla="*/ 635829 w 704451"/>
                <a:gd name="connsiteY147" fmla="*/ 250067 h 489924"/>
                <a:gd name="connsiteX148" fmla="*/ 634537 w 704451"/>
                <a:gd name="connsiteY148" fmla="*/ 249938 h 489924"/>
                <a:gd name="connsiteX149" fmla="*/ 634149 w 704451"/>
                <a:gd name="connsiteY149" fmla="*/ 251101 h 489924"/>
                <a:gd name="connsiteX150" fmla="*/ 632598 w 704451"/>
                <a:gd name="connsiteY150" fmla="*/ 251618 h 489924"/>
                <a:gd name="connsiteX151" fmla="*/ 628850 w 704451"/>
                <a:gd name="connsiteY151" fmla="*/ 252005 h 489924"/>
                <a:gd name="connsiteX152" fmla="*/ 628333 w 704451"/>
                <a:gd name="connsiteY152" fmla="*/ 252005 h 489924"/>
                <a:gd name="connsiteX153" fmla="*/ 626524 w 704451"/>
                <a:gd name="connsiteY153" fmla="*/ 251618 h 489924"/>
                <a:gd name="connsiteX154" fmla="*/ 626136 w 704451"/>
                <a:gd name="connsiteY154" fmla="*/ 251747 h 489924"/>
                <a:gd name="connsiteX155" fmla="*/ 625749 w 704451"/>
                <a:gd name="connsiteY155" fmla="*/ 252005 h 489924"/>
                <a:gd name="connsiteX156" fmla="*/ 625232 w 704451"/>
                <a:gd name="connsiteY156" fmla="*/ 252264 h 489924"/>
                <a:gd name="connsiteX157" fmla="*/ 624586 w 704451"/>
                <a:gd name="connsiteY157" fmla="*/ 252264 h 489924"/>
                <a:gd name="connsiteX158" fmla="*/ 622647 w 704451"/>
                <a:gd name="connsiteY158" fmla="*/ 251101 h 489924"/>
                <a:gd name="connsiteX159" fmla="*/ 621096 w 704451"/>
                <a:gd name="connsiteY159" fmla="*/ 249550 h 489924"/>
                <a:gd name="connsiteX160" fmla="*/ 619416 w 704451"/>
                <a:gd name="connsiteY160" fmla="*/ 248387 h 489924"/>
                <a:gd name="connsiteX161" fmla="*/ 616961 w 704451"/>
                <a:gd name="connsiteY161" fmla="*/ 248516 h 489924"/>
                <a:gd name="connsiteX162" fmla="*/ 617090 w 704451"/>
                <a:gd name="connsiteY162" fmla="*/ 248775 h 489924"/>
                <a:gd name="connsiteX163" fmla="*/ 617478 w 704451"/>
                <a:gd name="connsiteY163" fmla="*/ 249162 h 489924"/>
                <a:gd name="connsiteX164" fmla="*/ 617607 w 704451"/>
                <a:gd name="connsiteY164" fmla="*/ 249421 h 489924"/>
                <a:gd name="connsiteX165" fmla="*/ 614893 w 704451"/>
                <a:gd name="connsiteY165" fmla="*/ 249162 h 489924"/>
                <a:gd name="connsiteX166" fmla="*/ 606364 w 704451"/>
                <a:gd name="connsiteY166" fmla="*/ 249808 h 489924"/>
                <a:gd name="connsiteX167" fmla="*/ 603521 w 704451"/>
                <a:gd name="connsiteY167" fmla="*/ 249033 h 489924"/>
                <a:gd name="connsiteX168" fmla="*/ 600419 w 704451"/>
                <a:gd name="connsiteY168" fmla="*/ 245673 h 489924"/>
                <a:gd name="connsiteX169" fmla="*/ 598093 w 704451"/>
                <a:gd name="connsiteY169" fmla="*/ 245027 h 489924"/>
                <a:gd name="connsiteX170" fmla="*/ 598222 w 704451"/>
                <a:gd name="connsiteY170" fmla="*/ 248904 h 489924"/>
                <a:gd name="connsiteX171" fmla="*/ 595508 w 704451"/>
                <a:gd name="connsiteY171" fmla="*/ 250842 h 489924"/>
                <a:gd name="connsiteX172" fmla="*/ 591502 w 704451"/>
                <a:gd name="connsiteY172" fmla="*/ 251230 h 489924"/>
                <a:gd name="connsiteX173" fmla="*/ 585557 w 704451"/>
                <a:gd name="connsiteY173" fmla="*/ 249938 h 489924"/>
                <a:gd name="connsiteX174" fmla="*/ 583231 w 704451"/>
                <a:gd name="connsiteY174" fmla="*/ 250325 h 489924"/>
                <a:gd name="connsiteX175" fmla="*/ 581292 w 704451"/>
                <a:gd name="connsiteY175" fmla="*/ 251618 h 489924"/>
                <a:gd name="connsiteX176" fmla="*/ 579741 w 704451"/>
                <a:gd name="connsiteY176" fmla="*/ 251618 h 489924"/>
                <a:gd name="connsiteX177" fmla="*/ 577803 w 704451"/>
                <a:gd name="connsiteY177" fmla="*/ 251359 h 489924"/>
                <a:gd name="connsiteX178" fmla="*/ 570825 w 704451"/>
                <a:gd name="connsiteY178" fmla="*/ 249291 h 489924"/>
                <a:gd name="connsiteX179" fmla="*/ 569532 w 704451"/>
                <a:gd name="connsiteY179" fmla="*/ 248645 h 489924"/>
                <a:gd name="connsiteX180" fmla="*/ 569274 w 704451"/>
                <a:gd name="connsiteY180" fmla="*/ 248128 h 489924"/>
                <a:gd name="connsiteX181" fmla="*/ 569015 w 704451"/>
                <a:gd name="connsiteY181" fmla="*/ 247611 h 489924"/>
                <a:gd name="connsiteX182" fmla="*/ 568757 w 704451"/>
                <a:gd name="connsiteY182" fmla="*/ 246965 h 489924"/>
                <a:gd name="connsiteX183" fmla="*/ 568498 w 704451"/>
                <a:gd name="connsiteY183" fmla="*/ 245673 h 489924"/>
                <a:gd name="connsiteX184" fmla="*/ 568498 w 704451"/>
                <a:gd name="connsiteY184" fmla="*/ 244897 h 489924"/>
                <a:gd name="connsiteX185" fmla="*/ 569144 w 704451"/>
                <a:gd name="connsiteY185" fmla="*/ 241279 h 489924"/>
                <a:gd name="connsiteX186" fmla="*/ 569144 w 704451"/>
                <a:gd name="connsiteY186" fmla="*/ 240633 h 489924"/>
                <a:gd name="connsiteX187" fmla="*/ 569015 w 704451"/>
                <a:gd name="connsiteY187" fmla="*/ 239987 h 489924"/>
                <a:gd name="connsiteX188" fmla="*/ 567206 w 704451"/>
                <a:gd name="connsiteY188" fmla="*/ 236885 h 489924"/>
                <a:gd name="connsiteX189" fmla="*/ 567077 w 704451"/>
                <a:gd name="connsiteY189" fmla="*/ 236239 h 489924"/>
                <a:gd name="connsiteX190" fmla="*/ 566947 w 704451"/>
                <a:gd name="connsiteY190" fmla="*/ 235593 h 489924"/>
                <a:gd name="connsiteX191" fmla="*/ 566947 w 704451"/>
                <a:gd name="connsiteY191" fmla="*/ 234817 h 489924"/>
                <a:gd name="connsiteX192" fmla="*/ 567077 w 704451"/>
                <a:gd name="connsiteY192" fmla="*/ 234042 h 489924"/>
                <a:gd name="connsiteX193" fmla="*/ 567206 w 704451"/>
                <a:gd name="connsiteY193" fmla="*/ 233525 h 489924"/>
                <a:gd name="connsiteX194" fmla="*/ 567852 w 704451"/>
                <a:gd name="connsiteY194" fmla="*/ 232879 h 489924"/>
                <a:gd name="connsiteX195" fmla="*/ 570566 w 704451"/>
                <a:gd name="connsiteY195" fmla="*/ 232879 h 489924"/>
                <a:gd name="connsiteX196" fmla="*/ 570954 w 704451"/>
                <a:gd name="connsiteY196" fmla="*/ 232491 h 489924"/>
                <a:gd name="connsiteX197" fmla="*/ 571341 w 704451"/>
                <a:gd name="connsiteY197" fmla="*/ 231845 h 489924"/>
                <a:gd name="connsiteX198" fmla="*/ 571341 w 704451"/>
                <a:gd name="connsiteY198" fmla="*/ 231199 h 489924"/>
                <a:gd name="connsiteX199" fmla="*/ 571212 w 704451"/>
                <a:gd name="connsiteY199" fmla="*/ 230553 h 489924"/>
                <a:gd name="connsiteX200" fmla="*/ 571341 w 704451"/>
                <a:gd name="connsiteY200" fmla="*/ 228873 h 489924"/>
                <a:gd name="connsiteX201" fmla="*/ 572246 w 704451"/>
                <a:gd name="connsiteY201" fmla="*/ 225900 h 489924"/>
                <a:gd name="connsiteX202" fmla="*/ 570049 w 704451"/>
                <a:gd name="connsiteY202" fmla="*/ 224349 h 489924"/>
                <a:gd name="connsiteX203" fmla="*/ 569791 w 704451"/>
                <a:gd name="connsiteY203" fmla="*/ 223833 h 489924"/>
                <a:gd name="connsiteX204" fmla="*/ 569661 w 704451"/>
                <a:gd name="connsiteY204" fmla="*/ 223186 h 489924"/>
                <a:gd name="connsiteX205" fmla="*/ 569920 w 704451"/>
                <a:gd name="connsiteY205" fmla="*/ 222669 h 489924"/>
                <a:gd name="connsiteX206" fmla="*/ 570437 w 704451"/>
                <a:gd name="connsiteY206" fmla="*/ 222282 h 489924"/>
                <a:gd name="connsiteX207" fmla="*/ 570954 w 704451"/>
                <a:gd name="connsiteY207" fmla="*/ 222023 h 489924"/>
                <a:gd name="connsiteX208" fmla="*/ 573926 w 704451"/>
                <a:gd name="connsiteY208" fmla="*/ 220860 h 489924"/>
                <a:gd name="connsiteX209" fmla="*/ 574572 w 704451"/>
                <a:gd name="connsiteY209" fmla="*/ 220472 h 489924"/>
                <a:gd name="connsiteX210" fmla="*/ 575606 w 704451"/>
                <a:gd name="connsiteY210" fmla="*/ 219697 h 489924"/>
                <a:gd name="connsiteX211" fmla="*/ 575865 w 704451"/>
                <a:gd name="connsiteY211" fmla="*/ 219051 h 489924"/>
                <a:gd name="connsiteX212" fmla="*/ 575735 w 704451"/>
                <a:gd name="connsiteY212" fmla="*/ 218534 h 489924"/>
                <a:gd name="connsiteX213" fmla="*/ 574831 w 704451"/>
                <a:gd name="connsiteY213" fmla="*/ 217500 h 489924"/>
                <a:gd name="connsiteX214" fmla="*/ 574443 w 704451"/>
                <a:gd name="connsiteY214" fmla="*/ 216595 h 489924"/>
                <a:gd name="connsiteX215" fmla="*/ 574572 w 704451"/>
                <a:gd name="connsiteY215" fmla="*/ 216078 h 489924"/>
                <a:gd name="connsiteX216" fmla="*/ 574960 w 704451"/>
                <a:gd name="connsiteY216" fmla="*/ 215691 h 489924"/>
                <a:gd name="connsiteX217" fmla="*/ 575606 w 704451"/>
                <a:gd name="connsiteY217" fmla="*/ 215303 h 489924"/>
                <a:gd name="connsiteX218" fmla="*/ 576252 w 704451"/>
                <a:gd name="connsiteY218" fmla="*/ 214528 h 489924"/>
                <a:gd name="connsiteX219" fmla="*/ 577157 w 704451"/>
                <a:gd name="connsiteY219" fmla="*/ 213235 h 489924"/>
                <a:gd name="connsiteX220" fmla="*/ 577415 w 704451"/>
                <a:gd name="connsiteY220" fmla="*/ 211814 h 489924"/>
                <a:gd name="connsiteX221" fmla="*/ 577286 w 704451"/>
                <a:gd name="connsiteY221" fmla="*/ 211038 h 489924"/>
                <a:gd name="connsiteX222" fmla="*/ 576898 w 704451"/>
                <a:gd name="connsiteY222" fmla="*/ 210521 h 489924"/>
                <a:gd name="connsiteX223" fmla="*/ 576511 w 704451"/>
                <a:gd name="connsiteY223" fmla="*/ 210134 h 489924"/>
                <a:gd name="connsiteX224" fmla="*/ 575994 w 704451"/>
                <a:gd name="connsiteY224" fmla="*/ 209746 h 489924"/>
                <a:gd name="connsiteX225" fmla="*/ 575348 w 704451"/>
                <a:gd name="connsiteY225" fmla="*/ 209488 h 489924"/>
                <a:gd name="connsiteX226" fmla="*/ 574701 w 704451"/>
                <a:gd name="connsiteY226" fmla="*/ 209358 h 489924"/>
                <a:gd name="connsiteX227" fmla="*/ 574185 w 704451"/>
                <a:gd name="connsiteY227" fmla="*/ 209100 h 489924"/>
                <a:gd name="connsiteX228" fmla="*/ 573280 w 704451"/>
                <a:gd name="connsiteY228" fmla="*/ 208324 h 489924"/>
                <a:gd name="connsiteX229" fmla="*/ 572763 w 704451"/>
                <a:gd name="connsiteY229" fmla="*/ 208066 h 489924"/>
                <a:gd name="connsiteX230" fmla="*/ 572117 w 704451"/>
                <a:gd name="connsiteY230" fmla="*/ 207808 h 489924"/>
                <a:gd name="connsiteX231" fmla="*/ 571341 w 704451"/>
                <a:gd name="connsiteY231" fmla="*/ 207032 h 489924"/>
                <a:gd name="connsiteX232" fmla="*/ 570566 w 704451"/>
                <a:gd name="connsiteY232" fmla="*/ 205611 h 489924"/>
                <a:gd name="connsiteX233" fmla="*/ 569015 w 704451"/>
                <a:gd name="connsiteY233" fmla="*/ 200570 h 489924"/>
                <a:gd name="connsiteX234" fmla="*/ 568498 w 704451"/>
                <a:gd name="connsiteY234" fmla="*/ 199537 h 489924"/>
                <a:gd name="connsiteX235" fmla="*/ 567981 w 704451"/>
                <a:gd name="connsiteY235" fmla="*/ 199149 h 489924"/>
                <a:gd name="connsiteX236" fmla="*/ 567464 w 704451"/>
                <a:gd name="connsiteY236" fmla="*/ 198890 h 489924"/>
                <a:gd name="connsiteX237" fmla="*/ 566689 w 704451"/>
                <a:gd name="connsiteY237" fmla="*/ 198632 h 489924"/>
                <a:gd name="connsiteX238" fmla="*/ 565914 w 704451"/>
                <a:gd name="connsiteY238" fmla="*/ 198244 h 489924"/>
                <a:gd name="connsiteX239" fmla="*/ 565138 w 704451"/>
                <a:gd name="connsiteY239" fmla="*/ 197469 h 489924"/>
                <a:gd name="connsiteX240" fmla="*/ 564880 w 704451"/>
                <a:gd name="connsiteY240" fmla="*/ 196693 h 489924"/>
                <a:gd name="connsiteX241" fmla="*/ 564880 w 704451"/>
                <a:gd name="connsiteY241" fmla="*/ 195918 h 489924"/>
                <a:gd name="connsiteX242" fmla="*/ 565267 w 704451"/>
                <a:gd name="connsiteY242" fmla="*/ 194626 h 489924"/>
                <a:gd name="connsiteX243" fmla="*/ 565526 w 704451"/>
                <a:gd name="connsiteY243" fmla="*/ 193075 h 489924"/>
                <a:gd name="connsiteX244" fmla="*/ 565655 w 704451"/>
                <a:gd name="connsiteY244" fmla="*/ 188552 h 489924"/>
                <a:gd name="connsiteX245" fmla="*/ 565397 w 704451"/>
                <a:gd name="connsiteY245" fmla="*/ 187518 h 489924"/>
                <a:gd name="connsiteX246" fmla="*/ 565009 w 704451"/>
                <a:gd name="connsiteY246" fmla="*/ 186742 h 489924"/>
                <a:gd name="connsiteX247" fmla="*/ 564233 w 704451"/>
                <a:gd name="connsiteY247" fmla="*/ 185838 h 489924"/>
                <a:gd name="connsiteX248" fmla="*/ 563200 w 704451"/>
                <a:gd name="connsiteY248" fmla="*/ 184287 h 489924"/>
                <a:gd name="connsiteX249" fmla="*/ 562812 w 704451"/>
                <a:gd name="connsiteY249" fmla="*/ 183899 h 489924"/>
                <a:gd name="connsiteX250" fmla="*/ 561907 w 704451"/>
                <a:gd name="connsiteY250" fmla="*/ 183253 h 489924"/>
                <a:gd name="connsiteX251" fmla="*/ 561132 w 704451"/>
                <a:gd name="connsiteY251" fmla="*/ 182736 h 489924"/>
                <a:gd name="connsiteX252" fmla="*/ 560744 w 704451"/>
                <a:gd name="connsiteY252" fmla="*/ 182478 h 489924"/>
                <a:gd name="connsiteX253" fmla="*/ 558289 w 704451"/>
                <a:gd name="connsiteY253" fmla="*/ 181702 h 489924"/>
                <a:gd name="connsiteX254" fmla="*/ 557643 w 704451"/>
                <a:gd name="connsiteY254" fmla="*/ 181444 h 489924"/>
                <a:gd name="connsiteX255" fmla="*/ 556996 w 704451"/>
                <a:gd name="connsiteY255" fmla="*/ 180927 h 489924"/>
                <a:gd name="connsiteX256" fmla="*/ 556480 w 704451"/>
                <a:gd name="connsiteY256" fmla="*/ 180281 h 489924"/>
                <a:gd name="connsiteX257" fmla="*/ 555704 w 704451"/>
                <a:gd name="connsiteY257" fmla="*/ 179118 h 489924"/>
                <a:gd name="connsiteX258" fmla="*/ 555187 w 704451"/>
                <a:gd name="connsiteY258" fmla="*/ 178471 h 489924"/>
                <a:gd name="connsiteX259" fmla="*/ 554670 w 704451"/>
                <a:gd name="connsiteY259" fmla="*/ 177955 h 489924"/>
                <a:gd name="connsiteX260" fmla="*/ 553507 w 704451"/>
                <a:gd name="connsiteY260" fmla="*/ 177438 h 489924"/>
                <a:gd name="connsiteX261" fmla="*/ 552990 w 704451"/>
                <a:gd name="connsiteY261" fmla="*/ 177050 h 489924"/>
                <a:gd name="connsiteX262" fmla="*/ 552603 w 704451"/>
                <a:gd name="connsiteY262" fmla="*/ 176533 h 489924"/>
                <a:gd name="connsiteX263" fmla="*/ 551439 w 704451"/>
                <a:gd name="connsiteY263" fmla="*/ 174594 h 489924"/>
                <a:gd name="connsiteX264" fmla="*/ 549759 w 704451"/>
                <a:gd name="connsiteY264" fmla="*/ 172527 h 489924"/>
                <a:gd name="connsiteX265" fmla="*/ 548079 w 704451"/>
                <a:gd name="connsiteY265" fmla="*/ 169813 h 489924"/>
                <a:gd name="connsiteX266" fmla="*/ 547433 w 704451"/>
                <a:gd name="connsiteY266" fmla="*/ 168391 h 489924"/>
                <a:gd name="connsiteX267" fmla="*/ 547045 w 704451"/>
                <a:gd name="connsiteY267" fmla="*/ 167099 h 489924"/>
                <a:gd name="connsiteX268" fmla="*/ 546658 w 704451"/>
                <a:gd name="connsiteY268" fmla="*/ 166453 h 489924"/>
                <a:gd name="connsiteX269" fmla="*/ 546141 w 704451"/>
                <a:gd name="connsiteY269" fmla="*/ 165807 h 489924"/>
                <a:gd name="connsiteX270" fmla="*/ 546012 w 704451"/>
                <a:gd name="connsiteY270" fmla="*/ 165160 h 489924"/>
                <a:gd name="connsiteX271" fmla="*/ 546270 w 704451"/>
                <a:gd name="connsiteY271" fmla="*/ 163868 h 489924"/>
                <a:gd name="connsiteX272" fmla="*/ 546141 w 704451"/>
                <a:gd name="connsiteY272" fmla="*/ 163351 h 489924"/>
                <a:gd name="connsiteX273" fmla="*/ 545753 w 704451"/>
                <a:gd name="connsiteY273" fmla="*/ 163093 h 489924"/>
                <a:gd name="connsiteX274" fmla="*/ 545236 w 704451"/>
                <a:gd name="connsiteY274" fmla="*/ 163222 h 489924"/>
                <a:gd name="connsiteX275" fmla="*/ 544719 w 704451"/>
                <a:gd name="connsiteY275" fmla="*/ 163480 h 489924"/>
                <a:gd name="connsiteX276" fmla="*/ 544073 w 704451"/>
                <a:gd name="connsiteY276" fmla="*/ 163480 h 489924"/>
                <a:gd name="connsiteX277" fmla="*/ 543556 w 704451"/>
                <a:gd name="connsiteY277" fmla="*/ 163351 h 489924"/>
                <a:gd name="connsiteX278" fmla="*/ 542393 w 704451"/>
                <a:gd name="connsiteY278" fmla="*/ 162576 h 489924"/>
                <a:gd name="connsiteX279" fmla="*/ 540455 w 704451"/>
                <a:gd name="connsiteY279" fmla="*/ 159345 h 489924"/>
                <a:gd name="connsiteX280" fmla="*/ 539808 w 704451"/>
                <a:gd name="connsiteY280" fmla="*/ 158957 h 489924"/>
                <a:gd name="connsiteX281" fmla="*/ 539033 w 704451"/>
                <a:gd name="connsiteY281" fmla="*/ 158570 h 489924"/>
                <a:gd name="connsiteX282" fmla="*/ 538258 w 704451"/>
                <a:gd name="connsiteY282" fmla="*/ 158440 h 489924"/>
                <a:gd name="connsiteX283" fmla="*/ 537741 w 704451"/>
                <a:gd name="connsiteY283" fmla="*/ 158053 h 489924"/>
                <a:gd name="connsiteX284" fmla="*/ 537224 w 704451"/>
                <a:gd name="connsiteY284" fmla="*/ 157277 h 489924"/>
                <a:gd name="connsiteX285" fmla="*/ 536578 w 704451"/>
                <a:gd name="connsiteY285" fmla="*/ 155209 h 489924"/>
                <a:gd name="connsiteX286" fmla="*/ 536578 w 704451"/>
                <a:gd name="connsiteY286" fmla="*/ 154434 h 489924"/>
                <a:gd name="connsiteX287" fmla="*/ 536836 w 704451"/>
                <a:gd name="connsiteY287" fmla="*/ 153917 h 489924"/>
                <a:gd name="connsiteX288" fmla="*/ 537353 w 704451"/>
                <a:gd name="connsiteY288" fmla="*/ 153659 h 489924"/>
                <a:gd name="connsiteX289" fmla="*/ 538645 w 704451"/>
                <a:gd name="connsiteY289" fmla="*/ 153400 h 489924"/>
                <a:gd name="connsiteX290" fmla="*/ 539162 w 704451"/>
                <a:gd name="connsiteY290" fmla="*/ 153012 h 489924"/>
                <a:gd name="connsiteX291" fmla="*/ 539550 w 704451"/>
                <a:gd name="connsiteY291" fmla="*/ 152625 h 489924"/>
                <a:gd name="connsiteX292" fmla="*/ 540196 w 704451"/>
                <a:gd name="connsiteY292" fmla="*/ 151591 h 489924"/>
                <a:gd name="connsiteX293" fmla="*/ 540455 w 704451"/>
                <a:gd name="connsiteY293" fmla="*/ 150428 h 489924"/>
                <a:gd name="connsiteX294" fmla="*/ 540713 w 704451"/>
                <a:gd name="connsiteY294" fmla="*/ 148877 h 489924"/>
                <a:gd name="connsiteX295" fmla="*/ 540971 w 704451"/>
                <a:gd name="connsiteY295" fmla="*/ 143449 h 489924"/>
                <a:gd name="connsiteX296" fmla="*/ 541876 w 704451"/>
                <a:gd name="connsiteY296" fmla="*/ 137504 h 489924"/>
                <a:gd name="connsiteX297" fmla="*/ 541747 w 704451"/>
                <a:gd name="connsiteY297" fmla="*/ 136471 h 489924"/>
                <a:gd name="connsiteX298" fmla="*/ 541359 w 704451"/>
                <a:gd name="connsiteY298" fmla="*/ 135695 h 489924"/>
                <a:gd name="connsiteX299" fmla="*/ 540584 w 704451"/>
                <a:gd name="connsiteY299" fmla="*/ 135049 h 489924"/>
                <a:gd name="connsiteX300" fmla="*/ 539162 w 704451"/>
                <a:gd name="connsiteY300" fmla="*/ 133757 h 489924"/>
                <a:gd name="connsiteX301" fmla="*/ 538258 w 704451"/>
                <a:gd name="connsiteY301" fmla="*/ 132594 h 489924"/>
                <a:gd name="connsiteX302" fmla="*/ 536190 w 704451"/>
                <a:gd name="connsiteY302" fmla="*/ 129234 h 489924"/>
                <a:gd name="connsiteX303" fmla="*/ 534768 w 704451"/>
                <a:gd name="connsiteY303" fmla="*/ 126132 h 489924"/>
                <a:gd name="connsiteX304" fmla="*/ 534251 w 704451"/>
                <a:gd name="connsiteY304" fmla="*/ 123935 h 489924"/>
                <a:gd name="connsiteX305" fmla="*/ 534122 w 704451"/>
                <a:gd name="connsiteY305" fmla="*/ 119282 h 489924"/>
                <a:gd name="connsiteX306" fmla="*/ 533864 w 704451"/>
                <a:gd name="connsiteY306" fmla="*/ 117732 h 489924"/>
                <a:gd name="connsiteX307" fmla="*/ 533347 w 704451"/>
                <a:gd name="connsiteY307" fmla="*/ 116698 h 489924"/>
                <a:gd name="connsiteX308" fmla="*/ 532959 w 704451"/>
                <a:gd name="connsiteY308" fmla="*/ 116181 h 489924"/>
                <a:gd name="connsiteX309" fmla="*/ 531796 w 704451"/>
                <a:gd name="connsiteY309" fmla="*/ 115276 h 489924"/>
                <a:gd name="connsiteX310" fmla="*/ 531150 w 704451"/>
                <a:gd name="connsiteY310" fmla="*/ 114372 h 489924"/>
                <a:gd name="connsiteX311" fmla="*/ 531021 w 704451"/>
                <a:gd name="connsiteY311" fmla="*/ 113726 h 489924"/>
                <a:gd name="connsiteX312" fmla="*/ 531150 w 704451"/>
                <a:gd name="connsiteY312" fmla="*/ 113079 h 489924"/>
                <a:gd name="connsiteX313" fmla="*/ 531408 w 704451"/>
                <a:gd name="connsiteY313" fmla="*/ 112562 h 489924"/>
                <a:gd name="connsiteX314" fmla="*/ 531537 w 704451"/>
                <a:gd name="connsiteY314" fmla="*/ 111916 h 489924"/>
                <a:gd name="connsiteX315" fmla="*/ 531667 w 704451"/>
                <a:gd name="connsiteY315" fmla="*/ 111529 h 489924"/>
                <a:gd name="connsiteX316" fmla="*/ 532184 w 704451"/>
                <a:gd name="connsiteY316" fmla="*/ 110107 h 489924"/>
                <a:gd name="connsiteX317" fmla="*/ 535027 w 704451"/>
                <a:gd name="connsiteY317" fmla="*/ 102353 h 489924"/>
                <a:gd name="connsiteX318" fmla="*/ 535156 w 704451"/>
                <a:gd name="connsiteY318" fmla="*/ 100673 h 489924"/>
                <a:gd name="connsiteX319" fmla="*/ 534639 w 704451"/>
                <a:gd name="connsiteY319" fmla="*/ 95374 h 489924"/>
                <a:gd name="connsiteX320" fmla="*/ 532571 w 704451"/>
                <a:gd name="connsiteY320" fmla="*/ 85165 h 489924"/>
                <a:gd name="connsiteX321" fmla="*/ 529211 w 704451"/>
                <a:gd name="connsiteY321" fmla="*/ 77799 h 489924"/>
                <a:gd name="connsiteX322" fmla="*/ 526368 w 704451"/>
                <a:gd name="connsiteY322" fmla="*/ 73663 h 489924"/>
                <a:gd name="connsiteX323" fmla="*/ 523783 w 704451"/>
                <a:gd name="connsiteY323" fmla="*/ 71337 h 489924"/>
                <a:gd name="connsiteX324" fmla="*/ 523396 w 704451"/>
                <a:gd name="connsiteY324" fmla="*/ 70691 h 489924"/>
                <a:gd name="connsiteX325" fmla="*/ 523137 w 704451"/>
                <a:gd name="connsiteY325" fmla="*/ 69786 h 489924"/>
                <a:gd name="connsiteX326" fmla="*/ 523137 w 704451"/>
                <a:gd name="connsiteY326" fmla="*/ 68752 h 489924"/>
                <a:gd name="connsiteX327" fmla="*/ 522879 w 704451"/>
                <a:gd name="connsiteY327" fmla="*/ 67331 h 489924"/>
                <a:gd name="connsiteX328" fmla="*/ 522491 w 704451"/>
                <a:gd name="connsiteY328" fmla="*/ 66685 h 489924"/>
                <a:gd name="connsiteX329" fmla="*/ 521845 w 704451"/>
                <a:gd name="connsiteY329" fmla="*/ 66297 h 489924"/>
                <a:gd name="connsiteX330" fmla="*/ 521199 w 704451"/>
                <a:gd name="connsiteY330" fmla="*/ 66297 h 489924"/>
                <a:gd name="connsiteX331" fmla="*/ 519906 w 704451"/>
                <a:gd name="connsiteY331" fmla="*/ 66555 h 489924"/>
                <a:gd name="connsiteX332" fmla="*/ 519260 w 704451"/>
                <a:gd name="connsiteY332" fmla="*/ 66555 h 489924"/>
                <a:gd name="connsiteX333" fmla="*/ 518614 w 704451"/>
                <a:gd name="connsiteY333" fmla="*/ 66426 h 489924"/>
                <a:gd name="connsiteX334" fmla="*/ 516288 w 704451"/>
                <a:gd name="connsiteY334" fmla="*/ 65392 h 489924"/>
                <a:gd name="connsiteX335" fmla="*/ 515254 w 704451"/>
                <a:gd name="connsiteY335" fmla="*/ 64875 h 489924"/>
                <a:gd name="connsiteX336" fmla="*/ 512282 w 704451"/>
                <a:gd name="connsiteY336" fmla="*/ 62937 h 489924"/>
                <a:gd name="connsiteX337" fmla="*/ 511248 w 704451"/>
                <a:gd name="connsiteY337" fmla="*/ 62549 h 489924"/>
                <a:gd name="connsiteX338" fmla="*/ 508017 w 704451"/>
                <a:gd name="connsiteY338" fmla="*/ 62291 h 489924"/>
                <a:gd name="connsiteX339" fmla="*/ 506854 w 704451"/>
                <a:gd name="connsiteY339" fmla="*/ 62032 h 489924"/>
                <a:gd name="connsiteX340" fmla="*/ 505432 w 704451"/>
                <a:gd name="connsiteY340" fmla="*/ 61127 h 489924"/>
                <a:gd name="connsiteX341" fmla="*/ 503881 w 704451"/>
                <a:gd name="connsiteY341" fmla="*/ 59577 h 489924"/>
                <a:gd name="connsiteX342" fmla="*/ 503494 w 704451"/>
                <a:gd name="connsiteY342" fmla="*/ 58543 h 489924"/>
                <a:gd name="connsiteX343" fmla="*/ 503881 w 704451"/>
                <a:gd name="connsiteY343" fmla="*/ 55312 h 489924"/>
                <a:gd name="connsiteX344" fmla="*/ 503235 w 704451"/>
                <a:gd name="connsiteY344" fmla="*/ 53890 h 489924"/>
                <a:gd name="connsiteX345" fmla="*/ 501684 w 704451"/>
                <a:gd name="connsiteY345" fmla="*/ 52856 h 489924"/>
                <a:gd name="connsiteX346" fmla="*/ 498324 w 704451"/>
                <a:gd name="connsiteY346" fmla="*/ 51306 h 489924"/>
                <a:gd name="connsiteX347" fmla="*/ 497420 w 704451"/>
                <a:gd name="connsiteY347" fmla="*/ 50013 h 489924"/>
                <a:gd name="connsiteX348" fmla="*/ 497678 w 704451"/>
                <a:gd name="connsiteY348" fmla="*/ 47041 h 489924"/>
                <a:gd name="connsiteX349" fmla="*/ 497291 w 704451"/>
                <a:gd name="connsiteY349" fmla="*/ 45232 h 489924"/>
                <a:gd name="connsiteX350" fmla="*/ 496386 w 704451"/>
                <a:gd name="connsiteY350" fmla="*/ 44327 h 489924"/>
                <a:gd name="connsiteX351" fmla="*/ 495223 w 704451"/>
                <a:gd name="connsiteY351" fmla="*/ 43810 h 489924"/>
                <a:gd name="connsiteX352" fmla="*/ 494318 w 704451"/>
                <a:gd name="connsiteY352" fmla="*/ 44327 h 489924"/>
                <a:gd name="connsiteX353" fmla="*/ 494318 w 704451"/>
                <a:gd name="connsiteY353" fmla="*/ 46136 h 489924"/>
                <a:gd name="connsiteX354" fmla="*/ 492380 w 704451"/>
                <a:gd name="connsiteY354" fmla="*/ 45361 h 489924"/>
                <a:gd name="connsiteX355" fmla="*/ 491087 w 704451"/>
                <a:gd name="connsiteY355" fmla="*/ 45232 h 489924"/>
                <a:gd name="connsiteX356" fmla="*/ 483462 w 704451"/>
                <a:gd name="connsiteY356" fmla="*/ 47558 h 489924"/>
                <a:gd name="connsiteX357" fmla="*/ 482558 w 704451"/>
                <a:gd name="connsiteY357" fmla="*/ 47946 h 489924"/>
                <a:gd name="connsiteX358" fmla="*/ 480619 w 704451"/>
                <a:gd name="connsiteY358" fmla="*/ 48592 h 489924"/>
                <a:gd name="connsiteX359" fmla="*/ 471702 w 704451"/>
                <a:gd name="connsiteY359" fmla="*/ 49496 h 489924"/>
                <a:gd name="connsiteX360" fmla="*/ 468859 w 704451"/>
                <a:gd name="connsiteY360" fmla="*/ 48850 h 489924"/>
                <a:gd name="connsiteX361" fmla="*/ 467696 w 704451"/>
                <a:gd name="connsiteY361" fmla="*/ 48333 h 489924"/>
                <a:gd name="connsiteX362" fmla="*/ 465887 w 704451"/>
                <a:gd name="connsiteY362" fmla="*/ 47946 h 489924"/>
                <a:gd name="connsiteX363" fmla="*/ 464207 w 704451"/>
                <a:gd name="connsiteY363" fmla="*/ 48075 h 489924"/>
                <a:gd name="connsiteX364" fmla="*/ 463431 w 704451"/>
                <a:gd name="connsiteY364" fmla="*/ 48850 h 489924"/>
                <a:gd name="connsiteX365" fmla="*/ 462785 w 704451"/>
                <a:gd name="connsiteY365" fmla="*/ 50013 h 489924"/>
                <a:gd name="connsiteX366" fmla="*/ 461234 w 704451"/>
                <a:gd name="connsiteY366" fmla="*/ 49884 h 489924"/>
                <a:gd name="connsiteX367" fmla="*/ 459425 w 704451"/>
                <a:gd name="connsiteY367" fmla="*/ 49109 h 489924"/>
                <a:gd name="connsiteX368" fmla="*/ 458262 w 704451"/>
                <a:gd name="connsiteY368" fmla="*/ 48463 h 489924"/>
                <a:gd name="connsiteX369" fmla="*/ 456065 w 704451"/>
                <a:gd name="connsiteY369" fmla="*/ 46524 h 489924"/>
                <a:gd name="connsiteX370" fmla="*/ 454643 w 704451"/>
                <a:gd name="connsiteY370" fmla="*/ 45619 h 489924"/>
                <a:gd name="connsiteX371" fmla="*/ 452834 w 704451"/>
                <a:gd name="connsiteY371" fmla="*/ 45232 h 489924"/>
                <a:gd name="connsiteX372" fmla="*/ 451154 w 704451"/>
                <a:gd name="connsiteY372" fmla="*/ 45619 h 489924"/>
                <a:gd name="connsiteX373" fmla="*/ 449991 w 704451"/>
                <a:gd name="connsiteY373" fmla="*/ 46653 h 489924"/>
                <a:gd name="connsiteX374" fmla="*/ 448053 w 704451"/>
                <a:gd name="connsiteY374" fmla="*/ 49238 h 489924"/>
                <a:gd name="connsiteX375" fmla="*/ 446889 w 704451"/>
                <a:gd name="connsiteY375" fmla="*/ 48721 h 489924"/>
                <a:gd name="connsiteX376" fmla="*/ 440299 w 704451"/>
                <a:gd name="connsiteY376" fmla="*/ 49238 h 489924"/>
                <a:gd name="connsiteX377" fmla="*/ 439652 w 704451"/>
                <a:gd name="connsiteY377" fmla="*/ 49109 h 489924"/>
                <a:gd name="connsiteX378" fmla="*/ 439006 w 704451"/>
                <a:gd name="connsiteY378" fmla="*/ 48850 h 489924"/>
                <a:gd name="connsiteX379" fmla="*/ 438489 w 704451"/>
                <a:gd name="connsiteY379" fmla="*/ 48592 h 489924"/>
                <a:gd name="connsiteX380" fmla="*/ 437972 w 704451"/>
                <a:gd name="connsiteY380" fmla="*/ 48204 h 489924"/>
                <a:gd name="connsiteX381" fmla="*/ 435775 w 704451"/>
                <a:gd name="connsiteY381" fmla="*/ 47558 h 489924"/>
                <a:gd name="connsiteX382" fmla="*/ 426729 w 704451"/>
                <a:gd name="connsiteY382" fmla="*/ 46266 h 489924"/>
                <a:gd name="connsiteX383" fmla="*/ 423757 w 704451"/>
                <a:gd name="connsiteY383" fmla="*/ 46266 h 489924"/>
                <a:gd name="connsiteX384" fmla="*/ 421560 w 704451"/>
                <a:gd name="connsiteY384" fmla="*/ 46653 h 489924"/>
                <a:gd name="connsiteX385" fmla="*/ 419363 w 704451"/>
                <a:gd name="connsiteY385" fmla="*/ 48333 h 489924"/>
                <a:gd name="connsiteX386" fmla="*/ 417941 w 704451"/>
                <a:gd name="connsiteY386" fmla="*/ 49109 h 489924"/>
                <a:gd name="connsiteX387" fmla="*/ 416261 w 704451"/>
                <a:gd name="connsiteY387" fmla="*/ 49755 h 489924"/>
                <a:gd name="connsiteX388" fmla="*/ 413676 w 704451"/>
                <a:gd name="connsiteY388" fmla="*/ 50143 h 489924"/>
                <a:gd name="connsiteX389" fmla="*/ 411996 w 704451"/>
                <a:gd name="connsiteY389" fmla="*/ 50013 h 489924"/>
                <a:gd name="connsiteX390" fmla="*/ 410575 w 704451"/>
                <a:gd name="connsiteY390" fmla="*/ 49496 h 489924"/>
                <a:gd name="connsiteX391" fmla="*/ 409799 w 704451"/>
                <a:gd name="connsiteY391" fmla="*/ 48850 h 489924"/>
                <a:gd name="connsiteX392" fmla="*/ 409024 w 704451"/>
                <a:gd name="connsiteY392" fmla="*/ 47816 h 489924"/>
                <a:gd name="connsiteX393" fmla="*/ 408378 w 704451"/>
                <a:gd name="connsiteY393" fmla="*/ 46524 h 489924"/>
                <a:gd name="connsiteX394" fmla="*/ 407344 w 704451"/>
                <a:gd name="connsiteY394" fmla="*/ 43552 h 489924"/>
                <a:gd name="connsiteX395" fmla="*/ 406569 w 704451"/>
                <a:gd name="connsiteY395" fmla="*/ 42130 h 489924"/>
                <a:gd name="connsiteX396" fmla="*/ 402045 w 704451"/>
                <a:gd name="connsiteY396" fmla="*/ 36315 h 489924"/>
                <a:gd name="connsiteX397" fmla="*/ 400882 w 704451"/>
                <a:gd name="connsiteY397" fmla="*/ 35410 h 489924"/>
                <a:gd name="connsiteX398" fmla="*/ 399590 w 704451"/>
                <a:gd name="connsiteY398" fmla="*/ 34635 h 489924"/>
                <a:gd name="connsiteX399" fmla="*/ 386667 w 704451"/>
                <a:gd name="connsiteY399" fmla="*/ 31404 h 489924"/>
                <a:gd name="connsiteX400" fmla="*/ 374906 w 704451"/>
                <a:gd name="connsiteY400" fmla="*/ 28302 h 489924"/>
                <a:gd name="connsiteX401" fmla="*/ 367282 w 704451"/>
                <a:gd name="connsiteY401" fmla="*/ 25200 h 489924"/>
                <a:gd name="connsiteX402" fmla="*/ 358494 w 704451"/>
                <a:gd name="connsiteY402" fmla="*/ 19256 h 489924"/>
                <a:gd name="connsiteX403" fmla="*/ 356038 w 704451"/>
                <a:gd name="connsiteY403" fmla="*/ 17963 h 489924"/>
                <a:gd name="connsiteX404" fmla="*/ 352937 w 704451"/>
                <a:gd name="connsiteY404" fmla="*/ 16671 h 489924"/>
                <a:gd name="connsiteX405" fmla="*/ 350998 w 704451"/>
                <a:gd name="connsiteY405" fmla="*/ 15508 h 489924"/>
                <a:gd name="connsiteX406" fmla="*/ 349706 w 704451"/>
                <a:gd name="connsiteY406" fmla="*/ 14991 h 489924"/>
                <a:gd name="connsiteX407" fmla="*/ 348801 w 704451"/>
                <a:gd name="connsiteY407" fmla="*/ 14733 h 489924"/>
                <a:gd name="connsiteX408" fmla="*/ 348026 w 704451"/>
                <a:gd name="connsiteY408" fmla="*/ 14733 h 489924"/>
                <a:gd name="connsiteX409" fmla="*/ 347380 w 704451"/>
                <a:gd name="connsiteY409" fmla="*/ 14862 h 489924"/>
                <a:gd name="connsiteX410" fmla="*/ 346217 w 704451"/>
                <a:gd name="connsiteY410" fmla="*/ 15250 h 489924"/>
                <a:gd name="connsiteX411" fmla="*/ 345312 w 704451"/>
                <a:gd name="connsiteY411" fmla="*/ 15379 h 489924"/>
                <a:gd name="connsiteX412" fmla="*/ 344149 w 704451"/>
                <a:gd name="connsiteY412" fmla="*/ 15379 h 489924"/>
                <a:gd name="connsiteX413" fmla="*/ 341952 w 704451"/>
                <a:gd name="connsiteY413" fmla="*/ 15120 h 489924"/>
                <a:gd name="connsiteX414" fmla="*/ 340789 w 704451"/>
                <a:gd name="connsiteY414" fmla="*/ 15120 h 489924"/>
                <a:gd name="connsiteX415" fmla="*/ 340013 w 704451"/>
                <a:gd name="connsiteY415" fmla="*/ 15379 h 489924"/>
                <a:gd name="connsiteX416" fmla="*/ 339496 w 704451"/>
                <a:gd name="connsiteY416" fmla="*/ 15767 h 489924"/>
                <a:gd name="connsiteX417" fmla="*/ 337041 w 704451"/>
                <a:gd name="connsiteY417" fmla="*/ 17188 h 489924"/>
                <a:gd name="connsiteX418" fmla="*/ 336395 w 704451"/>
                <a:gd name="connsiteY418" fmla="*/ 17705 h 489924"/>
                <a:gd name="connsiteX419" fmla="*/ 336007 w 704451"/>
                <a:gd name="connsiteY419" fmla="*/ 17963 h 489924"/>
                <a:gd name="connsiteX420" fmla="*/ 334456 w 704451"/>
                <a:gd name="connsiteY420" fmla="*/ 18480 h 489924"/>
                <a:gd name="connsiteX421" fmla="*/ 332259 w 704451"/>
                <a:gd name="connsiteY421" fmla="*/ 18868 h 489924"/>
                <a:gd name="connsiteX422" fmla="*/ 328253 w 704451"/>
                <a:gd name="connsiteY422" fmla="*/ 18868 h 489924"/>
                <a:gd name="connsiteX423" fmla="*/ 326056 w 704451"/>
                <a:gd name="connsiteY423" fmla="*/ 18480 h 489924"/>
                <a:gd name="connsiteX424" fmla="*/ 323988 w 704451"/>
                <a:gd name="connsiteY424" fmla="*/ 17705 h 489924"/>
                <a:gd name="connsiteX425" fmla="*/ 320241 w 704451"/>
                <a:gd name="connsiteY425" fmla="*/ 15767 h 489924"/>
                <a:gd name="connsiteX426" fmla="*/ 318302 w 704451"/>
                <a:gd name="connsiteY426" fmla="*/ 15120 h 489924"/>
                <a:gd name="connsiteX427" fmla="*/ 316234 w 704451"/>
                <a:gd name="connsiteY427" fmla="*/ 15120 h 489924"/>
                <a:gd name="connsiteX428" fmla="*/ 314167 w 704451"/>
                <a:gd name="connsiteY428" fmla="*/ 16283 h 489924"/>
                <a:gd name="connsiteX429" fmla="*/ 312487 w 704451"/>
                <a:gd name="connsiteY429" fmla="*/ 16283 h 489924"/>
                <a:gd name="connsiteX430" fmla="*/ 310419 w 704451"/>
                <a:gd name="connsiteY430" fmla="*/ 14603 h 489924"/>
                <a:gd name="connsiteX431" fmla="*/ 307188 w 704451"/>
                <a:gd name="connsiteY431" fmla="*/ 11114 h 489924"/>
                <a:gd name="connsiteX432" fmla="*/ 304862 w 704451"/>
                <a:gd name="connsiteY432" fmla="*/ 10468 h 489924"/>
                <a:gd name="connsiteX433" fmla="*/ 298013 w 704451"/>
                <a:gd name="connsiteY433" fmla="*/ 11114 h 489924"/>
                <a:gd name="connsiteX434" fmla="*/ 295299 w 704451"/>
                <a:gd name="connsiteY434" fmla="*/ 10856 h 489924"/>
                <a:gd name="connsiteX435" fmla="*/ 293231 w 704451"/>
                <a:gd name="connsiteY435" fmla="*/ 10209 h 489924"/>
                <a:gd name="connsiteX436" fmla="*/ 281600 w 704451"/>
                <a:gd name="connsiteY436" fmla="*/ 3102 h 489924"/>
                <a:gd name="connsiteX437" fmla="*/ 277077 w 704451"/>
                <a:gd name="connsiteY437" fmla="*/ 1163 h 489924"/>
                <a:gd name="connsiteX438" fmla="*/ 272683 w 704451"/>
                <a:gd name="connsiteY438" fmla="*/ 0 h 489924"/>
                <a:gd name="connsiteX439" fmla="*/ 270227 w 704451"/>
                <a:gd name="connsiteY439" fmla="*/ 129 h 489924"/>
                <a:gd name="connsiteX440" fmla="*/ 267255 w 704451"/>
                <a:gd name="connsiteY440" fmla="*/ 905 h 489924"/>
                <a:gd name="connsiteX441" fmla="*/ 264799 w 704451"/>
                <a:gd name="connsiteY441" fmla="*/ 2326 h 489924"/>
                <a:gd name="connsiteX442" fmla="*/ 263765 w 704451"/>
                <a:gd name="connsiteY442" fmla="*/ 4394 h 489924"/>
                <a:gd name="connsiteX443" fmla="*/ 263378 w 704451"/>
                <a:gd name="connsiteY443" fmla="*/ 6720 h 489924"/>
                <a:gd name="connsiteX444" fmla="*/ 262473 w 704451"/>
                <a:gd name="connsiteY444" fmla="*/ 9434 h 489924"/>
                <a:gd name="connsiteX445" fmla="*/ 261052 w 704451"/>
                <a:gd name="connsiteY445" fmla="*/ 11889 h 489924"/>
                <a:gd name="connsiteX446" fmla="*/ 259372 w 704451"/>
                <a:gd name="connsiteY446" fmla="*/ 13440 h 489924"/>
                <a:gd name="connsiteX447" fmla="*/ 256528 w 704451"/>
                <a:gd name="connsiteY447" fmla="*/ 14086 h 489924"/>
                <a:gd name="connsiteX448" fmla="*/ 255365 w 704451"/>
                <a:gd name="connsiteY448" fmla="*/ 12923 h 489924"/>
                <a:gd name="connsiteX449" fmla="*/ 254848 w 704451"/>
                <a:gd name="connsiteY449" fmla="*/ 11114 h 489924"/>
                <a:gd name="connsiteX450" fmla="*/ 253944 w 704451"/>
                <a:gd name="connsiteY450" fmla="*/ 10209 h 489924"/>
                <a:gd name="connsiteX451" fmla="*/ 253298 w 704451"/>
                <a:gd name="connsiteY451" fmla="*/ 9951 h 489924"/>
                <a:gd name="connsiteX452" fmla="*/ 252651 w 704451"/>
                <a:gd name="connsiteY452" fmla="*/ 9434 h 489924"/>
                <a:gd name="connsiteX453" fmla="*/ 251747 w 704451"/>
                <a:gd name="connsiteY453" fmla="*/ 8917 h 489924"/>
                <a:gd name="connsiteX454" fmla="*/ 250325 w 704451"/>
                <a:gd name="connsiteY454" fmla="*/ 8659 h 489924"/>
                <a:gd name="connsiteX455" fmla="*/ 249162 w 704451"/>
                <a:gd name="connsiteY455" fmla="*/ 9046 h 489924"/>
                <a:gd name="connsiteX456" fmla="*/ 246319 w 704451"/>
                <a:gd name="connsiteY456" fmla="*/ 11114 h 489924"/>
                <a:gd name="connsiteX457" fmla="*/ 243864 w 704451"/>
                <a:gd name="connsiteY457" fmla="*/ 11114 h 489924"/>
                <a:gd name="connsiteX458" fmla="*/ 238953 w 704451"/>
                <a:gd name="connsiteY458" fmla="*/ 9822 h 489924"/>
                <a:gd name="connsiteX459" fmla="*/ 236497 w 704451"/>
                <a:gd name="connsiteY459" fmla="*/ 9434 h 489924"/>
                <a:gd name="connsiteX460" fmla="*/ 232232 w 704451"/>
                <a:gd name="connsiteY460" fmla="*/ 9305 h 489924"/>
                <a:gd name="connsiteX461" fmla="*/ 230553 w 704451"/>
                <a:gd name="connsiteY461" fmla="*/ 9563 h 489924"/>
                <a:gd name="connsiteX462" fmla="*/ 228743 w 704451"/>
                <a:gd name="connsiteY462" fmla="*/ 10209 h 489924"/>
                <a:gd name="connsiteX463" fmla="*/ 224220 w 704451"/>
                <a:gd name="connsiteY463" fmla="*/ 10726 h 489924"/>
                <a:gd name="connsiteX464" fmla="*/ 220989 w 704451"/>
                <a:gd name="connsiteY464" fmla="*/ 8529 h 489924"/>
                <a:gd name="connsiteX465" fmla="*/ 218017 w 704451"/>
                <a:gd name="connsiteY465" fmla="*/ 6074 h 489924"/>
                <a:gd name="connsiteX466" fmla="*/ 214269 w 704451"/>
                <a:gd name="connsiteY466" fmla="*/ 5557 h 489924"/>
                <a:gd name="connsiteX467" fmla="*/ 208195 w 704451"/>
                <a:gd name="connsiteY467" fmla="*/ 8917 h 489924"/>
                <a:gd name="connsiteX468" fmla="*/ 205740 w 704451"/>
                <a:gd name="connsiteY468" fmla="*/ 9434 h 489924"/>
                <a:gd name="connsiteX469" fmla="*/ 195013 w 704451"/>
                <a:gd name="connsiteY469" fmla="*/ 7754 h 489924"/>
                <a:gd name="connsiteX470" fmla="*/ 190361 w 704451"/>
                <a:gd name="connsiteY470" fmla="*/ 7883 h 489924"/>
                <a:gd name="connsiteX471" fmla="*/ 188552 w 704451"/>
                <a:gd name="connsiteY471" fmla="*/ 7496 h 489924"/>
                <a:gd name="connsiteX472" fmla="*/ 185838 w 704451"/>
                <a:gd name="connsiteY472" fmla="*/ 5815 h 489924"/>
                <a:gd name="connsiteX473" fmla="*/ 184416 w 704451"/>
                <a:gd name="connsiteY473" fmla="*/ 5428 h 489924"/>
                <a:gd name="connsiteX474" fmla="*/ 178601 w 704451"/>
                <a:gd name="connsiteY474" fmla="*/ 5557 h 489924"/>
                <a:gd name="connsiteX475" fmla="*/ 176404 w 704451"/>
                <a:gd name="connsiteY475" fmla="*/ 6203 h 489924"/>
                <a:gd name="connsiteX476" fmla="*/ 173819 w 704451"/>
                <a:gd name="connsiteY476" fmla="*/ 7754 h 489924"/>
                <a:gd name="connsiteX477" fmla="*/ 172010 w 704451"/>
                <a:gd name="connsiteY477" fmla="*/ 9046 h 489924"/>
                <a:gd name="connsiteX478" fmla="*/ 166970 w 704451"/>
                <a:gd name="connsiteY478" fmla="*/ 12923 h 489924"/>
                <a:gd name="connsiteX479" fmla="*/ 161671 w 704451"/>
                <a:gd name="connsiteY479" fmla="*/ 18093 h 489924"/>
                <a:gd name="connsiteX480" fmla="*/ 160637 w 704451"/>
                <a:gd name="connsiteY480" fmla="*/ 18868 h 489924"/>
                <a:gd name="connsiteX481" fmla="*/ 156760 w 704451"/>
                <a:gd name="connsiteY481" fmla="*/ 20290 h 489924"/>
                <a:gd name="connsiteX482" fmla="*/ 155080 w 704451"/>
                <a:gd name="connsiteY482" fmla="*/ 20677 h 489924"/>
                <a:gd name="connsiteX483" fmla="*/ 154951 w 704451"/>
                <a:gd name="connsiteY483" fmla="*/ 20548 h 489924"/>
                <a:gd name="connsiteX484" fmla="*/ 121609 w 704451"/>
                <a:gd name="connsiteY484" fmla="*/ 35410 h 489924"/>
                <a:gd name="connsiteX485" fmla="*/ 113725 w 704451"/>
                <a:gd name="connsiteY485" fmla="*/ 40192 h 489924"/>
                <a:gd name="connsiteX486" fmla="*/ 110236 w 704451"/>
                <a:gd name="connsiteY486" fmla="*/ 43681 h 489924"/>
                <a:gd name="connsiteX487" fmla="*/ 108944 w 704451"/>
                <a:gd name="connsiteY487" fmla="*/ 45749 h 489924"/>
                <a:gd name="connsiteX488" fmla="*/ 106101 w 704451"/>
                <a:gd name="connsiteY488" fmla="*/ 52856 h 489924"/>
                <a:gd name="connsiteX489" fmla="*/ 104938 w 704451"/>
                <a:gd name="connsiteY489" fmla="*/ 57251 h 489924"/>
                <a:gd name="connsiteX490" fmla="*/ 104033 w 704451"/>
                <a:gd name="connsiteY490" fmla="*/ 67331 h 489924"/>
                <a:gd name="connsiteX491" fmla="*/ 102353 w 704451"/>
                <a:gd name="connsiteY491" fmla="*/ 71854 h 489924"/>
                <a:gd name="connsiteX492" fmla="*/ 100285 w 704451"/>
                <a:gd name="connsiteY492" fmla="*/ 76119 h 489924"/>
                <a:gd name="connsiteX493" fmla="*/ 97183 w 704451"/>
                <a:gd name="connsiteY493" fmla="*/ 84907 h 489924"/>
                <a:gd name="connsiteX494" fmla="*/ 95116 w 704451"/>
                <a:gd name="connsiteY494" fmla="*/ 89300 h 489924"/>
                <a:gd name="connsiteX495" fmla="*/ 92014 w 704451"/>
                <a:gd name="connsiteY495" fmla="*/ 92919 h 489924"/>
                <a:gd name="connsiteX496" fmla="*/ 80383 w 704451"/>
                <a:gd name="connsiteY496" fmla="*/ 100414 h 489924"/>
                <a:gd name="connsiteX497" fmla="*/ 71208 w 704451"/>
                <a:gd name="connsiteY497" fmla="*/ 104162 h 489924"/>
                <a:gd name="connsiteX498" fmla="*/ 69011 w 704451"/>
                <a:gd name="connsiteY498" fmla="*/ 106359 h 489924"/>
                <a:gd name="connsiteX499" fmla="*/ 68623 w 704451"/>
                <a:gd name="connsiteY499" fmla="*/ 107393 h 489924"/>
                <a:gd name="connsiteX500" fmla="*/ 68752 w 704451"/>
                <a:gd name="connsiteY500" fmla="*/ 111529 h 489924"/>
                <a:gd name="connsiteX501" fmla="*/ 63841 w 704451"/>
                <a:gd name="connsiteY501" fmla="*/ 128717 h 489924"/>
                <a:gd name="connsiteX502" fmla="*/ 62807 w 704451"/>
                <a:gd name="connsiteY502" fmla="*/ 135824 h 489924"/>
                <a:gd name="connsiteX503" fmla="*/ 59447 w 704451"/>
                <a:gd name="connsiteY503" fmla="*/ 144741 h 489924"/>
                <a:gd name="connsiteX504" fmla="*/ 58413 w 704451"/>
                <a:gd name="connsiteY504" fmla="*/ 149652 h 489924"/>
                <a:gd name="connsiteX505" fmla="*/ 58284 w 704451"/>
                <a:gd name="connsiteY505" fmla="*/ 159991 h 489924"/>
                <a:gd name="connsiteX506" fmla="*/ 57380 w 704451"/>
                <a:gd name="connsiteY506" fmla="*/ 165031 h 489924"/>
                <a:gd name="connsiteX507" fmla="*/ 55053 w 704451"/>
                <a:gd name="connsiteY507" fmla="*/ 167228 h 489924"/>
                <a:gd name="connsiteX508" fmla="*/ 46524 w 704451"/>
                <a:gd name="connsiteY508" fmla="*/ 171622 h 489924"/>
                <a:gd name="connsiteX509" fmla="*/ 45619 w 704451"/>
                <a:gd name="connsiteY509" fmla="*/ 173044 h 489924"/>
                <a:gd name="connsiteX510" fmla="*/ 43552 w 704451"/>
                <a:gd name="connsiteY510" fmla="*/ 174594 h 489924"/>
                <a:gd name="connsiteX511" fmla="*/ 39158 w 704451"/>
                <a:gd name="connsiteY511" fmla="*/ 176921 h 489924"/>
                <a:gd name="connsiteX512" fmla="*/ 39158 w 704451"/>
                <a:gd name="connsiteY512" fmla="*/ 176921 h 489924"/>
                <a:gd name="connsiteX513" fmla="*/ 36961 w 704451"/>
                <a:gd name="connsiteY513" fmla="*/ 178730 h 489924"/>
                <a:gd name="connsiteX514" fmla="*/ 33213 w 704451"/>
                <a:gd name="connsiteY514" fmla="*/ 181573 h 489924"/>
                <a:gd name="connsiteX515" fmla="*/ 30628 w 704451"/>
                <a:gd name="connsiteY515" fmla="*/ 184933 h 489924"/>
                <a:gd name="connsiteX516" fmla="*/ 29594 w 704451"/>
                <a:gd name="connsiteY516" fmla="*/ 188552 h 489924"/>
                <a:gd name="connsiteX517" fmla="*/ 29853 w 704451"/>
                <a:gd name="connsiteY517" fmla="*/ 190490 h 489924"/>
                <a:gd name="connsiteX518" fmla="*/ 31274 w 704451"/>
                <a:gd name="connsiteY518" fmla="*/ 194238 h 489924"/>
                <a:gd name="connsiteX519" fmla="*/ 31791 w 704451"/>
                <a:gd name="connsiteY519" fmla="*/ 198632 h 489924"/>
                <a:gd name="connsiteX520" fmla="*/ 32696 w 704451"/>
                <a:gd name="connsiteY520" fmla="*/ 200053 h 489924"/>
                <a:gd name="connsiteX521" fmla="*/ 35281 w 704451"/>
                <a:gd name="connsiteY521" fmla="*/ 203414 h 489924"/>
                <a:gd name="connsiteX522" fmla="*/ 36185 w 704451"/>
                <a:gd name="connsiteY522" fmla="*/ 206127 h 489924"/>
                <a:gd name="connsiteX523" fmla="*/ 37607 w 704451"/>
                <a:gd name="connsiteY523" fmla="*/ 209746 h 489924"/>
                <a:gd name="connsiteX524" fmla="*/ 37478 w 704451"/>
                <a:gd name="connsiteY524" fmla="*/ 213106 h 489924"/>
                <a:gd name="connsiteX525" fmla="*/ 36444 w 704451"/>
                <a:gd name="connsiteY525" fmla="*/ 216725 h 489924"/>
                <a:gd name="connsiteX526" fmla="*/ 35151 w 704451"/>
                <a:gd name="connsiteY526" fmla="*/ 219309 h 489924"/>
                <a:gd name="connsiteX527" fmla="*/ 31016 w 704451"/>
                <a:gd name="connsiteY527" fmla="*/ 225512 h 489924"/>
                <a:gd name="connsiteX528" fmla="*/ 29724 w 704451"/>
                <a:gd name="connsiteY528" fmla="*/ 229260 h 489924"/>
                <a:gd name="connsiteX529" fmla="*/ 29724 w 704451"/>
                <a:gd name="connsiteY529" fmla="*/ 232879 h 489924"/>
                <a:gd name="connsiteX530" fmla="*/ 31274 w 704451"/>
                <a:gd name="connsiteY530" fmla="*/ 240891 h 489924"/>
                <a:gd name="connsiteX531" fmla="*/ 31145 w 704451"/>
                <a:gd name="connsiteY531" fmla="*/ 244639 h 489924"/>
                <a:gd name="connsiteX532" fmla="*/ 27139 w 704451"/>
                <a:gd name="connsiteY532" fmla="*/ 256658 h 489924"/>
                <a:gd name="connsiteX533" fmla="*/ 25717 w 704451"/>
                <a:gd name="connsiteY533" fmla="*/ 260793 h 489924"/>
                <a:gd name="connsiteX534" fmla="*/ 22616 w 704451"/>
                <a:gd name="connsiteY534" fmla="*/ 265316 h 489924"/>
                <a:gd name="connsiteX535" fmla="*/ 21840 w 704451"/>
                <a:gd name="connsiteY535" fmla="*/ 267255 h 489924"/>
                <a:gd name="connsiteX536" fmla="*/ 16930 w 704451"/>
                <a:gd name="connsiteY536" fmla="*/ 288578 h 489924"/>
                <a:gd name="connsiteX537" fmla="*/ 16025 w 704451"/>
                <a:gd name="connsiteY537" fmla="*/ 292585 h 489924"/>
                <a:gd name="connsiteX538" fmla="*/ 15766 w 704451"/>
                <a:gd name="connsiteY538" fmla="*/ 294782 h 489924"/>
                <a:gd name="connsiteX539" fmla="*/ 15896 w 704451"/>
                <a:gd name="connsiteY539" fmla="*/ 296720 h 489924"/>
                <a:gd name="connsiteX540" fmla="*/ 16800 w 704451"/>
                <a:gd name="connsiteY540" fmla="*/ 299046 h 489924"/>
                <a:gd name="connsiteX541" fmla="*/ 19514 w 704451"/>
                <a:gd name="connsiteY541" fmla="*/ 303570 h 489924"/>
                <a:gd name="connsiteX542" fmla="*/ 19902 w 704451"/>
                <a:gd name="connsiteY542" fmla="*/ 305766 h 489924"/>
                <a:gd name="connsiteX543" fmla="*/ 18997 w 704451"/>
                <a:gd name="connsiteY543" fmla="*/ 307834 h 489924"/>
                <a:gd name="connsiteX544" fmla="*/ 15379 w 704451"/>
                <a:gd name="connsiteY544" fmla="*/ 311194 h 489924"/>
                <a:gd name="connsiteX545" fmla="*/ 14086 w 704451"/>
                <a:gd name="connsiteY545" fmla="*/ 313262 h 489924"/>
                <a:gd name="connsiteX546" fmla="*/ 11760 w 704451"/>
                <a:gd name="connsiteY546" fmla="*/ 321016 h 489924"/>
                <a:gd name="connsiteX547" fmla="*/ 9046 w 704451"/>
                <a:gd name="connsiteY547" fmla="*/ 325151 h 489924"/>
                <a:gd name="connsiteX548" fmla="*/ 7108 w 704451"/>
                <a:gd name="connsiteY548" fmla="*/ 327736 h 489924"/>
                <a:gd name="connsiteX549" fmla="*/ 4006 w 704451"/>
                <a:gd name="connsiteY549" fmla="*/ 330579 h 489924"/>
                <a:gd name="connsiteX550" fmla="*/ 1680 w 704451"/>
                <a:gd name="connsiteY550" fmla="*/ 334973 h 489924"/>
                <a:gd name="connsiteX551" fmla="*/ 388 w 704451"/>
                <a:gd name="connsiteY551" fmla="*/ 339109 h 489924"/>
                <a:gd name="connsiteX552" fmla="*/ 129 w 704451"/>
                <a:gd name="connsiteY552" fmla="*/ 340401 h 489924"/>
                <a:gd name="connsiteX553" fmla="*/ 0 w 704451"/>
                <a:gd name="connsiteY553" fmla="*/ 342986 h 489924"/>
                <a:gd name="connsiteX554" fmla="*/ 388 w 704451"/>
                <a:gd name="connsiteY554" fmla="*/ 345570 h 489924"/>
                <a:gd name="connsiteX555" fmla="*/ 1421 w 704451"/>
                <a:gd name="connsiteY555" fmla="*/ 347767 h 489924"/>
                <a:gd name="connsiteX556" fmla="*/ 2197 w 704451"/>
                <a:gd name="connsiteY556" fmla="*/ 349964 h 489924"/>
                <a:gd name="connsiteX557" fmla="*/ 1938 w 704451"/>
                <a:gd name="connsiteY557" fmla="*/ 352808 h 489924"/>
                <a:gd name="connsiteX558" fmla="*/ 1292 w 704451"/>
                <a:gd name="connsiteY558" fmla="*/ 355651 h 489924"/>
                <a:gd name="connsiteX559" fmla="*/ 1292 w 704451"/>
                <a:gd name="connsiteY559" fmla="*/ 355909 h 489924"/>
                <a:gd name="connsiteX560" fmla="*/ 5557 w 704451"/>
                <a:gd name="connsiteY560" fmla="*/ 355392 h 489924"/>
                <a:gd name="connsiteX561" fmla="*/ 7108 w 704451"/>
                <a:gd name="connsiteY561" fmla="*/ 355909 h 489924"/>
                <a:gd name="connsiteX562" fmla="*/ 7754 w 704451"/>
                <a:gd name="connsiteY562" fmla="*/ 357331 h 489924"/>
                <a:gd name="connsiteX563" fmla="*/ 7883 w 704451"/>
                <a:gd name="connsiteY563" fmla="*/ 359011 h 489924"/>
                <a:gd name="connsiteX564" fmla="*/ 8529 w 704451"/>
                <a:gd name="connsiteY564" fmla="*/ 360045 h 489924"/>
                <a:gd name="connsiteX565" fmla="*/ 10726 w 704451"/>
                <a:gd name="connsiteY565" fmla="*/ 359528 h 489924"/>
                <a:gd name="connsiteX566" fmla="*/ 12923 w 704451"/>
                <a:gd name="connsiteY566" fmla="*/ 360432 h 489924"/>
                <a:gd name="connsiteX567" fmla="*/ 14862 w 704451"/>
                <a:gd name="connsiteY567" fmla="*/ 361854 h 489924"/>
                <a:gd name="connsiteX568" fmla="*/ 16154 w 704451"/>
                <a:gd name="connsiteY568" fmla="*/ 363792 h 489924"/>
                <a:gd name="connsiteX569" fmla="*/ 16542 w 704451"/>
                <a:gd name="connsiteY569" fmla="*/ 366248 h 489924"/>
                <a:gd name="connsiteX570" fmla="*/ 16542 w 704451"/>
                <a:gd name="connsiteY570" fmla="*/ 367411 h 489924"/>
                <a:gd name="connsiteX571" fmla="*/ 16800 w 704451"/>
                <a:gd name="connsiteY571" fmla="*/ 368703 h 489924"/>
                <a:gd name="connsiteX572" fmla="*/ 17446 w 704451"/>
                <a:gd name="connsiteY572" fmla="*/ 369349 h 489924"/>
                <a:gd name="connsiteX573" fmla="*/ 18480 w 704451"/>
                <a:gd name="connsiteY573" fmla="*/ 368832 h 489924"/>
                <a:gd name="connsiteX574" fmla="*/ 18868 w 704451"/>
                <a:gd name="connsiteY574" fmla="*/ 367799 h 489924"/>
                <a:gd name="connsiteX575" fmla="*/ 18351 w 704451"/>
                <a:gd name="connsiteY575" fmla="*/ 365343 h 489924"/>
                <a:gd name="connsiteX576" fmla="*/ 18351 w 704451"/>
                <a:gd name="connsiteY576" fmla="*/ 364180 h 489924"/>
                <a:gd name="connsiteX577" fmla="*/ 18997 w 704451"/>
                <a:gd name="connsiteY577" fmla="*/ 363275 h 489924"/>
                <a:gd name="connsiteX578" fmla="*/ 20936 w 704451"/>
                <a:gd name="connsiteY578" fmla="*/ 362112 h 489924"/>
                <a:gd name="connsiteX579" fmla="*/ 21711 w 704451"/>
                <a:gd name="connsiteY579" fmla="*/ 361208 h 489924"/>
                <a:gd name="connsiteX580" fmla="*/ 21970 w 704451"/>
                <a:gd name="connsiteY580" fmla="*/ 360045 h 489924"/>
                <a:gd name="connsiteX581" fmla="*/ 21840 w 704451"/>
                <a:gd name="connsiteY581" fmla="*/ 358882 h 489924"/>
                <a:gd name="connsiteX582" fmla="*/ 21970 w 704451"/>
                <a:gd name="connsiteY582" fmla="*/ 357718 h 489924"/>
                <a:gd name="connsiteX583" fmla="*/ 22745 w 704451"/>
                <a:gd name="connsiteY583" fmla="*/ 356684 h 489924"/>
                <a:gd name="connsiteX584" fmla="*/ 23779 w 704451"/>
                <a:gd name="connsiteY584" fmla="*/ 356168 h 489924"/>
                <a:gd name="connsiteX585" fmla="*/ 24683 w 704451"/>
                <a:gd name="connsiteY585" fmla="*/ 356168 h 489924"/>
                <a:gd name="connsiteX586" fmla="*/ 26622 w 704451"/>
                <a:gd name="connsiteY586" fmla="*/ 356943 h 489924"/>
                <a:gd name="connsiteX587" fmla="*/ 27785 w 704451"/>
                <a:gd name="connsiteY587" fmla="*/ 356684 h 489924"/>
                <a:gd name="connsiteX588" fmla="*/ 29594 w 704451"/>
                <a:gd name="connsiteY588" fmla="*/ 354229 h 489924"/>
                <a:gd name="connsiteX589" fmla="*/ 30757 w 704451"/>
                <a:gd name="connsiteY589" fmla="*/ 353454 h 489924"/>
                <a:gd name="connsiteX590" fmla="*/ 33213 w 704451"/>
                <a:gd name="connsiteY590" fmla="*/ 353195 h 489924"/>
                <a:gd name="connsiteX591" fmla="*/ 34764 w 704451"/>
                <a:gd name="connsiteY591" fmla="*/ 353712 h 489924"/>
                <a:gd name="connsiteX592" fmla="*/ 35927 w 704451"/>
                <a:gd name="connsiteY592" fmla="*/ 355134 h 489924"/>
                <a:gd name="connsiteX593" fmla="*/ 37090 w 704451"/>
                <a:gd name="connsiteY593" fmla="*/ 357589 h 489924"/>
                <a:gd name="connsiteX594" fmla="*/ 37865 w 704451"/>
                <a:gd name="connsiteY594" fmla="*/ 358623 h 489924"/>
                <a:gd name="connsiteX595" fmla="*/ 38512 w 704451"/>
                <a:gd name="connsiteY595" fmla="*/ 357977 h 489924"/>
                <a:gd name="connsiteX596" fmla="*/ 39158 w 704451"/>
                <a:gd name="connsiteY596" fmla="*/ 356168 h 489924"/>
                <a:gd name="connsiteX597" fmla="*/ 40062 w 704451"/>
                <a:gd name="connsiteY597" fmla="*/ 356038 h 489924"/>
                <a:gd name="connsiteX598" fmla="*/ 40708 w 704451"/>
                <a:gd name="connsiteY598" fmla="*/ 356038 h 489924"/>
                <a:gd name="connsiteX599" fmla="*/ 42776 w 704451"/>
                <a:gd name="connsiteY599" fmla="*/ 356684 h 489924"/>
                <a:gd name="connsiteX600" fmla="*/ 44844 w 704451"/>
                <a:gd name="connsiteY600" fmla="*/ 356555 h 489924"/>
                <a:gd name="connsiteX601" fmla="*/ 44327 w 704451"/>
                <a:gd name="connsiteY601" fmla="*/ 354488 h 489924"/>
                <a:gd name="connsiteX602" fmla="*/ 42130 w 704451"/>
                <a:gd name="connsiteY602" fmla="*/ 350740 h 489924"/>
                <a:gd name="connsiteX603" fmla="*/ 43035 w 704451"/>
                <a:gd name="connsiteY603" fmla="*/ 350352 h 489924"/>
                <a:gd name="connsiteX604" fmla="*/ 44068 w 704451"/>
                <a:gd name="connsiteY604" fmla="*/ 350481 h 489924"/>
                <a:gd name="connsiteX605" fmla="*/ 46136 w 704451"/>
                <a:gd name="connsiteY605" fmla="*/ 351257 h 489924"/>
                <a:gd name="connsiteX606" fmla="*/ 47429 w 704451"/>
                <a:gd name="connsiteY606" fmla="*/ 351127 h 489924"/>
                <a:gd name="connsiteX607" fmla="*/ 48592 w 704451"/>
                <a:gd name="connsiteY607" fmla="*/ 350352 h 489924"/>
                <a:gd name="connsiteX608" fmla="*/ 51435 w 704451"/>
                <a:gd name="connsiteY608" fmla="*/ 347121 h 489924"/>
                <a:gd name="connsiteX609" fmla="*/ 52081 w 704451"/>
                <a:gd name="connsiteY609" fmla="*/ 346604 h 489924"/>
                <a:gd name="connsiteX610" fmla="*/ 52727 w 704451"/>
                <a:gd name="connsiteY610" fmla="*/ 346346 h 489924"/>
                <a:gd name="connsiteX611" fmla="*/ 53244 w 704451"/>
                <a:gd name="connsiteY611" fmla="*/ 346475 h 489924"/>
                <a:gd name="connsiteX612" fmla="*/ 53761 w 704451"/>
                <a:gd name="connsiteY612" fmla="*/ 346992 h 489924"/>
                <a:gd name="connsiteX613" fmla="*/ 53244 w 704451"/>
                <a:gd name="connsiteY613" fmla="*/ 349189 h 489924"/>
                <a:gd name="connsiteX614" fmla="*/ 52339 w 704451"/>
                <a:gd name="connsiteY614" fmla="*/ 351127 h 489924"/>
                <a:gd name="connsiteX615" fmla="*/ 51693 w 704451"/>
                <a:gd name="connsiteY615" fmla="*/ 353066 h 489924"/>
                <a:gd name="connsiteX616" fmla="*/ 51952 w 704451"/>
                <a:gd name="connsiteY616" fmla="*/ 355392 h 489924"/>
                <a:gd name="connsiteX617" fmla="*/ 52469 w 704451"/>
                <a:gd name="connsiteY617" fmla="*/ 356426 h 489924"/>
                <a:gd name="connsiteX618" fmla="*/ 53373 w 704451"/>
                <a:gd name="connsiteY618" fmla="*/ 357589 h 489924"/>
                <a:gd name="connsiteX619" fmla="*/ 54407 w 704451"/>
                <a:gd name="connsiteY619" fmla="*/ 358364 h 489924"/>
                <a:gd name="connsiteX620" fmla="*/ 55441 w 704451"/>
                <a:gd name="connsiteY620" fmla="*/ 358364 h 489924"/>
                <a:gd name="connsiteX621" fmla="*/ 55829 w 704451"/>
                <a:gd name="connsiteY621" fmla="*/ 357589 h 489924"/>
                <a:gd name="connsiteX622" fmla="*/ 55700 w 704451"/>
                <a:gd name="connsiteY622" fmla="*/ 356297 h 489924"/>
                <a:gd name="connsiteX623" fmla="*/ 55441 w 704451"/>
                <a:gd name="connsiteY623" fmla="*/ 355004 h 489924"/>
                <a:gd name="connsiteX624" fmla="*/ 55441 w 704451"/>
                <a:gd name="connsiteY624" fmla="*/ 353841 h 489924"/>
                <a:gd name="connsiteX625" fmla="*/ 56087 w 704451"/>
                <a:gd name="connsiteY625" fmla="*/ 352808 h 489924"/>
                <a:gd name="connsiteX626" fmla="*/ 57121 w 704451"/>
                <a:gd name="connsiteY626" fmla="*/ 353454 h 489924"/>
                <a:gd name="connsiteX627" fmla="*/ 58930 w 704451"/>
                <a:gd name="connsiteY627" fmla="*/ 355263 h 489924"/>
                <a:gd name="connsiteX628" fmla="*/ 60223 w 704451"/>
                <a:gd name="connsiteY628" fmla="*/ 355004 h 489924"/>
                <a:gd name="connsiteX629" fmla="*/ 60869 w 704451"/>
                <a:gd name="connsiteY629" fmla="*/ 354488 h 489924"/>
                <a:gd name="connsiteX630" fmla="*/ 61515 w 704451"/>
                <a:gd name="connsiteY630" fmla="*/ 354229 h 489924"/>
                <a:gd name="connsiteX631" fmla="*/ 62937 w 704451"/>
                <a:gd name="connsiteY631" fmla="*/ 354617 h 489924"/>
                <a:gd name="connsiteX632" fmla="*/ 65004 w 704451"/>
                <a:gd name="connsiteY632" fmla="*/ 355780 h 489924"/>
                <a:gd name="connsiteX633" fmla="*/ 66297 w 704451"/>
                <a:gd name="connsiteY633" fmla="*/ 357460 h 489924"/>
                <a:gd name="connsiteX634" fmla="*/ 67072 w 704451"/>
                <a:gd name="connsiteY634" fmla="*/ 359528 h 489924"/>
                <a:gd name="connsiteX635" fmla="*/ 67331 w 704451"/>
                <a:gd name="connsiteY635" fmla="*/ 361983 h 489924"/>
                <a:gd name="connsiteX636" fmla="*/ 68235 w 704451"/>
                <a:gd name="connsiteY636" fmla="*/ 364956 h 489924"/>
                <a:gd name="connsiteX637" fmla="*/ 70303 w 704451"/>
                <a:gd name="connsiteY637" fmla="*/ 364697 h 489924"/>
                <a:gd name="connsiteX638" fmla="*/ 74438 w 704451"/>
                <a:gd name="connsiteY638" fmla="*/ 362112 h 489924"/>
                <a:gd name="connsiteX639" fmla="*/ 75731 w 704451"/>
                <a:gd name="connsiteY639" fmla="*/ 363275 h 489924"/>
                <a:gd name="connsiteX640" fmla="*/ 76894 w 704451"/>
                <a:gd name="connsiteY640" fmla="*/ 365860 h 489924"/>
                <a:gd name="connsiteX641" fmla="*/ 78057 w 704451"/>
                <a:gd name="connsiteY641" fmla="*/ 370125 h 489924"/>
                <a:gd name="connsiteX642" fmla="*/ 77928 w 704451"/>
                <a:gd name="connsiteY642" fmla="*/ 371158 h 489924"/>
                <a:gd name="connsiteX643" fmla="*/ 77411 w 704451"/>
                <a:gd name="connsiteY643" fmla="*/ 372063 h 489924"/>
                <a:gd name="connsiteX644" fmla="*/ 77152 w 704451"/>
                <a:gd name="connsiteY644" fmla="*/ 373097 h 489924"/>
                <a:gd name="connsiteX645" fmla="*/ 77411 w 704451"/>
                <a:gd name="connsiteY645" fmla="*/ 374648 h 489924"/>
                <a:gd name="connsiteX646" fmla="*/ 78057 w 704451"/>
                <a:gd name="connsiteY646" fmla="*/ 375940 h 489924"/>
                <a:gd name="connsiteX647" fmla="*/ 80125 w 704451"/>
                <a:gd name="connsiteY647" fmla="*/ 378008 h 489924"/>
                <a:gd name="connsiteX648" fmla="*/ 81029 w 704451"/>
                <a:gd name="connsiteY648" fmla="*/ 379171 h 489924"/>
                <a:gd name="connsiteX649" fmla="*/ 81934 w 704451"/>
                <a:gd name="connsiteY649" fmla="*/ 381368 h 489924"/>
                <a:gd name="connsiteX650" fmla="*/ 82322 w 704451"/>
                <a:gd name="connsiteY650" fmla="*/ 383436 h 489924"/>
                <a:gd name="connsiteX651" fmla="*/ 81805 w 704451"/>
                <a:gd name="connsiteY651" fmla="*/ 390415 h 489924"/>
                <a:gd name="connsiteX652" fmla="*/ 83097 w 704451"/>
                <a:gd name="connsiteY652" fmla="*/ 396747 h 489924"/>
                <a:gd name="connsiteX653" fmla="*/ 82968 w 704451"/>
                <a:gd name="connsiteY653" fmla="*/ 397910 h 489924"/>
                <a:gd name="connsiteX654" fmla="*/ 82580 w 704451"/>
                <a:gd name="connsiteY654" fmla="*/ 398944 h 489924"/>
                <a:gd name="connsiteX655" fmla="*/ 82322 w 704451"/>
                <a:gd name="connsiteY655" fmla="*/ 400107 h 489924"/>
                <a:gd name="connsiteX656" fmla="*/ 82580 w 704451"/>
                <a:gd name="connsiteY656" fmla="*/ 401528 h 489924"/>
                <a:gd name="connsiteX657" fmla="*/ 83356 w 704451"/>
                <a:gd name="connsiteY657" fmla="*/ 402821 h 489924"/>
                <a:gd name="connsiteX658" fmla="*/ 86974 w 704451"/>
                <a:gd name="connsiteY658" fmla="*/ 406052 h 489924"/>
                <a:gd name="connsiteX659" fmla="*/ 86974 w 704451"/>
                <a:gd name="connsiteY659" fmla="*/ 406052 h 489924"/>
                <a:gd name="connsiteX660" fmla="*/ 86974 w 704451"/>
                <a:gd name="connsiteY660" fmla="*/ 406052 h 489924"/>
                <a:gd name="connsiteX661" fmla="*/ 89946 w 704451"/>
                <a:gd name="connsiteY661" fmla="*/ 409283 h 489924"/>
                <a:gd name="connsiteX662" fmla="*/ 91239 w 704451"/>
                <a:gd name="connsiteY662" fmla="*/ 412901 h 489924"/>
                <a:gd name="connsiteX663" fmla="*/ 92014 w 704451"/>
                <a:gd name="connsiteY663" fmla="*/ 416778 h 489924"/>
                <a:gd name="connsiteX664" fmla="*/ 93436 w 704451"/>
                <a:gd name="connsiteY664" fmla="*/ 420913 h 489924"/>
                <a:gd name="connsiteX665" fmla="*/ 98605 w 704451"/>
                <a:gd name="connsiteY665" fmla="*/ 428151 h 489924"/>
                <a:gd name="connsiteX666" fmla="*/ 100544 w 704451"/>
                <a:gd name="connsiteY666" fmla="*/ 431898 h 489924"/>
                <a:gd name="connsiteX667" fmla="*/ 101061 w 704451"/>
                <a:gd name="connsiteY667" fmla="*/ 436680 h 489924"/>
                <a:gd name="connsiteX668" fmla="*/ 102482 w 704451"/>
                <a:gd name="connsiteY668" fmla="*/ 437068 h 489924"/>
                <a:gd name="connsiteX669" fmla="*/ 104162 w 704451"/>
                <a:gd name="connsiteY669" fmla="*/ 436551 h 489924"/>
                <a:gd name="connsiteX670" fmla="*/ 105454 w 704451"/>
                <a:gd name="connsiteY670" fmla="*/ 436292 h 489924"/>
                <a:gd name="connsiteX671" fmla="*/ 106359 w 704451"/>
                <a:gd name="connsiteY671" fmla="*/ 436422 h 489924"/>
                <a:gd name="connsiteX672" fmla="*/ 112950 w 704451"/>
                <a:gd name="connsiteY672" fmla="*/ 438231 h 489924"/>
                <a:gd name="connsiteX673" fmla="*/ 116698 w 704451"/>
                <a:gd name="connsiteY673" fmla="*/ 440298 h 489924"/>
                <a:gd name="connsiteX674" fmla="*/ 117602 w 704451"/>
                <a:gd name="connsiteY674" fmla="*/ 440428 h 489924"/>
                <a:gd name="connsiteX675" fmla="*/ 118765 w 704451"/>
                <a:gd name="connsiteY675" fmla="*/ 440557 h 489924"/>
                <a:gd name="connsiteX676" fmla="*/ 120833 w 704451"/>
                <a:gd name="connsiteY676" fmla="*/ 440428 h 489924"/>
                <a:gd name="connsiteX677" fmla="*/ 121867 w 704451"/>
                <a:gd name="connsiteY677" fmla="*/ 440170 h 489924"/>
                <a:gd name="connsiteX678" fmla="*/ 122642 w 704451"/>
                <a:gd name="connsiteY678" fmla="*/ 439911 h 489924"/>
                <a:gd name="connsiteX679" fmla="*/ 131172 w 704451"/>
                <a:gd name="connsiteY679" fmla="*/ 434871 h 489924"/>
                <a:gd name="connsiteX680" fmla="*/ 131689 w 704451"/>
                <a:gd name="connsiteY680" fmla="*/ 434612 h 489924"/>
                <a:gd name="connsiteX681" fmla="*/ 132335 w 704451"/>
                <a:gd name="connsiteY681" fmla="*/ 434483 h 489924"/>
                <a:gd name="connsiteX682" fmla="*/ 133757 w 704451"/>
                <a:gd name="connsiteY682" fmla="*/ 434354 h 489924"/>
                <a:gd name="connsiteX683" fmla="*/ 135307 w 704451"/>
                <a:gd name="connsiteY683" fmla="*/ 434612 h 489924"/>
                <a:gd name="connsiteX684" fmla="*/ 141769 w 704451"/>
                <a:gd name="connsiteY684" fmla="*/ 436809 h 489924"/>
                <a:gd name="connsiteX685" fmla="*/ 143449 w 704451"/>
                <a:gd name="connsiteY685" fmla="*/ 437843 h 489924"/>
                <a:gd name="connsiteX686" fmla="*/ 144483 w 704451"/>
                <a:gd name="connsiteY686" fmla="*/ 438618 h 489924"/>
                <a:gd name="connsiteX687" fmla="*/ 144742 w 704451"/>
                <a:gd name="connsiteY687" fmla="*/ 439135 h 489924"/>
                <a:gd name="connsiteX688" fmla="*/ 145129 w 704451"/>
                <a:gd name="connsiteY688" fmla="*/ 439652 h 489924"/>
                <a:gd name="connsiteX689" fmla="*/ 145517 w 704451"/>
                <a:gd name="connsiteY689" fmla="*/ 440040 h 489924"/>
                <a:gd name="connsiteX690" fmla="*/ 150557 w 704451"/>
                <a:gd name="connsiteY690" fmla="*/ 443271 h 489924"/>
                <a:gd name="connsiteX691" fmla="*/ 152366 w 704451"/>
                <a:gd name="connsiteY691" fmla="*/ 444692 h 489924"/>
                <a:gd name="connsiteX692" fmla="*/ 155856 w 704451"/>
                <a:gd name="connsiteY692" fmla="*/ 446372 h 489924"/>
                <a:gd name="connsiteX693" fmla="*/ 156631 w 704451"/>
                <a:gd name="connsiteY693" fmla="*/ 447019 h 489924"/>
                <a:gd name="connsiteX694" fmla="*/ 157148 w 704451"/>
                <a:gd name="connsiteY694" fmla="*/ 447665 h 489924"/>
                <a:gd name="connsiteX695" fmla="*/ 157406 w 704451"/>
                <a:gd name="connsiteY695" fmla="*/ 448182 h 489924"/>
                <a:gd name="connsiteX696" fmla="*/ 158182 w 704451"/>
                <a:gd name="connsiteY696" fmla="*/ 449087 h 489924"/>
                <a:gd name="connsiteX697" fmla="*/ 158699 w 704451"/>
                <a:gd name="connsiteY697" fmla="*/ 449474 h 489924"/>
                <a:gd name="connsiteX698" fmla="*/ 159732 w 704451"/>
                <a:gd name="connsiteY698" fmla="*/ 449733 h 489924"/>
                <a:gd name="connsiteX699" fmla="*/ 161283 w 704451"/>
                <a:gd name="connsiteY699" fmla="*/ 449862 h 489924"/>
                <a:gd name="connsiteX700" fmla="*/ 167099 w 704451"/>
                <a:gd name="connsiteY700" fmla="*/ 449345 h 489924"/>
                <a:gd name="connsiteX701" fmla="*/ 171751 w 704451"/>
                <a:gd name="connsiteY701" fmla="*/ 447923 h 489924"/>
                <a:gd name="connsiteX702" fmla="*/ 172527 w 704451"/>
                <a:gd name="connsiteY702" fmla="*/ 447536 h 489924"/>
                <a:gd name="connsiteX703" fmla="*/ 173173 w 704451"/>
                <a:gd name="connsiteY703" fmla="*/ 447536 h 489924"/>
                <a:gd name="connsiteX704" fmla="*/ 173948 w 704451"/>
                <a:gd name="connsiteY704" fmla="*/ 447665 h 489924"/>
                <a:gd name="connsiteX705" fmla="*/ 174982 w 704451"/>
                <a:gd name="connsiteY705" fmla="*/ 448182 h 489924"/>
                <a:gd name="connsiteX706" fmla="*/ 176145 w 704451"/>
                <a:gd name="connsiteY706" fmla="*/ 449087 h 489924"/>
                <a:gd name="connsiteX707" fmla="*/ 176921 w 704451"/>
                <a:gd name="connsiteY707" fmla="*/ 449345 h 489924"/>
                <a:gd name="connsiteX708" fmla="*/ 177954 w 704451"/>
                <a:gd name="connsiteY708" fmla="*/ 449474 h 489924"/>
                <a:gd name="connsiteX709" fmla="*/ 180798 w 704451"/>
                <a:gd name="connsiteY709" fmla="*/ 449087 h 489924"/>
                <a:gd name="connsiteX710" fmla="*/ 184545 w 704451"/>
                <a:gd name="connsiteY710" fmla="*/ 447794 h 489924"/>
                <a:gd name="connsiteX711" fmla="*/ 186742 w 704451"/>
                <a:gd name="connsiteY711" fmla="*/ 446760 h 489924"/>
                <a:gd name="connsiteX712" fmla="*/ 187776 w 704451"/>
                <a:gd name="connsiteY712" fmla="*/ 446372 h 489924"/>
                <a:gd name="connsiteX713" fmla="*/ 189844 w 704451"/>
                <a:gd name="connsiteY713" fmla="*/ 445985 h 489924"/>
                <a:gd name="connsiteX714" fmla="*/ 191265 w 704451"/>
                <a:gd name="connsiteY714" fmla="*/ 445856 h 489924"/>
                <a:gd name="connsiteX715" fmla="*/ 206774 w 704451"/>
                <a:gd name="connsiteY715" fmla="*/ 450766 h 489924"/>
                <a:gd name="connsiteX716" fmla="*/ 208454 w 704451"/>
                <a:gd name="connsiteY716" fmla="*/ 451671 h 489924"/>
                <a:gd name="connsiteX717" fmla="*/ 208971 w 704451"/>
                <a:gd name="connsiteY717" fmla="*/ 452705 h 489924"/>
                <a:gd name="connsiteX718" fmla="*/ 209358 w 704451"/>
                <a:gd name="connsiteY718" fmla="*/ 453222 h 489924"/>
                <a:gd name="connsiteX719" fmla="*/ 209746 w 704451"/>
                <a:gd name="connsiteY719" fmla="*/ 453610 h 489924"/>
                <a:gd name="connsiteX720" fmla="*/ 212201 w 704451"/>
                <a:gd name="connsiteY720" fmla="*/ 453997 h 489924"/>
                <a:gd name="connsiteX721" fmla="*/ 220343 w 704451"/>
                <a:gd name="connsiteY721" fmla="*/ 453610 h 489924"/>
                <a:gd name="connsiteX722" fmla="*/ 224479 w 704451"/>
                <a:gd name="connsiteY722" fmla="*/ 454773 h 489924"/>
                <a:gd name="connsiteX723" fmla="*/ 228226 w 704451"/>
                <a:gd name="connsiteY723" fmla="*/ 456840 h 489924"/>
                <a:gd name="connsiteX724" fmla="*/ 228872 w 704451"/>
                <a:gd name="connsiteY724" fmla="*/ 457099 h 489924"/>
                <a:gd name="connsiteX725" fmla="*/ 229648 w 704451"/>
                <a:gd name="connsiteY725" fmla="*/ 457228 h 489924"/>
                <a:gd name="connsiteX726" fmla="*/ 235334 w 704451"/>
                <a:gd name="connsiteY726" fmla="*/ 457228 h 489924"/>
                <a:gd name="connsiteX727" fmla="*/ 240503 w 704451"/>
                <a:gd name="connsiteY727" fmla="*/ 458520 h 489924"/>
                <a:gd name="connsiteX728" fmla="*/ 241796 w 704451"/>
                <a:gd name="connsiteY728" fmla="*/ 458650 h 489924"/>
                <a:gd name="connsiteX729" fmla="*/ 242830 w 704451"/>
                <a:gd name="connsiteY729" fmla="*/ 458650 h 489924"/>
                <a:gd name="connsiteX730" fmla="*/ 246190 w 704451"/>
                <a:gd name="connsiteY730" fmla="*/ 458003 h 489924"/>
                <a:gd name="connsiteX731" fmla="*/ 248904 w 704451"/>
                <a:gd name="connsiteY731" fmla="*/ 458520 h 489924"/>
                <a:gd name="connsiteX732" fmla="*/ 251747 w 704451"/>
                <a:gd name="connsiteY732" fmla="*/ 459425 h 489924"/>
                <a:gd name="connsiteX733" fmla="*/ 254331 w 704451"/>
                <a:gd name="connsiteY733" fmla="*/ 459813 h 489924"/>
                <a:gd name="connsiteX734" fmla="*/ 256528 w 704451"/>
                <a:gd name="connsiteY734" fmla="*/ 459555 h 489924"/>
                <a:gd name="connsiteX735" fmla="*/ 257175 w 704451"/>
                <a:gd name="connsiteY735" fmla="*/ 459555 h 489924"/>
                <a:gd name="connsiteX736" fmla="*/ 258209 w 704451"/>
                <a:gd name="connsiteY736" fmla="*/ 459942 h 489924"/>
                <a:gd name="connsiteX737" fmla="*/ 259501 w 704451"/>
                <a:gd name="connsiteY737" fmla="*/ 460588 h 489924"/>
                <a:gd name="connsiteX738" fmla="*/ 264670 w 704451"/>
                <a:gd name="connsiteY738" fmla="*/ 463690 h 489924"/>
                <a:gd name="connsiteX739" fmla="*/ 265187 w 704451"/>
                <a:gd name="connsiteY739" fmla="*/ 464207 h 489924"/>
                <a:gd name="connsiteX740" fmla="*/ 265704 w 704451"/>
                <a:gd name="connsiteY740" fmla="*/ 465241 h 489924"/>
                <a:gd name="connsiteX741" fmla="*/ 266350 w 704451"/>
                <a:gd name="connsiteY741" fmla="*/ 466662 h 489924"/>
                <a:gd name="connsiteX742" fmla="*/ 266609 w 704451"/>
                <a:gd name="connsiteY742" fmla="*/ 467179 h 489924"/>
                <a:gd name="connsiteX743" fmla="*/ 268418 w 704451"/>
                <a:gd name="connsiteY743" fmla="*/ 468730 h 489924"/>
                <a:gd name="connsiteX744" fmla="*/ 274621 w 704451"/>
                <a:gd name="connsiteY744" fmla="*/ 472736 h 489924"/>
                <a:gd name="connsiteX745" fmla="*/ 276560 w 704451"/>
                <a:gd name="connsiteY745" fmla="*/ 474545 h 489924"/>
                <a:gd name="connsiteX746" fmla="*/ 277077 w 704451"/>
                <a:gd name="connsiteY746" fmla="*/ 474933 h 489924"/>
                <a:gd name="connsiteX747" fmla="*/ 277852 w 704451"/>
                <a:gd name="connsiteY747" fmla="*/ 475192 h 489924"/>
                <a:gd name="connsiteX748" fmla="*/ 278886 w 704451"/>
                <a:gd name="connsiteY748" fmla="*/ 475192 h 489924"/>
                <a:gd name="connsiteX749" fmla="*/ 282634 w 704451"/>
                <a:gd name="connsiteY749" fmla="*/ 474933 h 489924"/>
                <a:gd name="connsiteX750" fmla="*/ 284831 w 704451"/>
                <a:gd name="connsiteY750" fmla="*/ 475321 h 489924"/>
                <a:gd name="connsiteX751" fmla="*/ 291939 w 704451"/>
                <a:gd name="connsiteY751" fmla="*/ 477388 h 489924"/>
                <a:gd name="connsiteX752" fmla="*/ 309902 w 704451"/>
                <a:gd name="connsiteY752" fmla="*/ 477647 h 489924"/>
                <a:gd name="connsiteX753" fmla="*/ 311324 w 704451"/>
                <a:gd name="connsiteY753" fmla="*/ 477388 h 489924"/>
                <a:gd name="connsiteX754" fmla="*/ 312487 w 704451"/>
                <a:gd name="connsiteY754" fmla="*/ 477001 h 489924"/>
                <a:gd name="connsiteX755" fmla="*/ 314425 w 704451"/>
                <a:gd name="connsiteY755" fmla="*/ 475709 h 489924"/>
                <a:gd name="connsiteX756" fmla="*/ 314942 w 704451"/>
                <a:gd name="connsiteY756" fmla="*/ 475450 h 489924"/>
                <a:gd name="connsiteX757" fmla="*/ 315588 w 704451"/>
                <a:gd name="connsiteY757" fmla="*/ 475321 h 489924"/>
                <a:gd name="connsiteX758" fmla="*/ 316364 w 704451"/>
                <a:gd name="connsiteY758" fmla="*/ 475450 h 489924"/>
                <a:gd name="connsiteX759" fmla="*/ 317398 w 704451"/>
                <a:gd name="connsiteY759" fmla="*/ 475967 h 489924"/>
                <a:gd name="connsiteX760" fmla="*/ 317914 w 704451"/>
                <a:gd name="connsiteY760" fmla="*/ 476613 h 489924"/>
                <a:gd name="connsiteX761" fmla="*/ 318302 w 704451"/>
                <a:gd name="connsiteY761" fmla="*/ 477259 h 489924"/>
                <a:gd name="connsiteX762" fmla="*/ 318948 w 704451"/>
                <a:gd name="connsiteY762" fmla="*/ 477647 h 489924"/>
                <a:gd name="connsiteX763" fmla="*/ 320111 w 704451"/>
                <a:gd name="connsiteY763" fmla="*/ 477905 h 489924"/>
                <a:gd name="connsiteX764" fmla="*/ 331872 w 704451"/>
                <a:gd name="connsiteY764" fmla="*/ 477388 h 489924"/>
                <a:gd name="connsiteX765" fmla="*/ 332001 w 704451"/>
                <a:gd name="connsiteY765" fmla="*/ 477388 h 489924"/>
                <a:gd name="connsiteX766" fmla="*/ 332130 w 704451"/>
                <a:gd name="connsiteY766" fmla="*/ 477388 h 489924"/>
                <a:gd name="connsiteX767" fmla="*/ 332906 w 704451"/>
                <a:gd name="connsiteY767" fmla="*/ 477647 h 489924"/>
                <a:gd name="connsiteX768" fmla="*/ 333422 w 704451"/>
                <a:gd name="connsiteY768" fmla="*/ 478164 h 489924"/>
                <a:gd name="connsiteX769" fmla="*/ 333681 w 704451"/>
                <a:gd name="connsiteY769" fmla="*/ 478681 h 489924"/>
                <a:gd name="connsiteX770" fmla="*/ 333810 w 704451"/>
                <a:gd name="connsiteY770" fmla="*/ 479198 h 489924"/>
                <a:gd name="connsiteX771" fmla="*/ 333810 w 704451"/>
                <a:gd name="connsiteY771" fmla="*/ 480361 h 489924"/>
                <a:gd name="connsiteX772" fmla="*/ 333939 w 704451"/>
                <a:gd name="connsiteY772" fmla="*/ 480878 h 489924"/>
                <a:gd name="connsiteX773" fmla="*/ 334198 w 704451"/>
                <a:gd name="connsiteY773" fmla="*/ 481395 h 489924"/>
                <a:gd name="connsiteX774" fmla="*/ 334586 w 704451"/>
                <a:gd name="connsiteY774" fmla="*/ 481912 h 489924"/>
                <a:gd name="connsiteX775" fmla="*/ 335102 w 704451"/>
                <a:gd name="connsiteY775" fmla="*/ 482299 h 489924"/>
                <a:gd name="connsiteX776" fmla="*/ 336653 w 704451"/>
                <a:gd name="connsiteY776" fmla="*/ 483204 h 489924"/>
                <a:gd name="connsiteX777" fmla="*/ 337429 w 704451"/>
                <a:gd name="connsiteY777" fmla="*/ 483979 h 489924"/>
                <a:gd name="connsiteX778" fmla="*/ 337816 w 704451"/>
                <a:gd name="connsiteY778" fmla="*/ 484497 h 489924"/>
                <a:gd name="connsiteX779" fmla="*/ 338462 w 704451"/>
                <a:gd name="connsiteY779" fmla="*/ 485530 h 489924"/>
                <a:gd name="connsiteX780" fmla="*/ 339109 w 704451"/>
                <a:gd name="connsiteY780" fmla="*/ 487210 h 489924"/>
                <a:gd name="connsiteX781" fmla="*/ 340272 w 704451"/>
                <a:gd name="connsiteY781" fmla="*/ 489278 h 489924"/>
                <a:gd name="connsiteX782" fmla="*/ 340659 w 704451"/>
                <a:gd name="connsiteY782" fmla="*/ 489666 h 489924"/>
                <a:gd name="connsiteX783" fmla="*/ 341176 w 704451"/>
                <a:gd name="connsiteY783" fmla="*/ 489924 h 489924"/>
                <a:gd name="connsiteX784" fmla="*/ 341693 w 704451"/>
                <a:gd name="connsiteY784" fmla="*/ 489795 h 489924"/>
                <a:gd name="connsiteX785" fmla="*/ 342210 w 704451"/>
                <a:gd name="connsiteY785" fmla="*/ 488890 h 489924"/>
                <a:gd name="connsiteX786" fmla="*/ 342598 w 704451"/>
                <a:gd name="connsiteY786" fmla="*/ 487469 h 489924"/>
                <a:gd name="connsiteX787" fmla="*/ 342986 w 704451"/>
                <a:gd name="connsiteY787" fmla="*/ 486952 h 489924"/>
                <a:gd name="connsiteX788" fmla="*/ 344149 w 704451"/>
                <a:gd name="connsiteY788" fmla="*/ 486435 h 489924"/>
                <a:gd name="connsiteX789" fmla="*/ 350094 w 704451"/>
                <a:gd name="connsiteY789" fmla="*/ 484755 h 489924"/>
                <a:gd name="connsiteX790" fmla="*/ 353454 w 704451"/>
                <a:gd name="connsiteY790" fmla="*/ 484238 h 489924"/>
                <a:gd name="connsiteX791" fmla="*/ 354487 w 704451"/>
                <a:gd name="connsiteY791" fmla="*/ 483979 h 489924"/>
                <a:gd name="connsiteX792" fmla="*/ 355263 w 704451"/>
                <a:gd name="connsiteY792" fmla="*/ 483592 h 489924"/>
                <a:gd name="connsiteX793" fmla="*/ 358752 w 704451"/>
                <a:gd name="connsiteY793" fmla="*/ 480878 h 489924"/>
                <a:gd name="connsiteX794" fmla="*/ 360303 w 704451"/>
                <a:gd name="connsiteY794" fmla="*/ 478164 h 489924"/>
                <a:gd name="connsiteX795" fmla="*/ 360561 w 704451"/>
                <a:gd name="connsiteY795" fmla="*/ 476484 h 489924"/>
                <a:gd name="connsiteX796" fmla="*/ 360432 w 704451"/>
                <a:gd name="connsiteY796" fmla="*/ 475062 h 489924"/>
                <a:gd name="connsiteX797" fmla="*/ 360044 w 704451"/>
                <a:gd name="connsiteY797" fmla="*/ 473770 h 489924"/>
                <a:gd name="connsiteX798" fmla="*/ 359269 w 704451"/>
                <a:gd name="connsiteY798" fmla="*/ 471444 h 489924"/>
                <a:gd name="connsiteX799" fmla="*/ 355909 w 704451"/>
                <a:gd name="connsiteY799" fmla="*/ 465499 h 489924"/>
                <a:gd name="connsiteX800" fmla="*/ 355909 w 704451"/>
                <a:gd name="connsiteY800" fmla="*/ 465111 h 489924"/>
                <a:gd name="connsiteX801" fmla="*/ 356168 w 704451"/>
                <a:gd name="connsiteY801" fmla="*/ 464594 h 489924"/>
                <a:gd name="connsiteX802" fmla="*/ 357072 w 704451"/>
                <a:gd name="connsiteY802" fmla="*/ 462914 h 489924"/>
                <a:gd name="connsiteX803" fmla="*/ 357201 w 704451"/>
                <a:gd name="connsiteY803" fmla="*/ 462139 h 489924"/>
                <a:gd name="connsiteX804" fmla="*/ 357072 w 704451"/>
                <a:gd name="connsiteY804" fmla="*/ 461493 h 489924"/>
                <a:gd name="connsiteX805" fmla="*/ 356684 w 704451"/>
                <a:gd name="connsiteY805" fmla="*/ 460976 h 489924"/>
                <a:gd name="connsiteX806" fmla="*/ 355392 w 704451"/>
                <a:gd name="connsiteY806" fmla="*/ 459813 h 489924"/>
                <a:gd name="connsiteX807" fmla="*/ 354746 w 704451"/>
                <a:gd name="connsiteY807" fmla="*/ 458908 h 489924"/>
                <a:gd name="connsiteX808" fmla="*/ 354617 w 704451"/>
                <a:gd name="connsiteY808" fmla="*/ 458391 h 489924"/>
                <a:gd name="connsiteX809" fmla="*/ 354617 w 704451"/>
                <a:gd name="connsiteY809" fmla="*/ 457745 h 489924"/>
                <a:gd name="connsiteX810" fmla="*/ 354746 w 704451"/>
                <a:gd name="connsiteY810" fmla="*/ 457099 h 489924"/>
                <a:gd name="connsiteX811" fmla="*/ 355004 w 704451"/>
                <a:gd name="connsiteY811" fmla="*/ 456453 h 489924"/>
                <a:gd name="connsiteX812" fmla="*/ 355521 w 704451"/>
                <a:gd name="connsiteY812" fmla="*/ 455807 h 489924"/>
                <a:gd name="connsiteX813" fmla="*/ 357460 w 704451"/>
                <a:gd name="connsiteY813" fmla="*/ 453481 h 489924"/>
                <a:gd name="connsiteX814" fmla="*/ 357977 w 704451"/>
                <a:gd name="connsiteY814" fmla="*/ 452446 h 489924"/>
                <a:gd name="connsiteX815" fmla="*/ 358365 w 704451"/>
                <a:gd name="connsiteY815" fmla="*/ 451542 h 489924"/>
                <a:gd name="connsiteX816" fmla="*/ 358752 w 704451"/>
                <a:gd name="connsiteY816" fmla="*/ 448570 h 489924"/>
                <a:gd name="connsiteX817" fmla="*/ 358881 w 704451"/>
                <a:gd name="connsiteY817" fmla="*/ 447923 h 489924"/>
                <a:gd name="connsiteX818" fmla="*/ 359140 w 704451"/>
                <a:gd name="connsiteY818" fmla="*/ 447277 h 489924"/>
                <a:gd name="connsiteX819" fmla="*/ 359657 w 704451"/>
                <a:gd name="connsiteY819" fmla="*/ 446631 h 489924"/>
                <a:gd name="connsiteX820" fmla="*/ 360432 w 704451"/>
                <a:gd name="connsiteY820" fmla="*/ 445856 h 489924"/>
                <a:gd name="connsiteX821" fmla="*/ 361854 w 704451"/>
                <a:gd name="connsiteY821" fmla="*/ 444563 h 489924"/>
                <a:gd name="connsiteX822" fmla="*/ 363146 w 704451"/>
                <a:gd name="connsiteY822" fmla="*/ 443142 h 489924"/>
                <a:gd name="connsiteX823" fmla="*/ 363921 w 704451"/>
                <a:gd name="connsiteY823" fmla="*/ 442496 h 489924"/>
                <a:gd name="connsiteX824" fmla="*/ 365085 w 704451"/>
                <a:gd name="connsiteY824" fmla="*/ 441849 h 489924"/>
                <a:gd name="connsiteX825" fmla="*/ 371417 w 704451"/>
                <a:gd name="connsiteY825" fmla="*/ 440040 h 489924"/>
                <a:gd name="connsiteX826" fmla="*/ 372192 w 704451"/>
                <a:gd name="connsiteY826" fmla="*/ 439652 h 489924"/>
                <a:gd name="connsiteX827" fmla="*/ 373097 w 704451"/>
                <a:gd name="connsiteY827" fmla="*/ 439135 h 489924"/>
                <a:gd name="connsiteX828" fmla="*/ 374389 w 704451"/>
                <a:gd name="connsiteY828" fmla="*/ 437972 h 489924"/>
                <a:gd name="connsiteX829" fmla="*/ 375036 w 704451"/>
                <a:gd name="connsiteY829" fmla="*/ 437197 h 489924"/>
                <a:gd name="connsiteX830" fmla="*/ 376199 w 704451"/>
                <a:gd name="connsiteY830" fmla="*/ 435517 h 489924"/>
                <a:gd name="connsiteX831" fmla="*/ 377362 w 704451"/>
                <a:gd name="connsiteY831" fmla="*/ 434354 h 489924"/>
                <a:gd name="connsiteX832" fmla="*/ 377879 w 704451"/>
                <a:gd name="connsiteY832" fmla="*/ 434096 h 489924"/>
                <a:gd name="connsiteX833" fmla="*/ 378396 w 704451"/>
                <a:gd name="connsiteY833" fmla="*/ 433966 h 489924"/>
                <a:gd name="connsiteX834" fmla="*/ 379042 w 704451"/>
                <a:gd name="connsiteY834" fmla="*/ 434096 h 489924"/>
                <a:gd name="connsiteX835" fmla="*/ 379429 w 704451"/>
                <a:gd name="connsiteY835" fmla="*/ 434354 h 489924"/>
                <a:gd name="connsiteX836" fmla="*/ 380076 w 704451"/>
                <a:gd name="connsiteY836" fmla="*/ 435000 h 489924"/>
                <a:gd name="connsiteX837" fmla="*/ 380593 w 704451"/>
                <a:gd name="connsiteY837" fmla="*/ 435259 h 489924"/>
                <a:gd name="connsiteX838" fmla="*/ 381497 w 704451"/>
                <a:gd name="connsiteY838" fmla="*/ 435259 h 489924"/>
                <a:gd name="connsiteX839" fmla="*/ 382531 w 704451"/>
                <a:gd name="connsiteY839" fmla="*/ 435129 h 489924"/>
                <a:gd name="connsiteX840" fmla="*/ 384211 w 704451"/>
                <a:gd name="connsiteY840" fmla="*/ 434483 h 489924"/>
                <a:gd name="connsiteX841" fmla="*/ 385891 w 704451"/>
                <a:gd name="connsiteY841" fmla="*/ 434224 h 489924"/>
                <a:gd name="connsiteX842" fmla="*/ 386021 w 704451"/>
                <a:gd name="connsiteY842" fmla="*/ 434224 h 489924"/>
                <a:gd name="connsiteX843" fmla="*/ 386150 w 704451"/>
                <a:gd name="connsiteY843" fmla="*/ 434224 h 489924"/>
                <a:gd name="connsiteX844" fmla="*/ 386408 w 704451"/>
                <a:gd name="connsiteY844" fmla="*/ 434354 h 489924"/>
                <a:gd name="connsiteX845" fmla="*/ 386796 w 704451"/>
                <a:gd name="connsiteY845" fmla="*/ 434483 h 489924"/>
                <a:gd name="connsiteX846" fmla="*/ 387313 w 704451"/>
                <a:gd name="connsiteY846" fmla="*/ 434742 h 489924"/>
                <a:gd name="connsiteX847" fmla="*/ 388088 w 704451"/>
                <a:gd name="connsiteY847" fmla="*/ 435517 h 489924"/>
                <a:gd name="connsiteX848" fmla="*/ 389122 w 704451"/>
                <a:gd name="connsiteY848" fmla="*/ 436939 h 489924"/>
                <a:gd name="connsiteX849" fmla="*/ 389510 w 704451"/>
                <a:gd name="connsiteY849" fmla="*/ 437326 h 489924"/>
                <a:gd name="connsiteX850" fmla="*/ 390027 w 704451"/>
                <a:gd name="connsiteY850" fmla="*/ 437455 h 489924"/>
                <a:gd name="connsiteX851" fmla="*/ 390544 w 704451"/>
                <a:gd name="connsiteY851" fmla="*/ 437197 h 489924"/>
                <a:gd name="connsiteX852" fmla="*/ 391061 w 704451"/>
                <a:gd name="connsiteY852" fmla="*/ 436163 h 489924"/>
                <a:gd name="connsiteX853" fmla="*/ 391577 w 704451"/>
                <a:gd name="connsiteY853" fmla="*/ 435517 h 489924"/>
                <a:gd name="connsiteX854" fmla="*/ 392224 w 704451"/>
                <a:gd name="connsiteY854" fmla="*/ 435000 h 489924"/>
                <a:gd name="connsiteX855" fmla="*/ 393258 w 704451"/>
                <a:gd name="connsiteY855" fmla="*/ 434871 h 489924"/>
                <a:gd name="connsiteX856" fmla="*/ 394033 w 704451"/>
                <a:gd name="connsiteY856" fmla="*/ 435000 h 489924"/>
                <a:gd name="connsiteX857" fmla="*/ 394550 w 704451"/>
                <a:gd name="connsiteY857" fmla="*/ 435388 h 489924"/>
                <a:gd name="connsiteX858" fmla="*/ 394938 w 704451"/>
                <a:gd name="connsiteY858" fmla="*/ 435775 h 489924"/>
                <a:gd name="connsiteX859" fmla="*/ 395196 w 704451"/>
                <a:gd name="connsiteY859" fmla="*/ 436292 h 489924"/>
                <a:gd name="connsiteX860" fmla="*/ 395325 w 704451"/>
                <a:gd name="connsiteY860" fmla="*/ 436939 h 489924"/>
                <a:gd name="connsiteX861" fmla="*/ 395454 w 704451"/>
                <a:gd name="connsiteY861" fmla="*/ 438360 h 489924"/>
                <a:gd name="connsiteX862" fmla="*/ 395713 w 704451"/>
                <a:gd name="connsiteY862" fmla="*/ 438877 h 489924"/>
                <a:gd name="connsiteX863" fmla="*/ 396230 w 704451"/>
                <a:gd name="connsiteY863" fmla="*/ 439006 h 489924"/>
                <a:gd name="connsiteX864" fmla="*/ 396876 w 704451"/>
                <a:gd name="connsiteY864" fmla="*/ 438748 h 489924"/>
                <a:gd name="connsiteX865" fmla="*/ 397393 w 704451"/>
                <a:gd name="connsiteY865" fmla="*/ 437843 h 489924"/>
                <a:gd name="connsiteX866" fmla="*/ 397651 w 704451"/>
                <a:gd name="connsiteY866" fmla="*/ 437068 h 489924"/>
                <a:gd name="connsiteX867" fmla="*/ 397910 w 704451"/>
                <a:gd name="connsiteY867" fmla="*/ 436292 h 489924"/>
                <a:gd name="connsiteX868" fmla="*/ 398427 w 704451"/>
                <a:gd name="connsiteY868" fmla="*/ 435905 h 489924"/>
                <a:gd name="connsiteX869" fmla="*/ 399461 w 704451"/>
                <a:gd name="connsiteY869" fmla="*/ 435646 h 489924"/>
                <a:gd name="connsiteX870" fmla="*/ 401012 w 704451"/>
                <a:gd name="connsiteY870" fmla="*/ 435905 h 489924"/>
                <a:gd name="connsiteX871" fmla="*/ 401658 w 704451"/>
                <a:gd name="connsiteY871" fmla="*/ 436163 h 489924"/>
                <a:gd name="connsiteX872" fmla="*/ 402304 w 704451"/>
                <a:gd name="connsiteY872" fmla="*/ 436292 h 489924"/>
                <a:gd name="connsiteX873" fmla="*/ 402950 w 704451"/>
                <a:gd name="connsiteY873" fmla="*/ 436292 h 489924"/>
                <a:gd name="connsiteX874" fmla="*/ 403596 w 704451"/>
                <a:gd name="connsiteY874" fmla="*/ 436163 h 489924"/>
                <a:gd name="connsiteX875" fmla="*/ 404113 w 704451"/>
                <a:gd name="connsiteY875" fmla="*/ 435905 h 489924"/>
                <a:gd name="connsiteX876" fmla="*/ 407732 w 704451"/>
                <a:gd name="connsiteY876" fmla="*/ 433191 h 489924"/>
                <a:gd name="connsiteX877" fmla="*/ 408766 w 704451"/>
                <a:gd name="connsiteY877" fmla="*/ 432544 h 489924"/>
                <a:gd name="connsiteX878" fmla="*/ 410058 w 704451"/>
                <a:gd name="connsiteY878" fmla="*/ 432286 h 489924"/>
                <a:gd name="connsiteX879" fmla="*/ 410704 w 704451"/>
                <a:gd name="connsiteY879" fmla="*/ 432286 h 489924"/>
                <a:gd name="connsiteX880" fmla="*/ 411350 w 704451"/>
                <a:gd name="connsiteY880" fmla="*/ 432415 h 489924"/>
                <a:gd name="connsiteX881" fmla="*/ 411996 w 704451"/>
                <a:gd name="connsiteY881" fmla="*/ 432674 h 489924"/>
                <a:gd name="connsiteX882" fmla="*/ 413030 w 704451"/>
                <a:gd name="connsiteY882" fmla="*/ 433320 h 489924"/>
                <a:gd name="connsiteX883" fmla="*/ 413806 w 704451"/>
                <a:gd name="connsiteY883" fmla="*/ 434096 h 489924"/>
                <a:gd name="connsiteX884" fmla="*/ 414193 w 704451"/>
                <a:gd name="connsiteY884" fmla="*/ 434096 h 489924"/>
                <a:gd name="connsiteX885" fmla="*/ 414710 w 704451"/>
                <a:gd name="connsiteY885" fmla="*/ 433578 h 489924"/>
                <a:gd name="connsiteX886" fmla="*/ 415098 w 704451"/>
                <a:gd name="connsiteY886" fmla="*/ 432157 h 489924"/>
                <a:gd name="connsiteX887" fmla="*/ 415486 w 704451"/>
                <a:gd name="connsiteY887" fmla="*/ 430865 h 489924"/>
                <a:gd name="connsiteX888" fmla="*/ 416132 w 704451"/>
                <a:gd name="connsiteY888" fmla="*/ 429572 h 489924"/>
                <a:gd name="connsiteX889" fmla="*/ 418458 w 704451"/>
                <a:gd name="connsiteY889" fmla="*/ 426600 h 489924"/>
                <a:gd name="connsiteX890" fmla="*/ 420267 w 704451"/>
                <a:gd name="connsiteY890" fmla="*/ 424661 h 489924"/>
                <a:gd name="connsiteX891" fmla="*/ 421043 w 704451"/>
                <a:gd name="connsiteY891" fmla="*/ 423498 h 489924"/>
                <a:gd name="connsiteX892" fmla="*/ 422206 w 704451"/>
                <a:gd name="connsiteY892" fmla="*/ 420784 h 489924"/>
                <a:gd name="connsiteX893" fmla="*/ 424015 w 704451"/>
                <a:gd name="connsiteY893" fmla="*/ 414452 h 489924"/>
                <a:gd name="connsiteX894" fmla="*/ 424791 w 704451"/>
                <a:gd name="connsiteY894" fmla="*/ 413547 h 489924"/>
                <a:gd name="connsiteX895" fmla="*/ 425178 w 704451"/>
                <a:gd name="connsiteY895" fmla="*/ 413289 h 489924"/>
                <a:gd name="connsiteX896" fmla="*/ 426341 w 704451"/>
                <a:gd name="connsiteY896" fmla="*/ 412901 h 489924"/>
                <a:gd name="connsiteX897" fmla="*/ 431252 w 704451"/>
                <a:gd name="connsiteY897" fmla="*/ 412126 h 489924"/>
                <a:gd name="connsiteX898" fmla="*/ 432674 w 704451"/>
                <a:gd name="connsiteY898" fmla="*/ 411738 h 489924"/>
                <a:gd name="connsiteX899" fmla="*/ 433449 w 704451"/>
                <a:gd name="connsiteY899" fmla="*/ 411221 h 489924"/>
                <a:gd name="connsiteX900" fmla="*/ 433320 w 704451"/>
                <a:gd name="connsiteY900" fmla="*/ 410704 h 489924"/>
                <a:gd name="connsiteX901" fmla="*/ 433062 w 704451"/>
                <a:gd name="connsiteY901" fmla="*/ 410317 h 489924"/>
                <a:gd name="connsiteX902" fmla="*/ 432544 w 704451"/>
                <a:gd name="connsiteY902" fmla="*/ 409929 h 489924"/>
                <a:gd name="connsiteX903" fmla="*/ 430348 w 704451"/>
                <a:gd name="connsiteY903" fmla="*/ 408895 h 489924"/>
                <a:gd name="connsiteX904" fmla="*/ 429831 w 704451"/>
                <a:gd name="connsiteY904" fmla="*/ 408507 h 489924"/>
                <a:gd name="connsiteX905" fmla="*/ 429443 w 704451"/>
                <a:gd name="connsiteY905" fmla="*/ 408119 h 489924"/>
                <a:gd name="connsiteX906" fmla="*/ 429314 w 704451"/>
                <a:gd name="connsiteY906" fmla="*/ 407602 h 489924"/>
                <a:gd name="connsiteX907" fmla="*/ 429443 w 704451"/>
                <a:gd name="connsiteY907" fmla="*/ 407086 h 489924"/>
                <a:gd name="connsiteX908" fmla="*/ 429960 w 704451"/>
                <a:gd name="connsiteY908" fmla="*/ 406827 h 489924"/>
                <a:gd name="connsiteX909" fmla="*/ 430735 w 704451"/>
                <a:gd name="connsiteY909" fmla="*/ 406827 h 489924"/>
                <a:gd name="connsiteX910" fmla="*/ 432028 w 704451"/>
                <a:gd name="connsiteY910" fmla="*/ 407344 h 489924"/>
                <a:gd name="connsiteX911" fmla="*/ 432803 w 704451"/>
                <a:gd name="connsiteY911" fmla="*/ 407732 h 489924"/>
                <a:gd name="connsiteX912" fmla="*/ 433837 w 704451"/>
                <a:gd name="connsiteY912" fmla="*/ 408507 h 489924"/>
                <a:gd name="connsiteX913" fmla="*/ 434871 w 704451"/>
                <a:gd name="connsiteY913" fmla="*/ 408765 h 489924"/>
                <a:gd name="connsiteX914" fmla="*/ 441849 w 704451"/>
                <a:gd name="connsiteY914" fmla="*/ 408507 h 489924"/>
                <a:gd name="connsiteX915" fmla="*/ 443788 w 704451"/>
                <a:gd name="connsiteY915" fmla="*/ 409024 h 489924"/>
                <a:gd name="connsiteX916" fmla="*/ 444434 w 704451"/>
                <a:gd name="connsiteY916" fmla="*/ 409541 h 489924"/>
                <a:gd name="connsiteX917" fmla="*/ 444822 w 704451"/>
                <a:gd name="connsiteY917" fmla="*/ 410187 h 489924"/>
                <a:gd name="connsiteX918" fmla="*/ 444951 w 704451"/>
                <a:gd name="connsiteY918" fmla="*/ 410833 h 489924"/>
                <a:gd name="connsiteX919" fmla="*/ 445209 w 704451"/>
                <a:gd name="connsiteY919" fmla="*/ 411350 h 489924"/>
                <a:gd name="connsiteX920" fmla="*/ 445597 w 704451"/>
                <a:gd name="connsiteY920" fmla="*/ 411738 h 489924"/>
                <a:gd name="connsiteX921" fmla="*/ 446114 w 704451"/>
                <a:gd name="connsiteY921" fmla="*/ 411996 h 489924"/>
                <a:gd name="connsiteX922" fmla="*/ 446889 w 704451"/>
                <a:gd name="connsiteY922" fmla="*/ 412255 h 489924"/>
                <a:gd name="connsiteX923" fmla="*/ 450379 w 704451"/>
                <a:gd name="connsiteY923" fmla="*/ 412643 h 489924"/>
                <a:gd name="connsiteX924" fmla="*/ 451283 w 704451"/>
                <a:gd name="connsiteY924" fmla="*/ 412901 h 489924"/>
                <a:gd name="connsiteX925" fmla="*/ 451929 w 704451"/>
                <a:gd name="connsiteY925" fmla="*/ 413159 h 489924"/>
                <a:gd name="connsiteX926" fmla="*/ 452447 w 704451"/>
                <a:gd name="connsiteY926" fmla="*/ 413547 h 489924"/>
                <a:gd name="connsiteX927" fmla="*/ 452834 w 704451"/>
                <a:gd name="connsiteY927" fmla="*/ 413935 h 489924"/>
                <a:gd name="connsiteX928" fmla="*/ 453093 w 704451"/>
                <a:gd name="connsiteY928" fmla="*/ 414452 h 489924"/>
                <a:gd name="connsiteX929" fmla="*/ 453351 w 704451"/>
                <a:gd name="connsiteY929" fmla="*/ 414969 h 489924"/>
                <a:gd name="connsiteX930" fmla="*/ 453997 w 704451"/>
                <a:gd name="connsiteY930" fmla="*/ 417424 h 489924"/>
                <a:gd name="connsiteX931" fmla="*/ 454256 w 704451"/>
                <a:gd name="connsiteY931" fmla="*/ 417941 h 489924"/>
                <a:gd name="connsiteX932" fmla="*/ 454643 w 704451"/>
                <a:gd name="connsiteY932" fmla="*/ 418329 h 489924"/>
                <a:gd name="connsiteX933" fmla="*/ 455160 w 704451"/>
                <a:gd name="connsiteY933" fmla="*/ 418587 h 489924"/>
                <a:gd name="connsiteX934" fmla="*/ 456324 w 704451"/>
                <a:gd name="connsiteY934" fmla="*/ 419104 h 489924"/>
                <a:gd name="connsiteX935" fmla="*/ 456970 w 704451"/>
                <a:gd name="connsiteY935" fmla="*/ 419104 h 489924"/>
                <a:gd name="connsiteX936" fmla="*/ 457616 w 704451"/>
                <a:gd name="connsiteY936" fmla="*/ 418975 h 489924"/>
                <a:gd name="connsiteX937" fmla="*/ 458133 w 704451"/>
                <a:gd name="connsiteY937" fmla="*/ 418200 h 489924"/>
                <a:gd name="connsiteX938" fmla="*/ 458262 w 704451"/>
                <a:gd name="connsiteY938" fmla="*/ 417554 h 489924"/>
                <a:gd name="connsiteX939" fmla="*/ 458133 w 704451"/>
                <a:gd name="connsiteY939" fmla="*/ 416907 h 489924"/>
                <a:gd name="connsiteX940" fmla="*/ 457874 w 704451"/>
                <a:gd name="connsiteY940" fmla="*/ 416261 h 489924"/>
                <a:gd name="connsiteX941" fmla="*/ 457745 w 704451"/>
                <a:gd name="connsiteY941" fmla="*/ 415615 h 489924"/>
                <a:gd name="connsiteX942" fmla="*/ 457745 w 704451"/>
                <a:gd name="connsiteY942" fmla="*/ 414969 h 489924"/>
                <a:gd name="connsiteX943" fmla="*/ 457874 w 704451"/>
                <a:gd name="connsiteY943" fmla="*/ 414323 h 489924"/>
                <a:gd name="connsiteX944" fmla="*/ 458003 w 704451"/>
                <a:gd name="connsiteY944" fmla="*/ 413676 h 489924"/>
                <a:gd name="connsiteX945" fmla="*/ 458650 w 704451"/>
                <a:gd name="connsiteY945" fmla="*/ 412643 h 489924"/>
                <a:gd name="connsiteX946" fmla="*/ 459037 w 704451"/>
                <a:gd name="connsiteY946" fmla="*/ 412255 h 489924"/>
                <a:gd name="connsiteX947" fmla="*/ 460976 w 704451"/>
                <a:gd name="connsiteY947" fmla="*/ 410963 h 489924"/>
                <a:gd name="connsiteX948" fmla="*/ 461493 w 704451"/>
                <a:gd name="connsiteY948" fmla="*/ 410704 h 489924"/>
                <a:gd name="connsiteX949" fmla="*/ 462527 w 704451"/>
                <a:gd name="connsiteY949" fmla="*/ 410446 h 489924"/>
                <a:gd name="connsiteX950" fmla="*/ 463948 w 704451"/>
                <a:gd name="connsiteY950" fmla="*/ 410317 h 489924"/>
                <a:gd name="connsiteX951" fmla="*/ 466791 w 704451"/>
                <a:gd name="connsiteY951" fmla="*/ 410446 h 489924"/>
                <a:gd name="connsiteX952" fmla="*/ 468084 w 704451"/>
                <a:gd name="connsiteY952" fmla="*/ 410704 h 489924"/>
                <a:gd name="connsiteX953" fmla="*/ 468988 w 704451"/>
                <a:gd name="connsiteY953" fmla="*/ 411092 h 489924"/>
                <a:gd name="connsiteX954" fmla="*/ 469505 w 704451"/>
                <a:gd name="connsiteY954" fmla="*/ 411480 h 489924"/>
                <a:gd name="connsiteX955" fmla="*/ 470022 w 704451"/>
                <a:gd name="connsiteY955" fmla="*/ 411738 h 489924"/>
                <a:gd name="connsiteX956" fmla="*/ 470669 w 704451"/>
                <a:gd name="connsiteY956" fmla="*/ 411996 h 489924"/>
                <a:gd name="connsiteX957" fmla="*/ 472478 w 704451"/>
                <a:gd name="connsiteY957" fmla="*/ 412384 h 489924"/>
                <a:gd name="connsiteX958" fmla="*/ 473253 w 704451"/>
                <a:gd name="connsiteY958" fmla="*/ 412255 h 489924"/>
                <a:gd name="connsiteX959" fmla="*/ 474158 w 704451"/>
                <a:gd name="connsiteY959" fmla="*/ 411996 h 489924"/>
                <a:gd name="connsiteX960" fmla="*/ 475709 w 704451"/>
                <a:gd name="connsiteY960" fmla="*/ 411350 h 489924"/>
                <a:gd name="connsiteX961" fmla="*/ 476872 w 704451"/>
                <a:gd name="connsiteY961" fmla="*/ 411092 h 489924"/>
                <a:gd name="connsiteX962" fmla="*/ 480490 w 704451"/>
                <a:gd name="connsiteY962" fmla="*/ 411221 h 489924"/>
                <a:gd name="connsiteX963" fmla="*/ 490054 w 704451"/>
                <a:gd name="connsiteY963" fmla="*/ 409283 h 489924"/>
                <a:gd name="connsiteX964" fmla="*/ 491475 w 704451"/>
                <a:gd name="connsiteY964" fmla="*/ 408765 h 489924"/>
                <a:gd name="connsiteX965" fmla="*/ 491992 w 704451"/>
                <a:gd name="connsiteY965" fmla="*/ 408119 h 489924"/>
                <a:gd name="connsiteX966" fmla="*/ 493543 w 704451"/>
                <a:gd name="connsiteY966" fmla="*/ 407215 h 489924"/>
                <a:gd name="connsiteX967" fmla="*/ 496515 w 704451"/>
                <a:gd name="connsiteY967" fmla="*/ 407602 h 489924"/>
                <a:gd name="connsiteX968" fmla="*/ 498066 w 704451"/>
                <a:gd name="connsiteY968" fmla="*/ 407473 h 489924"/>
                <a:gd name="connsiteX969" fmla="*/ 498712 w 704451"/>
                <a:gd name="connsiteY969" fmla="*/ 407602 h 489924"/>
                <a:gd name="connsiteX970" fmla="*/ 499229 w 704451"/>
                <a:gd name="connsiteY970" fmla="*/ 407990 h 489924"/>
                <a:gd name="connsiteX971" fmla="*/ 499746 w 704451"/>
                <a:gd name="connsiteY971" fmla="*/ 408637 h 489924"/>
                <a:gd name="connsiteX972" fmla="*/ 500392 w 704451"/>
                <a:gd name="connsiteY972" fmla="*/ 409024 h 489924"/>
                <a:gd name="connsiteX973" fmla="*/ 501426 w 704451"/>
                <a:gd name="connsiteY973" fmla="*/ 409283 h 489924"/>
                <a:gd name="connsiteX974" fmla="*/ 503106 w 704451"/>
                <a:gd name="connsiteY974" fmla="*/ 409412 h 489924"/>
                <a:gd name="connsiteX975" fmla="*/ 504140 w 704451"/>
                <a:gd name="connsiteY975" fmla="*/ 409670 h 489924"/>
                <a:gd name="connsiteX976" fmla="*/ 505174 w 704451"/>
                <a:gd name="connsiteY976" fmla="*/ 410187 h 489924"/>
                <a:gd name="connsiteX977" fmla="*/ 506983 w 704451"/>
                <a:gd name="connsiteY977" fmla="*/ 411480 h 489924"/>
                <a:gd name="connsiteX978" fmla="*/ 508534 w 704451"/>
                <a:gd name="connsiteY978" fmla="*/ 412901 h 489924"/>
                <a:gd name="connsiteX979" fmla="*/ 508922 w 704451"/>
                <a:gd name="connsiteY979" fmla="*/ 413289 h 489924"/>
                <a:gd name="connsiteX980" fmla="*/ 510472 w 704451"/>
                <a:gd name="connsiteY980" fmla="*/ 414969 h 489924"/>
                <a:gd name="connsiteX981" fmla="*/ 512282 w 704451"/>
                <a:gd name="connsiteY981" fmla="*/ 416390 h 489924"/>
                <a:gd name="connsiteX982" fmla="*/ 519260 w 704451"/>
                <a:gd name="connsiteY982" fmla="*/ 420526 h 489924"/>
                <a:gd name="connsiteX983" fmla="*/ 520682 w 704451"/>
                <a:gd name="connsiteY983" fmla="*/ 421689 h 489924"/>
                <a:gd name="connsiteX984" fmla="*/ 521457 w 704451"/>
                <a:gd name="connsiteY984" fmla="*/ 422723 h 489924"/>
                <a:gd name="connsiteX985" fmla="*/ 521586 w 704451"/>
                <a:gd name="connsiteY985" fmla="*/ 424015 h 489924"/>
                <a:gd name="connsiteX986" fmla="*/ 522233 w 704451"/>
                <a:gd name="connsiteY986" fmla="*/ 424791 h 489924"/>
                <a:gd name="connsiteX987" fmla="*/ 528307 w 704451"/>
                <a:gd name="connsiteY987" fmla="*/ 428797 h 489924"/>
                <a:gd name="connsiteX988" fmla="*/ 536061 w 704451"/>
                <a:gd name="connsiteY988" fmla="*/ 432286 h 489924"/>
                <a:gd name="connsiteX989" fmla="*/ 537611 w 704451"/>
                <a:gd name="connsiteY989" fmla="*/ 432674 h 489924"/>
                <a:gd name="connsiteX990" fmla="*/ 540584 w 704451"/>
                <a:gd name="connsiteY990" fmla="*/ 433061 h 489924"/>
                <a:gd name="connsiteX991" fmla="*/ 544719 w 704451"/>
                <a:gd name="connsiteY991" fmla="*/ 432932 h 489924"/>
                <a:gd name="connsiteX992" fmla="*/ 547304 w 704451"/>
                <a:gd name="connsiteY992" fmla="*/ 432157 h 489924"/>
                <a:gd name="connsiteX993" fmla="*/ 547950 w 704451"/>
                <a:gd name="connsiteY993" fmla="*/ 430994 h 489924"/>
                <a:gd name="connsiteX994" fmla="*/ 548725 w 704451"/>
                <a:gd name="connsiteY994" fmla="*/ 428538 h 489924"/>
                <a:gd name="connsiteX995" fmla="*/ 549243 w 704451"/>
                <a:gd name="connsiteY995" fmla="*/ 427504 h 489924"/>
                <a:gd name="connsiteX996" fmla="*/ 550018 w 704451"/>
                <a:gd name="connsiteY996" fmla="*/ 426729 h 489924"/>
                <a:gd name="connsiteX997" fmla="*/ 550922 w 704451"/>
                <a:gd name="connsiteY997" fmla="*/ 425954 h 489924"/>
                <a:gd name="connsiteX998" fmla="*/ 551569 w 704451"/>
                <a:gd name="connsiteY998" fmla="*/ 425695 h 489924"/>
                <a:gd name="connsiteX999" fmla="*/ 552603 w 704451"/>
                <a:gd name="connsiteY999" fmla="*/ 425307 h 489924"/>
                <a:gd name="connsiteX1000" fmla="*/ 554283 w 704451"/>
                <a:gd name="connsiteY1000" fmla="*/ 425049 h 489924"/>
                <a:gd name="connsiteX1001" fmla="*/ 559581 w 704451"/>
                <a:gd name="connsiteY1001" fmla="*/ 423240 h 489924"/>
                <a:gd name="connsiteX1002" fmla="*/ 568111 w 704451"/>
                <a:gd name="connsiteY1002" fmla="*/ 418587 h 489924"/>
                <a:gd name="connsiteX1003" fmla="*/ 569015 w 704451"/>
                <a:gd name="connsiteY1003" fmla="*/ 417812 h 489924"/>
                <a:gd name="connsiteX1004" fmla="*/ 569791 w 704451"/>
                <a:gd name="connsiteY1004" fmla="*/ 416907 h 489924"/>
                <a:gd name="connsiteX1005" fmla="*/ 572892 w 704451"/>
                <a:gd name="connsiteY1005" fmla="*/ 412643 h 489924"/>
                <a:gd name="connsiteX1006" fmla="*/ 574443 w 704451"/>
                <a:gd name="connsiteY1006" fmla="*/ 410963 h 489924"/>
                <a:gd name="connsiteX1007" fmla="*/ 576898 w 704451"/>
                <a:gd name="connsiteY1007" fmla="*/ 409153 h 489924"/>
                <a:gd name="connsiteX1008" fmla="*/ 578708 w 704451"/>
                <a:gd name="connsiteY1008" fmla="*/ 408249 h 489924"/>
                <a:gd name="connsiteX1009" fmla="*/ 581034 w 704451"/>
                <a:gd name="connsiteY1009" fmla="*/ 407344 h 489924"/>
                <a:gd name="connsiteX1010" fmla="*/ 584652 w 704451"/>
                <a:gd name="connsiteY1010" fmla="*/ 406569 h 489924"/>
                <a:gd name="connsiteX1011" fmla="*/ 585428 w 704451"/>
                <a:gd name="connsiteY1011" fmla="*/ 406181 h 489924"/>
                <a:gd name="connsiteX1012" fmla="*/ 585945 w 704451"/>
                <a:gd name="connsiteY1012" fmla="*/ 405922 h 489924"/>
                <a:gd name="connsiteX1013" fmla="*/ 586074 w 704451"/>
                <a:gd name="connsiteY1013" fmla="*/ 405793 h 489924"/>
                <a:gd name="connsiteX1014" fmla="*/ 586074 w 704451"/>
                <a:gd name="connsiteY1014" fmla="*/ 405793 h 489924"/>
                <a:gd name="connsiteX1015" fmla="*/ 586591 w 704451"/>
                <a:gd name="connsiteY1015" fmla="*/ 405406 h 489924"/>
                <a:gd name="connsiteX1016" fmla="*/ 587108 w 704451"/>
                <a:gd name="connsiteY1016" fmla="*/ 405147 h 489924"/>
                <a:gd name="connsiteX1017" fmla="*/ 587625 w 704451"/>
                <a:gd name="connsiteY1017" fmla="*/ 405018 h 489924"/>
                <a:gd name="connsiteX1018" fmla="*/ 588142 w 704451"/>
                <a:gd name="connsiteY1018" fmla="*/ 405018 h 489924"/>
                <a:gd name="connsiteX1019" fmla="*/ 588659 w 704451"/>
                <a:gd name="connsiteY1019" fmla="*/ 405406 h 489924"/>
                <a:gd name="connsiteX1020" fmla="*/ 588788 w 704451"/>
                <a:gd name="connsiteY1020" fmla="*/ 405664 h 489924"/>
                <a:gd name="connsiteX1021" fmla="*/ 588788 w 704451"/>
                <a:gd name="connsiteY1021" fmla="*/ 405793 h 489924"/>
                <a:gd name="connsiteX1022" fmla="*/ 588788 w 704451"/>
                <a:gd name="connsiteY1022" fmla="*/ 405793 h 489924"/>
                <a:gd name="connsiteX1023" fmla="*/ 588788 w 704451"/>
                <a:gd name="connsiteY1023" fmla="*/ 406310 h 489924"/>
                <a:gd name="connsiteX1024" fmla="*/ 588788 w 704451"/>
                <a:gd name="connsiteY1024" fmla="*/ 406827 h 489924"/>
                <a:gd name="connsiteX1025" fmla="*/ 588917 w 704451"/>
                <a:gd name="connsiteY1025" fmla="*/ 407344 h 489924"/>
                <a:gd name="connsiteX1026" fmla="*/ 589434 w 704451"/>
                <a:gd name="connsiteY1026" fmla="*/ 407602 h 489924"/>
                <a:gd name="connsiteX1027" fmla="*/ 590080 w 704451"/>
                <a:gd name="connsiteY1027" fmla="*/ 407602 h 489924"/>
                <a:gd name="connsiteX1028" fmla="*/ 591889 w 704451"/>
                <a:gd name="connsiteY1028" fmla="*/ 406956 h 489924"/>
                <a:gd name="connsiteX1029" fmla="*/ 592665 w 704451"/>
                <a:gd name="connsiteY1029" fmla="*/ 406827 h 489924"/>
                <a:gd name="connsiteX1030" fmla="*/ 594345 w 704451"/>
                <a:gd name="connsiteY1030" fmla="*/ 407602 h 489924"/>
                <a:gd name="connsiteX1031" fmla="*/ 594991 w 704451"/>
                <a:gd name="connsiteY1031" fmla="*/ 407732 h 489924"/>
                <a:gd name="connsiteX1032" fmla="*/ 595508 w 704451"/>
                <a:gd name="connsiteY1032" fmla="*/ 407215 h 489924"/>
                <a:gd name="connsiteX1033" fmla="*/ 595896 w 704451"/>
                <a:gd name="connsiteY1033" fmla="*/ 406698 h 489924"/>
                <a:gd name="connsiteX1034" fmla="*/ 596154 w 704451"/>
                <a:gd name="connsiteY1034" fmla="*/ 406181 h 489924"/>
                <a:gd name="connsiteX1035" fmla="*/ 596413 w 704451"/>
                <a:gd name="connsiteY1035" fmla="*/ 405793 h 489924"/>
                <a:gd name="connsiteX1036" fmla="*/ 596542 w 704451"/>
                <a:gd name="connsiteY1036" fmla="*/ 405664 h 489924"/>
                <a:gd name="connsiteX1037" fmla="*/ 597447 w 704451"/>
                <a:gd name="connsiteY1037" fmla="*/ 405793 h 489924"/>
                <a:gd name="connsiteX1038" fmla="*/ 599644 w 704451"/>
                <a:gd name="connsiteY1038" fmla="*/ 407086 h 489924"/>
                <a:gd name="connsiteX1039" fmla="*/ 602228 w 704451"/>
                <a:gd name="connsiteY1039" fmla="*/ 406310 h 489924"/>
                <a:gd name="connsiteX1040" fmla="*/ 603779 w 704451"/>
                <a:gd name="connsiteY1040" fmla="*/ 406439 h 489924"/>
                <a:gd name="connsiteX1041" fmla="*/ 605847 w 704451"/>
                <a:gd name="connsiteY1041" fmla="*/ 406310 h 489924"/>
                <a:gd name="connsiteX1042" fmla="*/ 607398 w 704451"/>
                <a:gd name="connsiteY1042" fmla="*/ 405276 h 489924"/>
                <a:gd name="connsiteX1043" fmla="*/ 607656 w 704451"/>
                <a:gd name="connsiteY1043" fmla="*/ 404243 h 489924"/>
                <a:gd name="connsiteX1044" fmla="*/ 607785 w 704451"/>
                <a:gd name="connsiteY1044" fmla="*/ 403726 h 489924"/>
                <a:gd name="connsiteX1045" fmla="*/ 608173 w 704451"/>
                <a:gd name="connsiteY1045" fmla="*/ 403209 h 489924"/>
                <a:gd name="connsiteX1046" fmla="*/ 608690 w 704451"/>
                <a:gd name="connsiteY1046" fmla="*/ 402950 h 489924"/>
                <a:gd name="connsiteX1047" fmla="*/ 637509 w 704451"/>
                <a:gd name="connsiteY1047" fmla="*/ 402175 h 489924"/>
                <a:gd name="connsiteX1048" fmla="*/ 640352 w 704451"/>
                <a:gd name="connsiteY1048" fmla="*/ 403467 h 489924"/>
                <a:gd name="connsiteX1049" fmla="*/ 641903 w 704451"/>
                <a:gd name="connsiteY1049" fmla="*/ 403726 h 489924"/>
                <a:gd name="connsiteX1050" fmla="*/ 644746 w 704451"/>
                <a:gd name="connsiteY1050" fmla="*/ 403338 h 489924"/>
                <a:gd name="connsiteX1051" fmla="*/ 644875 w 704451"/>
                <a:gd name="connsiteY1051" fmla="*/ 403338 h 489924"/>
                <a:gd name="connsiteX1052" fmla="*/ 645263 w 704451"/>
                <a:gd name="connsiteY1052" fmla="*/ 401012 h 489924"/>
                <a:gd name="connsiteX1053" fmla="*/ 647460 w 704451"/>
                <a:gd name="connsiteY1053" fmla="*/ 393904 h 489924"/>
                <a:gd name="connsiteX1054" fmla="*/ 647718 w 704451"/>
                <a:gd name="connsiteY1054" fmla="*/ 392611 h 489924"/>
                <a:gd name="connsiteX1055" fmla="*/ 647589 w 704451"/>
                <a:gd name="connsiteY1055" fmla="*/ 391190 h 489924"/>
                <a:gd name="connsiteX1056" fmla="*/ 646943 w 704451"/>
                <a:gd name="connsiteY1056" fmla="*/ 389510 h 489924"/>
                <a:gd name="connsiteX1057" fmla="*/ 646555 w 704451"/>
                <a:gd name="connsiteY1057" fmla="*/ 389380 h 489924"/>
                <a:gd name="connsiteX1058" fmla="*/ 646168 w 704451"/>
                <a:gd name="connsiteY1058" fmla="*/ 389897 h 489924"/>
                <a:gd name="connsiteX1059" fmla="*/ 645392 w 704451"/>
                <a:gd name="connsiteY1059" fmla="*/ 390285 h 489924"/>
                <a:gd name="connsiteX1060" fmla="*/ 627816 w 704451"/>
                <a:gd name="connsiteY1060" fmla="*/ 390285 h 489924"/>
                <a:gd name="connsiteX1061" fmla="*/ 627041 w 704451"/>
                <a:gd name="connsiteY1061" fmla="*/ 390802 h 489924"/>
                <a:gd name="connsiteX1062" fmla="*/ 626136 w 704451"/>
                <a:gd name="connsiteY1062" fmla="*/ 391578 h 489924"/>
                <a:gd name="connsiteX1063" fmla="*/ 625361 w 704451"/>
                <a:gd name="connsiteY1063" fmla="*/ 391965 h 489924"/>
                <a:gd name="connsiteX1064" fmla="*/ 624844 w 704451"/>
                <a:gd name="connsiteY1064" fmla="*/ 391190 h 489924"/>
                <a:gd name="connsiteX1065" fmla="*/ 624973 w 704451"/>
                <a:gd name="connsiteY1065" fmla="*/ 389768 h 489924"/>
                <a:gd name="connsiteX1066" fmla="*/ 625749 w 704451"/>
                <a:gd name="connsiteY1066" fmla="*/ 388864 h 489924"/>
                <a:gd name="connsiteX1067" fmla="*/ 626783 w 704451"/>
                <a:gd name="connsiteY1067" fmla="*/ 388347 h 489924"/>
                <a:gd name="connsiteX1068" fmla="*/ 627816 w 704451"/>
                <a:gd name="connsiteY1068" fmla="*/ 387959 h 489924"/>
                <a:gd name="connsiteX1069" fmla="*/ 637638 w 704451"/>
                <a:gd name="connsiteY1069" fmla="*/ 387054 h 489924"/>
                <a:gd name="connsiteX1070" fmla="*/ 644875 w 704451"/>
                <a:gd name="connsiteY1070" fmla="*/ 388217 h 489924"/>
                <a:gd name="connsiteX1071" fmla="*/ 645263 w 704451"/>
                <a:gd name="connsiteY1071" fmla="*/ 387830 h 489924"/>
                <a:gd name="connsiteX1072" fmla="*/ 644617 w 704451"/>
                <a:gd name="connsiteY1072" fmla="*/ 386279 h 489924"/>
                <a:gd name="connsiteX1073" fmla="*/ 643971 w 704451"/>
                <a:gd name="connsiteY1073" fmla="*/ 385245 h 489924"/>
                <a:gd name="connsiteX1074" fmla="*/ 643195 w 704451"/>
                <a:gd name="connsiteY1074" fmla="*/ 384470 h 489924"/>
                <a:gd name="connsiteX1075" fmla="*/ 642291 w 704451"/>
                <a:gd name="connsiteY1075" fmla="*/ 383953 h 489924"/>
                <a:gd name="connsiteX1076" fmla="*/ 640998 w 704451"/>
                <a:gd name="connsiteY1076" fmla="*/ 383824 h 489924"/>
                <a:gd name="connsiteX1077" fmla="*/ 641774 w 704451"/>
                <a:gd name="connsiteY1077" fmla="*/ 382660 h 489924"/>
                <a:gd name="connsiteX1078" fmla="*/ 642807 w 704451"/>
                <a:gd name="connsiteY1078" fmla="*/ 382014 h 489924"/>
                <a:gd name="connsiteX1079" fmla="*/ 644100 w 704451"/>
                <a:gd name="connsiteY1079" fmla="*/ 381627 h 489924"/>
                <a:gd name="connsiteX1080" fmla="*/ 645521 w 704451"/>
                <a:gd name="connsiteY1080" fmla="*/ 381368 h 489924"/>
                <a:gd name="connsiteX1081" fmla="*/ 645263 w 704451"/>
                <a:gd name="connsiteY1081" fmla="*/ 381885 h 489924"/>
                <a:gd name="connsiteX1082" fmla="*/ 644746 w 704451"/>
                <a:gd name="connsiteY1082" fmla="*/ 383694 h 489924"/>
                <a:gd name="connsiteX1083" fmla="*/ 646168 w 704451"/>
                <a:gd name="connsiteY1083" fmla="*/ 384211 h 489924"/>
                <a:gd name="connsiteX1084" fmla="*/ 647718 w 704451"/>
                <a:gd name="connsiteY1084" fmla="*/ 386537 h 489924"/>
                <a:gd name="connsiteX1085" fmla="*/ 649528 w 704451"/>
                <a:gd name="connsiteY1085" fmla="*/ 387054 h 489924"/>
                <a:gd name="connsiteX1086" fmla="*/ 650174 w 704451"/>
                <a:gd name="connsiteY1086" fmla="*/ 386279 h 489924"/>
                <a:gd name="connsiteX1087" fmla="*/ 652112 w 704451"/>
                <a:gd name="connsiteY1087" fmla="*/ 381239 h 489924"/>
                <a:gd name="connsiteX1088" fmla="*/ 652112 w 704451"/>
                <a:gd name="connsiteY1088" fmla="*/ 378008 h 489924"/>
                <a:gd name="connsiteX1089" fmla="*/ 661159 w 704451"/>
                <a:gd name="connsiteY1089" fmla="*/ 360562 h 489924"/>
                <a:gd name="connsiteX1090" fmla="*/ 665811 w 704451"/>
                <a:gd name="connsiteY1090" fmla="*/ 357331 h 489924"/>
                <a:gd name="connsiteX1091" fmla="*/ 668784 w 704451"/>
                <a:gd name="connsiteY1091" fmla="*/ 354488 h 489924"/>
                <a:gd name="connsiteX1092" fmla="*/ 666070 w 704451"/>
                <a:gd name="connsiteY1092" fmla="*/ 351257 h 489924"/>
                <a:gd name="connsiteX1093" fmla="*/ 664002 w 704451"/>
                <a:gd name="connsiteY1093" fmla="*/ 352549 h 489924"/>
                <a:gd name="connsiteX1094" fmla="*/ 662063 w 704451"/>
                <a:gd name="connsiteY1094" fmla="*/ 352420 h 489924"/>
                <a:gd name="connsiteX1095" fmla="*/ 660254 w 704451"/>
                <a:gd name="connsiteY1095" fmla="*/ 351903 h 489924"/>
                <a:gd name="connsiteX1096" fmla="*/ 658574 w 704451"/>
                <a:gd name="connsiteY1096" fmla="*/ 352032 h 489924"/>
                <a:gd name="connsiteX1097" fmla="*/ 657669 w 704451"/>
                <a:gd name="connsiteY1097" fmla="*/ 353066 h 489924"/>
                <a:gd name="connsiteX1098" fmla="*/ 656894 w 704451"/>
                <a:gd name="connsiteY1098" fmla="*/ 354617 h 489924"/>
                <a:gd name="connsiteX1099" fmla="*/ 655731 w 704451"/>
                <a:gd name="connsiteY1099" fmla="*/ 355392 h 489924"/>
                <a:gd name="connsiteX1100" fmla="*/ 653534 w 704451"/>
                <a:gd name="connsiteY1100" fmla="*/ 354488 h 489924"/>
                <a:gd name="connsiteX1101" fmla="*/ 654180 w 704451"/>
                <a:gd name="connsiteY1101" fmla="*/ 354100 h 489924"/>
                <a:gd name="connsiteX1102" fmla="*/ 654826 w 704451"/>
                <a:gd name="connsiteY1102" fmla="*/ 353583 h 489924"/>
                <a:gd name="connsiteX1103" fmla="*/ 656377 w 704451"/>
                <a:gd name="connsiteY1103" fmla="*/ 352032 h 489924"/>
                <a:gd name="connsiteX1104" fmla="*/ 655602 w 704451"/>
                <a:gd name="connsiteY1104" fmla="*/ 352937 h 489924"/>
                <a:gd name="connsiteX1105" fmla="*/ 655989 w 704451"/>
                <a:gd name="connsiteY1105" fmla="*/ 352549 h 489924"/>
                <a:gd name="connsiteX1106" fmla="*/ 657023 w 704451"/>
                <a:gd name="connsiteY1106" fmla="*/ 351257 h 489924"/>
                <a:gd name="connsiteX1107" fmla="*/ 655214 w 704451"/>
                <a:gd name="connsiteY1107" fmla="*/ 350352 h 489924"/>
                <a:gd name="connsiteX1108" fmla="*/ 653146 w 704451"/>
                <a:gd name="connsiteY1108" fmla="*/ 348801 h 489924"/>
                <a:gd name="connsiteX1109" fmla="*/ 651078 w 704451"/>
                <a:gd name="connsiteY1109" fmla="*/ 347767 h 489924"/>
                <a:gd name="connsiteX1110" fmla="*/ 647331 w 704451"/>
                <a:gd name="connsiteY1110" fmla="*/ 349189 h 489924"/>
                <a:gd name="connsiteX1111" fmla="*/ 645263 w 704451"/>
                <a:gd name="connsiteY1111" fmla="*/ 349060 h 489924"/>
                <a:gd name="connsiteX1112" fmla="*/ 643454 w 704451"/>
                <a:gd name="connsiteY1112" fmla="*/ 349318 h 489924"/>
                <a:gd name="connsiteX1113" fmla="*/ 642291 w 704451"/>
                <a:gd name="connsiteY1113" fmla="*/ 351257 h 489924"/>
                <a:gd name="connsiteX1114" fmla="*/ 641386 w 704451"/>
                <a:gd name="connsiteY1114" fmla="*/ 349577 h 489924"/>
                <a:gd name="connsiteX1115" fmla="*/ 639964 w 704451"/>
                <a:gd name="connsiteY1115" fmla="*/ 348931 h 489924"/>
                <a:gd name="connsiteX1116" fmla="*/ 638414 w 704451"/>
                <a:gd name="connsiteY1116" fmla="*/ 348543 h 489924"/>
                <a:gd name="connsiteX1117" fmla="*/ 637121 w 704451"/>
                <a:gd name="connsiteY1117" fmla="*/ 347897 h 489924"/>
                <a:gd name="connsiteX1118" fmla="*/ 637638 w 704451"/>
                <a:gd name="connsiteY1118" fmla="*/ 346734 h 489924"/>
                <a:gd name="connsiteX1119" fmla="*/ 638284 w 704451"/>
                <a:gd name="connsiteY1119" fmla="*/ 346217 h 489924"/>
                <a:gd name="connsiteX1120" fmla="*/ 639060 w 704451"/>
                <a:gd name="connsiteY1120" fmla="*/ 346346 h 489924"/>
                <a:gd name="connsiteX1121" fmla="*/ 639964 w 704451"/>
                <a:gd name="connsiteY1121" fmla="*/ 347121 h 489924"/>
                <a:gd name="connsiteX1122" fmla="*/ 640223 w 704451"/>
                <a:gd name="connsiteY1122" fmla="*/ 346734 h 489924"/>
                <a:gd name="connsiteX1123" fmla="*/ 640352 w 704451"/>
                <a:gd name="connsiteY1123" fmla="*/ 346346 h 489924"/>
                <a:gd name="connsiteX1124" fmla="*/ 640611 w 704451"/>
                <a:gd name="connsiteY1124" fmla="*/ 345570 h 489924"/>
                <a:gd name="connsiteX1125" fmla="*/ 637251 w 704451"/>
                <a:gd name="connsiteY1125" fmla="*/ 345183 h 489924"/>
                <a:gd name="connsiteX1126" fmla="*/ 633890 w 704451"/>
                <a:gd name="connsiteY1126" fmla="*/ 345829 h 489924"/>
                <a:gd name="connsiteX1127" fmla="*/ 630918 w 704451"/>
                <a:gd name="connsiteY1127" fmla="*/ 345570 h 489924"/>
                <a:gd name="connsiteX1128" fmla="*/ 628980 w 704451"/>
                <a:gd name="connsiteY1128" fmla="*/ 342210 h 489924"/>
                <a:gd name="connsiteX1129" fmla="*/ 631564 w 704451"/>
                <a:gd name="connsiteY1129" fmla="*/ 342986 h 489924"/>
                <a:gd name="connsiteX1130" fmla="*/ 633373 w 704451"/>
                <a:gd name="connsiteY1130" fmla="*/ 342857 h 489924"/>
                <a:gd name="connsiteX1131" fmla="*/ 633890 w 704451"/>
                <a:gd name="connsiteY1131" fmla="*/ 341564 h 489924"/>
                <a:gd name="connsiteX1132" fmla="*/ 632598 w 704451"/>
                <a:gd name="connsiteY1132" fmla="*/ 338979 h 489924"/>
                <a:gd name="connsiteX1133" fmla="*/ 632210 w 704451"/>
                <a:gd name="connsiteY1133" fmla="*/ 338721 h 489924"/>
                <a:gd name="connsiteX1134" fmla="*/ 631047 w 704451"/>
                <a:gd name="connsiteY1134" fmla="*/ 338075 h 489924"/>
                <a:gd name="connsiteX1135" fmla="*/ 630401 w 704451"/>
                <a:gd name="connsiteY1135" fmla="*/ 337429 h 489924"/>
                <a:gd name="connsiteX1136" fmla="*/ 630013 w 704451"/>
                <a:gd name="connsiteY1136" fmla="*/ 336783 h 489924"/>
                <a:gd name="connsiteX1137" fmla="*/ 629496 w 704451"/>
                <a:gd name="connsiteY1137" fmla="*/ 334844 h 489924"/>
                <a:gd name="connsiteX1138" fmla="*/ 627687 w 704451"/>
                <a:gd name="connsiteY1138" fmla="*/ 330192 h 489924"/>
                <a:gd name="connsiteX1139" fmla="*/ 627429 w 704451"/>
                <a:gd name="connsiteY1139" fmla="*/ 328382 h 489924"/>
                <a:gd name="connsiteX1140" fmla="*/ 628721 w 704451"/>
                <a:gd name="connsiteY1140" fmla="*/ 329287 h 489924"/>
                <a:gd name="connsiteX1141" fmla="*/ 632986 w 704451"/>
                <a:gd name="connsiteY1141" fmla="*/ 334715 h 489924"/>
                <a:gd name="connsiteX1142" fmla="*/ 633761 w 704451"/>
                <a:gd name="connsiteY1142" fmla="*/ 335490 h 489924"/>
                <a:gd name="connsiteX1143" fmla="*/ 638930 w 704451"/>
                <a:gd name="connsiteY1143" fmla="*/ 339238 h 489924"/>
                <a:gd name="connsiteX1144" fmla="*/ 640223 w 704451"/>
                <a:gd name="connsiteY1144" fmla="*/ 339884 h 489924"/>
                <a:gd name="connsiteX1145" fmla="*/ 645392 w 704451"/>
                <a:gd name="connsiteY1145" fmla="*/ 341306 h 489924"/>
                <a:gd name="connsiteX1146" fmla="*/ 646685 w 704451"/>
                <a:gd name="connsiteY1146" fmla="*/ 341047 h 489924"/>
                <a:gd name="connsiteX1147" fmla="*/ 647201 w 704451"/>
                <a:gd name="connsiteY1147" fmla="*/ 339626 h 489924"/>
                <a:gd name="connsiteX1148" fmla="*/ 648235 w 704451"/>
                <a:gd name="connsiteY1148" fmla="*/ 340272 h 489924"/>
                <a:gd name="connsiteX1149" fmla="*/ 649399 w 704451"/>
                <a:gd name="connsiteY1149" fmla="*/ 340530 h 489924"/>
                <a:gd name="connsiteX1150" fmla="*/ 650562 w 704451"/>
                <a:gd name="connsiteY1150" fmla="*/ 340401 h 489924"/>
                <a:gd name="connsiteX1151" fmla="*/ 651595 w 704451"/>
                <a:gd name="connsiteY1151" fmla="*/ 339626 h 489924"/>
                <a:gd name="connsiteX1152" fmla="*/ 653663 w 704451"/>
                <a:gd name="connsiteY1152" fmla="*/ 342210 h 489924"/>
                <a:gd name="connsiteX1153" fmla="*/ 654697 w 704451"/>
                <a:gd name="connsiteY1153" fmla="*/ 342857 h 489924"/>
                <a:gd name="connsiteX1154" fmla="*/ 656377 w 704451"/>
                <a:gd name="connsiteY1154" fmla="*/ 343115 h 489924"/>
                <a:gd name="connsiteX1155" fmla="*/ 657669 w 704451"/>
                <a:gd name="connsiteY1155" fmla="*/ 342598 h 489924"/>
                <a:gd name="connsiteX1156" fmla="*/ 658057 w 704451"/>
                <a:gd name="connsiteY1156" fmla="*/ 341306 h 489924"/>
                <a:gd name="connsiteX1157" fmla="*/ 658315 w 704451"/>
                <a:gd name="connsiteY1157" fmla="*/ 339755 h 489924"/>
                <a:gd name="connsiteX1158" fmla="*/ 658962 w 704451"/>
                <a:gd name="connsiteY1158" fmla="*/ 338333 h 489924"/>
                <a:gd name="connsiteX1159" fmla="*/ 659996 w 704451"/>
                <a:gd name="connsiteY1159" fmla="*/ 337946 h 489924"/>
                <a:gd name="connsiteX1160" fmla="*/ 661159 w 704451"/>
                <a:gd name="connsiteY1160" fmla="*/ 338075 h 489924"/>
                <a:gd name="connsiteX1161" fmla="*/ 662193 w 704451"/>
                <a:gd name="connsiteY1161" fmla="*/ 337558 h 489924"/>
                <a:gd name="connsiteX1162" fmla="*/ 662580 w 704451"/>
                <a:gd name="connsiteY1162" fmla="*/ 335361 h 489924"/>
                <a:gd name="connsiteX1163" fmla="*/ 662322 w 704451"/>
                <a:gd name="connsiteY1163" fmla="*/ 334715 h 489924"/>
                <a:gd name="connsiteX1164" fmla="*/ 660900 w 704451"/>
                <a:gd name="connsiteY1164" fmla="*/ 332905 h 489924"/>
                <a:gd name="connsiteX1165" fmla="*/ 660383 w 704451"/>
                <a:gd name="connsiteY1165" fmla="*/ 331742 h 489924"/>
                <a:gd name="connsiteX1166" fmla="*/ 658574 w 704451"/>
                <a:gd name="connsiteY1166" fmla="*/ 332518 h 489924"/>
                <a:gd name="connsiteX1167" fmla="*/ 657928 w 704451"/>
                <a:gd name="connsiteY1167" fmla="*/ 331872 h 489924"/>
                <a:gd name="connsiteX1168" fmla="*/ 658445 w 704451"/>
                <a:gd name="connsiteY1168" fmla="*/ 330579 h 489924"/>
                <a:gd name="connsiteX1169" fmla="*/ 660383 w 704451"/>
                <a:gd name="connsiteY1169" fmla="*/ 329416 h 489924"/>
                <a:gd name="connsiteX1170" fmla="*/ 659220 w 704451"/>
                <a:gd name="connsiteY1170" fmla="*/ 328124 h 489924"/>
                <a:gd name="connsiteX1171" fmla="*/ 657411 w 704451"/>
                <a:gd name="connsiteY1171" fmla="*/ 327607 h 489924"/>
                <a:gd name="connsiteX1172" fmla="*/ 653792 w 704451"/>
                <a:gd name="connsiteY1172" fmla="*/ 327090 h 489924"/>
                <a:gd name="connsiteX1173" fmla="*/ 653792 w 704451"/>
                <a:gd name="connsiteY1173" fmla="*/ 326315 h 489924"/>
                <a:gd name="connsiteX1174" fmla="*/ 655731 w 704451"/>
                <a:gd name="connsiteY1174" fmla="*/ 326315 h 489924"/>
                <a:gd name="connsiteX1175" fmla="*/ 659220 w 704451"/>
                <a:gd name="connsiteY1175" fmla="*/ 325410 h 489924"/>
                <a:gd name="connsiteX1176" fmla="*/ 661159 w 704451"/>
                <a:gd name="connsiteY1176" fmla="*/ 325410 h 489924"/>
                <a:gd name="connsiteX1177" fmla="*/ 658574 w 704451"/>
                <a:gd name="connsiteY1177" fmla="*/ 318431 h 489924"/>
                <a:gd name="connsiteX1178" fmla="*/ 658186 w 704451"/>
                <a:gd name="connsiteY1178" fmla="*/ 316493 h 489924"/>
                <a:gd name="connsiteX1179" fmla="*/ 658703 w 704451"/>
                <a:gd name="connsiteY1179" fmla="*/ 316881 h 489924"/>
                <a:gd name="connsiteX1180" fmla="*/ 659091 w 704451"/>
                <a:gd name="connsiteY1180" fmla="*/ 317139 h 489924"/>
                <a:gd name="connsiteX1181" fmla="*/ 659349 w 704451"/>
                <a:gd name="connsiteY1181" fmla="*/ 317527 h 489924"/>
                <a:gd name="connsiteX1182" fmla="*/ 659737 w 704451"/>
                <a:gd name="connsiteY1182" fmla="*/ 318302 h 489924"/>
                <a:gd name="connsiteX1183" fmla="*/ 660512 w 704451"/>
                <a:gd name="connsiteY1183" fmla="*/ 318302 h 489924"/>
                <a:gd name="connsiteX1184" fmla="*/ 660512 w 704451"/>
                <a:gd name="connsiteY1184" fmla="*/ 315847 h 489924"/>
                <a:gd name="connsiteX1185" fmla="*/ 661676 w 704451"/>
                <a:gd name="connsiteY1185" fmla="*/ 317010 h 489924"/>
                <a:gd name="connsiteX1186" fmla="*/ 662710 w 704451"/>
                <a:gd name="connsiteY1186" fmla="*/ 319465 h 489924"/>
                <a:gd name="connsiteX1187" fmla="*/ 663485 w 704451"/>
                <a:gd name="connsiteY1187" fmla="*/ 320629 h 489924"/>
                <a:gd name="connsiteX1188" fmla="*/ 665940 w 704451"/>
                <a:gd name="connsiteY1188" fmla="*/ 322308 h 489924"/>
                <a:gd name="connsiteX1189" fmla="*/ 667620 w 704451"/>
                <a:gd name="connsiteY1189" fmla="*/ 323084 h 489924"/>
                <a:gd name="connsiteX1190" fmla="*/ 668396 w 704451"/>
                <a:gd name="connsiteY1190" fmla="*/ 322567 h 489924"/>
                <a:gd name="connsiteX1191" fmla="*/ 668525 w 704451"/>
                <a:gd name="connsiteY1191" fmla="*/ 322179 h 489924"/>
                <a:gd name="connsiteX1192" fmla="*/ 669042 w 704451"/>
                <a:gd name="connsiteY1192" fmla="*/ 322179 h 489924"/>
                <a:gd name="connsiteX1193" fmla="*/ 669171 w 704451"/>
                <a:gd name="connsiteY1193" fmla="*/ 321792 h 489924"/>
                <a:gd name="connsiteX1194" fmla="*/ 668913 w 704451"/>
                <a:gd name="connsiteY1194" fmla="*/ 321275 h 489924"/>
                <a:gd name="connsiteX1195" fmla="*/ 668396 w 704451"/>
                <a:gd name="connsiteY1195" fmla="*/ 320887 h 489924"/>
                <a:gd name="connsiteX1196" fmla="*/ 667879 w 704451"/>
                <a:gd name="connsiteY1196" fmla="*/ 320629 h 489924"/>
                <a:gd name="connsiteX1197" fmla="*/ 667620 w 704451"/>
                <a:gd name="connsiteY1197" fmla="*/ 320629 h 489924"/>
                <a:gd name="connsiteX1198" fmla="*/ 666974 w 704451"/>
                <a:gd name="connsiteY1198" fmla="*/ 319724 h 489924"/>
                <a:gd name="connsiteX1199" fmla="*/ 666974 w 704451"/>
                <a:gd name="connsiteY1199" fmla="*/ 319207 h 489924"/>
                <a:gd name="connsiteX1200" fmla="*/ 668008 w 704451"/>
                <a:gd name="connsiteY1200" fmla="*/ 318948 h 489924"/>
                <a:gd name="connsiteX1201" fmla="*/ 668267 w 704451"/>
                <a:gd name="connsiteY1201" fmla="*/ 318302 h 489924"/>
                <a:gd name="connsiteX1202" fmla="*/ 669300 w 704451"/>
                <a:gd name="connsiteY1202" fmla="*/ 316751 h 489924"/>
                <a:gd name="connsiteX1203" fmla="*/ 670722 w 704451"/>
                <a:gd name="connsiteY1203" fmla="*/ 315071 h 489924"/>
                <a:gd name="connsiteX1204" fmla="*/ 672144 w 704451"/>
                <a:gd name="connsiteY1204" fmla="*/ 314167 h 489924"/>
                <a:gd name="connsiteX1205" fmla="*/ 672144 w 704451"/>
                <a:gd name="connsiteY1205" fmla="*/ 315976 h 489924"/>
                <a:gd name="connsiteX1206" fmla="*/ 671497 w 704451"/>
                <a:gd name="connsiteY1206" fmla="*/ 319077 h 489924"/>
                <a:gd name="connsiteX1207" fmla="*/ 671110 w 704451"/>
                <a:gd name="connsiteY1207" fmla="*/ 324764 h 489924"/>
                <a:gd name="connsiteX1208" fmla="*/ 671239 w 704451"/>
                <a:gd name="connsiteY1208" fmla="*/ 326056 h 489924"/>
                <a:gd name="connsiteX1209" fmla="*/ 672144 w 704451"/>
                <a:gd name="connsiteY1209" fmla="*/ 325410 h 489924"/>
                <a:gd name="connsiteX1210" fmla="*/ 672790 w 704451"/>
                <a:gd name="connsiteY1210" fmla="*/ 325410 h 489924"/>
                <a:gd name="connsiteX1211" fmla="*/ 671368 w 704451"/>
                <a:gd name="connsiteY1211" fmla="*/ 329416 h 489924"/>
                <a:gd name="connsiteX1212" fmla="*/ 672919 w 704451"/>
                <a:gd name="connsiteY1212" fmla="*/ 329287 h 489924"/>
                <a:gd name="connsiteX1213" fmla="*/ 674211 w 704451"/>
                <a:gd name="connsiteY1213" fmla="*/ 328512 h 489924"/>
                <a:gd name="connsiteX1214" fmla="*/ 675245 w 704451"/>
                <a:gd name="connsiteY1214" fmla="*/ 327349 h 489924"/>
                <a:gd name="connsiteX1215" fmla="*/ 676408 w 704451"/>
                <a:gd name="connsiteY1215" fmla="*/ 325151 h 489924"/>
                <a:gd name="connsiteX1216" fmla="*/ 676667 w 704451"/>
                <a:gd name="connsiteY1216" fmla="*/ 324376 h 489924"/>
                <a:gd name="connsiteX1217" fmla="*/ 676796 w 704451"/>
                <a:gd name="connsiteY1217" fmla="*/ 323213 h 489924"/>
                <a:gd name="connsiteX1218" fmla="*/ 676667 w 704451"/>
                <a:gd name="connsiteY1218" fmla="*/ 321275 h 489924"/>
                <a:gd name="connsiteX1219" fmla="*/ 677700 w 704451"/>
                <a:gd name="connsiteY1219" fmla="*/ 322050 h 489924"/>
                <a:gd name="connsiteX1220" fmla="*/ 679251 w 704451"/>
                <a:gd name="connsiteY1220" fmla="*/ 324118 h 489924"/>
                <a:gd name="connsiteX1221" fmla="*/ 680285 w 704451"/>
                <a:gd name="connsiteY1221" fmla="*/ 324635 h 489924"/>
                <a:gd name="connsiteX1222" fmla="*/ 681061 w 704451"/>
                <a:gd name="connsiteY1222" fmla="*/ 324376 h 489924"/>
                <a:gd name="connsiteX1223" fmla="*/ 682482 w 704451"/>
                <a:gd name="connsiteY1223" fmla="*/ 322567 h 489924"/>
                <a:gd name="connsiteX1224" fmla="*/ 683645 w 704451"/>
                <a:gd name="connsiteY1224" fmla="*/ 322179 h 489924"/>
                <a:gd name="connsiteX1225" fmla="*/ 685842 w 704451"/>
                <a:gd name="connsiteY1225" fmla="*/ 322050 h 489924"/>
                <a:gd name="connsiteX1226" fmla="*/ 688427 w 704451"/>
                <a:gd name="connsiteY1226" fmla="*/ 321533 h 489924"/>
                <a:gd name="connsiteX1227" fmla="*/ 690753 w 704451"/>
                <a:gd name="connsiteY1227" fmla="*/ 320499 h 489924"/>
                <a:gd name="connsiteX1228" fmla="*/ 692045 w 704451"/>
                <a:gd name="connsiteY1228" fmla="*/ 319077 h 489924"/>
                <a:gd name="connsiteX1229" fmla="*/ 693467 w 704451"/>
                <a:gd name="connsiteY1229" fmla="*/ 320241 h 489924"/>
                <a:gd name="connsiteX1230" fmla="*/ 692433 w 704451"/>
                <a:gd name="connsiteY1230" fmla="*/ 321404 h 489924"/>
                <a:gd name="connsiteX1231" fmla="*/ 687652 w 704451"/>
                <a:gd name="connsiteY1231" fmla="*/ 323472 h 489924"/>
                <a:gd name="connsiteX1232" fmla="*/ 685455 w 704451"/>
                <a:gd name="connsiteY1232" fmla="*/ 324764 h 489924"/>
                <a:gd name="connsiteX1233" fmla="*/ 684679 w 704451"/>
                <a:gd name="connsiteY1233" fmla="*/ 325410 h 489924"/>
                <a:gd name="connsiteX1234" fmla="*/ 683645 w 704451"/>
                <a:gd name="connsiteY1234" fmla="*/ 326573 h 489924"/>
                <a:gd name="connsiteX1235" fmla="*/ 683387 w 704451"/>
                <a:gd name="connsiteY1235" fmla="*/ 327090 h 489924"/>
                <a:gd name="connsiteX1236" fmla="*/ 683387 w 704451"/>
                <a:gd name="connsiteY1236" fmla="*/ 327607 h 489924"/>
                <a:gd name="connsiteX1237" fmla="*/ 683258 w 704451"/>
                <a:gd name="connsiteY1237" fmla="*/ 328641 h 489924"/>
                <a:gd name="connsiteX1238" fmla="*/ 680673 w 704451"/>
                <a:gd name="connsiteY1238" fmla="*/ 335619 h 489924"/>
                <a:gd name="connsiteX1239" fmla="*/ 680414 w 704451"/>
                <a:gd name="connsiteY1239" fmla="*/ 337558 h 489924"/>
                <a:gd name="connsiteX1240" fmla="*/ 681319 w 704451"/>
                <a:gd name="connsiteY1240" fmla="*/ 340014 h 489924"/>
                <a:gd name="connsiteX1241" fmla="*/ 683128 w 704451"/>
                <a:gd name="connsiteY1241" fmla="*/ 341435 h 489924"/>
                <a:gd name="connsiteX1242" fmla="*/ 684808 w 704451"/>
                <a:gd name="connsiteY1242" fmla="*/ 341177 h 489924"/>
                <a:gd name="connsiteX1243" fmla="*/ 686101 w 704451"/>
                <a:gd name="connsiteY1243" fmla="*/ 336395 h 489924"/>
                <a:gd name="connsiteX1244" fmla="*/ 688556 w 704451"/>
                <a:gd name="connsiteY1244" fmla="*/ 332130 h 489924"/>
                <a:gd name="connsiteX1245" fmla="*/ 689073 w 704451"/>
                <a:gd name="connsiteY1245" fmla="*/ 330709 h 489924"/>
                <a:gd name="connsiteX1246" fmla="*/ 697344 w 704451"/>
                <a:gd name="connsiteY1246" fmla="*/ 325539 h 489924"/>
                <a:gd name="connsiteX1247" fmla="*/ 698249 w 704451"/>
                <a:gd name="connsiteY1247" fmla="*/ 323730 h 489924"/>
                <a:gd name="connsiteX1248" fmla="*/ 698378 w 704451"/>
                <a:gd name="connsiteY1248" fmla="*/ 323342 h 489924"/>
                <a:gd name="connsiteX1249" fmla="*/ 698507 w 704451"/>
                <a:gd name="connsiteY1249" fmla="*/ 321921 h 489924"/>
                <a:gd name="connsiteX1250" fmla="*/ 699153 w 704451"/>
                <a:gd name="connsiteY1250" fmla="*/ 320629 h 489924"/>
                <a:gd name="connsiteX1251" fmla="*/ 700187 w 704451"/>
                <a:gd name="connsiteY1251" fmla="*/ 319465 h 489924"/>
                <a:gd name="connsiteX1252" fmla="*/ 703030 w 704451"/>
                <a:gd name="connsiteY1252" fmla="*/ 315330 h 489924"/>
                <a:gd name="connsiteX1253" fmla="*/ 703806 w 704451"/>
                <a:gd name="connsiteY1253" fmla="*/ 314037 h 489924"/>
                <a:gd name="connsiteX1254" fmla="*/ 704452 w 704451"/>
                <a:gd name="connsiteY1254" fmla="*/ 313779 h 48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Lst>
              <a:rect l="l" t="t" r="r" b="b"/>
              <a:pathLst>
                <a:path w="704451" h="489924">
                  <a:moveTo>
                    <a:pt x="681578" y="330579"/>
                  </a:moveTo>
                  <a:lnTo>
                    <a:pt x="681061" y="328641"/>
                  </a:lnTo>
                  <a:lnTo>
                    <a:pt x="679639" y="328641"/>
                  </a:lnTo>
                  <a:lnTo>
                    <a:pt x="676537" y="330838"/>
                  </a:lnTo>
                  <a:lnTo>
                    <a:pt x="673953" y="332905"/>
                  </a:lnTo>
                  <a:lnTo>
                    <a:pt x="672273" y="335749"/>
                  </a:lnTo>
                  <a:lnTo>
                    <a:pt x="672144" y="337816"/>
                  </a:lnTo>
                  <a:lnTo>
                    <a:pt x="674082" y="339755"/>
                  </a:lnTo>
                  <a:lnTo>
                    <a:pt x="674340" y="341177"/>
                  </a:lnTo>
                  <a:lnTo>
                    <a:pt x="673824" y="342727"/>
                  </a:lnTo>
                  <a:lnTo>
                    <a:pt x="675374" y="344924"/>
                  </a:lnTo>
                  <a:lnTo>
                    <a:pt x="677313" y="345312"/>
                  </a:lnTo>
                  <a:lnTo>
                    <a:pt x="679639" y="343761"/>
                  </a:lnTo>
                  <a:lnTo>
                    <a:pt x="681061" y="342598"/>
                  </a:lnTo>
                  <a:lnTo>
                    <a:pt x="679897" y="340272"/>
                  </a:lnTo>
                  <a:lnTo>
                    <a:pt x="679768" y="337946"/>
                  </a:lnTo>
                  <a:lnTo>
                    <a:pt x="681061" y="333552"/>
                  </a:lnTo>
                  <a:lnTo>
                    <a:pt x="681578" y="330579"/>
                  </a:lnTo>
                  <a:close/>
                  <a:moveTo>
                    <a:pt x="704452" y="313779"/>
                  </a:moveTo>
                  <a:lnTo>
                    <a:pt x="703935" y="313391"/>
                  </a:lnTo>
                  <a:lnTo>
                    <a:pt x="703160" y="313391"/>
                  </a:lnTo>
                  <a:lnTo>
                    <a:pt x="702643" y="313520"/>
                  </a:lnTo>
                  <a:lnTo>
                    <a:pt x="702126" y="313908"/>
                  </a:lnTo>
                  <a:lnTo>
                    <a:pt x="701738" y="314296"/>
                  </a:lnTo>
                  <a:lnTo>
                    <a:pt x="701350" y="314813"/>
                  </a:lnTo>
                  <a:lnTo>
                    <a:pt x="700963" y="315201"/>
                  </a:lnTo>
                  <a:lnTo>
                    <a:pt x="700446" y="315588"/>
                  </a:lnTo>
                  <a:lnTo>
                    <a:pt x="699800" y="315718"/>
                  </a:lnTo>
                  <a:lnTo>
                    <a:pt x="699024" y="315718"/>
                  </a:lnTo>
                  <a:lnTo>
                    <a:pt x="698249" y="315588"/>
                  </a:lnTo>
                  <a:lnTo>
                    <a:pt x="692175" y="313908"/>
                  </a:lnTo>
                  <a:lnTo>
                    <a:pt x="691399" y="313520"/>
                  </a:lnTo>
                  <a:lnTo>
                    <a:pt x="690495" y="312874"/>
                  </a:lnTo>
                  <a:lnTo>
                    <a:pt x="689073" y="311711"/>
                  </a:lnTo>
                  <a:lnTo>
                    <a:pt x="688427" y="310807"/>
                  </a:lnTo>
                  <a:lnTo>
                    <a:pt x="688169" y="310031"/>
                  </a:lnTo>
                  <a:lnTo>
                    <a:pt x="688298" y="309256"/>
                  </a:lnTo>
                  <a:lnTo>
                    <a:pt x="688685" y="307963"/>
                  </a:lnTo>
                  <a:lnTo>
                    <a:pt x="688685" y="306800"/>
                  </a:lnTo>
                  <a:lnTo>
                    <a:pt x="688298" y="305250"/>
                  </a:lnTo>
                  <a:lnTo>
                    <a:pt x="686101" y="299305"/>
                  </a:lnTo>
                  <a:lnTo>
                    <a:pt x="686101" y="298529"/>
                  </a:lnTo>
                  <a:lnTo>
                    <a:pt x="685584" y="296074"/>
                  </a:lnTo>
                  <a:lnTo>
                    <a:pt x="683516" y="289354"/>
                  </a:lnTo>
                  <a:lnTo>
                    <a:pt x="679897" y="291809"/>
                  </a:lnTo>
                  <a:lnTo>
                    <a:pt x="679251" y="291809"/>
                  </a:lnTo>
                  <a:lnTo>
                    <a:pt x="678605" y="291680"/>
                  </a:lnTo>
                  <a:lnTo>
                    <a:pt x="678347" y="291163"/>
                  </a:lnTo>
                  <a:lnTo>
                    <a:pt x="678218" y="290517"/>
                  </a:lnTo>
                  <a:lnTo>
                    <a:pt x="677959" y="289871"/>
                  </a:lnTo>
                  <a:lnTo>
                    <a:pt x="676925" y="289354"/>
                  </a:lnTo>
                  <a:lnTo>
                    <a:pt x="675762" y="289354"/>
                  </a:lnTo>
                  <a:lnTo>
                    <a:pt x="673824" y="289742"/>
                  </a:lnTo>
                  <a:lnTo>
                    <a:pt x="672790" y="289612"/>
                  </a:lnTo>
                  <a:lnTo>
                    <a:pt x="672144" y="289354"/>
                  </a:lnTo>
                  <a:lnTo>
                    <a:pt x="671885" y="288837"/>
                  </a:lnTo>
                  <a:lnTo>
                    <a:pt x="671756" y="288320"/>
                  </a:lnTo>
                  <a:lnTo>
                    <a:pt x="671627" y="287932"/>
                  </a:lnTo>
                  <a:lnTo>
                    <a:pt x="671497" y="287415"/>
                  </a:lnTo>
                  <a:lnTo>
                    <a:pt x="671239" y="287028"/>
                  </a:lnTo>
                  <a:lnTo>
                    <a:pt x="670851" y="286511"/>
                  </a:lnTo>
                  <a:lnTo>
                    <a:pt x="670334" y="285994"/>
                  </a:lnTo>
                  <a:lnTo>
                    <a:pt x="669430" y="285348"/>
                  </a:lnTo>
                  <a:lnTo>
                    <a:pt x="668525" y="285089"/>
                  </a:lnTo>
                  <a:lnTo>
                    <a:pt x="666328" y="284960"/>
                  </a:lnTo>
                  <a:lnTo>
                    <a:pt x="665553" y="284572"/>
                  </a:lnTo>
                  <a:lnTo>
                    <a:pt x="663873" y="283280"/>
                  </a:lnTo>
                  <a:lnTo>
                    <a:pt x="663226" y="283280"/>
                  </a:lnTo>
                  <a:lnTo>
                    <a:pt x="662968" y="283409"/>
                  </a:lnTo>
                  <a:lnTo>
                    <a:pt x="662710" y="284185"/>
                  </a:lnTo>
                  <a:lnTo>
                    <a:pt x="662322" y="284572"/>
                  </a:lnTo>
                  <a:lnTo>
                    <a:pt x="660254" y="285735"/>
                  </a:lnTo>
                  <a:lnTo>
                    <a:pt x="659349" y="286511"/>
                  </a:lnTo>
                  <a:lnTo>
                    <a:pt x="658962" y="287028"/>
                  </a:lnTo>
                  <a:lnTo>
                    <a:pt x="658703" y="287545"/>
                  </a:lnTo>
                  <a:lnTo>
                    <a:pt x="658574" y="288061"/>
                  </a:lnTo>
                  <a:lnTo>
                    <a:pt x="658574" y="288191"/>
                  </a:lnTo>
                  <a:lnTo>
                    <a:pt x="658574" y="289096"/>
                  </a:lnTo>
                  <a:lnTo>
                    <a:pt x="659091" y="290905"/>
                  </a:lnTo>
                  <a:lnTo>
                    <a:pt x="659091" y="291551"/>
                  </a:lnTo>
                  <a:lnTo>
                    <a:pt x="658962" y="292197"/>
                  </a:lnTo>
                  <a:lnTo>
                    <a:pt x="658703" y="292714"/>
                  </a:lnTo>
                  <a:lnTo>
                    <a:pt x="658315" y="293102"/>
                  </a:lnTo>
                  <a:lnTo>
                    <a:pt x="657411" y="293748"/>
                  </a:lnTo>
                  <a:lnTo>
                    <a:pt x="657023" y="294135"/>
                  </a:lnTo>
                  <a:lnTo>
                    <a:pt x="656636" y="294652"/>
                  </a:lnTo>
                  <a:lnTo>
                    <a:pt x="656377" y="295170"/>
                  </a:lnTo>
                  <a:lnTo>
                    <a:pt x="655860" y="296462"/>
                  </a:lnTo>
                  <a:lnTo>
                    <a:pt x="655472" y="297108"/>
                  </a:lnTo>
                  <a:lnTo>
                    <a:pt x="654955" y="297754"/>
                  </a:lnTo>
                  <a:lnTo>
                    <a:pt x="654439" y="297883"/>
                  </a:lnTo>
                  <a:lnTo>
                    <a:pt x="653792" y="297754"/>
                  </a:lnTo>
                  <a:lnTo>
                    <a:pt x="650303" y="296074"/>
                  </a:lnTo>
                  <a:lnTo>
                    <a:pt x="647848" y="294652"/>
                  </a:lnTo>
                  <a:lnTo>
                    <a:pt x="647460" y="294135"/>
                  </a:lnTo>
                  <a:lnTo>
                    <a:pt x="646943" y="293489"/>
                  </a:lnTo>
                  <a:lnTo>
                    <a:pt x="645392" y="289742"/>
                  </a:lnTo>
                  <a:lnTo>
                    <a:pt x="645134" y="288708"/>
                  </a:lnTo>
                  <a:lnTo>
                    <a:pt x="645004" y="288061"/>
                  </a:lnTo>
                  <a:lnTo>
                    <a:pt x="645004" y="287932"/>
                  </a:lnTo>
                  <a:lnTo>
                    <a:pt x="645004" y="287932"/>
                  </a:lnTo>
                  <a:lnTo>
                    <a:pt x="645004" y="287932"/>
                  </a:lnTo>
                  <a:lnTo>
                    <a:pt x="645392" y="287545"/>
                  </a:lnTo>
                  <a:lnTo>
                    <a:pt x="647331" y="286252"/>
                  </a:lnTo>
                  <a:lnTo>
                    <a:pt x="647718" y="285865"/>
                  </a:lnTo>
                  <a:lnTo>
                    <a:pt x="648106" y="285089"/>
                  </a:lnTo>
                  <a:lnTo>
                    <a:pt x="648365" y="284443"/>
                  </a:lnTo>
                  <a:lnTo>
                    <a:pt x="648752" y="281471"/>
                  </a:lnTo>
                  <a:lnTo>
                    <a:pt x="648235" y="277723"/>
                  </a:lnTo>
                  <a:lnTo>
                    <a:pt x="648623" y="276172"/>
                  </a:lnTo>
                  <a:lnTo>
                    <a:pt x="649011" y="275655"/>
                  </a:lnTo>
                  <a:lnTo>
                    <a:pt x="650045" y="274750"/>
                  </a:lnTo>
                  <a:lnTo>
                    <a:pt x="650691" y="273975"/>
                  </a:lnTo>
                  <a:lnTo>
                    <a:pt x="650562" y="272941"/>
                  </a:lnTo>
                  <a:lnTo>
                    <a:pt x="650303" y="271520"/>
                  </a:lnTo>
                  <a:lnTo>
                    <a:pt x="649915" y="268289"/>
                  </a:lnTo>
                  <a:lnTo>
                    <a:pt x="650045" y="266867"/>
                  </a:lnTo>
                  <a:lnTo>
                    <a:pt x="650303" y="265963"/>
                  </a:lnTo>
                  <a:lnTo>
                    <a:pt x="651208" y="265316"/>
                  </a:lnTo>
                  <a:lnTo>
                    <a:pt x="653275" y="264153"/>
                  </a:lnTo>
                  <a:lnTo>
                    <a:pt x="653922" y="263378"/>
                  </a:lnTo>
                  <a:lnTo>
                    <a:pt x="654697" y="262215"/>
                  </a:lnTo>
                  <a:lnTo>
                    <a:pt x="655989" y="259630"/>
                  </a:lnTo>
                  <a:lnTo>
                    <a:pt x="656248" y="258338"/>
                  </a:lnTo>
                  <a:lnTo>
                    <a:pt x="655989" y="257562"/>
                  </a:lnTo>
                  <a:lnTo>
                    <a:pt x="655472" y="257304"/>
                  </a:lnTo>
                  <a:lnTo>
                    <a:pt x="649786" y="255236"/>
                  </a:lnTo>
                  <a:lnTo>
                    <a:pt x="649269" y="254978"/>
                  </a:lnTo>
                  <a:lnTo>
                    <a:pt x="648752" y="254590"/>
                  </a:lnTo>
                  <a:lnTo>
                    <a:pt x="648365" y="254202"/>
                  </a:lnTo>
                  <a:lnTo>
                    <a:pt x="647718" y="253168"/>
                  </a:lnTo>
                  <a:lnTo>
                    <a:pt x="647460" y="252652"/>
                  </a:lnTo>
                  <a:lnTo>
                    <a:pt x="647201" y="252005"/>
                  </a:lnTo>
                  <a:lnTo>
                    <a:pt x="646814" y="251489"/>
                  </a:lnTo>
                  <a:lnTo>
                    <a:pt x="646168" y="250971"/>
                  </a:lnTo>
                  <a:lnTo>
                    <a:pt x="645521" y="250713"/>
                  </a:lnTo>
                  <a:lnTo>
                    <a:pt x="644746" y="250584"/>
                  </a:lnTo>
                  <a:lnTo>
                    <a:pt x="643971" y="250584"/>
                  </a:lnTo>
                  <a:lnTo>
                    <a:pt x="643325" y="250713"/>
                  </a:lnTo>
                  <a:lnTo>
                    <a:pt x="642678" y="250842"/>
                  </a:lnTo>
                  <a:lnTo>
                    <a:pt x="640611" y="252005"/>
                  </a:lnTo>
                  <a:lnTo>
                    <a:pt x="639706" y="252652"/>
                  </a:lnTo>
                  <a:lnTo>
                    <a:pt x="638801" y="253427"/>
                  </a:lnTo>
                  <a:lnTo>
                    <a:pt x="638284" y="253685"/>
                  </a:lnTo>
                  <a:lnTo>
                    <a:pt x="637638" y="253685"/>
                  </a:lnTo>
                  <a:lnTo>
                    <a:pt x="636863" y="253168"/>
                  </a:lnTo>
                  <a:lnTo>
                    <a:pt x="636604" y="252393"/>
                  </a:lnTo>
                  <a:lnTo>
                    <a:pt x="635829" y="250067"/>
                  </a:lnTo>
                  <a:lnTo>
                    <a:pt x="634537" y="249938"/>
                  </a:lnTo>
                  <a:lnTo>
                    <a:pt x="634149" y="251101"/>
                  </a:lnTo>
                  <a:lnTo>
                    <a:pt x="632598" y="251618"/>
                  </a:lnTo>
                  <a:lnTo>
                    <a:pt x="628850" y="252005"/>
                  </a:lnTo>
                  <a:lnTo>
                    <a:pt x="628333" y="252005"/>
                  </a:lnTo>
                  <a:lnTo>
                    <a:pt x="626524" y="251618"/>
                  </a:lnTo>
                  <a:lnTo>
                    <a:pt x="626136" y="251747"/>
                  </a:lnTo>
                  <a:lnTo>
                    <a:pt x="625749" y="252005"/>
                  </a:lnTo>
                  <a:lnTo>
                    <a:pt x="625232" y="252264"/>
                  </a:lnTo>
                  <a:lnTo>
                    <a:pt x="624586" y="252264"/>
                  </a:lnTo>
                  <a:lnTo>
                    <a:pt x="622647" y="251101"/>
                  </a:lnTo>
                  <a:lnTo>
                    <a:pt x="621096" y="249550"/>
                  </a:lnTo>
                  <a:lnTo>
                    <a:pt x="619416" y="248387"/>
                  </a:lnTo>
                  <a:lnTo>
                    <a:pt x="616961" y="248516"/>
                  </a:lnTo>
                  <a:lnTo>
                    <a:pt x="617090" y="248775"/>
                  </a:lnTo>
                  <a:lnTo>
                    <a:pt x="617478" y="249162"/>
                  </a:lnTo>
                  <a:lnTo>
                    <a:pt x="617607" y="249421"/>
                  </a:lnTo>
                  <a:lnTo>
                    <a:pt x="614893" y="249162"/>
                  </a:lnTo>
                  <a:lnTo>
                    <a:pt x="606364" y="249808"/>
                  </a:lnTo>
                  <a:lnTo>
                    <a:pt x="603521" y="249033"/>
                  </a:lnTo>
                  <a:lnTo>
                    <a:pt x="600419" y="245673"/>
                  </a:lnTo>
                  <a:lnTo>
                    <a:pt x="598093" y="245027"/>
                  </a:lnTo>
                  <a:lnTo>
                    <a:pt x="598222" y="248904"/>
                  </a:lnTo>
                  <a:lnTo>
                    <a:pt x="595508" y="250842"/>
                  </a:lnTo>
                  <a:lnTo>
                    <a:pt x="591502" y="251230"/>
                  </a:lnTo>
                  <a:lnTo>
                    <a:pt x="585557" y="249938"/>
                  </a:lnTo>
                  <a:lnTo>
                    <a:pt x="583231" y="250325"/>
                  </a:lnTo>
                  <a:lnTo>
                    <a:pt x="581292" y="251618"/>
                  </a:lnTo>
                  <a:lnTo>
                    <a:pt x="579741" y="251618"/>
                  </a:lnTo>
                  <a:lnTo>
                    <a:pt x="577803" y="251359"/>
                  </a:lnTo>
                  <a:lnTo>
                    <a:pt x="570825" y="249291"/>
                  </a:lnTo>
                  <a:lnTo>
                    <a:pt x="569532" y="248645"/>
                  </a:lnTo>
                  <a:lnTo>
                    <a:pt x="569274" y="248128"/>
                  </a:lnTo>
                  <a:lnTo>
                    <a:pt x="569015" y="247611"/>
                  </a:lnTo>
                  <a:lnTo>
                    <a:pt x="568757" y="246965"/>
                  </a:lnTo>
                  <a:lnTo>
                    <a:pt x="568498" y="245673"/>
                  </a:lnTo>
                  <a:lnTo>
                    <a:pt x="568498" y="244897"/>
                  </a:lnTo>
                  <a:lnTo>
                    <a:pt x="569144" y="241279"/>
                  </a:lnTo>
                  <a:lnTo>
                    <a:pt x="569144" y="240633"/>
                  </a:lnTo>
                  <a:lnTo>
                    <a:pt x="569015" y="239987"/>
                  </a:lnTo>
                  <a:lnTo>
                    <a:pt x="567206" y="236885"/>
                  </a:lnTo>
                  <a:lnTo>
                    <a:pt x="567077" y="236239"/>
                  </a:lnTo>
                  <a:lnTo>
                    <a:pt x="566947" y="235593"/>
                  </a:lnTo>
                  <a:lnTo>
                    <a:pt x="566947" y="234817"/>
                  </a:lnTo>
                  <a:lnTo>
                    <a:pt x="567077" y="234042"/>
                  </a:lnTo>
                  <a:lnTo>
                    <a:pt x="567206" y="233525"/>
                  </a:lnTo>
                  <a:lnTo>
                    <a:pt x="567852" y="232879"/>
                  </a:lnTo>
                  <a:lnTo>
                    <a:pt x="570566" y="232879"/>
                  </a:lnTo>
                  <a:lnTo>
                    <a:pt x="570954" y="232491"/>
                  </a:lnTo>
                  <a:lnTo>
                    <a:pt x="571341" y="231845"/>
                  </a:lnTo>
                  <a:lnTo>
                    <a:pt x="571341" y="231199"/>
                  </a:lnTo>
                  <a:lnTo>
                    <a:pt x="571212" y="230553"/>
                  </a:lnTo>
                  <a:lnTo>
                    <a:pt x="571341" y="228873"/>
                  </a:lnTo>
                  <a:lnTo>
                    <a:pt x="572246" y="225900"/>
                  </a:lnTo>
                  <a:lnTo>
                    <a:pt x="570049" y="224349"/>
                  </a:lnTo>
                  <a:lnTo>
                    <a:pt x="569791" y="223833"/>
                  </a:lnTo>
                  <a:lnTo>
                    <a:pt x="569661" y="223186"/>
                  </a:lnTo>
                  <a:lnTo>
                    <a:pt x="569920" y="222669"/>
                  </a:lnTo>
                  <a:lnTo>
                    <a:pt x="570437" y="222282"/>
                  </a:lnTo>
                  <a:lnTo>
                    <a:pt x="570954" y="222023"/>
                  </a:lnTo>
                  <a:lnTo>
                    <a:pt x="573926" y="220860"/>
                  </a:lnTo>
                  <a:lnTo>
                    <a:pt x="574572" y="220472"/>
                  </a:lnTo>
                  <a:lnTo>
                    <a:pt x="575606" y="219697"/>
                  </a:lnTo>
                  <a:lnTo>
                    <a:pt x="575865" y="219051"/>
                  </a:lnTo>
                  <a:lnTo>
                    <a:pt x="575735" y="218534"/>
                  </a:lnTo>
                  <a:lnTo>
                    <a:pt x="574831" y="217500"/>
                  </a:lnTo>
                  <a:lnTo>
                    <a:pt x="574443" y="216595"/>
                  </a:lnTo>
                  <a:lnTo>
                    <a:pt x="574572" y="216078"/>
                  </a:lnTo>
                  <a:lnTo>
                    <a:pt x="574960" y="215691"/>
                  </a:lnTo>
                  <a:lnTo>
                    <a:pt x="575606" y="215303"/>
                  </a:lnTo>
                  <a:lnTo>
                    <a:pt x="576252" y="214528"/>
                  </a:lnTo>
                  <a:lnTo>
                    <a:pt x="577157" y="213235"/>
                  </a:lnTo>
                  <a:lnTo>
                    <a:pt x="577415" y="211814"/>
                  </a:lnTo>
                  <a:lnTo>
                    <a:pt x="577286" y="211038"/>
                  </a:lnTo>
                  <a:lnTo>
                    <a:pt x="576898" y="210521"/>
                  </a:lnTo>
                  <a:lnTo>
                    <a:pt x="576511" y="210134"/>
                  </a:lnTo>
                  <a:lnTo>
                    <a:pt x="575994" y="209746"/>
                  </a:lnTo>
                  <a:lnTo>
                    <a:pt x="575348" y="209488"/>
                  </a:lnTo>
                  <a:lnTo>
                    <a:pt x="574701" y="209358"/>
                  </a:lnTo>
                  <a:lnTo>
                    <a:pt x="574185" y="209100"/>
                  </a:lnTo>
                  <a:lnTo>
                    <a:pt x="573280" y="208324"/>
                  </a:lnTo>
                  <a:lnTo>
                    <a:pt x="572763" y="208066"/>
                  </a:lnTo>
                  <a:lnTo>
                    <a:pt x="572117" y="207808"/>
                  </a:lnTo>
                  <a:lnTo>
                    <a:pt x="571341" y="207032"/>
                  </a:lnTo>
                  <a:lnTo>
                    <a:pt x="570566" y="205611"/>
                  </a:lnTo>
                  <a:lnTo>
                    <a:pt x="569015" y="200570"/>
                  </a:lnTo>
                  <a:lnTo>
                    <a:pt x="568498" y="199537"/>
                  </a:lnTo>
                  <a:lnTo>
                    <a:pt x="567981" y="199149"/>
                  </a:lnTo>
                  <a:lnTo>
                    <a:pt x="567464" y="198890"/>
                  </a:lnTo>
                  <a:lnTo>
                    <a:pt x="566689" y="198632"/>
                  </a:lnTo>
                  <a:lnTo>
                    <a:pt x="565914" y="198244"/>
                  </a:lnTo>
                  <a:lnTo>
                    <a:pt x="565138" y="197469"/>
                  </a:lnTo>
                  <a:lnTo>
                    <a:pt x="564880" y="196693"/>
                  </a:lnTo>
                  <a:lnTo>
                    <a:pt x="564880" y="195918"/>
                  </a:lnTo>
                  <a:lnTo>
                    <a:pt x="565267" y="194626"/>
                  </a:lnTo>
                  <a:lnTo>
                    <a:pt x="565526" y="193075"/>
                  </a:lnTo>
                  <a:lnTo>
                    <a:pt x="565655" y="188552"/>
                  </a:lnTo>
                  <a:lnTo>
                    <a:pt x="565397" y="187518"/>
                  </a:lnTo>
                  <a:lnTo>
                    <a:pt x="565009" y="186742"/>
                  </a:lnTo>
                  <a:lnTo>
                    <a:pt x="564233" y="185838"/>
                  </a:lnTo>
                  <a:lnTo>
                    <a:pt x="563200" y="184287"/>
                  </a:lnTo>
                  <a:lnTo>
                    <a:pt x="562812" y="183899"/>
                  </a:lnTo>
                  <a:lnTo>
                    <a:pt x="561907" y="183253"/>
                  </a:lnTo>
                  <a:lnTo>
                    <a:pt x="561132" y="182736"/>
                  </a:lnTo>
                  <a:lnTo>
                    <a:pt x="560744" y="182478"/>
                  </a:lnTo>
                  <a:lnTo>
                    <a:pt x="558289" y="181702"/>
                  </a:lnTo>
                  <a:lnTo>
                    <a:pt x="557643" y="181444"/>
                  </a:lnTo>
                  <a:lnTo>
                    <a:pt x="556996" y="180927"/>
                  </a:lnTo>
                  <a:lnTo>
                    <a:pt x="556480" y="180281"/>
                  </a:lnTo>
                  <a:lnTo>
                    <a:pt x="555704" y="179118"/>
                  </a:lnTo>
                  <a:lnTo>
                    <a:pt x="555187" y="178471"/>
                  </a:lnTo>
                  <a:lnTo>
                    <a:pt x="554670" y="177955"/>
                  </a:lnTo>
                  <a:lnTo>
                    <a:pt x="553507" y="177438"/>
                  </a:lnTo>
                  <a:lnTo>
                    <a:pt x="552990" y="177050"/>
                  </a:lnTo>
                  <a:lnTo>
                    <a:pt x="552603" y="176533"/>
                  </a:lnTo>
                  <a:lnTo>
                    <a:pt x="551439" y="174594"/>
                  </a:lnTo>
                  <a:lnTo>
                    <a:pt x="549759" y="172527"/>
                  </a:lnTo>
                  <a:lnTo>
                    <a:pt x="548079" y="169813"/>
                  </a:lnTo>
                  <a:lnTo>
                    <a:pt x="547433" y="168391"/>
                  </a:lnTo>
                  <a:lnTo>
                    <a:pt x="547045" y="167099"/>
                  </a:lnTo>
                  <a:lnTo>
                    <a:pt x="546658" y="166453"/>
                  </a:lnTo>
                  <a:lnTo>
                    <a:pt x="546141" y="165807"/>
                  </a:lnTo>
                  <a:lnTo>
                    <a:pt x="546012" y="165160"/>
                  </a:lnTo>
                  <a:lnTo>
                    <a:pt x="546270" y="163868"/>
                  </a:lnTo>
                  <a:lnTo>
                    <a:pt x="546141" y="163351"/>
                  </a:lnTo>
                  <a:lnTo>
                    <a:pt x="545753" y="163093"/>
                  </a:lnTo>
                  <a:lnTo>
                    <a:pt x="545236" y="163222"/>
                  </a:lnTo>
                  <a:lnTo>
                    <a:pt x="544719" y="163480"/>
                  </a:lnTo>
                  <a:lnTo>
                    <a:pt x="544073" y="163480"/>
                  </a:lnTo>
                  <a:lnTo>
                    <a:pt x="543556" y="163351"/>
                  </a:lnTo>
                  <a:lnTo>
                    <a:pt x="542393" y="162576"/>
                  </a:lnTo>
                  <a:lnTo>
                    <a:pt x="540455" y="159345"/>
                  </a:lnTo>
                  <a:lnTo>
                    <a:pt x="539808" y="158957"/>
                  </a:lnTo>
                  <a:lnTo>
                    <a:pt x="539033" y="158570"/>
                  </a:lnTo>
                  <a:lnTo>
                    <a:pt x="538258" y="158440"/>
                  </a:lnTo>
                  <a:lnTo>
                    <a:pt x="537741" y="158053"/>
                  </a:lnTo>
                  <a:lnTo>
                    <a:pt x="537224" y="157277"/>
                  </a:lnTo>
                  <a:lnTo>
                    <a:pt x="536578" y="155209"/>
                  </a:lnTo>
                  <a:lnTo>
                    <a:pt x="536578" y="154434"/>
                  </a:lnTo>
                  <a:lnTo>
                    <a:pt x="536836" y="153917"/>
                  </a:lnTo>
                  <a:lnTo>
                    <a:pt x="537353" y="153659"/>
                  </a:lnTo>
                  <a:lnTo>
                    <a:pt x="538645" y="153400"/>
                  </a:lnTo>
                  <a:lnTo>
                    <a:pt x="539162" y="153012"/>
                  </a:lnTo>
                  <a:lnTo>
                    <a:pt x="539550" y="152625"/>
                  </a:lnTo>
                  <a:lnTo>
                    <a:pt x="540196" y="151591"/>
                  </a:lnTo>
                  <a:lnTo>
                    <a:pt x="540455" y="150428"/>
                  </a:lnTo>
                  <a:lnTo>
                    <a:pt x="540713" y="148877"/>
                  </a:lnTo>
                  <a:lnTo>
                    <a:pt x="540971" y="143449"/>
                  </a:lnTo>
                  <a:lnTo>
                    <a:pt x="541876" y="137504"/>
                  </a:lnTo>
                  <a:lnTo>
                    <a:pt x="541747" y="136471"/>
                  </a:lnTo>
                  <a:lnTo>
                    <a:pt x="541359" y="135695"/>
                  </a:lnTo>
                  <a:lnTo>
                    <a:pt x="540584" y="135049"/>
                  </a:lnTo>
                  <a:lnTo>
                    <a:pt x="539162" y="133757"/>
                  </a:lnTo>
                  <a:lnTo>
                    <a:pt x="538258" y="132594"/>
                  </a:lnTo>
                  <a:lnTo>
                    <a:pt x="536190" y="129234"/>
                  </a:lnTo>
                  <a:lnTo>
                    <a:pt x="534768" y="126132"/>
                  </a:lnTo>
                  <a:lnTo>
                    <a:pt x="534251" y="123935"/>
                  </a:lnTo>
                  <a:lnTo>
                    <a:pt x="534122" y="119282"/>
                  </a:lnTo>
                  <a:lnTo>
                    <a:pt x="533864" y="117732"/>
                  </a:lnTo>
                  <a:lnTo>
                    <a:pt x="533347" y="116698"/>
                  </a:lnTo>
                  <a:lnTo>
                    <a:pt x="532959" y="116181"/>
                  </a:lnTo>
                  <a:lnTo>
                    <a:pt x="531796" y="115276"/>
                  </a:lnTo>
                  <a:lnTo>
                    <a:pt x="531150" y="114372"/>
                  </a:lnTo>
                  <a:lnTo>
                    <a:pt x="531021" y="113726"/>
                  </a:lnTo>
                  <a:lnTo>
                    <a:pt x="531150" y="113079"/>
                  </a:lnTo>
                  <a:lnTo>
                    <a:pt x="531408" y="112562"/>
                  </a:lnTo>
                  <a:lnTo>
                    <a:pt x="531537" y="111916"/>
                  </a:lnTo>
                  <a:lnTo>
                    <a:pt x="531667" y="111529"/>
                  </a:lnTo>
                  <a:lnTo>
                    <a:pt x="532184" y="110107"/>
                  </a:lnTo>
                  <a:lnTo>
                    <a:pt x="535027" y="102353"/>
                  </a:lnTo>
                  <a:lnTo>
                    <a:pt x="535156" y="100673"/>
                  </a:lnTo>
                  <a:lnTo>
                    <a:pt x="534639" y="95374"/>
                  </a:lnTo>
                  <a:lnTo>
                    <a:pt x="532571" y="85165"/>
                  </a:lnTo>
                  <a:lnTo>
                    <a:pt x="529211" y="77799"/>
                  </a:lnTo>
                  <a:lnTo>
                    <a:pt x="526368" y="73663"/>
                  </a:lnTo>
                  <a:lnTo>
                    <a:pt x="523783" y="71337"/>
                  </a:lnTo>
                  <a:lnTo>
                    <a:pt x="523396" y="70691"/>
                  </a:lnTo>
                  <a:lnTo>
                    <a:pt x="523137" y="69786"/>
                  </a:lnTo>
                  <a:lnTo>
                    <a:pt x="523137" y="68752"/>
                  </a:lnTo>
                  <a:lnTo>
                    <a:pt x="522879" y="67331"/>
                  </a:lnTo>
                  <a:lnTo>
                    <a:pt x="522491" y="66685"/>
                  </a:lnTo>
                  <a:lnTo>
                    <a:pt x="521845" y="66297"/>
                  </a:lnTo>
                  <a:lnTo>
                    <a:pt x="521199" y="66297"/>
                  </a:lnTo>
                  <a:lnTo>
                    <a:pt x="519906" y="66555"/>
                  </a:lnTo>
                  <a:lnTo>
                    <a:pt x="519260" y="66555"/>
                  </a:lnTo>
                  <a:lnTo>
                    <a:pt x="518614" y="66426"/>
                  </a:lnTo>
                  <a:lnTo>
                    <a:pt x="516288" y="65392"/>
                  </a:lnTo>
                  <a:lnTo>
                    <a:pt x="515254" y="64875"/>
                  </a:lnTo>
                  <a:lnTo>
                    <a:pt x="512282" y="62937"/>
                  </a:lnTo>
                  <a:lnTo>
                    <a:pt x="511248" y="62549"/>
                  </a:lnTo>
                  <a:lnTo>
                    <a:pt x="508017" y="62291"/>
                  </a:lnTo>
                  <a:lnTo>
                    <a:pt x="506854" y="62032"/>
                  </a:lnTo>
                  <a:lnTo>
                    <a:pt x="505432" y="61127"/>
                  </a:lnTo>
                  <a:lnTo>
                    <a:pt x="503881" y="59577"/>
                  </a:lnTo>
                  <a:lnTo>
                    <a:pt x="503494" y="58543"/>
                  </a:lnTo>
                  <a:lnTo>
                    <a:pt x="503881" y="55312"/>
                  </a:lnTo>
                  <a:lnTo>
                    <a:pt x="503235" y="53890"/>
                  </a:lnTo>
                  <a:lnTo>
                    <a:pt x="501684" y="52856"/>
                  </a:lnTo>
                  <a:lnTo>
                    <a:pt x="498324" y="51306"/>
                  </a:lnTo>
                  <a:lnTo>
                    <a:pt x="497420" y="50013"/>
                  </a:lnTo>
                  <a:lnTo>
                    <a:pt x="497678" y="47041"/>
                  </a:lnTo>
                  <a:lnTo>
                    <a:pt x="497291" y="45232"/>
                  </a:lnTo>
                  <a:lnTo>
                    <a:pt x="496386" y="44327"/>
                  </a:lnTo>
                  <a:lnTo>
                    <a:pt x="495223" y="43810"/>
                  </a:lnTo>
                  <a:lnTo>
                    <a:pt x="494318" y="44327"/>
                  </a:lnTo>
                  <a:lnTo>
                    <a:pt x="494318" y="46136"/>
                  </a:lnTo>
                  <a:lnTo>
                    <a:pt x="492380" y="45361"/>
                  </a:lnTo>
                  <a:lnTo>
                    <a:pt x="491087" y="45232"/>
                  </a:lnTo>
                  <a:lnTo>
                    <a:pt x="483462" y="47558"/>
                  </a:lnTo>
                  <a:lnTo>
                    <a:pt x="482558" y="47946"/>
                  </a:lnTo>
                  <a:lnTo>
                    <a:pt x="480619" y="48592"/>
                  </a:lnTo>
                  <a:lnTo>
                    <a:pt x="471702" y="49496"/>
                  </a:lnTo>
                  <a:lnTo>
                    <a:pt x="468859" y="48850"/>
                  </a:lnTo>
                  <a:lnTo>
                    <a:pt x="467696" y="48333"/>
                  </a:lnTo>
                  <a:lnTo>
                    <a:pt x="465887" y="47946"/>
                  </a:lnTo>
                  <a:lnTo>
                    <a:pt x="464207" y="48075"/>
                  </a:lnTo>
                  <a:lnTo>
                    <a:pt x="463431" y="48850"/>
                  </a:lnTo>
                  <a:lnTo>
                    <a:pt x="462785" y="50013"/>
                  </a:lnTo>
                  <a:lnTo>
                    <a:pt x="461234" y="49884"/>
                  </a:lnTo>
                  <a:lnTo>
                    <a:pt x="459425" y="49109"/>
                  </a:lnTo>
                  <a:lnTo>
                    <a:pt x="458262" y="48463"/>
                  </a:lnTo>
                  <a:lnTo>
                    <a:pt x="456065" y="46524"/>
                  </a:lnTo>
                  <a:lnTo>
                    <a:pt x="454643" y="45619"/>
                  </a:lnTo>
                  <a:lnTo>
                    <a:pt x="452834" y="45232"/>
                  </a:lnTo>
                  <a:lnTo>
                    <a:pt x="451154" y="45619"/>
                  </a:lnTo>
                  <a:lnTo>
                    <a:pt x="449991" y="46653"/>
                  </a:lnTo>
                  <a:lnTo>
                    <a:pt x="448053" y="49238"/>
                  </a:lnTo>
                  <a:lnTo>
                    <a:pt x="446889" y="48721"/>
                  </a:lnTo>
                  <a:lnTo>
                    <a:pt x="440299" y="49238"/>
                  </a:lnTo>
                  <a:lnTo>
                    <a:pt x="439652" y="49109"/>
                  </a:lnTo>
                  <a:lnTo>
                    <a:pt x="439006" y="48850"/>
                  </a:lnTo>
                  <a:lnTo>
                    <a:pt x="438489" y="48592"/>
                  </a:lnTo>
                  <a:lnTo>
                    <a:pt x="437972" y="48204"/>
                  </a:lnTo>
                  <a:lnTo>
                    <a:pt x="435775" y="47558"/>
                  </a:lnTo>
                  <a:lnTo>
                    <a:pt x="426729" y="46266"/>
                  </a:lnTo>
                  <a:lnTo>
                    <a:pt x="423757" y="46266"/>
                  </a:lnTo>
                  <a:lnTo>
                    <a:pt x="421560" y="46653"/>
                  </a:lnTo>
                  <a:lnTo>
                    <a:pt x="419363" y="48333"/>
                  </a:lnTo>
                  <a:lnTo>
                    <a:pt x="417941" y="49109"/>
                  </a:lnTo>
                  <a:lnTo>
                    <a:pt x="416261" y="49755"/>
                  </a:lnTo>
                  <a:lnTo>
                    <a:pt x="413676" y="50143"/>
                  </a:lnTo>
                  <a:lnTo>
                    <a:pt x="411996" y="50013"/>
                  </a:lnTo>
                  <a:lnTo>
                    <a:pt x="410575" y="49496"/>
                  </a:lnTo>
                  <a:lnTo>
                    <a:pt x="409799" y="48850"/>
                  </a:lnTo>
                  <a:lnTo>
                    <a:pt x="409024" y="47816"/>
                  </a:lnTo>
                  <a:lnTo>
                    <a:pt x="408378" y="46524"/>
                  </a:lnTo>
                  <a:lnTo>
                    <a:pt x="407344" y="43552"/>
                  </a:lnTo>
                  <a:lnTo>
                    <a:pt x="406569" y="42130"/>
                  </a:lnTo>
                  <a:lnTo>
                    <a:pt x="402045" y="36315"/>
                  </a:lnTo>
                  <a:lnTo>
                    <a:pt x="400882" y="35410"/>
                  </a:lnTo>
                  <a:lnTo>
                    <a:pt x="399590" y="34635"/>
                  </a:lnTo>
                  <a:lnTo>
                    <a:pt x="386667" y="31404"/>
                  </a:lnTo>
                  <a:lnTo>
                    <a:pt x="374906" y="28302"/>
                  </a:lnTo>
                  <a:lnTo>
                    <a:pt x="367282" y="25200"/>
                  </a:lnTo>
                  <a:lnTo>
                    <a:pt x="358494" y="19256"/>
                  </a:lnTo>
                  <a:lnTo>
                    <a:pt x="356038" y="17963"/>
                  </a:lnTo>
                  <a:lnTo>
                    <a:pt x="352937" y="16671"/>
                  </a:lnTo>
                  <a:lnTo>
                    <a:pt x="350998" y="15508"/>
                  </a:lnTo>
                  <a:lnTo>
                    <a:pt x="349706" y="14991"/>
                  </a:lnTo>
                  <a:lnTo>
                    <a:pt x="348801" y="14733"/>
                  </a:lnTo>
                  <a:lnTo>
                    <a:pt x="348026" y="14733"/>
                  </a:lnTo>
                  <a:lnTo>
                    <a:pt x="347380" y="14862"/>
                  </a:lnTo>
                  <a:lnTo>
                    <a:pt x="346217" y="15250"/>
                  </a:lnTo>
                  <a:lnTo>
                    <a:pt x="345312" y="15379"/>
                  </a:lnTo>
                  <a:lnTo>
                    <a:pt x="344149" y="15379"/>
                  </a:lnTo>
                  <a:lnTo>
                    <a:pt x="341952" y="15120"/>
                  </a:lnTo>
                  <a:lnTo>
                    <a:pt x="340789" y="15120"/>
                  </a:lnTo>
                  <a:lnTo>
                    <a:pt x="340013" y="15379"/>
                  </a:lnTo>
                  <a:lnTo>
                    <a:pt x="339496" y="15767"/>
                  </a:lnTo>
                  <a:lnTo>
                    <a:pt x="337041" y="17188"/>
                  </a:lnTo>
                  <a:lnTo>
                    <a:pt x="336395" y="17705"/>
                  </a:lnTo>
                  <a:lnTo>
                    <a:pt x="336007" y="17963"/>
                  </a:lnTo>
                  <a:lnTo>
                    <a:pt x="334456" y="18480"/>
                  </a:lnTo>
                  <a:lnTo>
                    <a:pt x="332259" y="18868"/>
                  </a:lnTo>
                  <a:lnTo>
                    <a:pt x="328253" y="18868"/>
                  </a:lnTo>
                  <a:lnTo>
                    <a:pt x="326056" y="18480"/>
                  </a:lnTo>
                  <a:lnTo>
                    <a:pt x="323988" y="17705"/>
                  </a:lnTo>
                  <a:lnTo>
                    <a:pt x="320241" y="15767"/>
                  </a:lnTo>
                  <a:lnTo>
                    <a:pt x="318302" y="15120"/>
                  </a:lnTo>
                  <a:lnTo>
                    <a:pt x="316234" y="15120"/>
                  </a:lnTo>
                  <a:lnTo>
                    <a:pt x="314167" y="16283"/>
                  </a:lnTo>
                  <a:lnTo>
                    <a:pt x="312487" y="16283"/>
                  </a:lnTo>
                  <a:lnTo>
                    <a:pt x="310419" y="14603"/>
                  </a:lnTo>
                  <a:lnTo>
                    <a:pt x="307188" y="11114"/>
                  </a:lnTo>
                  <a:lnTo>
                    <a:pt x="304862" y="10468"/>
                  </a:lnTo>
                  <a:lnTo>
                    <a:pt x="298013" y="11114"/>
                  </a:lnTo>
                  <a:lnTo>
                    <a:pt x="295299" y="10856"/>
                  </a:lnTo>
                  <a:lnTo>
                    <a:pt x="293231" y="10209"/>
                  </a:lnTo>
                  <a:lnTo>
                    <a:pt x="281600" y="3102"/>
                  </a:lnTo>
                  <a:lnTo>
                    <a:pt x="277077" y="1163"/>
                  </a:lnTo>
                  <a:lnTo>
                    <a:pt x="272683" y="0"/>
                  </a:lnTo>
                  <a:lnTo>
                    <a:pt x="270227" y="129"/>
                  </a:lnTo>
                  <a:lnTo>
                    <a:pt x="267255" y="905"/>
                  </a:lnTo>
                  <a:lnTo>
                    <a:pt x="264799" y="2326"/>
                  </a:lnTo>
                  <a:lnTo>
                    <a:pt x="263765" y="4394"/>
                  </a:lnTo>
                  <a:lnTo>
                    <a:pt x="263378" y="6720"/>
                  </a:lnTo>
                  <a:lnTo>
                    <a:pt x="262473" y="9434"/>
                  </a:lnTo>
                  <a:lnTo>
                    <a:pt x="261052" y="11889"/>
                  </a:lnTo>
                  <a:lnTo>
                    <a:pt x="259372" y="13440"/>
                  </a:lnTo>
                  <a:lnTo>
                    <a:pt x="256528" y="14086"/>
                  </a:lnTo>
                  <a:lnTo>
                    <a:pt x="255365" y="12923"/>
                  </a:lnTo>
                  <a:lnTo>
                    <a:pt x="254848" y="11114"/>
                  </a:lnTo>
                  <a:lnTo>
                    <a:pt x="253944" y="10209"/>
                  </a:lnTo>
                  <a:lnTo>
                    <a:pt x="253298" y="9951"/>
                  </a:lnTo>
                  <a:lnTo>
                    <a:pt x="252651" y="9434"/>
                  </a:lnTo>
                  <a:lnTo>
                    <a:pt x="251747" y="8917"/>
                  </a:lnTo>
                  <a:lnTo>
                    <a:pt x="250325" y="8659"/>
                  </a:lnTo>
                  <a:lnTo>
                    <a:pt x="249162" y="9046"/>
                  </a:lnTo>
                  <a:lnTo>
                    <a:pt x="246319" y="11114"/>
                  </a:lnTo>
                  <a:lnTo>
                    <a:pt x="243864" y="11114"/>
                  </a:lnTo>
                  <a:lnTo>
                    <a:pt x="238953" y="9822"/>
                  </a:lnTo>
                  <a:lnTo>
                    <a:pt x="236497" y="9434"/>
                  </a:lnTo>
                  <a:lnTo>
                    <a:pt x="232232" y="9305"/>
                  </a:lnTo>
                  <a:lnTo>
                    <a:pt x="230553" y="9563"/>
                  </a:lnTo>
                  <a:lnTo>
                    <a:pt x="228743" y="10209"/>
                  </a:lnTo>
                  <a:lnTo>
                    <a:pt x="224220" y="10726"/>
                  </a:lnTo>
                  <a:lnTo>
                    <a:pt x="220989" y="8529"/>
                  </a:lnTo>
                  <a:lnTo>
                    <a:pt x="218017" y="6074"/>
                  </a:lnTo>
                  <a:lnTo>
                    <a:pt x="214269" y="5557"/>
                  </a:lnTo>
                  <a:lnTo>
                    <a:pt x="208195" y="8917"/>
                  </a:lnTo>
                  <a:lnTo>
                    <a:pt x="205740" y="9434"/>
                  </a:lnTo>
                  <a:lnTo>
                    <a:pt x="195013" y="7754"/>
                  </a:lnTo>
                  <a:lnTo>
                    <a:pt x="190361" y="7883"/>
                  </a:lnTo>
                  <a:lnTo>
                    <a:pt x="188552" y="7496"/>
                  </a:lnTo>
                  <a:lnTo>
                    <a:pt x="185838" y="5815"/>
                  </a:lnTo>
                  <a:lnTo>
                    <a:pt x="184416" y="5428"/>
                  </a:lnTo>
                  <a:lnTo>
                    <a:pt x="178601" y="5557"/>
                  </a:lnTo>
                  <a:lnTo>
                    <a:pt x="176404" y="6203"/>
                  </a:lnTo>
                  <a:lnTo>
                    <a:pt x="173819" y="7754"/>
                  </a:lnTo>
                  <a:lnTo>
                    <a:pt x="172010" y="9046"/>
                  </a:lnTo>
                  <a:lnTo>
                    <a:pt x="166970" y="12923"/>
                  </a:lnTo>
                  <a:lnTo>
                    <a:pt x="161671" y="18093"/>
                  </a:lnTo>
                  <a:lnTo>
                    <a:pt x="160637" y="18868"/>
                  </a:lnTo>
                  <a:lnTo>
                    <a:pt x="156760" y="20290"/>
                  </a:lnTo>
                  <a:lnTo>
                    <a:pt x="155080" y="20677"/>
                  </a:lnTo>
                  <a:lnTo>
                    <a:pt x="154951" y="20548"/>
                  </a:lnTo>
                  <a:lnTo>
                    <a:pt x="121609" y="35410"/>
                  </a:lnTo>
                  <a:lnTo>
                    <a:pt x="113725" y="40192"/>
                  </a:lnTo>
                  <a:lnTo>
                    <a:pt x="110236" y="43681"/>
                  </a:lnTo>
                  <a:lnTo>
                    <a:pt x="108944" y="45749"/>
                  </a:lnTo>
                  <a:lnTo>
                    <a:pt x="106101" y="52856"/>
                  </a:lnTo>
                  <a:lnTo>
                    <a:pt x="104938" y="57251"/>
                  </a:lnTo>
                  <a:lnTo>
                    <a:pt x="104033" y="67331"/>
                  </a:lnTo>
                  <a:lnTo>
                    <a:pt x="102353" y="71854"/>
                  </a:lnTo>
                  <a:lnTo>
                    <a:pt x="100285" y="76119"/>
                  </a:lnTo>
                  <a:lnTo>
                    <a:pt x="97183" y="84907"/>
                  </a:lnTo>
                  <a:lnTo>
                    <a:pt x="95116" y="89300"/>
                  </a:lnTo>
                  <a:lnTo>
                    <a:pt x="92014" y="92919"/>
                  </a:lnTo>
                  <a:lnTo>
                    <a:pt x="80383" y="100414"/>
                  </a:lnTo>
                  <a:lnTo>
                    <a:pt x="71208" y="104162"/>
                  </a:lnTo>
                  <a:lnTo>
                    <a:pt x="69011" y="106359"/>
                  </a:lnTo>
                  <a:lnTo>
                    <a:pt x="68623" y="107393"/>
                  </a:lnTo>
                  <a:lnTo>
                    <a:pt x="68752" y="111529"/>
                  </a:lnTo>
                  <a:lnTo>
                    <a:pt x="63841" y="128717"/>
                  </a:lnTo>
                  <a:lnTo>
                    <a:pt x="62807" y="135824"/>
                  </a:lnTo>
                  <a:lnTo>
                    <a:pt x="59447" y="144741"/>
                  </a:lnTo>
                  <a:lnTo>
                    <a:pt x="58413" y="149652"/>
                  </a:lnTo>
                  <a:lnTo>
                    <a:pt x="58284" y="159991"/>
                  </a:lnTo>
                  <a:lnTo>
                    <a:pt x="57380" y="165031"/>
                  </a:lnTo>
                  <a:lnTo>
                    <a:pt x="55053" y="167228"/>
                  </a:lnTo>
                  <a:lnTo>
                    <a:pt x="46524" y="171622"/>
                  </a:lnTo>
                  <a:lnTo>
                    <a:pt x="45619" y="173044"/>
                  </a:lnTo>
                  <a:lnTo>
                    <a:pt x="43552" y="174594"/>
                  </a:lnTo>
                  <a:lnTo>
                    <a:pt x="39158" y="176921"/>
                  </a:lnTo>
                  <a:lnTo>
                    <a:pt x="39158" y="176921"/>
                  </a:lnTo>
                  <a:lnTo>
                    <a:pt x="36961" y="178730"/>
                  </a:lnTo>
                  <a:lnTo>
                    <a:pt x="33213" y="181573"/>
                  </a:lnTo>
                  <a:lnTo>
                    <a:pt x="30628" y="184933"/>
                  </a:lnTo>
                  <a:lnTo>
                    <a:pt x="29594" y="188552"/>
                  </a:lnTo>
                  <a:lnTo>
                    <a:pt x="29853" y="190490"/>
                  </a:lnTo>
                  <a:lnTo>
                    <a:pt x="31274" y="194238"/>
                  </a:lnTo>
                  <a:lnTo>
                    <a:pt x="31791" y="198632"/>
                  </a:lnTo>
                  <a:lnTo>
                    <a:pt x="32696" y="200053"/>
                  </a:lnTo>
                  <a:lnTo>
                    <a:pt x="35281" y="203414"/>
                  </a:lnTo>
                  <a:lnTo>
                    <a:pt x="36185" y="206127"/>
                  </a:lnTo>
                  <a:lnTo>
                    <a:pt x="37607" y="209746"/>
                  </a:lnTo>
                  <a:lnTo>
                    <a:pt x="37478" y="213106"/>
                  </a:lnTo>
                  <a:lnTo>
                    <a:pt x="36444" y="216725"/>
                  </a:lnTo>
                  <a:lnTo>
                    <a:pt x="35151" y="219309"/>
                  </a:lnTo>
                  <a:lnTo>
                    <a:pt x="31016" y="225512"/>
                  </a:lnTo>
                  <a:lnTo>
                    <a:pt x="29724" y="229260"/>
                  </a:lnTo>
                  <a:lnTo>
                    <a:pt x="29724" y="232879"/>
                  </a:lnTo>
                  <a:lnTo>
                    <a:pt x="31274" y="240891"/>
                  </a:lnTo>
                  <a:lnTo>
                    <a:pt x="31145" y="244639"/>
                  </a:lnTo>
                  <a:lnTo>
                    <a:pt x="27139" y="256658"/>
                  </a:lnTo>
                  <a:lnTo>
                    <a:pt x="25717" y="260793"/>
                  </a:lnTo>
                  <a:lnTo>
                    <a:pt x="22616" y="265316"/>
                  </a:lnTo>
                  <a:lnTo>
                    <a:pt x="21840" y="267255"/>
                  </a:lnTo>
                  <a:lnTo>
                    <a:pt x="16930" y="288578"/>
                  </a:lnTo>
                  <a:lnTo>
                    <a:pt x="16025" y="292585"/>
                  </a:lnTo>
                  <a:lnTo>
                    <a:pt x="15766" y="294782"/>
                  </a:lnTo>
                  <a:lnTo>
                    <a:pt x="15896" y="296720"/>
                  </a:lnTo>
                  <a:lnTo>
                    <a:pt x="16800" y="299046"/>
                  </a:lnTo>
                  <a:lnTo>
                    <a:pt x="19514" y="303570"/>
                  </a:lnTo>
                  <a:lnTo>
                    <a:pt x="19902" y="305766"/>
                  </a:lnTo>
                  <a:lnTo>
                    <a:pt x="18997" y="307834"/>
                  </a:lnTo>
                  <a:lnTo>
                    <a:pt x="15379" y="311194"/>
                  </a:lnTo>
                  <a:lnTo>
                    <a:pt x="14086" y="313262"/>
                  </a:lnTo>
                  <a:lnTo>
                    <a:pt x="11760" y="321016"/>
                  </a:lnTo>
                  <a:lnTo>
                    <a:pt x="9046" y="325151"/>
                  </a:lnTo>
                  <a:lnTo>
                    <a:pt x="7108" y="327736"/>
                  </a:lnTo>
                  <a:lnTo>
                    <a:pt x="4006" y="330579"/>
                  </a:lnTo>
                  <a:lnTo>
                    <a:pt x="1680" y="334973"/>
                  </a:lnTo>
                  <a:lnTo>
                    <a:pt x="388" y="339109"/>
                  </a:lnTo>
                  <a:lnTo>
                    <a:pt x="129" y="340401"/>
                  </a:lnTo>
                  <a:lnTo>
                    <a:pt x="0" y="342986"/>
                  </a:lnTo>
                  <a:lnTo>
                    <a:pt x="388" y="345570"/>
                  </a:lnTo>
                  <a:lnTo>
                    <a:pt x="1421" y="347767"/>
                  </a:lnTo>
                  <a:lnTo>
                    <a:pt x="2197" y="349964"/>
                  </a:lnTo>
                  <a:lnTo>
                    <a:pt x="1938" y="352808"/>
                  </a:lnTo>
                  <a:lnTo>
                    <a:pt x="1292" y="355651"/>
                  </a:lnTo>
                  <a:lnTo>
                    <a:pt x="1292" y="355909"/>
                  </a:lnTo>
                  <a:lnTo>
                    <a:pt x="5557" y="355392"/>
                  </a:lnTo>
                  <a:lnTo>
                    <a:pt x="7108" y="355909"/>
                  </a:lnTo>
                  <a:lnTo>
                    <a:pt x="7754" y="357331"/>
                  </a:lnTo>
                  <a:lnTo>
                    <a:pt x="7883" y="359011"/>
                  </a:lnTo>
                  <a:lnTo>
                    <a:pt x="8529" y="360045"/>
                  </a:lnTo>
                  <a:lnTo>
                    <a:pt x="10726" y="359528"/>
                  </a:lnTo>
                  <a:lnTo>
                    <a:pt x="12923" y="360432"/>
                  </a:lnTo>
                  <a:lnTo>
                    <a:pt x="14862" y="361854"/>
                  </a:lnTo>
                  <a:lnTo>
                    <a:pt x="16154" y="363792"/>
                  </a:lnTo>
                  <a:lnTo>
                    <a:pt x="16542" y="366248"/>
                  </a:lnTo>
                  <a:lnTo>
                    <a:pt x="16542" y="367411"/>
                  </a:lnTo>
                  <a:lnTo>
                    <a:pt x="16800" y="368703"/>
                  </a:lnTo>
                  <a:lnTo>
                    <a:pt x="17446" y="369349"/>
                  </a:lnTo>
                  <a:lnTo>
                    <a:pt x="18480" y="368832"/>
                  </a:lnTo>
                  <a:lnTo>
                    <a:pt x="18868" y="367799"/>
                  </a:lnTo>
                  <a:lnTo>
                    <a:pt x="18351" y="365343"/>
                  </a:lnTo>
                  <a:lnTo>
                    <a:pt x="18351" y="364180"/>
                  </a:lnTo>
                  <a:lnTo>
                    <a:pt x="18997" y="363275"/>
                  </a:lnTo>
                  <a:lnTo>
                    <a:pt x="20936" y="362112"/>
                  </a:lnTo>
                  <a:lnTo>
                    <a:pt x="21711" y="361208"/>
                  </a:lnTo>
                  <a:lnTo>
                    <a:pt x="21970" y="360045"/>
                  </a:lnTo>
                  <a:lnTo>
                    <a:pt x="21840" y="358882"/>
                  </a:lnTo>
                  <a:lnTo>
                    <a:pt x="21970" y="357718"/>
                  </a:lnTo>
                  <a:lnTo>
                    <a:pt x="22745" y="356684"/>
                  </a:lnTo>
                  <a:lnTo>
                    <a:pt x="23779" y="356168"/>
                  </a:lnTo>
                  <a:lnTo>
                    <a:pt x="24683" y="356168"/>
                  </a:lnTo>
                  <a:lnTo>
                    <a:pt x="26622" y="356943"/>
                  </a:lnTo>
                  <a:lnTo>
                    <a:pt x="27785" y="356684"/>
                  </a:lnTo>
                  <a:lnTo>
                    <a:pt x="29594" y="354229"/>
                  </a:lnTo>
                  <a:lnTo>
                    <a:pt x="30757" y="353454"/>
                  </a:lnTo>
                  <a:lnTo>
                    <a:pt x="33213" y="353195"/>
                  </a:lnTo>
                  <a:lnTo>
                    <a:pt x="34764" y="353712"/>
                  </a:lnTo>
                  <a:lnTo>
                    <a:pt x="35927" y="355134"/>
                  </a:lnTo>
                  <a:lnTo>
                    <a:pt x="37090" y="357589"/>
                  </a:lnTo>
                  <a:lnTo>
                    <a:pt x="37865" y="358623"/>
                  </a:lnTo>
                  <a:lnTo>
                    <a:pt x="38512" y="357977"/>
                  </a:lnTo>
                  <a:lnTo>
                    <a:pt x="39158" y="356168"/>
                  </a:lnTo>
                  <a:lnTo>
                    <a:pt x="40062" y="356038"/>
                  </a:lnTo>
                  <a:lnTo>
                    <a:pt x="40708" y="356038"/>
                  </a:lnTo>
                  <a:lnTo>
                    <a:pt x="42776" y="356684"/>
                  </a:lnTo>
                  <a:lnTo>
                    <a:pt x="44844" y="356555"/>
                  </a:lnTo>
                  <a:lnTo>
                    <a:pt x="44327" y="354488"/>
                  </a:lnTo>
                  <a:lnTo>
                    <a:pt x="42130" y="350740"/>
                  </a:lnTo>
                  <a:lnTo>
                    <a:pt x="43035" y="350352"/>
                  </a:lnTo>
                  <a:lnTo>
                    <a:pt x="44068" y="350481"/>
                  </a:lnTo>
                  <a:lnTo>
                    <a:pt x="46136" y="351257"/>
                  </a:lnTo>
                  <a:lnTo>
                    <a:pt x="47429" y="351127"/>
                  </a:lnTo>
                  <a:lnTo>
                    <a:pt x="48592" y="350352"/>
                  </a:lnTo>
                  <a:lnTo>
                    <a:pt x="51435" y="347121"/>
                  </a:lnTo>
                  <a:lnTo>
                    <a:pt x="52081" y="346604"/>
                  </a:lnTo>
                  <a:lnTo>
                    <a:pt x="52727" y="346346"/>
                  </a:lnTo>
                  <a:lnTo>
                    <a:pt x="53244" y="346475"/>
                  </a:lnTo>
                  <a:lnTo>
                    <a:pt x="53761" y="346992"/>
                  </a:lnTo>
                  <a:lnTo>
                    <a:pt x="53244" y="349189"/>
                  </a:lnTo>
                  <a:lnTo>
                    <a:pt x="52339" y="351127"/>
                  </a:lnTo>
                  <a:lnTo>
                    <a:pt x="51693" y="353066"/>
                  </a:lnTo>
                  <a:lnTo>
                    <a:pt x="51952" y="355392"/>
                  </a:lnTo>
                  <a:lnTo>
                    <a:pt x="52469" y="356426"/>
                  </a:lnTo>
                  <a:lnTo>
                    <a:pt x="53373" y="357589"/>
                  </a:lnTo>
                  <a:lnTo>
                    <a:pt x="54407" y="358364"/>
                  </a:lnTo>
                  <a:lnTo>
                    <a:pt x="55441" y="358364"/>
                  </a:lnTo>
                  <a:lnTo>
                    <a:pt x="55829" y="357589"/>
                  </a:lnTo>
                  <a:lnTo>
                    <a:pt x="55700" y="356297"/>
                  </a:lnTo>
                  <a:lnTo>
                    <a:pt x="55441" y="355004"/>
                  </a:lnTo>
                  <a:lnTo>
                    <a:pt x="55441" y="353841"/>
                  </a:lnTo>
                  <a:lnTo>
                    <a:pt x="56087" y="352808"/>
                  </a:lnTo>
                  <a:lnTo>
                    <a:pt x="57121" y="353454"/>
                  </a:lnTo>
                  <a:lnTo>
                    <a:pt x="58930" y="355263"/>
                  </a:lnTo>
                  <a:lnTo>
                    <a:pt x="60223" y="355004"/>
                  </a:lnTo>
                  <a:lnTo>
                    <a:pt x="60869" y="354488"/>
                  </a:lnTo>
                  <a:lnTo>
                    <a:pt x="61515" y="354229"/>
                  </a:lnTo>
                  <a:lnTo>
                    <a:pt x="62937" y="354617"/>
                  </a:lnTo>
                  <a:lnTo>
                    <a:pt x="65004" y="355780"/>
                  </a:lnTo>
                  <a:lnTo>
                    <a:pt x="66297" y="357460"/>
                  </a:lnTo>
                  <a:lnTo>
                    <a:pt x="67072" y="359528"/>
                  </a:lnTo>
                  <a:lnTo>
                    <a:pt x="67331" y="361983"/>
                  </a:lnTo>
                  <a:lnTo>
                    <a:pt x="68235" y="364956"/>
                  </a:lnTo>
                  <a:lnTo>
                    <a:pt x="70303" y="364697"/>
                  </a:lnTo>
                  <a:lnTo>
                    <a:pt x="74438" y="362112"/>
                  </a:lnTo>
                  <a:lnTo>
                    <a:pt x="75731" y="363275"/>
                  </a:lnTo>
                  <a:lnTo>
                    <a:pt x="76894" y="365860"/>
                  </a:lnTo>
                  <a:lnTo>
                    <a:pt x="78057" y="370125"/>
                  </a:lnTo>
                  <a:lnTo>
                    <a:pt x="77928" y="371158"/>
                  </a:lnTo>
                  <a:lnTo>
                    <a:pt x="77411" y="372063"/>
                  </a:lnTo>
                  <a:lnTo>
                    <a:pt x="77152" y="373097"/>
                  </a:lnTo>
                  <a:lnTo>
                    <a:pt x="77411" y="374648"/>
                  </a:lnTo>
                  <a:lnTo>
                    <a:pt x="78057" y="375940"/>
                  </a:lnTo>
                  <a:lnTo>
                    <a:pt x="80125" y="378008"/>
                  </a:lnTo>
                  <a:lnTo>
                    <a:pt x="81029" y="379171"/>
                  </a:lnTo>
                  <a:lnTo>
                    <a:pt x="81934" y="381368"/>
                  </a:lnTo>
                  <a:lnTo>
                    <a:pt x="82322" y="383436"/>
                  </a:lnTo>
                  <a:lnTo>
                    <a:pt x="81805" y="390415"/>
                  </a:lnTo>
                  <a:lnTo>
                    <a:pt x="83097" y="396747"/>
                  </a:lnTo>
                  <a:lnTo>
                    <a:pt x="82968" y="397910"/>
                  </a:lnTo>
                  <a:lnTo>
                    <a:pt x="82580" y="398944"/>
                  </a:lnTo>
                  <a:lnTo>
                    <a:pt x="82322" y="400107"/>
                  </a:lnTo>
                  <a:lnTo>
                    <a:pt x="82580" y="401528"/>
                  </a:lnTo>
                  <a:lnTo>
                    <a:pt x="83356" y="402821"/>
                  </a:lnTo>
                  <a:lnTo>
                    <a:pt x="86974" y="406052"/>
                  </a:lnTo>
                  <a:lnTo>
                    <a:pt x="86974" y="406052"/>
                  </a:lnTo>
                  <a:lnTo>
                    <a:pt x="86974" y="406052"/>
                  </a:lnTo>
                  <a:lnTo>
                    <a:pt x="89946" y="409283"/>
                  </a:lnTo>
                  <a:lnTo>
                    <a:pt x="91239" y="412901"/>
                  </a:lnTo>
                  <a:lnTo>
                    <a:pt x="92014" y="416778"/>
                  </a:lnTo>
                  <a:lnTo>
                    <a:pt x="93436" y="420913"/>
                  </a:lnTo>
                  <a:lnTo>
                    <a:pt x="98605" y="428151"/>
                  </a:lnTo>
                  <a:lnTo>
                    <a:pt x="100544" y="431898"/>
                  </a:lnTo>
                  <a:lnTo>
                    <a:pt x="101061" y="436680"/>
                  </a:lnTo>
                  <a:lnTo>
                    <a:pt x="102482" y="437068"/>
                  </a:lnTo>
                  <a:lnTo>
                    <a:pt x="104162" y="436551"/>
                  </a:lnTo>
                  <a:lnTo>
                    <a:pt x="105454" y="436292"/>
                  </a:lnTo>
                  <a:lnTo>
                    <a:pt x="106359" y="436422"/>
                  </a:lnTo>
                  <a:lnTo>
                    <a:pt x="112950" y="438231"/>
                  </a:lnTo>
                  <a:lnTo>
                    <a:pt x="116698" y="440298"/>
                  </a:lnTo>
                  <a:lnTo>
                    <a:pt x="117602" y="440428"/>
                  </a:lnTo>
                  <a:lnTo>
                    <a:pt x="118765" y="440557"/>
                  </a:lnTo>
                  <a:lnTo>
                    <a:pt x="120833" y="440428"/>
                  </a:lnTo>
                  <a:lnTo>
                    <a:pt x="121867" y="440170"/>
                  </a:lnTo>
                  <a:lnTo>
                    <a:pt x="122642" y="439911"/>
                  </a:lnTo>
                  <a:lnTo>
                    <a:pt x="131172" y="434871"/>
                  </a:lnTo>
                  <a:lnTo>
                    <a:pt x="131689" y="434612"/>
                  </a:lnTo>
                  <a:lnTo>
                    <a:pt x="132335" y="434483"/>
                  </a:lnTo>
                  <a:lnTo>
                    <a:pt x="133757" y="434354"/>
                  </a:lnTo>
                  <a:lnTo>
                    <a:pt x="135307" y="434612"/>
                  </a:lnTo>
                  <a:lnTo>
                    <a:pt x="141769" y="436809"/>
                  </a:lnTo>
                  <a:lnTo>
                    <a:pt x="143449" y="437843"/>
                  </a:lnTo>
                  <a:lnTo>
                    <a:pt x="144483" y="438618"/>
                  </a:lnTo>
                  <a:lnTo>
                    <a:pt x="144742" y="439135"/>
                  </a:lnTo>
                  <a:lnTo>
                    <a:pt x="145129" y="439652"/>
                  </a:lnTo>
                  <a:lnTo>
                    <a:pt x="145517" y="440040"/>
                  </a:lnTo>
                  <a:lnTo>
                    <a:pt x="150557" y="443271"/>
                  </a:lnTo>
                  <a:lnTo>
                    <a:pt x="152366" y="444692"/>
                  </a:lnTo>
                  <a:lnTo>
                    <a:pt x="155856" y="446372"/>
                  </a:lnTo>
                  <a:lnTo>
                    <a:pt x="156631" y="447019"/>
                  </a:lnTo>
                  <a:lnTo>
                    <a:pt x="157148" y="447665"/>
                  </a:lnTo>
                  <a:lnTo>
                    <a:pt x="157406" y="448182"/>
                  </a:lnTo>
                  <a:lnTo>
                    <a:pt x="158182" y="449087"/>
                  </a:lnTo>
                  <a:lnTo>
                    <a:pt x="158699" y="449474"/>
                  </a:lnTo>
                  <a:lnTo>
                    <a:pt x="159732" y="449733"/>
                  </a:lnTo>
                  <a:lnTo>
                    <a:pt x="161283" y="449862"/>
                  </a:lnTo>
                  <a:lnTo>
                    <a:pt x="167099" y="449345"/>
                  </a:lnTo>
                  <a:lnTo>
                    <a:pt x="171751" y="447923"/>
                  </a:lnTo>
                  <a:lnTo>
                    <a:pt x="172527" y="447536"/>
                  </a:lnTo>
                  <a:lnTo>
                    <a:pt x="173173" y="447536"/>
                  </a:lnTo>
                  <a:lnTo>
                    <a:pt x="173948" y="447665"/>
                  </a:lnTo>
                  <a:lnTo>
                    <a:pt x="174982" y="448182"/>
                  </a:lnTo>
                  <a:lnTo>
                    <a:pt x="176145" y="449087"/>
                  </a:lnTo>
                  <a:lnTo>
                    <a:pt x="176921" y="449345"/>
                  </a:lnTo>
                  <a:lnTo>
                    <a:pt x="177954" y="449474"/>
                  </a:lnTo>
                  <a:lnTo>
                    <a:pt x="180798" y="449087"/>
                  </a:lnTo>
                  <a:lnTo>
                    <a:pt x="184545" y="447794"/>
                  </a:lnTo>
                  <a:lnTo>
                    <a:pt x="186742" y="446760"/>
                  </a:lnTo>
                  <a:lnTo>
                    <a:pt x="187776" y="446372"/>
                  </a:lnTo>
                  <a:lnTo>
                    <a:pt x="189844" y="445985"/>
                  </a:lnTo>
                  <a:lnTo>
                    <a:pt x="191265" y="445856"/>
                  </a:lnTo>
                  <a:lnTo>
                    <a:pt x="206774" y="450766"/>
                  </a:lnTo>
                  <a:lnTo>
                    <a:pt x="208454" y="451671"/>
                  </a:lnTo>
                  <a:lnTo>
                    <a:pt x="208971" y="452705"/>
                  </a:lnTo>
                  <a:lnTo>
                    <a:pt x="209358" y="453222"/>
                  </a:lnTo>
                  <a:lnTo>
                    <a:pt x="209746" y="453610"/>
                  </a:lnTo>
                  <a:lnTo>
                    <a:pt x="212201" y="453997"/>
                  </a:lnTo>
                  <a:lnTo>
                    <a:pt x="220343" y="453610"/>
                  </a:lnTo>
                  <a:lnTo>
                    <a:pt x="224479" y="454773"/>
                  </a:lnTo>
                  <a:lnTo>
                    <a:pt x="228226" y="456840"/>
                  </a:lnTo>
                  <a:lnTo>
                    <a:pt x="228872" y="457099"/>
                  </a:lnTo>
                  <a:lnTo>
                    <a:pt x="229648" y="457228"/>
                  </a:lnTo>
                  <a:lnTo>
                    <a:pt x="235334" y="457228"/>
                  </a:lnTo>
                  <a:lnTo>
                    <a:pt x="240503" y="458520"/>
                  </a:lnTo>
                  <a:lnTo>
                    <a:pt x="241796" y="458650"/>
                  </a:lnTo>
                  <a:lnTo>
                    <a:pt x="242830" y="458650"/>
                  </a:lnTo>
                  <a:lnTo>
                    <a:pt x="246190" y="458003"/>
                  </a:lnTo>
                  <a:lnTo>
                    <a:pt x="248904" y="458520"/>
                  </a:lnTo>
                  <a:lnTo>
                    <a:pt x="251747" y="459425"/>
                  </a:lnTo>
                  <a:lnTo>
                    <a:pt x="254331" y="459813"/>
                  </a:lnTo>
                  <a:lnTo>
                    <a:pt x="256528" y="459555"/>
                  </a:lnTo>
                  <a:lnTo>
                    <a:pt x="257175" y="459555"/>
                  </a:lnTo>
                  <a:lnTo>
                    <a:pt x="258209" y="459942"/>
                  </a:lnTo>
                  <a:lnTo>
                    <a:pt x="259501" y="460588"/>
                  </a:lnTo>
                  <a:lnTo>
                    <a:pt x="264670" y="463690"/>
                  </a:lnTo>
                  <a:lnTo>
                    <a:pt x="265187" y="464207"/>
                  </a:lnTo>
                  <a:lnTo>
                    <a:pt x="265704" y="465241"/>
                  </a:lnTo>
                  <a:lnTo>
                    <a:pt x="266350" y="466662"/>
                  </a:lnTo>
                  <a:lnTo>
                    <a:pt x="266609" y="467179"/>
                  </a:lnTo>
                  <a:lnTo>
                    <a:pt x="268418" y="468730"/>
                  </a:lnTo>
                  <a:lnTo>
                    <a:pt x="274621" y="472736"/>
                  </a:lnTo>
                  <a:lnTo>
                    <a:pt x="276560" y="474545"/>
                  </a:lnTo>
                  <a:lnTo>
                    <a:pt x="277077" y="474933"/>
                  </a:lnTo>
                  <a:lnTo>
                    <a:pt x="277852" y="475192"/>
                  </a:lnTo>
                  <a:lnTo>
                    <a:pt x="278886" y="475192"/>
                  </a:lnTo>
                  <a:lnTo>
                    <a:pt x="282634" y="474933"/>
                  </a:lnTo>
                  <a:lnTo>
                    <a:pt x="284831" y="475321"/>
                  </a:lnTo>
                  <a:lnTo>
                    <a:pt x="291939" y="477388"/>
                  </a:lnTo>
                  <a:lnTo>
                    <a:pt x="309902" y="477647"/>
                  </a:lnTo>
                  <a:lnTo>
                    <a:pt x="311324" y="477388"/>
                  </a:lnTo>
                  <a:lnTo>
                    <a:pt x="312487" y="477001"/>
                  </a:lnTo>
                  <a:lnTo>
                    <a:pt x="314425" y="475709"/>
                  </a:lnTo>
                  <a:lnTo>
                    <a:pt x="314942" y="475450"/>
                  </a:lnTo>
                  <a:lnTo>
                    <a:pt x="315588" y="475321"/>
                  </a:lnTo>
                  <a:lnTo>
                    <a:pt x="316364" y="475450"/>
                  </a:lnTo>
                  <a:lnTo>
                    <a:pt x="317398" y="475967"/>
                  </a:lnTo>
                  <a:lnTo>
                    <a:pt x="317914" y="476613"/>
                  </a:lnTo>
                  <a:lnTo>
                    <a:pt x="318302" y="477259"/>
                  </a:lnTo>
                  <a:lnTo>
                    <a:pt x="318948" y="477647"/>
                  </a:lnTo>
                  <a:lnTo>
                    <a:pt x="320111" y="477905"/>
                  </a:lnTo>
                  <a:lnTo>
                    <a:pt x="331872" y="477388"/>
                  </a:lnTo>
                  <a:lnTo>
                    <a:pt x="332001" y="477388"/>
                  </a:lnTo>
                  <a:lnTo>
                    <a:pt x="332130" y="477388"/>
                  </a:lnTo>
                  <a:lnTo>
                    <a:pt x="332906" y="477647"/>
                  </a:lnTo>
                  <a:lnTo>
                    <a:pt x="333422" y="478164"/>
                  </a:lnTo>
                  <a:lnTo>
                    <a:pt x="333681" y="478681"/>
                  </a:lnTo>
                  <a:lnTo>
                    <a:pt x="333810" y="479198"/>
                  </a:lnTo>
                  <a:lnTo>
                    <a:pt x="333810" y="480361"/>
                  </a:lnTo>
                  <a:lnTo>
                    <a:pt x="333939" y="480878"/>
                  </a:lnTo>
                  <a:lnTo>
                    <a:pt x="334198" y="481395"/>
                  </a:lnTo>
                  <a:lnTo>
                    <a:pt x="334586" y="481912"/>
                  </a:lnTo>
                  <a:lnTo>
                    <a:pt x="335102" y="482299"/>
                  </a:lnTo>
                  <a:lnTo>
                    <a:pt x="336653" y="483204"/>
                  </a:lnTo>
                  <a:lnTo>
                    <a:pt x="337429" y="483979"/>
                  </a:lnTo>
                  <a:lnTo>
                    <a:pt x="337816" y="484497"/>
                  </a:lnTo>
                  <a:lnTo>
                    <a:pt x="338462" y="485530"/>
                  </a:lnTo>
                  <a:lnTo>
                    <a:pt x="339109" y="487210"/>
                  </a:lnTo>
                  <a:lnTo>
                    <a:pt x="340272" y="489278"/>
                  </a:lnTo>
                  <a:lnTo>
                    <a:pt x="340659" y="489666"/>
                  </a:lnTo>
                  <a:lnTo>
                    <a:pt x="341176" y="489924"/>
                  </a:lnTo>
                  <a:lnTo>
                    <a:pt x="341693" y="489795"/>
                  </a:lnTo>
                  <a:lnTo>
                    <a:pt x="342210" y="488890"/>
                  </a:lnTo>
                  <a:lnTo>
                    <a:pt x="342598" y="487469"/>
                  </a:lnTo>
                  <a:lnTo>
                    <a:pt x="342986" y="486952"/>
                  </a:lnTo>
                  <a:lnTo>
                    <a:pt x="344149" y="486435"/>
                  </a:lnTo>
                  <a:lnTo>
                    <a:pt x="350094" y="484755"/>
                  </a:lnTo>
                  <a:lnTo>
                    <a:pt x="353454" y="484238"/>
                  </a:lnTo>
                  <a:lnTo>
                    <a:pt x="354487" y="483979"/>
                  </a:lnTo>
                  <a:lnTo>
                    <a:pt x="355263" y="483592"/>
                  </a:lnTo>
                  <a:lnTo>
                    <a:pt x="358752" y="480878"/>
                  </a:lnTo>
                  <a:lnTo>
                    <a:pt x="360303" y="478164"/>
                  </a:lnTo>
                  <a:lnTo>
                    <a:pt x="360561" y="476484"/>
                  </a:lnTo>
                  <a:lnTo>
                    <a:pt x="360432" y="475062"/>
                  </a:lnTo>
                  <a:lnTo>
                    <a:pt x="360044" y="473770"/>
                  </a:lnTo>
                  <a:lnTo>
                    <a:pt x="359269" y="471444"/>
                  </a:lnTo>
                  <a:lnTo>
                    <a:pt x="355909" y="465499"/>
                  </a:lnTo>
                  <a:lnTo>
                    <a:pt x="355909" y="465111"/>
                  </a:lnTo>
                  <a:lnTo>
                    <a:pt x="356168" y="464594"/>
                  </a:lnTo>
                  <a:lnTo>
                    <a:pt x="357072" y="462914"/>
                  </a:lnTo>
                  <a:lnTo>
                    <a:pt x="357201" y="462139"/>
                  </a:lnTo>
                  <a:lnTo>
                    <a:pt x="357072" y="461493"/>
                  </a:lnTo>
                  <a:lnTo>
                    <a:pt x="356684" y="460976"/>
                  </a:lnTo>
                  <a:lnTo>
                    <a:pt x="355392" y="459813"/>
                  </a:lnTo>
                  <a:lnTo>
                    <a:pt x="354746" y="458908"/>
                  </a:lnTo>
                  <a:lnTo>
                    <a:pt x="354617" y="458391"/>
                  </a:lnTo>
                  <a:lnTo>
                    <a:pt x="354617" y="457745"/>
                  </a:lnTo>
                  <a:lnTo>
                    <a:pt x="354746" y="457099"/>
                  </a:lnTo>
                  <a:lnTo>
                    <a:pt x="355004" y="456453"/>
                  </a:lnTo>
                  <a:lnTo>
                    <a:pt x="355521" y="455807"/>
                  </a:lnTo>
                  <a:lnTo>
                    <a:pt x="357460" y="453481"/>
                  </a:lnTo>
                  <a:lnTo>
                    <a:pt x="357977" y="452446"/>
                  </a:lnTo>
                  <a:lnTo>
                    <a:pt x="358365" y="451542"/>
                  </a:lnTo>
                  <a:lnTo>
                    <a:pt x="358752" y="448570"/>
                  </a:lnTo>
                  <a:lnTo>
                    <a:pt x="358881" y="447923"/>
                  </a:lnTo>
                  <a:lnTo>
                    <a:pt x="359140" y="447277"/>
                  </a:lnTo>
                  <a:lnTo>
                    <a:pt x="359657" y="446631"/>
                  </a:lnTo>
                  <a:lnTo>
                    <a:pt x="360432" y="445856"/>
                  </a:lnTo>
                  <a:lnTo>
                    <a:pt x="361854" y="444563"/>
                  </a:lnTo>
                  <a:lnTo>
                    <a:pt x="363146" y="443142"/>
                  </a:lnTo>
                  <a:lnTo>
                    <a:pt x="363921" y="442496"/>
                  </a:lnTo>
                  <a:lnTo>
                    <a:pt x="365085" y="441849"/>
                  </a:lnTo>
                  <a:lnTo>
                    <a:pt x="371417" y="440040"/>
                  </a:lnTo>
                  <a:lnTo>
                    <a:pt x="372192" y="439652"/>
                  </a:lnTo>
                  <a:lnTo>
                    <a:pt x="373097" y="439135"/>
                  </a:lnTo>
                  <a:lnTo>
                    <a:pt x="374389" y="437972"/>
                  </a:lnTo>
                  <a:lnTo>
                    <a:pt x="375036" y="437197"/>
                  </a:lnTo>
                  <a:lnTo>
                    <a:pt x="376199" y="435517"/>
                  </a:lnTo>
                  <a:lnTo>
                    <a:pt x="377362" y="434354"/>
                  </a:lnTo>
                  <a:lnTo>
                    <a:pt x="377879" y="434096"/>
                  </a:lnTo>
                  <a:lnTo>
                    <a:pt x="378396" y="433966"/>
                  </a:lnTo>
                  <a:lnTo>
                    <a:pt x="379042" y="434096"/>
                  </a:lnTo>
                  <a:lnTo>
                    <a:pt x="379429" y="434354"/>
                  </a:lnTo>
                  <a:lnTo>
                    <a:pt x="380076" y="435000"/>
                  </a:lnTo>
                  <a:lnTo>
                    <a:pt x="380593" y="435259"/>
                  </a:lnTo>
                  <a:lnTo>
                    <a:pt x="381497" y="435259"/>
                  </a:lnTo>
                  <a:lnTo>
                    <a:pt x="382531" y="435129"/>
                  </a:lnTo>
                  <a:lnTo>
                    <a:pt x="384211" y="434483"/>
                  </a:lnTo>
                  <a:lnTo>
                    <a:pt x="385891" y="434224"/>
                  </a:lnTo>
                  <a:lnTo>
                    <a:pt x="386021" y="434224"/>
                  </a:lnTo>
                  <a:lnTo>
                    <a:pt x="386150" y="434224"/>
                  </a:lnTo>
                  <a:lnTo>
                    <a:pt x="386408" y="434354"/>
                  </a:lnTo>
                  <a:lnTo>
                    <a:pt x="386796" y="434483"/>
                  </a:lnTo>
                  <a:lnTo>
                    <a:pt x="387313" y="434742"/>
                  </a:lnTo>
                  <a:lnTo>
                    <a:pt x="388088" y="435517"/>
                  </a:lnTo>
                  <a:lnTo>
                    <a:pt x="389122" y="436939"/>
                  </a:lnTo>
                  <a:lnTo>
                    <a:pt x="389510" y="437326"/>
                  </a:lnTo>
                  <a:lnTo>
                    <a:pt x="390027" y="437455"/>
                  </a:lnTo>
                  <a:lnTo>
                    <a:pt x="390544" y="437197"/>
                  </a:lnTo>
                  <a:lnTo>
                    <a:pt x="391061" y="436163"/>
                  </a:lnTo>
                  <a:lnTo>
                    <a:pt x="391577" y="435517"/>
                  </a:lnTo>
                  <a:lnTo>
                    <a:pt x="392224" y="435000"/>
                  </a:lnTo>
                  <a:lnTo>
                    <a:pt x="393258" y="434871"/>
                  </a:lnTo>
                  <a:lnTo>
                    <a:pt x="394033" y="435000"/>
                  </a:lnTo>
                  <a:lnTo>
                    <a:pt x="394550" y="435388"/>
                  </a:lnTo>
                  <a:lnTo>
                    <a:pt x="394938" y="435775"/>
                  </a:lnTo>
                  <a:lnTo>
                    <a:pt x="395196" y="436292"/>
                  </a:lnTo>
                  <a:lnTo>
                    <a:pt x="395325" y="436939"/>
                  </a:lnTo>
                  <a:lnTo>
                    <a:pt x="395454" y="438360"/>
                  </a:lnTo>
                  <a:lnTo>
                    <a:pt x="395713" y="438877"/>
                  </a:lnTo>
                  <a:lnTo>
                    <a:pt x="396230" y="439006"/>
                  </a:lnTo>
                  <a:lnTo>
                    <a:pt x="396876" y="438748"/>
                  </a:lnTo>
                  <a:lnTo>
                    <a:pt x="397393" y="437843"/>
                  </a:lnTo>
                  <a:lnTo>
                    <a:pt x="397651" y="437068"/>
                  </a:lnTo>
                  <a:lnTo>
                    <a:pt x="397910" y="436292"/>
                  </a:lnTo>
                  <a:lnTo>
                    <a:pt x="398427" y="435905"/>
                  </a:lnTo>
                  <a:lnTo>
                    <a:pt x="399461" y="435646"/>
                  </a:lnTo>
                  <a:lnTo>
                    <a:pt x="401012" y="435905"/>
                  </a:lnTo>
                  <a:lnTo>
                    <a:pt x="401658" y="436163"/>
                  </a:lnTo>
                  <a:lnTo>
                    <a:pt x="402304" y="436292"/>
                  </a:lnTo>
                  <a:lnTo>
                    <a:pt x="402950" y="436292"/>
                  </a:lnTo>
                  <a:lnTo>
                    <a:pt x="403596" y="436163"/>
                  </a:lnTo>
                  <a:lnTo>
                    <a:pt x="404113" y="435905"/>
                  </a:lnTo>
                  <a:lnTo>
                    <a:pt x="407732" y="433191"/>
                  </a:lnTo>
                  <a:lnTo>
                    <a:pt x="408766" y="432544"/>
                  </a:lnTo>
                  <a:lnTo>
                    <a:pt x="410058" y="432286"/>
                  </a:lnTo>
                  <a:lnTo>
                    <a:pt x="410704" y="432286"/>
                  </a:lnTo>
                  <a:lnTo>
                    <a:pt x="411350" y="432415"/>
                  </a:lnTo>
                  <a:lnTo>
                    <a:pt x="411996" y="432674"/>
                  </a:lnTo>
                  <a:lnTo>
                    <a:pt x="413030" y="433320"/>
                  </a:lnTo>
                  <a:lnTo>
                    <a:pt x="413806" y="434096"/>
                  </a:lnTo>
                  <a:lnTo>
                    <a:pt x="414193" y="434096"/>
                  </a:lnTo>
                  <a:lnTo>
                    <a:pt x="414710" y="433578"/>
                  </a:lnTo>
                  <a:lnTo>
                    <a:pt x="415098" y="432157"/>
                  </a:lnTo>
                  <a:lnTo>
                    <a:pt x="415486" y="430865"/>
                  </a:lnTo>
                  <a:lnTo>
                    <a:pt x="416132" y="429572"/>
                  </a:lnTo>
                  <a:lnTo>
                    <a:pt x="418458" y="426600"/>
                  </a:lnTo>
                  <a:lnTo>
                    <a:pt x="420267" y="424661"/>
                  </a:lnTo>
                  <a:lnTo>
                    <a:pt x="421043" y="423498"/>
                  </a:lnTo>
                  <a:lnTo>
                    <a:pt x="422206" y="420784"/>
                  </a:lnTo>
                  <a:lnTo>
                    <a:pt x="424015" y="414452"/>
                  </a:lnTo>
                  <a:lnTo>
                    <a:pt x="424791" y="413547"/>
                  </a:lnTo>
                  <a:lnTo>
                    <a:pt x="425178" y="413289"/>
                  </a:lnTo>
                  <a:lnTo>
                    <a:pt x="426341" y="412901"/>
                  </a:lnTo>
                  <a:lnTo>
                    <a:pt x="431252" y="412126"/>
                  </a:lnTo>
                  <a:lnTo>
                    <a:pt x="432674" y="411738"/>
                  </a:lnTo>
                  <a:lnTo>
                    <a:pt x="433449" y="411221"/>
                  </a:lnTo>
                  <a:lnTo>
                    <a:pt x="433320" y="410704"/>
                  </a:lnTo>
                  <a:lnTo>
                    <a:pt x="433062" y="410317"/>
                  </a:lnTo>
                  <a:lnTo>
                    <a:pt x="432544" y="409929"/>
                  </a:lnTo>
                  <a:lnTo>
                    <a:pt x="430348" y="408895"/>
                  </a:lnTo>
                  <a:lnTo>
                    <a:pt x="429831" y="408507"/>
                  </a:lnTo>
                  <a:lnTo>
                    <a:pt x="429443" y="408119"/>
                  </a:lnTo>
                  <a:lnTo>
                    <a:pt x="429314" y="407602"/>
                  </a:lnTo>
                  <a:lnTo>
                    <a:pt x="429443" y="407086"/>
                  </a:lnTo>
                  <a:lnTo>
                    <a:pt x="429960" y="406827"/>
                  </a:lnTo>
                  <a:lnTo>
                    <a:pt x="430735" y="406827"/>
                  </a:lnTo>
                  <a:lnTo>
                    <a:pt x="432028" y="407344"/>
                  </a:lnTo>
                  <a:lnTo>
                    <a:pt x="432803" y="407732"/>
                  </a:lnTo>
                  <a:lnTo>
                    <a:pt x="433837" y="408507"/>
                  </a:lnTo>
                  <a:lnTo>
                    <a:pt x="434871" y="408765"/>
                  </a:lnTo>
                  <a:lnTo>
                    <a:pt x="441849" y="408507"/>
                  </a:lnTo>
                  <a:lnTo>
                    <a:pt x="443788" y="409024"/>
                  </a:lnTo>
                  <a:lnTo>
                    <a:pt x="444434" y="409541"/>
                  </a:lnTo>
                  <a:lnTo>
                    <a:pt x="444822" y="410187"/>
                  </a:lnTo>
                  <a:lnTo>
                    <a:pt x="444951" y="410833"/>
                  </a:lnTo>
                  <a:lnTo>
                    <a:pt x="445209" y="411350"/>
                  </a:lnTo>
                  <a:lnTo>
                    <a:pt x="445597" y="411738"/>
                  </a:lnTo>
                  <a:lnTo>
                    <a:pt x="446114" y="411996"/>
                  </a:lnTo>
                  <a:lnTo>
                    <a:pt x="446889" y="412255"/>
                  </a:lnTo>
                  <a:lnTo>
                    <a:pt x="450379" y="412643"/>
                  </a:lnTo>
                  <a:lnTo>
                    <a:pt x="451283" y="412901"/>
                  </a:lnTo>
                  <a:lnTo>
                    <a:pt x="451929" y="413159"/>
                  </a:lnTo>
                  <a:lnTo>
                    <a:pt x="452447" y="413547"/>
                  </a:lnTo>
                  <a:lnTo>
                    <a:pt x="452834" y="413935"/>
                  </a:lnTo>
                  <a:lnTo>
                    <a:pt x="453093" y="414452"/>
                  </a:lnTo>
                  <a:lnTo>
                    <a:pt x="453351" y="414969"/>
                  </a:lnTo>
                  <a:lnTo>
                    <a:pt x="453997" y="417424"/>
                  </a:lnTo>
                  <a:lnTo>
                    <a:pt x="454256" y="417941"/>
                  </a:lnTo>
                  <a:lnTo>
                    <a:pt x="454643" y="418329"/>
                  </a:lnTo>
                  <a:lnTo>
                    <a:pt x="455160" y="418587"/>
                  </a:lnTo>
                  <a:lnTo>
                    <a:pt x="456324" y="419104"/>
                  </a:lnTo>
                  <a:lnTo>
                    <a:pt x="456970" y="419104"/>
                  </a:lnTo>
                  <a:lnTo>
                    <a:pt x="457616" y="418975"/>
                  </a:lnTo>
                  <a:lnTo>
                    <a:pt x="458133" y="418200"/>
                  </a:lnTo>
                  <a:lnTo>
                    <a:pt x="458262" y="417554"/>
                  </a:lnTo>
                  <a:lnTo>
                    <a:pt x="458133" y="416907"/>
                  </a:lnTo>
                  <a:lnTo>
                    <a:pt x="457874" y="416261"/>
                  </a:lnTo>
                  <a:lnTo>
                    <a:pt x="457745" y="415615"/>
                  </a:lnTo>
                  <a:lnTo>
                    <a:pt x="457745" y="414969"/>
                  </a:lnTo>
                  <a:lnTo>
                    <a:pt x="457874" y="414323"/>
                  </a:lnTo>
                  <a:lnTo>
                    <a:pt x="458003" y="413676"/>
                  </a:lnTo>
                  <a:lnTo>
                    <a:pt x="458650" y="412643"/>
                  </a:lnTo>
                  <a:lnTo>
                    <a:pt x="459037" y="412255"/>
                  </a:lnTo>
                  <a:lnTo>
                    <a:pt x="460976" y="410963"/>
                  </a:lnTo>
                  <a:lnTo>
                    <a:pt x="461493" y="410704"/>
                  </a:lnTo>
                  <a:lnTo>
                    <a:pt x="462527" y="410446"/>
                  </a:lnTo>
                  <a:lnTo>
                    <a:pt x="463948" y="410317"/>
                  </a:lnTo>
                  <a:lnTo>
                    <a:pt x="466791" y="410446"/>
                  </a:lnTo>
                  <a:lnTo>
                    <a:pt x="468084" y="410704"/>
                  </a:lnTo>
                  <a:lnTo>
                    <a:pt x="468988" y="411092"/>
                  </a:lnTo>
                  <a:lnTo>
                    <a:pt x="469505" y="411480"/>
                  </a:lnTo>
                  <a:lnTo>
                    <a:pt x="470022" y="411738"/>
                  </a:lnTo>
                  <a:lnTo>
                    <a:pt x="470669" y="411996"/>
                  </a:lnTo>
                  <a:lnTo>
                    <a:pt x="472478" y="412384"/>
                  </a:lnTo>
                  <a:lnTo>
                    <a:pt x="473253" y="412255"/>
                  </a:lnTo>
                  <a:lnTo>
                    <a:pt x="474158" y="411996"/>
                  </a:lnTo>
                  <a:lnTo>
                    <a:pt x="475709" y="411350"/>
                  </a:lnTo>
                  <a:lnTo>
                    <a:pt x="476872" y="411092"/>
                  </a:lnTo>
                  <a:lnTo>
                    <a:pt x="480490" y="411221"/>
                  </a:lnTo>
                  <a:lnTo>
                    <a:pt x="490054" y="409283"/>
                  </a:lnTo>
                  <a:lnTo>
                    <a:pt x="491475" y="408765"/>
                  </a:lnTo>
                  <a:lnTo>
                    <a:pt x="491992" y="408119"/>
                  </a:lnTo>
                  <a:lnTo>
                    <a:pt x="493543" y="407215"/>
                  </a:lnTo>
                  <a:lnTo>
                    <a:pt x="496515" y="407602"/>
                  </a:lnTo>
                  <a:lnTo>
                    <a:pt x="498066" y="407473"/>
                  </a:lnTo>
                  <a:lnTo>
                    <a:pt x="498712" y="407602"/>
                  </a:lnTo>
                  <a:lnTo>
                    <a:pt x="499229" y="407990"/>
                  </a:lnTo>
                  <a:lnTo>
                    <a:pt x="499746" y="408637"/>
                  </a:lnTo>
                  <a:lnTo>
                    <a:pt x="500392" y="409024"/>
                  </a:lnTo>
                  <a:lnTo>
                    <a:pt x="501426" y="409283"/>
                  </a:lnTo>
                  <a:lnTo>
                    <a:pt x="503106" y="409412"/>
                  </a:lnTo>
                  <a:lnTo>
                    <a:pt x="504140" y="409670"/>
                  </a:lnTo>
                  <a:lnTo>
                    <a:pt x="505174" y="410187"/>
                  </a:lnTo>
                  <a:lnTo>
                    <a:pt x="506983" y="411480"/>
                  </a:lnTo>
                  <a:lnTo>
                    <a:pt x="508534" y="412901"/>
                  </a:lnTo>
                  <a:lnTo>
                    <a:pt x="508922" y="413289"/>
                  </a:lnTo>
                  <a:lnTo>
                    <a:pt x="510472" y="414969"/>
                  </a:lnTo>
                  <a:lnTo>
                    <a:pt x="512282" y="416390"/>
                  </a:lnTo>
                  <a:lnTo>
                    <a:pt x="519260" y="420526"/>
                  </a:lnTo>
                  <a:lnTo>
                    <a:pt x="520682" y="421689"/>
                  </a:lnTo>
                  <a:lnTo>
                    <a:pt x="521457" y="422723"/>
                  </a:lnTo>
                  <a:lnTo>
                    <a:pt x="521586" y="424015"/>
                  </a:lnTo>
                  <a:lnTo>
                    <a:pt x="522233" y="424791"/>
                  </a:lnTo>
                  <a:lnTo>
                    <a:pt x="528307" y="428797"/>
                  </a:lnTo>
                  <a:lnTo>
                    <a:pt x="536061" y="432286"/>
                  </a:lnTo>
                  <a:lnTo>
                    <a:pt x="537611" y="432674"/>
                  </a:lnTo>
                  <a:lnTo>
                    <a:pt x="540584" y="433061"/>
                  </a:lnTo>
                  <a:lnTo>
                    <a:pt x="544719" y="432932"/>
                  </a:lnTo>
                  <a:lnTo>
                    <a:pt x="547304" y="432157"/>
                  </a:lnTo>
                  <a:lnTo>
                    <a:pt x="547950" y="430994"/>
                  </a:lnTo>
                  <a:lnTo>
                    <a:pt x="548725" y="428538"/>
                  </a:lnTo>
                  <a:lnTo>
                    <a:pt x="549243" y="427504"/>
                  </a:lnTo>
                  <a:lnTo>
                    <a:pt x="550018" y="426729"/>
                  </a:lnTo>
                  <a:lnTo>
                    <a:pt x="550922" y="425954"/>
                  </a:lnTo>
                  <a:lnTo>
                    <a:pt x="551569" y="425695"/>
                  </a:lnTo>
                  <a:lnTo>
                    <a:pt x="552603" y="425307"/>
                  </a:lnTo>
                  <a:lnTo>
                    <a:pt x="554283" y="425049"/>
                  </a:lnTo>
                  <a:lnTo>
                    <a:pt x="559581" y="423240"/>
                  </a:lnTo>
                  <a:lnTo>
                    <a:pt x="568111" y="418587"/>
                  </a:lnTo>
                  <a:lnTo>
                    <a:pt x="569015" y="417812"/>
                  </a:lnTo>
                  <a:lnTo>
                    <a:pt x="569791" y="416907"/>
                  </a:lnTo>
                  <a:lnTo>
                    <a:pt x="572892" y="412643"/>
                  </a:lnTo>
                  <a:lnTo>
                    <a:pt x="574443" y="410963"/>
                  </a:lnTo>
                  <a:lnTo>
                    <a:pt x="576898" y="409153"/>
                  </a:lnTo>
                  <a:lnTo>
                    <a:pt x="578708" y="408249"/>
                  </a:lnTo>
                  <a:lnTo>
                    <a:pt x="581034" y="407344"/>
                  </a:lnTo>
                  <a:lnTo>
                    <a:pt x="584652" y="406569"/>
                  </a:lnTo>
                  <a:lnTo>
                    <a:pt x="585428" y="406181"/>
                  </a:lnTo>
                  <a:lnTo>
                    <a:pt x="585945" y="405922"/>
                  </a:lnTo>
                  <a:lnTo>
                    <a:pt x="586074" y="405793"/>
                  </a:lnTo>
                  <a:lnTo>
                    <a:pt x="586074" y="405793"/>
                  </a:lnTo>
                  <a:lnTo>
                    <a:pt x="586591" y="405406"/>
                  </a:lnTo>
                  <a:lnTo>
                    <a:pt x="587108" y="405147"/>
                  </a:lnTo>
                  <a:lnTo>
                    <a:pt x="587625" y="405018"/>
                  </a:lnTo>
                  <a:lnTo>
                    <a:pt x="588142" y="405018"/>
                  </a:lnTo>
                  <a:lnTo>
                    <a:pt x="588659" y="405406"/>
                  </a:lnTo>
                  <a:lnTo>
                    <a:pt x="588788" y="405664"/>
                  </a:lnTo>
                  <a:lnTo>
                    <a:pt x="588788" y="405793"/>
                  </a:lnTo>
                  <a:lnTo>
                    <a:pt x="588788" y="405793"/>
                  </a:lnTo>
                  <a:lnTo>
                    <a:pt x="588788" y="406310"/>
                  </a:lnTo>
                  <a:lnTo>
                    <a:pt x="588788" y="406827"/>
                  </a:lnTo>
                  <a:lnTo>
                    <a:pt x="588917" y="407344"/>
                  </a:lnTo>
                  <a:lnTo>
                    <a:pt x="589434" y="407602"/>
                  </a:lnTo>
                  <a:lnTo>
                    <a:pt x="590080" y="407602"/>
                  </a:lnTo>
                  <a:lnTo>
                    <a:pt x="591889" y="406956"/>
                  </a:lnTo>
                  <a:lnTo>
                    <a:pt x="592665" y="406827"/>
                  </a:lnTo>
                  <a:lnTo>
                    <a:pt x="594345" y="407602"/>
                  </a:lnTo>
                  <a:lnTo>
                    <a:pt x="594991" y="407732"/>
                  </a:lnTo>
                  <a:lnTo>
                    <a:pt x="595508" y="407215"/>
                  </a:lnTo>
                  <a:lnTo>
                    <a:pt x="595896" y="406698"/>
                  </a:lnTo>
                  <a:lnTo>
                    <a:pt x="596154" y="406181"/>
                  </a:lnTo>
                  <a:lnTo>
                    <a:pt x="596413" y="405793"/>
                  </a:lnTo>
                  <a:lnTo>
                    <a:pt x="596542" y="405664"/>
                  </a:lnTo>
                  <a:lnTo>
                    <a:pt x="597447" y="405793"/>
                  </a:lnTo>
                  <a:lnTo>
                    <a:pt x="599644" y="407086"/>
                  </a:lnTo>
                  <a:lnTo>
                    <a:pt x="602228" y="406310"/>
                  </a:lnTo>
                  <a:lnTo>
                    <a:pt x="603779" y="406439"/>
                  </a:lnTo>
                  <a:lnTo>
                    <a:pt x="605847" y="406310"/>
                  </a:lnTo>
                  <a:lnTo>
                    <a:pt x="607398" y="405276"/>
                  </a:lnTo>
                  <a:lnTo>
                    <a:pt x="607656" y="404243"/>
                  </a:lnTo>
                  <a:lnTo>
                    <a:pt x="607785" y="403726"/>
                  </a:lnTo>
                  <a:lnTo>
                    <a:pt x="608173" y="403209"/>
                  </a:lnTo>
                  <a:lnTo>
                    <a:pt x="608690" y="402950"/>
                  </a:lnTo>
                  <a:lnTo>
                    <a:pt x="637509" y="402175"/>
                  </a:lnTo>
                  <a:lnTo>
                    <a:pt x="640352" y="403467"/>
                  </a:lnTo>
                  <a:lnTo>
                    <a:pt x="641903" y="403726"/>
                  </a:lnTo>
                  <a:lnTo>
                    <a:pt x="644746" y="403338"/>
                  </a:lnTo>
                  <a:lnTo>
                    <a:pt x="644875" y="403338"/>
                  </a:lnTo>
                  <a:lnTo>
                    <a:pt x="645263" y="401012"/>
                  </a:lnTo>
                  <a:lnTo>
                    <a:pt x="647460" y="393904"/>
                  </a:lnTo>
                  <a:lnTo>
                    <a:pt x="647718" y="392611"/>
                  </a:lnTo>
                  <a:lnTo>
                    <a:pt x="647589" y="391190"/>
                  </a:lnTo>
                  <a:lnTo>
                    <a:pt x="646943" y="389510"/>
                  </a:lnTo>
                  <a:lnTo>
                    <a:pt x="646555" y="389380"/>
                  </a:lnTo>
                  <a:lnTo>
                    <a:pt x="646168" y="389897"/>
                  </a:lnTo>
                  <a:lnTo>
                    <a:pt x="645392" y="390285"/>
                  </a:lnTo>
                  <a:lnTo>
                    <a:pt x="627816" y="390285"/>
                  </a:lnTo>
                  <a:lnTo>
                    <a:pt x="627041" y="390802"/>
                  </a:lnTo>
                  <a:lnTo>
                    <a:pt x="626136" y="391578"/>
                  </a:lnTo>
                  <a:lnTo>
                    <a:pt x="625361" y="391965"/>
                  </a:lnTo>
                  <a:lnTo>
                    <a:pt x="624844" y="391190"/>
                  </a:lnTo>
                  <a:lnTo>
                    <a:pt x="624973" y="389768"/>
                  </a:lnTo>
                  <a:lnTo>
                    <a:pt x="625749" y="388864"/>
                  </a:lnTo>
                  <a:lnTo>
                    <a:pt x="626783" y="388347"/>
                  </a:lnTo>
                  <a:lnTo>
                    <a:pt x="627816" y="387959"/>
                  </a:lnTo>
                  <a:lnTo>
                    <a:pt x="637638" y="387054"/>
                  </a:lnTo>
                  <a:lnTo>
                    <a:pt x="644875" y="388217"/>
                  </a:lnTo>
                  <a:lnTo>
                    <a:pt x="645263" y="387830"/>
                  </a:lnTo>
                  <a:lnTo>
                    <a:pt x="644617" y="386279"/>
                  </a:lnTo>
                  <a:lnTo>
                    <a:pt x="643971" y="385245"/>
                  </a:lnTo>
                  <a:lnTo>
                    <a:pt x="643195" y="384470"/>
                  </a:lnTo>
                  <a:lnTo>
                    <a:pt x="642291" y="383953"/>
                  </a:lnTo>
                  <a:lnTo>
                    <a:pt x="640998" y="383824"/>
                  </a:lnTo>
                  <a:lnTo>
                    <a:pt x="641774" y="382660"/>
                  </a:lnTo>
                  <a:lnTo>
                    <a:pt x="642807" y="382014"/>
                  </a:lnTo>
                  <a:lnTo>
                    <a:pt x="644100" y="381627"/>
                  </a:lnTo>
                  <a:lnTo>
                    <a:pt x="645521" y="381368"/>
                  </a:lnTo>
                  <a:lnTo>
                    <a:pt x="645263" y="381885"/>
                  </a:lnTo>
                  <a:lnTo>
                    <a:pt x="644746" y="383694"/>
                  </a:lnTo>
                  <a:lnTo>
                    <a:pt x="646168" y="384211"/>
                  </a:lnTo>
                  <a:lnTo>
                    <a:pt x="647718" y="386537"/>
                  </a:lnTo>
                  <a:lnTo>
                    <a:pt x="649528" y="387054"/>
                  </a:lnTo>
                  <a:lnTo>
                    <a:pt x="650174" y="386279"/>
                  </a:lnTo>
                  <a:lnTo>
                    <a:pt x="652112" y="381239"/>
                  </a:lnTo>
                  <a:lnTo>
                    <a:pt x="652112" y="378008"/>
                  </a:lnTo>
                  <a:lnTo>
                    <a:pt x="661159" y="360562"/>
                  </a:lnTo>
                  <a:lnTo>
                    <a:pt x="665811" y="357331"/>
                  </a:lnTo>
                  <a:lnTo>
                    <a:pt x="668784" y="354488"/>
                  </a:lnTo>
                  <a:lnTo>
                    <a:pt x="666070" y="351257"/>
                  </a:lnTo>
                  <a:lnTo>
                    <a:pt x="664002" y="352549"/>
                  </a:lnTo>
                  <a:lnTo>
                    <a:pt x="662063" y="352420"/>
                  </a:lnTo>
                  <a:lnTo>
                    <a:pt x="660254" y="351903"/>
                  </a:lnTo>
                  <a:lnTo>
                    <a:pt x="658574" y="352032"/>
                  </a:lnTo>
                  <a:lnTo>
                    <a:pt x="657669" y="353066"/>
                  </a:lnTo>
                  <a:lnTo>
                    <a:pt x="656894" y="354617"/>
                  </a:lnTo>
                  <a:lnTo>
                    <a:pt x="655731" y="355392"/>
                  </a:lnTo>
                  <a:lnTo>
                    <a:pt x="653534" y="354488"/>
                  </a:lnTo>
                  <a:lnTo>
                    <a:pt x="654180" y="354100"/>
                  </a:lnTo>
                  <a:lnTo>
                    <a:pt x="654826" y="353583"/>
                  </a:lnTo>
                  <a:lnTo>
                    <a:pt x="656377" y="352032"/>
                  </a:lnTo>
                  <a:lnTo>
                    <a:pt x="655602" y="352937"/>
                  </a:lnTo>
                  <a:lnTo>
                    <a:pt x="655989" y="352549"/>
                  </a:lnTo>
                  <a:lnTo>
                    <a:pt x="657023" y="351257"/>
                  </a:lnTo>
                  <a:lnTo>
                    <a:pt x="655214" y="350352"/>
                  </a:lnTo>
                  <a:lnTo>
                    <a:pt x="653146" y="348801"/>
                  </a:lnTo>
                  <a:lnTo>
                    <a:pt x="651078" y="347767"/>
                  </a:lnTo>
                  <a:lnTo>
                    <a:pt x="647331" y="349189"/>
                  </a:lnTo>
                  <a:lnTo>
                    <a:pt x="645263" y="349060"/>
                  </a:lnTo>
                  <a:lnTo>
                    <a:pt x="643454" y="349318"/>
                  </a:lnTo>
                  <a:lnTo>
                    <a:pt x="642291" y="351257"/>
                  </a:lnTo>
                  <a:lnTo>
                    <a:pt x="641386" y="349577"/>
                  </a:lnTo>
                  <a:lnTo>
                    <a:pt x="639964" y="348931"/>
                  </a:lnTo>
                  <a:lnTo>
                    <a:pt x="638414" y="348543"/>
                  </a:lnTo>
                  <a:lnTo>
                    <a:pt x="637121" y="347897"/>
                  </a:lnTo>
                  <a:lnTo>
                    <a:pt x="637638" y="346734"/>
                  </a:lnTo>
                  <a:lnTo>
                    <a:pt x="638284" y="346217"/>
                  </a:lnTo>
                  <a:lnTo>
                    <a:pt x="639060" y="346346"/>
                  </a:lnTo>
                  <a:lnTo>
                    <a:pt x="639964" y="347121"/>
                  </a:lnTo>
                  <a:lnTo>
                    <a:pt x="640223" y="346734"/>
                  </a:lnTo>
                  <a:lnTo>
                    <a:pt x="640352" y="346346"/>
                  </a:lnTo>
                  <a:lnTo>
                    <a:pt x="640611" y="345570"/>
                  </a:lnTo>
                  <a:lnTo>
                    <a:pt x="637251" y="345183"/>
                  </a:lnTo>
                  <a:lnTo>
                    <a:pt x="633890" y="345829"/>
                  </a:lnTo>
                  <a:lnTo>
                    <a:pt x="630918" y="345570"/>
                  </a:lnTo>
                  <a:lnTo>
                    <a:pt x="628980" y="342210"/>
                  </a:lnTo>
                  <a:lnTo>
                    <a:pt x="631564" y="342986"/>
                  </a:lnTo>
                  <a:lnTo>
                    <a:pt x="633373" y="342857"/>
                  </a:lnTo>
                  <a:lnTo>
                    <a:pt x="633890" y="341564"/>
                  </a:lnTo>
                  <a:lnTo>
                    <a:pt x="632598" y="338979"/>
                  </a:lnTo>
                  <a:lnTo>
                    <a:pt x="632210" y="338721"/>
                  </a:lnTo>
                  <a:lnTo>
                    <a:pt x="631047" y="338075"/>
                  </a:lnTo>
                  <a:lnTo>
                    <a:pt x="630401" y="337429"/>
                  </a:lnTo>
                  <a:lnTo>
                    <a:pt x="630013" y="336783"/>
                  </a:lnTo>
                  <a:lnTo>
                    <a:pt x="629496" y="334844"/>
                  </a:lnTo>
                  <a:lnTo>
                    <a:pt x="627687" y="330192"/>
                  </a:lnTo>
                  <a:lnTo>
                    <a:pt x="627429" y="328382"/>
                  </a:lnTo>
                  <a:lnTo>
                    <a:pt x="628721" y="329287"/>
                  </a:lnTo>
                  <a:lnTo>
                    <a:pt x="632986" y="334715"/>
                  </a:lnTo>
                  <a:lnTo>
                    <a:pt x="633761" y="335490"/>
                  </a:lnTo>
                  <a:lnTo>
                    <a:pt x="638930" y="339238"/>
                  </a:lnTo>
                  <a:lnTo>
                    <a:pt x="640223" y="339884"/>
                  </a:lnTo>
                  <a:lnTo>
                    <a:pt x="645392" y="341306"/>
                  </a:lnTo>
                  <a:lnTo>
                    <a:pt x="646685" y="341047"/>
                  </a:lnTo>
                  <a:lnTo>
                    <a:pt x="647201" y="339626"/>
                  </a:lnTo>
                  <a:lnTo>
                    <a:pt x="648235" y="340272"/>
                  </a:lnTo>
                  <a:lnTo>
                    <a:pt x="649399" y="340530"/>
                  </a:lnTo>
                  <a:lnTo>
                    <a:pt x="650562" y="340401"/>
                  </a:lnTo>
                  <a:lnTo>
                    <a:pt x="651595" y="339626"/>
                  </a:lnTo>
                  <a:lnTo>
                    <a:pt x="653663" y="342210"/>
                  </a:lnTo>
                  <a:lnTo>
                    <a:pt x="654697" y="342857"/>
                  </a:lnTo>
                  <a:lnTo>
                    <a:pt x="656377" y="343115"/>
                  </a:lnTo>
                  <a:lnTo>
                    <a:pt x="657669" y="342598"/>
                  </a:lnTo>
                  <a:lnTo>
                    <a:pt x="658057" y="341306"/>
                  </a:lnTo>
                  <a:lnTo>
                    <a:pt x="658315" y="339755"/>
                  </a:lnTo>
                  <a:lnTo>
                    <a:pt x="658962" y="338333"/>
                  </a:lnTo>
                  <a:lnTo>
                    <a:pt x="659996" y="337946"/>
                  </a:lnTo>
                  <a:lnTo>
                    <a:pt x="661159" y="338075"/>
                  </a:lnTo>
                  <a:lnTo>
                    <a:pt x="662193" y="337558"/>
                  </a:lnTo>
                  <a:lnTo>
                    <a:pt x="662580" y="335361"/>
                  </a:lnTo>
                  <a:lnTo>
                    <a:pt x="662322" y="334715"/>
                  </a:lnTo>
                  <a:lnTo>
                    <a:pt x="660900" y="332905"/>
                  </a:lnTo>
                  <a:lnTo>
                    <a:pt x="660383" y="331742"/>
                  </a:lnTo>
                  <a:lnTo>
                    <a:pt x="658574" y="332518"/>
                  </a:lnTo>
                  <a:lnTo>
                    <a:pt x="657928" y="331872"/>
                  </a:lnTo>
                  <a:lnTo>
                    <a:pt x="658445" y="330579"/>
                  </a:lnTo>
                  <a:lnTo>
                    <a:pt x="660383" y="329416"/>
                  </a:lnTo>
                  <a:lnTo>
                    <a:pt x="659220" y="328124"/>
                  </a:lnTo>
                  <a:lnTo>
                    <a:pt x="657411" y="327607"/>
                  </a:lnTo>
                  <a:lnTo>
                    <a:pt x="653792" y="327090"/>
                  </a:lnTo>
                  <a:lnTo>
                    <a:pt x="653792" y="326315"/>
                  </a:lnTo>
                  <a:lnTo>
                    <a:pt x="655731" y="326315"/>
                  </a:lnTo>
                  <a:lnTo>
                    <a:pt x="659220" y="325410"/>
                  </a:lnTo>
                  <a:lnTo>
                    <a:pt x="661159" y="325410"/>
                  </a:lnTo>
                  <a:lnTo>
                    <a:pt x="658574" y="318431"/>
                  </a:lnTo>
                  <a:lnTo>
                    <a:pt x="658186" y="316493"/>
                  </a:lnTo>
                  <a:lnTo>
                    <a:pt x="658703" y="316881"/>
                  </a:lnTo>
                  <a:lnTo>
                    <a:pt x="659091" y="317139"/>
                  </a:lnTo>
                  <a:lnTo>
                    <a:pt x="659349" y="317527"/>
                  </a:lnTo>
                  <a:lnTo>
                    <a:pt x="659737" y="318302"/>
                  </a:lnTo>
                  <a:lnTo>
                    <a:pt x="660512" y="318302"/>
                  </a:lnTo>
                  <a:lnTo>
                    <a:pt x="660512" y="315847"/>
                  </a:lnTo>
                  <a:lnTo>
                    <a:pt x="661676" y="317010"/>
                  </a:lnTo>
                  <a:lnTo>
                    <a:pt x="662710" y="319465"/>
                  </a:lnTo>
                  <a:lnTo>
                    <a:pt x="663485" y="320629"/>
                  </a:lnTo>
                  <a:lnTo>
                    <a:pt x="665940" y="322308"/>
                  </a:lnTo>
                  <a:lnTo>
                    <a:pt x="667620" y="323084"/>
                  </a:lnTo>
                  <a:lnTo>
                    <a:pt x="668396" y="322567"/>
                  </a:lnTo>
                  <a:lnTo>
                    <a:pt x="668525" y="322179"/>
                  </a:lnTo>
                  <a:lnTo>
                    <a:pt x="669042" y="322179"/>
                  </a:lnTo>
                  <a:lnTo>
                    <a:pt x="669171" y="321792"/>
                  </a:lnTo>
                  <a:lnTo>
                    <a:pt x="668913" y="321275"/>
                  </a:lnTo>
                  <a:lnTo>
                    <a:pt x="668396" y="320887"/>
                  </a:lnTo>
                  <a:lnTo>
                    <a:pt x="667879" y="320629"/>
                  </a:lnTo>
                  <a:lnTo>
                    <a:pt x="667620" y="320629"/>
                  </a:lnTo>
                  <a:lnTo>
                    <a:pt x="666974" y="319724"/>
                  </a:lnTo>
                  <a:lnTo>
                    <a:pt x="666974" y="319207"/>
                  </a:lnTo>
                  <a:lnTo>
                    <a:pt x="668008" y="318948"/>
                  </a:lnTo>
                  <a:lnTo>
                    <a:pt x="668267" y="318302"/>
                  </a:lnTo>
                  <a:lnTo>
                    <a:pt x="669300" y="316751"/>
                  </a:lnTo>
                  <a:lnTo>
                    <a:pt x="670722" y="315071"/>
                  </a:lnTo>
                  <a:lnTo>
                    <a:pt x="672144" y="314167"/>
                  </a:lnTo>
                  <a:lnTo>
                    <a:pt x="672144" y="315976"/>
                  </a:lnTo>
                  <a:lnTo>
                    <a:pt x="671497" y="319077"/>
                  </a:lnTo>
                  <a:lnTo>
                    <a:pt x="671110" y="324764"/>
                  </a:lnTo>
                  <a:lnTo>
                    <a:pt x="671239" y="326056"/>
                  </a:lnTo>
                  <a:lnTo>
                    <a:pt x="672144" y="325410"/>
                  </a:lnTo>
                  <a:lnTo>
                    <a:pt x="672790" y="325410"/>
                  </a:lnTo>
                  <a:lnTo>
                    <a:pt x="671368" y="329416"/>
                  </a:lnTo>
                  <a:lnTo>
                    <a:pt x="672919" y="329287"/>
                  </a:lnTo>
                  <a:lnTo>
                    <a:pt x="674211" y="328512"/>
                  </a:lnTo>
                  <a:lnTo>
                    <a:pt x="675245" y="327349"/>
                  </a:lnTo>
                  <a:lnTo>
                    <a:pt x="676408" y="325151"/>
                  </a:lnTo>
                  <a:lnTo>
                    <a:pt x="676667" y="324376"/>
                  </a:lnTo>
                  <a:lnTo>
                    <a:pt x="676796" y="323213"/>
                  </a:lnTo>
                  <a:lnTo>
                    <a:pt x="676667" y="321275"/>
                  </a:lnTo>
                  <a:lnTo>
                    <a:pt x="677700" y="322050"/>
                  </a:lnTo>
                  <a:lnTo>
                    <a:pt x="679251" y="324118"/>
                  </a:lnTo>
                  <a:lnTo>
                    <a:pt x="680285" y="324635"/>
                  </a:lnTo>
                  <a:lnTo>
                    <a:pt x="681061" y="324376"/>
                  </a:lnTo>
                  <a:lnTo>
                    <a:pt x="682482" y="322567"/>
                  </a:lnTo>
                  <a:lnTo>
                    <a:pt x="683645" y="322179"/>
                  </a:lnTo>
                  <a:lnTo>
                    <a:pt x="685842" y="322050"/>
                  </a:lnTo>
                  <a:lnTo>
                    <a:pt x="688427" y="321533"/>
                  </a:lnTo>
                  <a:lnTo>
                    <a:pt x="690753" y="320499"/>
                  </a:lnTo>
                  <a:lnTo>
                    <a:pt x="692045" y="319077"/>
                  </a:lnTo>
                  <a:lnTo>
                    <a:pt x="693467" y="320241"/>
                  </a:lnTo>
                  <a:lnTo>
                    <a:pt x="692433" y="321404"/>
                  </a:lnTo>
                  <a:lnTo>
                    <a:pt x="687652" y="323472"/>
                  </a:lnTo>
                  <a:lnTo>
                    <a:pt x="685455" y="324764"/>
                  </a:lnTo>
                  <a:lnTo>
                    <a:pt x="684679" y="325410"/>
                  </a:lnTo>
                  <a:lnTo>
                    <a:pt x="683645" y="326573"/>
                  </a:lnTo>
                  <a:lnTo>
                    <a:pt x="683387" y="327090"/>
                  </a:lnTo>
                  <a:lnTo>
                    <a:pt x="683387" y="327607"/>
                  </a:lnTo>
                  <a:lnTo>
                    <a:pt x="683258" y="328641"/>
                  </a:lnTo>
                  <a:lnTo>
                    <a:pt x="680673" y="335619"/>
                  </a:lnTo>
                  <a:lnTo>
                    <a:pt x="680414" y="337558"/>
                  </a:lnTo>
                  <a:lnTo>
                    <a:pt x="681319" y="340014"/>
                  </a:lnTo>
                  <a:lnTo>
                    <a:pt x="683128" y="341435"/>
                  </a:lnTo>
                  <a:lnTo>
                    <a:pt x="684808" y="341177"/>
                  </a:lnTo>
                  <a:lnTo>
                    <a:pt x="686101" y="336395"/>
                  </a:lnTo>
                  <a:lnTo>
                    <a:pt x="688556" y="332130"/>
                  </a:lnTo>
                  <a:lnTo>
                    <a:pt x="689073" y="330709"/>
                  </a:lnTo>
                  <a:lnTo>
                    <a:pt x="697344" y="325539"/>
                  </a:lnTo>
                  <a:lnTo>
                    <a:pt x="698249" y="323730"/>
                  </a:lnTo>
                  <a:lnTo>
                    <a:pt x="698378" y="323342"/>
                  </a:lnTo>
                  <a:lnTo>
                    <a:pt x="698507" y="321921"/>
                  </a:lnTo>
                  <a:lnTo>
                    <a:pt x="699153" y="320629"/>
                  </a:lnTo>
                  <a:lnTo>
                    <a:pt x="700187" y="319465"/>
                  </a:lnTo>
                  <a:lnTo>
                    <a:pt x="703030" y="315330"/>
                  </a:lnTo>
                  <a:lnTo>
                    <a:pt x="703806" y="314037"/>
                  </a:lnTo>
                  <a:lnTo>
                    <a:pt x="704452" y="313779"/>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5" name="Graphic 2">
              <a:extLst>
                <a:ext uri="{FF2B5EF4-FFF2-40B4-BE49-F238E27FC236}">
                  <a16:creationId xmlns:a16="http://schemas.microsoft.com/office/drawing/2014/main" id="{E9AB08BF-2E59-3FE4-98AE-38E623AEB81D}"/>
                </a:ext>
              </a:extLst>
            </p:cNvPr>
            <p:cNvSpPr/>
            <p:nvPr/>
          </p:nvSpPr>
          <p:spPr>
            <a:xfrm>
              <a:off x="7456828" y="2442560"/>
              <a:ext cx="422852" cy="242312"/>
            </a:xfrm>
            <a:custGeom>
              <a:avLst/>
              <a:gdLst>
                <a:gd name="connsiteX0" fmla="*/ 422464 w 422852"/>
                <a:gd name="connsiteY0" fmla="*/ 121609 h 242312"/>
                <a:gd name="connsiteX1" fmla="*/ 421948 w 422852"/>
                <a:gd name="connsiteY1" fmla="*/ 121092 h 242312"/>
                <a:gd name="connsiteX2" fmla="*/ 420138 w 422852"/>
                <a:gd name="connsiteY2" fmla="*/ 120058 h 242312"/>
                <a:gd name="connsiteX3" fmla="*/ 419492 w 422852"/>
                <a:gd name="connsiteY3" fmla="*/ 119283 h 242312"/>
                <a:gd name="connsiteX4" fmla="*/ 419234 w 422852"/>
                <a:gd name="connsiteY4" fmla="*/ 118507 h 242312"/>
                <a:gd name="connsiteX5" fmla="*/ 418717 w 422852"/>
                <a:gd name="connsiteY5" fmla="*/ 115276 h 242312"/>
                <a:gd name="connsiteX6" fmla="*/ 418717 w 422852"/>
                <a:gd name="connsiteY6" fmla="*/ 108944 h 242312"/>
                <a:gd name="connsiteX7" fmla="*/ 419621 w 422852"/>
                <a:gd name="connsiteY7" fmla="*/ 104938 h 242312"/>
                <a:gd name="connsiteX8" fmla="*/ 419492 w 422852"/>
                <a:gd name="connsiteY8" fmla="*/ 102870 h 242312"/>
                <a:gd name="connsiteX9" fmla="*/ 417942 w 422852"/>
                <a:gd name="connsiteY9" fmla="*/ 101707 h 242312"/>
                <a:gd name="connsiteX10" fmla="*/ 418329 w 422852"/>
                <a:gd name="connsiteY10" fmla="*/ 103645 h 242312"/>
                <a:gd name="connsiteX11" fmla="*/ 417037 w 422852"/>
                <a:gd name="connsiteY11" fmla="*/ 107781 h 242312"/>
                <a:gd name="connsiteX12" fmla="*/ 416520 w 422852"/>
                <a:gd name="connsiteY12" fmla="*/ 110107 h 242312"/>
                <a:gd name="connsiteX13" fmla="*/ 415874 w 422852"/>
                <a:gd name="connsiteY13" fmla="*/ 112175 h 242312"/>
                <a:gd name="connsiteX14" fmla="*/ 414064 w 422852"/>
                <a:gd name="connsiteY14" fmla="*/ 114759 h 242312"/>
                <a:gd name="connsiteX15" fmla="*/ 411868 w 422852"/>
                <a:gd name="connsiteY15" fmla="*/ 117215 h 242312"/>
                <a:gd name="connsiteX16" fmla="*/ 409929 w 422852"/>
                <a:gd name="connsiteY16" fmla="*/ 118507 h 242312"/>
                <a:gd name="connsiteX17" fmla="*/ 410575 w 422852"/>
                <a:gd name="connsiteY17" fmla="*/ 117086 h 242312"/>
                <a:gd name="connsiteX18" fmla="*/ 410704 w 422852"/>
                <a:gd name="connsiteY18" fmla="*/ 115793 h 242312"/>
                <a:gd name="connsiteX19" fmla="*/ 410188 w 422852"/>
                <a:gd name="connsiteY19" fmla="*/ 114501 h 242312"/>
                <a:gd name="connsiteX20" fmla="*/ 409153 w 422852"/>
                <a:gd name="connsiteY20" fmla="*/ 113467 h 242312"/>
                <a:gd name="connsiteX21" fmla="*/ 410058 w 422852"/>
                <a:gd name="connsiteY21" fmla="*/ 114242 h 242312"/>
                <a:gd name="connsiteX22" fmla="*/ 410704 w 422852"/>
                <a:gd name="connsiteY22" fmla="*/ 114501 h 242312"/>
                <a:gd name="connsiteX23" fmla="*/ 411351 w 422852"/>
                <a:gd name="connsiteY23" fmla="*/ 114242 h 242312"/>
                <a:gd name="connsiteX24" fmla="*/ 412126 w 422852"/>
                <a:gd name="connsiteY24" fmla="*/ 113467 h 242312"/>
                <a:gd name="connsiteX25" fmla="*/ 411868 w 422852"/>
                <a:gd name="connsiteY25" fmla="*/ 113338 h 242312"/>
                <a:gd name="connsiteX26" fmla="*/ 413547 w 422852"/>
                <a:gd name="connsiteY26" fmla="*/ 108944 h 242312"/>
                <a:gd name="connsiteX27" fmla="*/ 413806 w 422852"/>
                <a:gd name="connsiteY27" fmla="*/ 107522 h 242312"/>
                <a:gd name="connsiteX28" fmla="*/ 413547 w 422852"/>
                <a:gd name="connsiteY28" fmla="*/ 105067 h 242312"/>
                <a:gd name="connsiteX29" fmla="*/ 413547 w 422852"/>
                <a:gd name="connsiteY29" fmla="*/ 103904 h 242312"/>
                <a:gd name="connsiteX30" fmla="*/ 414064 w 422852"/>
                <a:gd name="connsiteY30" fmla="*/ 103128 h 242312"/>
                <a:gd name="connsiteX31" fmla="*/ 414840 w 422852"/>
                <a:gd name="connsiteY31" fmla="*/ 102741 h 242312"/>
                <a:gd name="connsiteX32" fmla="*/ 415486 w 422852"/>
                <a:gd name="connsiteY32" fmla="*/ 101965 h 242312"/>
                <a:gd name="connsiteX33" fmla="*/ 415744 w 422852"/>
                <a:gd name="connsiteY33" fmla="*/ 100544 h 242312"/>
                <a:gd name="connsiteX34" fmla="*/ 415744 w 422852"/>
                <a:gd name="connsiteY34" fmla="*/ 95374 h 242312"/>
                <a:gd name="connsiteX35" fmla="*/ 415227 w 422852"/>
                <a:gd name="connsiteY35" fmla="*/ 94599 h 242312"/>
                <a:gd name="connsiteX36" fmla="*/ 412126 w 422852"/>
                <a:gd name="connsiteY36" fmla="*/ 93307 h 242312"/>
                <a:gd name="connsiteX37" fmla="*/ 411092 w 422852"/>
                <a:gd name="connsiteY37" fmla="*/ 92531 h 242312"/>
                <a:gd name="connsiteX38" fmla="*/ 409670 w 422852"/>
                <a:gd name="connsiteY38" fmla="*/ 90076 h 242312"/>
                <a:gd name="connsiteX39" fmla="*/ 407732 w 422852"/>
                <a:gd name="connsiteY39" fmla="*/ 81159 h 242312"/>
                <a:gd name="connsiteX40" fmla="*/ 407732 w 422852"/>
                <a:gd name="connsiteY40" fmla="*/ 81805 h 242312"/>
                <a:gd name="connsiteX41" fmla="*/ 406957 w 422852"/>
                <a:gd name="connsiteY41" fmla="*/ 79479 h 242312"/>
                <a:gd name="connsiteX42" fmla="*/ 407215 w 422852"/>
                <a:gd name="connsiteY42" fmla="*/ 77152 h 242312"/>
                <a:gd name="connsiteX43" fmla="*/ 407732 w 422852"/>
                <a:gd name="connsiteY43" fmla="*/ 75085 h 242312"/>
                <a:gd name="connsiteX44" fmla="*/ 407732 w 422852"/>
                <a:gd name="connsiteY44" fmla="*/ 73017 h 242312"/>
                <a:gd name="connsiteX45" fmla="*/ 407086 w 422852"/>
                <a:gd name="connsiteY45" fmla="*/ 71854 h 242312"/>
                <a:gd name="connsiteX46" fmla="*/ 406440 w 422852"/>
                <a:gd name="connsiteY46" fmla="*/ 70820 h 242312"/>
                <a:gd name="connsiteX47" fmla="*/ 405794 w 422852"/>
                <a:gd name="connsiteY47" fmla="*/ 69786 h 242312"/>
                <a:gd name="connsiteX48" fmla="*/ 405406 w 422852"/>
                <a:gd name="connsiteY48" fmla="*/ 67201 h 242312"/>
                <a:gd name="connsiteX49" fmla="*/ 405018 w 422852"/>
                <a:gd name="connsiteY49" fmla="*/ 65909 h 242312"/>
                <a:gd name="connsiteX50" fmla="*/ 403984 w 422852"/>
                <a:gd name="connsiteY50" fmla="*/ 63583 h 242312"/>
                <a:gd name="connsiteX51" fmla="*/ 405277 w 422852"/>
                <a:gd name="connsiteY51" fmla="*/ 59835 h 242312"/>
                <a:gd name="connsiteX52" fmla="*/ 405147 w 422852"/>
                <a:gd name="connsiteY52" fmla="*/ 54924 h 242312"/>
                <a:gd name="connsiteX53" fmla="*/ 404760 w 422852"/>
                <a:gd name="connsiteY53" fmla="*/ 51435 h 242312"/>
                <a:gd name="connsiteX54" fmla="*/ 404372 w 422852"/>
                <a:gd name="connsiteY54" fmla="*/ 51435 h 242312"/>
                <a:gd name="connsiteX55" fmla="*/ 399590 w 422852"/>
                <a:gd name="connsiteY55" fmla="*/ 52598 h 242312"/>
                <a:gd name="connsiteX56" fmla="*/ 398298 w 422852"/>
                <a:gd name="connsiteY56" fmla="*/ 53244 h 242312"/>
                <a:gd name="connsiteX57" fmla="*/ 396618 w 422852"/>
                <a:gd name="connsiteY57" fmla="*/ 54666 h 242312"/>
                <a:gd name="connsiteX58" fmla="*/ 395713 w 422852"/>
                <a:gd name="connsiteY58" fmla="*/ 54924 h 242312"/>
                <a:gd name="connsiteX59" fmla="*/ 394421 w 422852"/>
                <a:gd name="connsiteY59" fmla="*/ 54407 h 242312"/>
                <a:gd name="connsiteX60" fmla="*/ 392224 w 422852"/>
                <a:gd name="connsiteY60" fmla="*/ 53374 h 242312"/>
                <a:gd name="connsiteX61" fmla="*/ 388347 w 422852"/>
                <a:gd name="connsiteY61" fmla="*/ 53503 h 242312"/>
                <a:gd name="connsiteX62" fmla="*/ 380981 w 422852"/>
                <a:gd name="connsiteY62" fmla="*/ 52210 h 242312"/>
                <a:gd name="connsiteX63" fmla="*/ 373356 w 422852"/>
                <a:gd name="connsiteY63" fmla="*/ 51693 h 242312"/>
                <a:gd name="connsiteX64" fmla="*/ 370771 w 422852"/>
                <a:gd name="connsiteY64" fmla="*/ 53503 h 242312"/>
                <a:gd name="connsiteX65" fmla="*/ 369220 w 422852"/>
                <a:gd name="connsiteY65" fmla="*/ 53890 h 242312"/>
                <a:gd name="connsiteX66" fmla="*/ 368057 w 422852"/>
                <a:gd name="connsiteY66" fmla="*/ 54020 h 242312"/>
                <a:gd name="connsiteX67" fmla="*/ 361854 w 422852"/>
                <a:gd name="connsiteY67" fmla="*/ 52598 h 242312"/>
                <a:gd name="connsiteX68" fmla="*/ 353583 w 422852"/>
                <a:gd name="connsiteY68" fmla="*/ 48463 h 242312"/>
                <a:gd name="connsiteX69" fmla="*/ 350869 w 422852"/>
                <a:gd name="connsiteY69" fmla="*/ 47170 h 242312"/>
                <a:gd name="connsiteX70" fmla="*/ 347639 w 422852"/>
                <a:gd name="connsiteY70" fmla="*/ 46524 h 242312"/>
                <a:gd name="connsiteX71" fmla="*/ 340660 w 422852"/>
                <a:gd name="connsiteY71" fmla="*/ 46266 h 242312"/>
                <a:gd name="connsiteX72" fmla="*/ 334586 w 422852"/>
                <a:gd name="connsiteY72" fmla="*/ 44456 h 242312"/>
                <a:gd name="connsiteX73" fmla="*/ 331743 w 422852"/>
                <a:gd name="connsiteY73" fmla="*/ 43422 h 242312"/>
                <a:gd name="connsiteX74" fmla="*/ 330450 w 422852"/>
                <a:gd name="connsiteY74" fmla="*/ 43035 h 242312"/>
                <a:gd name="connsiteX75" fmla="*/ 329029 w 422852"/>
                <a:gd name="connsiteY75" fmla="*/ 43035 h 242312"/>
                <a:gd name="connsiteX76" fmla="*/ 327478 w 422852"/>
                <a:gd name="connsiteY76" fmla="*/ 43552 h 242312"/>
                <a:gd name="connsiteX77" fmla="*/ 324764 w 422852"/>
                <a:gd name="connsiteY77" fmla="*/ 44715 h 242312"/>
                <a:gd name="connsiteX78" fmla="*/ 323601 w 422852"/>
                <a:gd name="connsiteY78" fmla="*/ 44973 h 242312"/>
                <a:gd name="connsiteX79" fmla="*/ 316364 w 422852"/>
                <a:gd name="connsiteY79" fmla="*/ 45619 h 242312"/>
                <a:gd name="connsiteX80" fmla="*/ 311582 w 422852"/>
                <a:gd name="connsiteY80" fmla="*/ 46653 h 242312"/>
                <a:gd name="connsiteX81" fmla="*/ 301760 w 422852"/>
                <a:gd name="connsiteY81" fmla="*/ 47429 h 242312"/>
                <a:gd name="connsiteX82" fmla="*/ 297754 w 422852"/>
                <a:gd name="connsiteY82" fmla="*/ 46912 h 242312"/>
                <a:gd name="connsiteX83" fmla="*/ 291163 w 422852"/>
                <a:gd name="connsiteY83" fmla="*/ 45361 h 242312"/>
                <a:gd name="connsiteX84" fmla="*/ 288837 w 422852"/>
                <a:gd name="connsiteY84" fmla="*/ 45232 h 242312"/>
                <a:gd name="connsiteX85" fmla="*/ 287416 w 422852"/>
                <a:gd name="connsiteY85" fmla="*/ 45361 h 242312"/>
                <a:gd name="connsiteX86" fmla="*/ 285865 w 422852"/>
                <a:gd name="connsiteY86" fmla="*/ 45232 h 242312"/>
                <a:gd name="connsiteX87" fmla="*/ 280695 w 422852"/>
                <a:gd name="connsiteY87" fmla="*/ 43939 h 242312"/>
                <a:gd name="connsiteX88" fmla="*/ 266738 w 422852"/>
                <a:gd name="connsiteY88" fmla="*/ 41742 h 242312"/>
                <a:gd name="connsiteX89" fmla="*/ 264929 w 422852"/>
                <a:gd name="connsiteY89" fmla="*/ 40192 h 242312"/>
                <a:gd name="connsiteX90" fmla="*/ 264283 w 422852"/>
                <a:gd name="connsiteY90" fmla="*/ 38899 h 242312"/>
                <a:gd name="connsiteX91" fmla="*/ 263766 w 422852"/>
                <a:gd name="connsiteY91" fmla="*/ 36702 h 242312"/>
                <a:gd name="connsiteX92" fmla="*/ 263766 w 422852"/>
                <a:gd name="connsiteY92" fmla="*/ 35152 h 242312"/>
                <a:gd name="connsiteX93" fmla="*/ 264024 w 422852"/>
                <a:gd name="connsiteY93" fmla="*/ 33859 h 242312"/>
                <a:gd name="connsiteX94" fmla="*/ 264153 w 422852"/>
                <a:gd name="connsiteY94" fmla="*/ 32567 h 242312"/>
                <a:gd name="connsiteX95" fmla="*/ 263637 w 422852"/>
                <a:gd name="connsiteY95" fmla="*/ 31404 h 242312"/>
                <a:gd name="connsiteX96" fmla="*/ 262473 w 422852"/>
                <a:gd name="connsiteY96" fmla="*/ 30241 h 242312"/>
                <a:gd name="connsiteX97" fmla="*/ 260406 w 422852"/>
                <a:gd name="connsiteY97" fmla="*/ 29336 h 242312"/>
                <a:gd name="connsiteX98" fmla="*/ 257563 w 422852"/>
                <a:gd name="connsiteY98" fmla="*/ 30111 h 242312"/>
                <a:gd name="connsiteX99" fmla="*/ 256270 w 422852"/>
                <a:gd name="connsiteY99" fmla="*/ 30241 h 242312"/>
                <a:gd name="connsiteX100" fmla="*/ 255107 w 422852"/>
                <a:gd name="connsiteY100" fmla="*/ 30241 h 242312"/>
                <a:gd name="connsiteX101" fmla="*/ 253944 w 422852"/>
                <a:gd name="connsiteY101" fmla="*/ 29982 h 242312"/>
                <a:gd name="connsiteX102" fmla="*/ 252652 w 422852"/>
                <a:gd name="connsiteY102" fmla="*/ 29982 h 242312"/>
                <a:gd name="connsiteX103" fmla="*/ 251618 w 422852"/>
                <a:gd name="connsiteY103" fmla="*/ 30241 h 242312"/>
                <a:gd name="connsiteX104" fmla="*/ 250455 w 422852"/>
                <a:gd name="connsiteY104" fmla="*/ 31016 h 242312"/>
                <a:gd name="connsiteX105" fmla="*/ 247224 w 422852"/>
                <a:gd name="connsiteY105" fmla="*/ 35281 h 242312"/>
                <a:gd name="connsiteX106" fmla="*/ 245415 w 422852"/>
                <a:gd name="connsiteY106" fmla="*/ 36702 h 242312"/>
                <a:gd name="connsiteX107" fmla="*/ 242184 w 422852"/>
                <a:gd name="connsiteY107" fmla="*/ 37478 h 242312"/>
                <a:gd name="connsiteX108" fmla="*/ 241021 w 422852"/>
                <a:gd name="connsiteY108" fmla="*/ 37865 h 242312"/>
                <a:gd name="connsiteX109" fmla="*/ 240116 w 422852"/>
                <a:gd name="connsiteY109" fmla="*/ 38899 h 242312"/>
                <a:gd name="connsiteX110" fmla="*/ 239341 w 422852"/>
                <a:gd name="connsiteY110" fmla="*/ 40967 h 242312"/>
                <a:gd name="connsiteX111" fmla="*/ 238824 w 422852"/>
                <a:gd name="connsiteY111" fmla="*/ 44973 h 242312"/>
                <a:gd name="connsiteX112" fmla="*/ 238565 w 422852"/>
                <a:gd name="connsiteY112" fmla="*/ 48850 h 242312"/>
                <a:gd name="connsiteX113" fmla="*/ 239082 w 422852"/>
                <a:gd name="connsiteY113" fmla="*/ 50918 h 242312"/>
                <a:gd name="connsiteX114" fmla="*/ 239728 w 422852"/>
                <a:gd name="connsiteY114" fmla="*/ 52081 h 242312"/>
                <a:gd name="connsiteX115" fmla="*/ 242055 w 422852"/>
                <a:gd name="connsiteY115" fmla="*/ 54149 h 242312"/>
                <a:gd name="connsiteX116" fmla="*/ 242701 w 422852"/>
                <a:gd name="connsiteY116" fmla="*/ 55054 h 242312"/>
                <a:gd name="connsiteX117" fmla="*/ 245415 w 422852"/>
                <a:gd name="connsiteY117" fmla="*/ 60869 h 242312"/>
                <a:gd name="connsiteX118" fmla="*/ 246319 w 422852"/>
                <a:gd name="connsiteY118" fmla="*/ 64229 h 242312"/>
                <a:gd name="connsiteX119" fmla="*/ 246190 w 422852"/>
                <a:gd name="connsiteY119" fmla="*/ 65004 h 242312"/>
                <a:gd name="connsiteX120" fmla="*/ 245285 w 422852"/>
                <a:gd name="connsiteY120" fmla="*/ 65651 h 242312"/>
                <a:gd name="connsiteX121" fmla="*/ 244252 w 422852"/>
                <a:gd name="connsiteY121" fmla="*/ 65521 h 242312"/>
                <a:gd name="connsiteX122" fmla="*/ 243347 w 422852"/>
                <a:gd name="connsiteY122" fmla="*/ 65134 h 242312"/>
                <a:gd name="connsiteX123" fmla="*/ 241538 w 422852"/>
                <a:gd name="connsiteY123" fmla="*/ 63971 h 242312"/>
                <a:gd name="connsiteX124" fmla="*/ 240633 w 422852"/>
                <a:gd name="connsiteY124" fmla="*/ 63324 h 242312"/>
                <a:gd name="connsiteX125" fmla="*/ 239728 w 422852"/>
                <a:gd name="connsiteY125" fmla="*/ 63066 h 242312"/>
                <a:gd name="connsiteX126" fmla="*/ 238694 w 422852"/>
                <a:gd name="connsiteY126" fmla="*/ 63066 h 242312"/>
                <a:gd name="connsiteX127" fmla="*/ 237790 w 422852"/>
                <a:gd name="connsiteY127" fmla="*/ 63583 h 242312"/>
                <a:gd name="connsiteX128" fmla="*/ 237144 w 422852"/>
                <a:gd name="connsiteY128" fmla="*/ 64617 h 242312"/>
                <a:gd name="connsiteX129" fmla="*/ 236498 w 422852"/>
                <a:gd name="connsiteY129" fmla="*/ 65780 h 242312"/>
                <a:gd name="connsiteX130" fmla="*/ 235981 w 422852"/>
                <a:gd name="connsiteY130" fmla="*/ 67848 h 242312"/>
                <a:gd name="connsiteX131" fmla="*/ 235851 w 422852"/>
                <a:gd name="connsiteY131" fmla="*/ 69140 h 242312"/>
                <a:gd name="connsiteX132" fmla="*/ 235981 w 422852"/>
                <a:gd name="connsiteY132" fmla="*/ 71466 h 242312"/>
                <a:gd name="connsiteX133" fmla="*/ 236239 w 422852"/>
                <a:gd name="connsiteY133" fmla="*/ 73792 h 242312"/>
                <a:gd name="connsiteX134" fmla="*/ 236885 w 422852"/>
                <a:gd name="connsiteY134" fmla="*/ 75989 h 242312"/>
                <a:gd name="connsiteX135" fmla="*/ 237273 w 422852"/>
                <a:gd name="connsiteY135" fmla="*/ 77023 h 242312"/>
                <a:gd name="connsiteX136" fmla="*/ 237790 w 422852"/>
                <a:gd name="connsiteY136" fmla="*/ 77928 h 242312"/>
                <a:gd name="connsiteX137" fmla="*/ 238436 w 422852"/>
                <a:gd name="connsiteY137" fmla="*/ 78832 h 242312"/>
                <a:gd name="connsiteX138" fmla="*/ 239082 w 422852"/>
                <a:gd name="connsiteY138" fmla="*/ 79608 h 242312"/>
                <a:gd name="connsiteX139" fmla="*/ 239728 w 422852"/>
                <a:gd name="connsiteY139" fmla="*/ 80383 h 242312"/>
                <a:gd name="connsiteX140" fmla="*/ 240116 w 422852"/>
                <a:gd name="connsiteY140" fmla="*/ 81288 h 242312"/>
                <a:gd name="connsiteX141" fmla="*/ 239987 w 422852"/>
                <a:gd name="connsiteY141" fmla="*/ 82709 h 242312"/>
                <a:gd name="connsiteX142" fmla="*/ 239470 w 422852"/>
                <a:gd name="connsiteY142" fmla="*/ 84260 h 242312"/>
                <a:gd name="connsiteX143" fmla="*/ 238307 w 422852"/>
                <a:gd name="connsiteY143" fmla="*/ 86457 h 242312"/>
                <a:gd name="connsiteX144" fmla="*/ 236756 w 422852"/>
                <a:gd name="connsiteY144" fmla="*/ 90593 h 242312"/>
                <a:gd name="connsiteX145" fmla="*/ 236239 w 422852"/>
                <a:gd name="connsiteY145" fmla="*/ 91627 h 242312"/>
                <a:gd name="connsiteX146" fmla="*/ 233913 w 422852"/>
                <a:gd name="connsiteY146" fmla="*/ 95116 h 242312"/>
                <a:gd name="connsiteX147" fmla="*/ 233137 w 422852"/>
                <a:gd name="connsiteY147" fmla="*/ 96021 h 242312"/>
                <a:gd name="connsiteX148" fmla="*/ 232233 w 422852"/>
                <a:gd name="connsiteY148" fmla="*/ 96667 h 242312"/>
                <a:gd name="connsiteX149" fmla="*/ 230424 w 422852"/>
                <a:gd name="connsiteY149" fmla="*/ 97184 h 242312"/>
                <a:gd name="connsiteX150" fmla="*/ 229131 w 422852"/>
                <a:gd name="connsiteY150" fmla="*/ 97313 h 242312"/>
                <a:gd name="connsiteX151" fmla="*/ 225642 w 422852"/>
                <a:gd name="connsiteY151" fmla="*/ 96408 h 242312"/>
                <a:gd name="connsiteX152" fmla="*/ 223833 w 422852"/>
                <a:gd name="connsiteY152" fmla="*/ 96796 h 242312"/>
                <a:gd name="connsiteX153" fmla="*/ 223187 w 422852"/>
                <a:gd name="connsiteY153" fmla="*/ 97184 h 242312"/>
                <a:gd name="connsiteX154" fmla="*/ 217630 w 422852"/>
                <a:gd name="connsiteY154" fmla="*/ 101965 h 242312"/>
                <a:gd name="connsiteX155" fmla="*/ 216466 w 422852"/>
                <a:gd name="connsiteY155" fmla="*/ 102224 h 242312"/>
                <a:gd name="connsiteX156" fmla="*/ 215045 w 422852"/>
                <a:gd name="connsiteY156" fmla="*/ 101707 h 242312"/>
                <a:gd name="connsiteX157" fmla="*/ 212848 w 422852"/>
                <a:gd name="connsiteY157" fmla="*/ 99898 h 242312"/>
                <a:gd name="connsiteX158" fmla="*/ 211814 w 422852"/>
                <a:gd name="connsiteY158" fmla="*/ 98476 h 242312"/>
                <a:gd name="connsiteX159" fmla="*/ 211168 w 422852"/>
                <a:gd name="connsiteY159" fmla="*/ 97184 h 242312"/>
                <a:gd name="connsiteX160" fmla="*/ 211168 w 422852"/>
                <a:gd name="connsiteY160" fmla="*/ 96021 h 242312"/>
                <a:gd name="connsiteX161" fmla="*/ 211426 w 422852"/>
                <a:gd name="connsiteY161" fmla="*/ 94857 h 242312"/>
                <a:gd name="connsiteX162" fmla="*/ 214528 w 422852"/>
                <a:gd name="connsiteY162" fmla="*/ 88008 h 242312"/>
                <a:gd name="connsiteX163" fmla="*/ 214657 w 422852"/>
                <a:gd name="connsiteY163" fmla="*/ 86845 h 242312"/>
                <a:gd name="connsiteX164" fmla="*/ 214269 w 422852"/>
                <a:gd name="connsiteY164" fmla="*/ 85811 h 242312"/>
                <a:gd name="connsiteX165" fmla="*/ 213365 w 422852"/>
                <a:gd name="connsiteY165" fmla="*/ 84648 h 242312"/>
                <a:gd name="connsiteX166" fmla="*/ 211943 w 422852"/>
                <a:gd name="connsiteY166" fmla="*/ 83226 h 242312"/>
                <a:gd name="connsiteX167" fmla="*/ 210134 w 422852"/>
                <a:gd name="connsiteY167" fmla="*/ 80771 h 242312"/>
                <a:gd name="connsiteX168" fmla="*/ 209100 w 422852"/>
                <a:gd name="connsiteY168" fmla="*/ 79737 h 242312"/>
                <a:gd name="connsiteX169" fmla="*/ 207549 w 422852"/>
                <a:gd name="connsiteY169" fmla="*/ 78962 h 242312"/>
                <a:gd name="connsiteX170" fmla="*/ 203543 w 422852"/>
                <a:gd name="connsiteY170" fmla="*/ 78057 h 242312"/>
                <a:gd name="connsiteX171" fmla="*/ 196435 w 422852"/>
                <a:gd name="connsiteY171" fmla="*/ 77152 h 242312"/>
                <a:gd name="connsiteX172" fmla="*/ 195272 w 422852"/>
                <a:gd name="connsiteY172" fmla="*/ 77282 h 242312"/>
                <a:gd name="connsiteX173" fmla="*/ 193980 w 422852"/>
                <a:gd name="connsiteY173" fmla="*/ 77540 h 242312"/>
                <a:gd name="connsiteX174" fmla="*/ 192817 w 422852"/>
                <a:gd name="connsiteY174" fmla="*/ 77669 h 242312"/>
                <a:gd name="connsiteX175" fmla="*/ 191524 w 422852"/>
                <a:gd name="connsiteY175" fmla="*/ 76894 h 242312"/>
                <a:gd name="connsiteX176" fmla="*/ 189973 w 422852"/>
                <a:gd name="connsiteY176" fmla="*/ 74697 h 242312"/>
                <a:gd name="connsiteX177" fmla="*/ 188940 w 422852"/>
                <a:gd name="connsiteY177" fmla="*/ 73922 h 242312"/>
                <a:gd name="connsiteX178" fmla="*/ 188035 w 422852"/>
                <a:gd name="connsiteY178" fmla="*/ 73405 h 242312"/>
                <a:gd name="connsiteX179" fmla="*/ 187001 w 422852"/>
                <a:gd name="connsiteY179" fmla="*/ 73405 h 242312"/>
                <a:gd name="connsiteX180" fmla="*/ 186484 w 422852"/>
                <a:gd name="connsiteY180" fmla="*/ 73663 h 242312"/>
                <a:gd name="connsiteX181" fmla="*/ 185709 w 422852"/>
                <a:gd name="connsiteY181" fmla="*/ 74439 h 242312"/>
                <a:gd name="connsiteX182" fmla="*/ 184029 w 422852"/>
                <a:gd name="connsiteY182" fmla="*/ 76506 h 242312"/>
                <a:gd name="connsiteX183" fmla="*/ 183124 w 422852"/>
                <a:gd name="connsiteY183" fmla="*/ 77540 h 242312"/>
                <a:gd name="connsiteX184" fmla="*/ 181961 w 422852"/>
                <a:gd name="connsiteY184" fmla="*/ 78316 h 242312"/>
                <a:gd name="connsiteX185" fmla="*/ 180798 w 422852"/>
                <a:gd name="connsiteY185" fmla="*/ 78832 h 242312"/>
                <a:gd name="connsiteX186" fmla="*/ 179635 w 422852"/>
                <a:gd name="connsiteY186" fmla="*/ 79220 h 242312"/>
                <a:gd name="connsiteX187" fmla="*/ 170330 w 422852"/>
                <a:gd name="connsiteY187" fmla="*/ 81546 h 242312"/>
                <a:gd name="connsiteX188" fmla="*/ 169167 w 422852"/>
                <a:gd name="connsiteY188" fmla="*/ 81934 h 242312"/>
                <a:gd name="connsiteX189" fmla="*/ 168004 w 422852"/>
                <a:gd name="connsiteY189" fmla="*/ 82580 h 242312"/>
                <a:gd name="connsiteX190" fmla="*/ 164385 w 422852"/>
                <a:gd name="connsiteY190" fmla="*/ 85036 h 242312"/>
                <a:gd name="connsiteX191" fmla="*/ 163222 w 422852"/>
                <a:gd name="connsiteY191" fmla="*/ 85682 h 242312"/>
                <a:gd name="connsiteX192" fmla="*/ 161930 w 422852"/>
                <a:gd name="connsiteY192" fmla="*/ 85553 h 242312"/>
                <a:gd name="connsiteX193" fmla="*/ 160767 w 422852"/>
                <a:gd name="connsiteY193" fmla="*/ 84519 h 242312"/>
                <a:gd name="connsiteX194" fmla="*/ 159216 w 422852"/>
                <a:gd name="connsiteY194" fmla="*/ 81546 h 242312"/>
                <a:gd name="connsiteX195" fmla="*/ 158311 w 422852"/>
                <a:gd name="connsiteY195" fmla="*/ 78057 h 242312"/>
                <a:gd name="connsiteX196" fmla="*/ 157923 w 422852"/>
                <a:gd name="connsiteY196" fmla="*/ 76894 h 242312"/>
                <a:gd name="connsiteX197" fmla="*/ 156890 w 422852"/>
                <a:gd name="connsiteY197" fmla="*/ 75602 h 242312"/>
                <a:gd name="connsiteX198" fmla="*/ 155080 w 422852"/>
                <a:gd name="connsiteY198" fmla="*/ 74051 h 242312"/>
                <a:gd name="connsiteX199" fmla="*/ 153401 w 422852"/>
                <a:gd name="connsiteY199" fmla="*/ 73275 h 242312"/>
                <a:gd name="connsiteX200" fmla="*/ 151979 w 422852"/>
                <a:gd name="connsiteY200" fmla="*/ 72629 h 242312"/>
                <a:gd name="connsiteX201" fmla="*/ 150816 w 422852"/>
                <a:gd name="connsiteY201" fmla="*/ 72371 h 242312"/>
                <a:gd name="connsiteX202" fmla="*/ 149523 w 422852"/>
                <a:gd name="connsiteY202" fmla="*/ 72242 h 242312"/>
                <a:gd name="connsiteX203" fmla="*/ 147068 w 422852"/>
                <a:gd name="connsiteY203" fmla="*/ 72242 h 242312"/>
                <a:gd name="connsiteX204" fmla="*/ 145905 w 422852"/>
                <a:gd name="connsiteY204" fmla="*/ 72112 h 242312"/>
                <a:gd name="connsiteX205" fmla="*/ 144742 w 422852"/>
                <a:gd name="connsiteY205" fmla="*/ 72112 h 242312"/>
                <a:gd name="connsiteX206" fmla="*/ 142286 w 422852"/>
                <a:gd name="connsiteY206" fmla="*/ 72371 h 242312"/>
                <a:gd name="connsiteX207" fmla="*/ 141123 w 422852"/>
                <a:gd name="connsiteY207" fmla="*/ 72371 h 242312"/>
                <a:gd name="connsiteX208" fmla="*/ 134920 w 422852"/>
                <a:gd name="connsiteY208" fmla="*/ 71078 h 242312"/>
                <a:gd name="connsiteX209" fmla="*/ 133240 w 422852"/>
                <a:gd name="connsiteY209" fmla="*/ 70820 h 242312"/>
                <a:gd name="connsiteX210" fmla="*/ 132464 w 422852"/>
                <a:gd name="connsiteY210" fmla="*/ 70691 h 242312"/>
                <a:gd name="connsiteX211" fmla="*/ 131560 w 422852"/>
                <a:gd name="connsiteY211" fmla="*/ 70303 h 242312"/>
                <a:gd name="connsiteX212" fmla="*/ 130914 w 422852"/>
                <a:gd name="connsiteY212" fmla="*/ 69269 h 242312"/>
                <a:gd name="connsiteX213" fmla="*/ 130526 w 422852"/>
                <a:gd name="connsiteY213" fmla="*/ 68235 h 242312"/>
                <a:gd name="connsiteX214" fmla="*/ 130397 w 422852"/>
                <a:gd name="connsiteY214" fmla="*/ 67072 h 242312"/>
                <a:gd name="connsiteX215" fmla="*/ 130397 w 422852"/>
                <a:gd name="connsiteY215" fmla="*/ 64488 h 242312"/>
                <a:gd name="connsiteX216" fmla="*/ 131560 w 422852"/>
                <a:gd name="connsiteY216" fmla="*/ 58801 h 242312"/>
                <a:gd name="connsiteX217" fmla="*/ 131948 w 422852"/>
                <a:gd name="connsiteY217" fmla="*/ 57767 h 242312"/>
                <a:gd name="connsiteX218" fmla="*/ 132464 w 422852"/>
                <a:gd name="connsiteY218" fmla="*/ 56734 h 242312"/>
                <a:gd name="connsiteX219" fmla="*/ 133498 w 422852"/>
                <a:gd name="connsiteY219" fmla="*/ 56087 h 242312"/>
                <a:gd name="connsiteX220" fmla="*/ 134920 w 422852"/>
                <a:gd name="connsiteY220" fmla="*/ 55441 h 242312"/>
                <a:gd name="connsiteX221" fmla="*/ 137375 w 422852"/>
                <a:gd name="connsiteY221" fmla="*/ 54666 h 242312"/>
                <a:gd name="connsiteX222" fmla="*/ 140606 w 422852"/>
                <a:gd name="connsiteY222" fmla="*/ 52986 h 242312"/>
                <a:gd name="connsiteX223" fmla="*/ 143062 w 422852"/>
                <a:gd name="connsiteY223" fmla="*/ 46783 h 242312"/>
                <a:gd name="connsiteX224" fmla="*/ 144354 w 422852"/>
                <a:gd name="connsiteY224" fmla="*/ 39287 h 242312"/>
                <a:gd name="connsiteX225" fmla="*/ 144742 w 422852"/>
                <a:gd name="connsiteY225" fmla="*/ 38253 h 242312"/>
                <a:gd name="connsiteX226" fmla="*/ 145775 w 422852"/>
                <a:gd name="connsiteY226" fmla="*/ 36444 h 242312"/>
                <a:gd name="connsiteX227" fmla="*/ 151074 w 422852"/>
                <a:gd name="connsiteY227" fmla="*/ 29982 h 242312"/>
                <a:gd name="connsiteX228" fmla="*/ 155727 w 422852"/>
                <a:gd name="connsiteY228" fmla="*/ 25718 h 242312"/>
                <a:gd name="connsiteX229" fmla="*/ 162576 w 422852"/>
                <a:gd name="connsiteY229" fmla="*/ 15767 h 242312"/>
                <a:gd name="connsiteX230" fmla="*/ 164127 w 422852"/>
                <a:gd name="connsiteY230" fmla="*/ 14216 h 242312"/>
                <a:gd name="connsiteX231" fmla="*/ 166712 w 422852"/>
                <a:gd name="connsiteY231" fmla="*/ 12406 h 242312"/>
                <a:gd name="connsiteX232" fmla="*/ 167875 w 422852"/>
                <a:gd name="connsiteY232" fmla="*/ 10080 h 242312"/>
                <a:gd name="connsiteX233" fmla="*/ 167616 w 422852"/>
                <a:gd name="connsiteY233" fmla="*/ 3102 h 242312"/>
                <a:gd name="connsiteX234" fmla="*/ 167228 w 422852"/>
                <a:gd name="connsiteY234" fmla="*/ 2455 h 242312"/>
                <a:gd name="connsiteX235" fmla="*/ 166582 w 422852"/>
                <a:gd name="connsiteY235" fmla="*/ 2068 h 242312"/>
                <a:gd name="connsiteX236" fmla="*/ 165807 w 422852"/>
                <a:gd name="connsiteY236" fmla="*/ 1422 h 242312"/>
                <a:gd name="connsiteX237" fmla="*/ 164644 w 422852"/>
                <a:gd name="connsiteY237" fmla="*/ 905 h 242312"/>
                <a:gd name="connsiteX238" fmla="*/ 163481 w 422852"/>
                <a:gd name="connsiteY238" fmla="*/ 388 h 242312"/>
                <a:gd name="connsiteX239" fmla="*/ 160121 w 422852"/>
                <a:gd name="connsiteY239" fmla="*/ 0 h 242312"/>
                <a:gd name="connsiteX240" fmla="*/ 158828 w 422852"/>
                <a:gd name="connsiteY240" fmla="*/ 129 h 242312"/>
                <a:gd name="connsiteX241" fmla="*/ 155339 w 422852"/>
                <a:gd name="connsiteY241" fmla="*/ 1939 h 242312"/>
                <a:gd name="connsiteX242" fmla="*/ 151074 w 422852"/>
                <a:gd name="connsiteY242" fmla="*/ 3360 h 242312"/>
                <a:gd name="connsiteX243" fmla="*/ 146551 w 422852"/>
                <a:gd name="connsiteY243" fmla="*/ 5945 h 242312"/>
                <a:gd name="connsiteX244" fmla="*/ 143966 w 422852"/>
                <a:gd name="connsiteY244" fmla="*/ 6720 h 242312"/>
                <a:gd name="connsiteX245" fmla="*/ 142932 w 422852"/>
                <a:gd name="connsiteY245" fmla="*/ 7625 h 242312"/>
                <a:gd name="connsiteX246" fmla="*/ 141253 w 422852"/>
                <a:gd name="connsiteY246" fmla="*/ 8013 h 242312"/>
                <a:gd name="connsiteX247" fmla="*/ 140090 w 422852"/>
                <a:gd name="connsiteY247" fmla="*/ 7754 h 242312"/>
                <a:gd name="connsiteX248" fmla="*/ 138022 w 422852"/>
                <a:gd name="connsiteY248" fmla="*/ 6979 h 242312"/>
                <a:gd name="connsiteX249" fmla="*/ 136988 w 422852"/>
                <a:gd name="connsiteY249" fmla="*/ 6720 h 242312"/>
                <a:gd name="connsiteX250" fmla="*/ 135954 w 422852"/>
                <a:gd name="connsiteY250" fmla="*/ 6720 h 242312"/>
                <a:gd name="connsiteX251" fmla="*/ 132981 w 422852"/>
                <a:gd name="connsiteY251" fmla="*/ 7366 h 242312"/>
                <a:gd name="connsiteX252" fmla="*/ 129621 w 422852"/>
                <a:gd name="connsiteY252" fmla="*/ 7496 h 242312"/>
                <a:gd name="connsiteX253" fmla="*/ 128588 w 422852"/>
                <a:gd name="connsiteY253" fmla="*/ 7754 h 242312"/>
                <a:gd name="connsiteX254" fmla="*/ 127554 w 422852"/>
                <a:gd name="connsiteY254" fmla="*/ 8142 h 242312"/>
                <a:gd name="connsiteX255" fmla="*/ 126390 w 422852"/>
                <a:gd name="connsiteY255" fmla="*/ 9176 h 242312"/>
                <a:gd name="connsiteX256" fmla="*/ 125486 w 422852"/>
                <a:gd name="connsiteY256" fmla="*/ 9822 h 242312"/>
                <a:gd name="connsiteX257" fmla="*/ 124323 w 422852"/>
                <a:gd name="connsiteY257" fmla="*/ 10209 h 242312"/>
                <a:gd name="connsiteX258" fmla="*/ 120575 w 422852"/>
                <a:gd name="connsiteY258" fmla="*/ 10597 h 242312"/>
                <a:gd name="connsiteX259" fmla="*/ 118249 w 422852"/>
                <a:gd name="connsiteY259" fmla="*/ 10985 h 242312"/>
                <a:gd name="connsiteX260" fmla="*/ 111270 w 422852"/>
                <a:gd name="connsiteY260" fmla="*/ 13957 h 242312"/>
                <a:gd name="connsiteX261" fmla="*/ 107522 w 422852"/>
                <a:gd name="connsiteY261" fmla="*/ 15120 h 242312"/>
                <a:gd name="connsiteX262" fmla="*/ 106489 w 422852"/>
                <a:gd name="connsiteY262" fmla="*/ 15637 h 242312"/>
                <a:gd name="connsiteX263" fmla="*/ 105455 w 422852"/>
                <a:gd name="connsiteY263" fmla="*/ 16283 h 242312"/>
                <a:gd name="connsiteX264" fmla="*/ 104809 w 422852"/>
                <a:gd name="connsiteY264" fmla="*/ 17705 h 242312"/>
                <a:gd name="connsiteX265" fmla="*/ 104292 w 422852"/>
                <a:gd name="connsiteY265" fmla="*/ 18868 h 242312"/>
                <a:gd name="connsiteX266" fmla="*/ 104033 w 422852"/>
                <a:gd name="connsiteY266" fmla="*/ 20290 h 242312"/>
                <a:gd name="connsiteX267" fmla="*/ 103258 w 422852"/>
                <a:gd name="connsiteY267" fmla="*/ 21970 h 242312"/>
                <a:gd name="connsiteX268" fmla="*/ 103387 w 422852"/>
                <a:gd name="connsiteY268" fmla="*/ 25071 h 242312"/>
                <a:gd name="connsiteX269" fmla="*/ 103129 w 422852"/>
                <a:gd name="connsiteY269" fmla="*/ 26105 h 242312"/>
                <a:gd name="connsiteX270" fmla="*/ 102353 w 422852"/>
                <a:gd name="connsiteY270" fmla="*/ 28044 h 242312"/>
                <a:gd name="connsiteX271" fmla="*/ 101836 w 422852"/>
                <a:gd name="connsiteY271" fmla="*/ 28690 h 242312"/>
                <a:gd name="connsiteX272" fmla="*/ 101061 w 422852"/>
                <a:gd name="connsiteY272" fmla="*/ 28431 h 242312"/>
                <a:gd name="connsiteX273" fmla="*/ 100415 w 422852"/>
                <a:gd name="connsiteY273" fmla="*/ 27914 h 242312"/>
                <a:gd name="connsiteX274" fmla="*/ 99639 w 422852"/>
                <a:gd name="connsiteY274" fmla="*/ 27785 h 242312"/>
                <a:gd name="connsiteX275" fmla="*/ 98864 w 422852"/>
                <a:gd name="connsiteY275" fmla="*/ 28431 h 242312"/>
                <a:gd name="connsiteX276" fmla="*/ 98347 w 422852"/>
                <a:gd name="connsiteY276" fmla="*/ 29982 h 242312"/>
                <a:gd name="connsiteX277" fmla="*/ 97959 w 422852"/>
                <a:gd name="connsiteY277" fmla="*/ 31404 h 242312"/>
                <a:gd name="connsiteX278" fmla="*/ 97442 w 422852"/>
                <a:gd name="connsiteY278" fmla="*/ 32825 h 242312"/>
                <a:gd name="connsiteX279" fmla="*/ 96409 w 422852"/>
                <a:gd name="connsiteY279" fmla="*/ 33988 h 242312"/>
                <a:gd name="connsiteX280" fmla="*/ 89042 w 422852"/>
                <a:gd name="connsiteY280" fmla="*/ 37865 h 242312"/>
                <a:gd name="connsiteX281" fmla="*/ 81676 w 422852"/>
                <a:gd name="connsiteY281" fmla="*/ 42906 h 242312"/>
                <a:gd name="connsiteX282" fmla="*/ 80383 w 422852"/>
                <a:gd name="connsiteY282" fmla="*/ 43422 h 242312"/>
                <a:gd name="connsiteX283" fmla="*/ 79737 w 422852"/>
                <a:gd name="connsiteY283" fmla="*/ 43552 h 242312"/>
                <a:gd name="connsiteX284" fmla="*/ 79350 w 422852"/>
                <a:gd name="connsiteY284" fmla="*/ 43939 h 242312"/>
                <a:gd name="connsiteX285" fmla="*/ 78704 w 422852"/>
                <a:gd name="connsiteY285" fmla="*/ 44715 h 242312"/>
                <a:gd name="connsiteX286" fmla="*/ 78445 w 422852"/>
                <a:gd name="connsiteY286" fmla="*/ 45878 h 242312"/>
                <a:gd name="connsiteX287" fmla="*/ 77152 w 422852"/>
                <a:gd name="connsiteY287" fmla="*/ 48463 h 242312"/>
                <a:gd name="connsiteX288" fmla="*/ 74956 w 422852"/>
                <a:gd name="connsiteY288" fmla="*/ 47429 h 242312"/>
                <a:gd name="connsiteX289" fmla="*/ 74568 w 422852"/>
                <a:gd name="connsiteY289" fmla="*/ 46653 h 242312"/>
                <a:gd name="connsiteX290" fmla="*/ 74180 w 422852"/>
                <a:gd name="connsiteY290" fmla="*/ 45749 h 242312"/>
                <a:gd name="connsiteX291" fmla="*/ 73793 w 422852"/>
                <a:gd name="connsiteY291" fmla="*/ 45103 h 242312"/>
                <a:gd name="connsiteX292" fmla="*/ 72888 w 422852"/>
                <a:gd name="connsiteY292" fmla="*/ 44973 h 242312"/>
                <a:gd name="connsiteX293" fmla="*/ 71725 w 422852"/>
                <a:gd name="connsiteY293" fmla="*/ 45749 h 242312"/>
                <a:gd name="connsiteX294" fmla="*/ 70949 w 422852"/>
                <a:gd name="connsiteY294" fmla="*/ 46524 h 242312"/>
                <a:gd name="connsiteX295" fmla="*/ 67331 w 422852"/>
                <a:gd name="connsiteY295" fmla="*/ 52081 h 242312"/>
                <a:gd name="connsiteX296" fmla="*/ 66685 w 422852"/>
                <a:gd name="connsiteY296" fmla="*/ 52857 h 242312"/>
                <a:gd name="connsiteX297" fmla="*/ 65780 w 422852"/>
                <a:gd name="connsiteY297" fmla="*/ 53115 h 242312"/>
                <a:gd name="connsiteX298" fmla="*/ 53891 w 422852"/>
                <a:gd name="connsiteY298" fmla="*/ 49367 h 242312"/>
                <a:gd name="connsiteX299" fmla="*/ 52728 w 422852"/>
                <a:gd name="connsiteY299" fmla="*/ 49367 h 242312"/>
                <a:gd name="connsiteX300" fmla="*/ 51952 w 422852"/>
                <a:gd name="connsiteY300" fmla="*/ 49626 h 242312"/>
                <a:gd name="connsiteX301" fmla="*/ 50660 w 422852"/>
                <a:gd name="connsiteY301" fmla="*/ 50918 h 242312"/>
                <a:gd name="connsiteX302" fmla="*/ 49497 w 422852"/>
                <a:gd name="connsiteY302" fmla="*/ 51564 h 242312"/>
                <a:gd name="connsiteX303" fmla="*/ 48850 w 422852"/>
                <a:gd name="connsiteY303" fmla="*/ 51435 h 242312"/>
                <a:gd name="connsiteX304" fmla="*/ 48204 w 422852"/>
                <a:gd name="connsiteY304" fmla="*/ 51047 h 242312"/>
                <a:gd name="connsiteX305" fmla="*/ 46007 w 422852"/>
                <a:gd name="connsiteY305" fmla="*/ 49238 h 242312"/>
                <a:gd name="connsiteX306" fmla="*/ 32955 w 422852"/>
                <a:gd name="connsiteY306" fmla="*/ 41613 h 242312"/>
                <a:gd name="connsiteX307" fmla="*/ 30887 w 422852"/>
                <a:gd name="connsiteY307" fmla="*/ 41226 h 242312"/>
                <a:gd name="connsiteX308" fmla="*/ 29207 w 422852"/>
                <a:gd name="connsiteY308" fmla="*/ 40838 h 242312"/>
                <a:gd name="connsiteX309" fmla="*/ 27914 w 422852"/>
                <a:gd name="connsiteY309" fmla="*/ 40062 h 242312"/>
                <a:gd name="connsiteX310" fmla="*/ 26751 w 422852"/>
                <a:gd name="connsiteY310" fmla="*/ 38641 h 242312"/>
                <a:gd name="connsiteX311" fmla="*/ 26751 w 422852"/>
                <a:gd name="connsiteY311" fmla="*/ 37348 h 242312"/>
                <a:gd name="connsiteX312" fmla="*/ 26881 w 422852"/>
                <a:gd name="connsiteY312" fmla="*/ 35281 h 242312"/>
                <a:gd name="connsiteX313" fmla="*/ 26493 w 422852"/>
                <a:gd name="connsiteY313" fmla="*/ 34635 h 242312"/>
                <a:gd name="connsiteX314" fmla="*/ 25588 w 422852"/>
                <a:gd name="connsiteY314" fmla="*/ 34893 h 242312"/>
                <a:gd name="connsiteX315" fmla="*/ 24813 w 422852"/>
                <a:gd name="connsiteY315" fmla="*/ 35410 h 242312"/>
                <a:gd name="connsiteX316" fmla="*/ 23391 w 422852"/>
                <a:gd name="connsiteY316" fmla="*/ 38382 h 242312"/>
                <a:gd name="connsiteX317" fmla="*/ 22875 w 422852"/>
                <a:gd name="connsiteY317" fmla="*/ 41226 h 242312"/>
                <a:gd name="connsiteX318" fmla="*/ 22358 w 422852"/>
                <a:gd name="connsiteY318" fmla="*/ 42518 h 242312"/>
                <a:gd name="connsiteX319" fmla="*/ 21194 w 422852"/>
                <a:gd name="connsiteY319" fmla="*/ 44327 h 242312"/>
                <a:gd name="connsiteX320" fmla="*/ 19385 w 422852"/>
                <a:gd name="connsiteY320" fmla="*/ 46266 h 242312"/>
                <a:gd name="connsiteX321" fmla="*/ 17705 w 422852"/>
                <a:gd name="connsiteY321" fmla="*/ 48850 h 242312"/>
                <a:gd name="connsiteX322" fmla="*/ 11244 w 422852"/>
                <a:gd name="connsiteY322" fmla="*/ 68235 h 242312"/>
                <a:gd name="connsiteX323" fmla="*/ 10597 w 422852"/>
                <a:gd name="connsiteY323" fmla="*/ 69786 h 242312"/>
                <a:gd name="connsiteX324" fmla="*/ 10210 w 422852"/>
                <a:gd name="connsiteY324" fmla="*/ 71595 h 242312"/>
                <a:gd name="connsiteX325" fmla="*/ 10339 w 422852"/>
                <a:gd name="connsiteY325" fmla="*/ 72888 h 242312"/>
                <a:gd name="connsiteX326" fmla="*/ 10597 w 422852"/>
                <a:gd name="connsiteY326" fmla="*/ 73922 h 242312"/>
                <a:gd name="connsiteX327" fmla="*/ 10985 w 422852"/>
                <a:gd name="connsiteY327" fmla="*/ 74697 h 242312"/>
                <a:gd name="connsiteX328" fmla="*/ 11373 w 422852"/>
                <a:gd name="connsiteY328" fmla="*/ 75214 h 242312"/>
                <a:gd name="connsiteX329" fmla="*/ 12536 w 422852"/>
                <a:gd name="connsiteY329" fmla="*/ 76765 h 242312"/>
                <a:gd name="connsiteX330" fmla="*/ 13053 w 422852"/>
                <a:gd name="connsiteY330" fmla="*/ 77669 h 242312"/>
                <a:gd name="connsiteX331" fmla="*/ 13440 w 422852"/>
                <a:gd name="connsiteY331" fmla="*/ 78703 h 242312"/>
                <a:gd name="connsiteX332" fmla="*/ 13440 w 422852"/>
                <a:gd name="connsiteY332" fmla="*/ 79737 h 242312"/>
                <a:gd name="connsiteX333" fmla="*/ 13053 w 422852"/>
                <a:gd name="connsiteY333" fmla="*/ 80900 h 242312"/>
                <a:gd name="connsiteX334" fmla="*/ 11890 w 422852"/>
                <a:gd name="connsiteY334" fmla="*/ 81934 h 242312"/>
                <a:gd name="connsiteX335" fmla="*/ 9822 w 422852"/>
                <a:gd name="connsiteY335" fmla="*/ 87103 h 242312"/>
                <a:gd name="connsiteX336" fmla="*/ 8917 w 422852"/>
                <a:gd name="connsiteY336" fmla="*/ 88137 h 242312"/>
                <a:gd name="connsiteX337" fmla="*/ 7625 w 422852"/>
                <a:gd name="connsiteY337" fmla="*/ 89300 h 242312"/>
                <a:gd name="connsiteX338" fmla="*/ 5040 w 422852"/>
                <a:gd name="connsiteY338" fmla="*/ 90980 h 242312"/>
                <a:gd name="connsiteX339" fmla="*/ 3490 w 422852"/>
                <a:gd name="connsiteY339" fmla="*/ 91756 h 242312"/>
                <a:gd name="connsiteX340" fmla="*/ 1809 w 422852"/>
                <a:gd name="connsiteY340" fmla="*/ 92790 h 242312"/>
                <a:gd name="connsiteX341" fmla="*/ 388 w 422852"/>
                <a:gd name="connsiteY341" fmla="*/ 95374 h 242312"/>
                <a:gd name="connsiteX342" fmla="*/ 0 w 422852"/>
                <a:gd name="connsiteY342" fmla="*/ 99768 h 242312"/>
                <a:gd name="connsiteX343" fmla="*/ 0 w 422852"/>
                <a:gd name="connsiteY343" fmla="*/ 101190 h 242312"/>
                <a:gd name="connsiteX344" fmla="*/ 517 w 422852"/>
                <a:gd name="connsiteY344" fmla="*/ 103387 h 242312"/>
                <a:gd name="connsiteX345" fmla="*/ 905 w 422852"/>
                <a:gd name="connsiteY345" fmla="*/ 104291 h 242312"/>
                <a:gd name="connsiteX346" fmla="*/ 1292 w 422852"/>
                <a:gd name="connsiteY346" fmla="*/ 104679 h 242312"/>
                <a:gd name="connsiteX347" fmla="*/ 1809 w 422852"/>
                <a:gd name="connsiteY347" fmla="*/ 105067 h 242312"/>
                <a:gd name="connsiteX348" fmla="*/ 3748 w 422852"/>
                <a:gd name="connsiteY348" fmla="*/ 105713 h 242312"/>
                <a:gd name="connsiteX349" fmla="*/ 4782 w 422852"/>
                <a:gd name="connsiteY349" fmla="*/ 106230 h 242312"/>
                <a:gd name="connsiteX350" fmla="*/ 5557 w 422852"/>
                <a:gd name="connsiteY350" fmla="*/ 106876 h 242312"/>
                <a:gd name="connsiteX351" fmla="*/ 6203 w 422852"/>
                <a:gd name="connsiteY351" fmla="*/ 107652 h 242312"/>
                <a:gd name="connsiteX352" fmla="*/ 6720 w 422852"/>
                <a:gd name="connsiteY352" fmla="*/ 108685 h 242312"/>
                <a:gd name="connsiteX353" fmla="*/ 7366 w 422852"/>
                <a:gd name="connsiteY353" fmla="*/ 111012 h 242312"/>
                <a:gd name="connsiteX354" fmla="*/ 7883 w 422852"/>
                <a:gd name="connsiteY354" fmla="*/ 113338 h 242312"/>
                <a:gd name="connsiteX355" fmla="*/ 8142 w 422852"/>
                <a:gd name="connsiteY355" fmla="*/ 114759 h 242312"/>
                <a:gd name="connsiteX356" fmla="*/ 8013 w 422852"/>
                <a:gd name="connsiteY356" fmla="*/ 116310 h 242312"/>
                <a:gd name="connsiteX357" fmla="*/ 7237 w 422852"/>
                <a:gd name="connsiteY357" fmla="*/ 120058 h 242312"/>
                <a:gd name="connsiteX358" fmla="*/ 7237 w 422852"/>
                <a:gd name="connsiteY358" fmla="*/ 121480 h 242312"/>
                <a:gd name="connsiteX359" fmla="*/ 8013 w 422852"/>
                <a:gd name="connsiteY359" fmla="*/ 122643 h 242312"/>
                <a:gd name="connsiteX360" fmla="*/ 9047 w 422852"/>
                <a:gd name="connsiteY360" fmla="*/ 123289 h 242312"/>
                <a:gd name="connsiteX361" fmla="*/ 10339 w 422852"/>
                <a:gd name="connsiteY361" fmla="*/ 123547 h 242312"/>
                <a:gd name="connsiteX362" fmla="*/ 11502 w 422852"/>
                <a:gd name="connsiteY362" fmla="*/ 123676 h 242312"/>
                <a:gd name="connsiteX363" fmla="*/ 12536 w 422852"/>
                <a:gd name="connsiteY363" fmla="*/ 124064 h 242312"/>
                <a:gd name="connsiteX364" fmla="*/ 13182 w 422852"/>
                <a:gd name="connsiteY364" fmla="*/ 124840 h 242312"/>
                <a:gd name="connsiteX365" fmla="*/ 14087 w 422852"/>
                <a:gd name="connsiteY365" fmla="*/ 126907 h 242312"/>
                <a:gd name="connsiteX366" fmla="*/ 14603 w 422852"/>
                <a:gd name="connsiteY366" fmla="*/ 127812 h 242312"/>
                <a:gd name="connsiteX367" fmla="*/ 15250 w 422852"/>
                <a:gd name="connsiteY367" fmla="*/ 128458 h 242312"/>
                <a:gd name="connsiteX368" fmla="*/ 16284 w 422852"/>
                <a:gd name="connsiteY368" fmla="*/ 129104 h 242312"/>
                <a:gd name="connsiteX369" fmla="*/ 17447 w 422852"/>
                <a:gd name="connsiteY369" fmla="*/ 129363 h 242312"/>
                <a:gd name="connsiteX370" fmla="*/ 19902 w 422852"/>
                <a:gd name="connsiteY370" fmla="*/ 129363 h 242312"/>
                <a:gd name="connsiteX371" fmla="*/ 20807 w 422852"/>
                <a:gd name="connsiteY371" fmla="*/ 129880 h 242312"/>
                <a:gd name="connsiteX372" fmla="*/ 21324 w 422852"/>
                <a:gd name="connsiteY372" fmla="*/ 130784 h 242312"/>
                <a:gd name="connsiteX373" fmla="*/ 21712 w 422852"/>
                <a:gd name="connsiteY373" fmla="*/ 132464 h 242312"/>
                <a:gd name="connsiteX374" fmla="*/ 22745 w 422852"/>
                <a:gd name="connsiteY374" fmla="*/ 136083 h 242312"/>
                <a:gd name="connsiteX375" fmla="*/ 22875 w 422852"/>
                <a:gd name="connsiteY375" fmla="*/ 137375 h 242312"/>
                <a:gd name="connsiteX376" fmla="*/ 22616 w 422852"/>
                <a:gd name="connsiteY376" fmla="*/ 139055 h 242312"/>
                <a:gd name="connsiteX377" fmla="*/ 22228 w 422852"/>
                <a:gd name="connsiteY377" fmla="*/ 140348 h 242312"/>
                <a:gd name="connsiteX378" fmla="*/ 21712 w 422852"/>
                <a:gd name="connsiteY378" fmla="*/ 141640 h 242312"/>
                <a:gd name="connsiteX379" fmla="*/ 21065 w 422852"/>
                <a:gd name="connsiteY379" fmla="*/ 142803 h 242312"/>
                <a:gd name="connsiteX380" fmla="*/ 19256 w 422852"/>
                <a:gd name="connsiteY380" fmla="*/ 145259 h 242312"/>
                <a:gd name="connsiteX381" fmla="*/ 17964 w 422852"/>
                <a:gd name="connsiteY381" fmla="*/ 148619 h 242312"/>
                <a:gd name="connsiteX382" fmla="*/ 17059 w 422852"/>
                <a:gd name="connsiteY382" fmla="*/ 150169 h 242312"/>
                <a:gd name="connsiteX383" fmla="*/ 15120 w 422852"/>
                <a:gd name="connsiteY383" fmla="*/ 152237 h 242312"/>
                <a:gd name="connsiteX384" fmla="*/ 12665 w 422852"/>
                <a:gd name="connsiteY384" fmla="*/ 153013 h 242312"/>
                <a:gd name="connsiteX385" fmla="*/ 12019 w 422852"/>
                <a:gd name="connsiteY385" fmla="*/ 153659 h 242312"/>
                <a:gd name="connsiteX386" fmla="*/ 12148 w 422852"/>
                <a:gd name="connsiteY386" fmla="*/ 154822 h 242312"/>
                <a:gd name="connsiteX387" fmla="*/ 12665 w 422852"/>
                <a:gd name="connsiteY387" fmla="*/ 157277 h 242312"/>
                <a:gd name="connsiteX388" fmla="*/ 12665 w 422852"/>
                <a:gd name="connsiteY388" fmla="*/ 158570 h 242312"/>
                <a:gd name="connsiteX389" fmla="*/ 12277 w 422852"/>
                <a:gd name="connsiteY389" fmla="*/ 160120 h 242312"/>
                <a:gd name="connsiteX390" fmla="*/ 11373 w 422852"/>
                <a:gd name="connsiteY390" fmla="*/ 161800 h 242312"/>
                <a:gd name="connsiteX391" fmla="*/ 9434 w 422852"/>
                <a:gd name="connsiteY391" fmla="*/ 163997 h 242312"/>
                <a:gd name="connsiteX392" fmla="*/ 8142 w 422852"/>
                <a:gd name="connsiteY392" fmla="*/ 165160 h 242312"/>
                <a:gd name="connsiteX393" fmla="*/ 5299 w 422852"/>
                <a:gd name="connsiteY393" fmla="*/ 167228 h 242312"/>
                <a:gd name="connsiteX394" fmla="*/ 4653 w 422852"/>
                <a:gd name="connsiteY394" fmla="*/ 168004 h 242312"/>
                <a:gd name="connsiteX395" fmla="*/ 4136 w 422852"/>
                <a:gd name="connsiteY395" fmla="*/ 168779 h 242312"/>
                <a:gd name="connsiteX396" fmla="*/ 4006 w 422852"/>
                <a:gd name="connsiteY396" fmla="*/ 169554 h 242312"/>
                <a:gd name="connsiteX397" fmla="*/ 5040 w 422852"/>
                <a:gd name="connsiteY397" fmla="*/ 171105 h 242312"/>
                <a:gd name="connsiteX398" fmla="*/ 6462 w 422852"/>
                <a:gd name="connsiteY398" fmla="*/ 171493 h 242312"/>
                <a:gd name="connsiteX399" fmla="*/ 6979 w 422852"/>
                <a:gd name="connsiteY399" fmla="*/ 171493 h 242312"/>
                <a:gd name="connsiteX400" fmla="*/ 7754 w 422852"/>
                <a:gd name="connsiteY400" fmla="*/ 171493 h 242312"/>
                <a:gd name="connsiteX401" fmla="*/ 8271 w 422852"/>
                <a:gd name="connsiteY401" fmla="*/ 171364 h 242312"/>
                <a:gd name="connsiteX402" fmla="*/ 8659 w 422852"/>
                <a:gd name="connsiteY402" fmla="*/ 171234 h 242312"/>
                <a:gd name="connsiteX403" fmla="*/ 9176 w 422852"/>
                <a:gd name="connsiteY403" fmla="*/ 171234 h 242312"/>
                <a:gd name="connsiteX404" fmla="*/ 9564 w 422852"/>
                <a:gd name="connsiteY404" fmla="*/ 171751 h 242312"/>
                <a:gd name="connsiteX405" fmla="*/ 9822 w 422852"/>
                <a:gd name="connsiteY405" fmla="*/ 172915 h 242312"/>
                <a:gd name="connsiteX406" fmla="*/ 9951 w 422852"/>
                <a:gd name="connsiteY406" fmla="*/ 174724 h 242312"/>
                <a:gd name="connsiteX407" fmla="*/ 10210 w 422852"/>
                <a:gd name="connsiteY407" fmla="*/ 175887 h 242312"/>
                <a:gd name="connsiteX408" fmla="*/ 10597 w 422852"/>
                <a:gd name="connsiteY408" fmla="*/ 177050 h 242312"/>
                <a:gd name="connsiteX409" fmla="*/ 10985 w 422852"/>
                <a:gd name="connsiteY409" fmla="*/ 177567 h 242312"/>
                <a:gd name="connsiteX410" fmla="*/ 11502 w 422852"/>
                <a:gd name="connsiteY410" fmla="*/ 178084 h 242312"/>
                <a:gd name="connsiteX411" fmla="*/ 12665 w 422852"/>
                <a:gd name="connsiteY411" fmla="*/ 178730 h 242312"/>
                <a:gd name="connsiteX412" fmla="*/ 13311 w 422852"/>
                <a:gd name="connsiteY412" fmla="*/ 178859 h 242312"/>
                <a:gd name="connsiteX413" fmla="*/ 13957 w 422852"/>
                <a:gd name="connsiteY413" fmla="*/ 178988 h 242312"/>
                <a:gd name="connsiteX414" fmla="*/ 15508 w 422852"/>
                <a:gd name="connsiteY414" fmla="*/ 178601 h 242312"/>
                <a:gd name="connsiteX415" fmla="*/ 16025 w 422852"/>
                <a:gd name="connsiteY415" fmla="*/ 178601 h 242312"/>
                <a:gd name="connsiteX416" fmla="*/ 16542 w 422852"/>
                <a:gd name="connsiteY416" fmla="*/ 178730 h 242312"/>
                <a:gd name="connsiteX417" fmla="*/ 16801 w 422852"/>
                <a:gd name="connsiteY417" fmla="*/ 179247 h 242312"/>
                <a:gd name="connsiteX418" fmla="*/ 17059 w 422852"/>
                <a:gd name="connsiteY418" fmla="*/ 180152 h 242312"/>
                <a:gd name="connsiteX419" fmla="*/ 16671 w 422852"/>
                <a:gd name="connsiteY419" fmla="*/ 181573 h 242312"/>
                <a:gd name="connsiteX420" fmla="*/ 16671 w 422852"/>
                <a:gd name="connsiteY420" fmla="*/ 184029 h 242312"/>
                <a:gd name="connsiteX421" fmla="*/ 17447 w 422852"/>
                <a:gd name="connsiteY421" fmla="*/ 184804 h 242312"/>
                <a:gd name="connsiteX422" fmla="*/ 18739 w 422852"/>
                <a:gd name="connsiteY422" fmla="*/ 185192 h 242312"/>
                <a:gd name="connsiteX423" fmla="*/ 20290 w 422852"/>
                <a:gd name="connsiteY423" fmla="*/ 185192 h 242312"/>
                <a:gd name="connsiteX424" fmla="*/ 21065 w 422852"/>
                <a:gd name="connsiteY424" fmla="*/ 185450 h 242312"/>
                <a:gd name="connsiteX425" fmla="*/ 21712 w 422852"/>
                <a:gd name="connsiteY425" fmla="*/ 185709 h 242312"/>
                <a:gd name="connsiteX426" fmla="*/ 22487 w 422852"/>
                <a:gd name="connsiteY426" fmla="*/ 186355 h 242312"/>
                <a:gd name="connsiteX427" fmla="*/ 22875 w 422852"/>
                <a:gd name="connsiteY427" fmla="*/ 186742 h 242312"/>
                <a:gd name="connsiteX428" fmla="*/ 23391 w 422852"/>
                <a:gd name="connsiteY428" fmla="*/ 186872 h 242312"/>
                <a:gd name="connsiteX429" fmla="*/ 24167 w 422852"/>
                <a:gd name="connsiteY429" fmla="*/ 186872 h 242312"/>
                <a:gd name="connsiteX430" fmla="*/ 25459 w 422852"/>
                <a:gd name="connsiteY430" fmla="*/ 186742 h 242312"/>
                <a:gd name="connsiteX431" fmla="*/ 27656 w 422852"/>
                <a:gd name="connsiteY431" fmla="*/ 186096 h 242312"/>
                <a:gd name="connsiteX432" fmla="*/ 28949 w 422852"/>
                <a:gd name="connsiteY432" fmla="*/ 185450 h 242312"/>
                <a:gd name="connsiteX433" fmla="*/ 30241 w 422852"/>
                <a:gd name="connsiteY433" fmla="*/ 184416 h 242312"/>
                <a:gd name="connsiteX434" fmla="*/ 30758 w 422852"/>
                <a:gd name="connsiteY434" fmla="*/ 183899 h 242312"/>
                <a:gd name="connsiteX435" fmla="*/ 31404 w 422852"/>
                <a:gd name="connsiteY435" fmla="*/ 183382 h 242312"/>
                <a:gd name="connsiteX436" fmla="*/ 32050 w 422852"/>
                <a:gd name="connsiteY436" fmla="*/ 183124 h 242312"/>
                <a:gd name="connsiteX437" fmla="*/ 33472 w 422852"/>
                <a:gd name="connsiteY437" fmla="*/ 183253 h 242312"/>
                <a:gd name="connsiteX438" fmla="*/ 33988 w 422852"/>
                <a:gd name="connsiteY438" fmla="*/ 183641 h 242312"/>
                <a:gd name="connsiteX439" fmla="*/ 34376 w 422852"/>
                <a:gd name="connsiteY439" fmla="*/ 184287 h 242312"/>
                <a:gd name="connsiteX440" fmla="*/ 34635 w 422852"/>
                <a:gd name="connsiteY440" fmla="*/ 184804 h 242312"/>
                <a:gd name="connsiteX441" fmla="*/ 35023 w 422852"/>
                <a:gd name="connsiteY441" fmla="*/ 185062 h 242312"/>
                <a:gd name="connsiteX442" fmla="*/ 35539 w 422852"/>
                <a:gd name="connsiteY442" fmla="*/ 185062 h 242312"/>
                <a:gd name="connsiteX443" fmla="*/ 36315 w 422852"/>
                <a:gd name="connsiteY443" fmla="*/ 184545 h 242312"/>
                <a:gd name="connsiteX444" fmla="*/ 37349 w 422852"/>
                <a:gd name="connsiteY444" fmla="*/ 183124 h 242312"/>
                <a:gd name="connsiteX445" fmla="*/ 38770 w 422852"/>
                <a:gd name="connsiteY445" fmla="*/ 181573 h 242312"/>
                <a:gd name="connsiteX446" fmla="*/ 41743 w 422852"/>
                <a:gd name="connsiteY446" fmla="*/ 179635 h 242312"/>
                <a:gd name="connsiteX447" fmla="*/ 43035 w 422852"/>
                <a:gd name="connsiteY447" fmla="*/ 179893 h 242312"/>
                <a:gd name="connsiteX448" fmla="*/ 43940 w 422852"/>
                <a:gd name="connsiteY448" fmla="*/ 180539 h 242312"/>
                <a:gd name="connsiteX449" fmla="*/ 44327 w 422852"/>
                <a:gd name="connsiteY449" fmla="*/ 180927 h 242312"/>
                <a:gd name="connsiteX450" fmla="*/ 44586 w 422852"/>
                <a:gd name="connsiteY450" fmla="*/ 181444 h 242312"/>
                <a:gd name="connsiteX451" fmla="*/ 45749 w 422852"/>
                <a:gd name="connsiteY451" fmla="*/ 183899 h 242312"/>
                <a:gd name="connsiteX452" fmla="*/ 46266 w 422852"/>
                <a:gd name="connsiteY452" fmla="*/ 184933 h 242312"/>
                <a:gd name="connsiteX453" fmla="*/ 46783 w 422852"/>
                <a:gd name="connsiteY453" fmla="*/ 185838 h 242312"/>
                <a:gd name="connsiteX454" fmla="*/ 47687 w 422852"/>
                <a:gd name="connsiteY454" fmla="*/ 188681 h 242312"/>
                <a:gd name="connsiteX455" fmla="*/ 47817 w 422852"/>
                <a:gd name="connsiteY455" fmla="*/ 189198 h 242312"/>
                <a:gd name="connsiteX456" fmla="*/ 47817 w 422852"/>
                <a:gd name="connsiteY456" fmla="*/ 189844 h 242312"/>
                <a:gd name="connsiteX457" fmla="*/ 47817 w 422852"/>
                <a:gd name="connsiteY457" fmla="*/ 190490 h 242312"/>
                <a:gd name="connsiteX458" fmla="*/ 47300 w 422852"/>
                <a:gd name="connsiteY458" fmla="*/ 192300 h 242312"/>
                <a:gd name="connsiteX459" fmla="*/ 47300 w 422852"/>
                <a:gd name="connsiteY459" fmla="*/ 192946 h 242312"/>
                <a:gd name="connsiteX460" fmla="*/ 47300 w 422852"/>
                <a:gd name="connsiteY460" fmla="*/ 193463 h 242312"/>
                <a:gd name="connsiteX461" fmla="*/ 47558 w 422852"/>
                <a:gd name="connsiteY461" fmla="*/ 193980 h 242312"/>
                <a:gd name="connsiteX462" fmla="*/ 48075 w 422852"/>
                <a:gd name="connsiteY462" fmla="*/ 194238 h 242312"/>
                <a:gd name="connsiteX463" fmla="*/ 49238 w 422852"/>
                <a:gd name="connsiteY463" fmla="*/ 194367 h 242312"/>
                <a:gd name="connsiteX464" fmla="*/ 49755 w 422852"/>
                <a:gd name="connsiteY464" fmla="*/ 194626 h 242312"/>
                <a:gd name="connsiteX465" fmla="*/ 51177 w 422852"/>
                <a:gd name="connsiteY465" fmla="*/ 195272 h 242312"/>
                <a:gd name="connsiteX466" fmla="*/ 52340 w 422852"/>
                <a:gd name="connsiteY466" fmla="*/ 195660 h 242312"/>
                <a:gd name="connsiteX467" fmla="*/ 52986 w 422852"/>
                <a:gd name="connsiteY467" fmla="*/ 195660 h 242312"/>
                <a:gd name="connsiteX468" fmla="*/ 53632 w 422852"/>
                <a:gd name="connsiteY468" fmla="*/ 195401 h 242312"/>
                <a:gd name="connsiteX469" fmla="*/ 54408 w 422852"/>
                <a:gd name="connsiteY469" fmla="*/ 194755 h 242312"/>
                <a:gd name="connsiteX470" fmla="*/ 54666 w 422852"/>
                <a:gd name="connsiteY470" fmla="*/ 194109 h 242312"/>
                <a:gd name="connsiteX471" fmla="*/ 54795 w 422852"/>
                <a:gd name="connsiteY471" fmla="*/ 193463 h 242312"/>
                <a:gd name="connsiteX472" fmla="*/ 54795 w 422852"/>
                <a:gd name="connsiteY472" fmla="*/ 192816 h 242312"/>
                <a:gd name="connsiteX473" fmla="*/ 54795 w 422852"/>
                <a:gd name="connsiteY473" fmla="*/ 192170 h 242312"/>
                <a:gd name="connsiteX474" fmla="*/ 54924 w 422852"/>
                <a:gd name="connsiteY474" fmla="*/ 191653 h 242312"/>
                <a:gd name="connsiteX475" fmla="*/ 55312 w 422852"/>
                <a:gd name="connsiteY475" fmla="*/ 191524 h 242312"/>
                <a:gd name="connsiteX476" fmla="*/ 55958 w 422852"/>
                <a:gd name="connsiteY476" fmla="*/ 191783 h 242312"/>
                <a:gd name="connsiteX477" fmla="*/ 56346 w 422852"/>
                <a:gd name="connsiteY477" fmla="*/ 192041 h 242312"/>
                <a:gd name="connsiteX478" fmla="*/ 56734 w 422852"/>
                <a:gd name="connsiteY478" fmla="*/ 192429 h 242312"/>
                <a:gd name="connsiteX479" fmla="*/ 57251 w 422852"/>
                <a:gd name="connsiteY479" fmla="*/ 192687 h 242312"/>
                <a:gd name="connsiteX480" fmla="*/ 57638 w 422852"/>
                <a:gd name="connsiteY480" fmla="*/ 192946 h 242312"/>
                <a:gd name="connsiteX481" fmla="*/ 58284 w 422852"/>
                <a:gd name="connsiteY481" fmla="*/ 192946 h 242312"/>
                <a:gd name="connsiteX482" fmla="*/ 58930 w 422852"/>
                <a:gd name="connsiteY482" fmla="*/ 192946 h 242312"/>
                <a:gd name="connsiteX483" fmla="*/ 59706 w 422852"/>
                <a:gd name="connsiteY483" fmla="*/ 192816 h 242312"/>
                <a:gd name="connsiteX484" fmla="*/ 60352 w 422852"/>
                <a:gd name="connsiteY484" fmla="*/ 192429 h 242312"/>
                <a:gd name="connsiteX485" fmla="*/ 61386 w 422852"/>
                <a:gd name="connsiteY485" fmla="*/ 191653 h 242312"/>
                <a:gd name="connsiteX486" fmla="*/ 61903 w 422852"/>
                <a:gd name="connsiteY486" fmla="*/ 191007 h 242312"/>
                <a:gd name="connsiteX487" fmla="*/ 62291 w 422852"/>
                <a:gd name="connsiteY487" fmla="*/ 190361 h 242312"/>
                <a:gd name="connsiteX488" fmla="*/ 62549 w 422852"/>
                <a:gd name="connsiteY488" fmla="*/ 189844 h 242312"/>
                <a:gd name="connsiteX489" fmla="*/ 62937 w 422852"/>
                <a:gd name="connsiteY489" fmla="*/ 188164 h 242312"/>
                <a:gd name="connsiteX490" fmla="*/ 63195 w 422852"/>
                <a:gd name="connsiteY490" fmla="*/ 187647 h 242312"/>
                <a:gd name="connsiteX491" fmla="*/ 63583 w 422852"/>
                <a:gd name="connsiteY491" fmla="*/ 187130 h 242312"/>
                <a:gd name="connsiteX492" fmla="*/ 64100 w 422852"/>
                <a:gd name="connsiteY492" fmla="*/ 187001 h 242312"/>
                <a:gd name="connsiteX493" fmla="*/ 64875 w 422852"/>
                <a:gd name="connsiteY493" fmla="*/ 187130 h 242312"/>
                <a:gd name="connsiteX494" fmla="*/ 65392 w 422852"/>
                <a:gd name="connsiteY494" fmla="*/ 187518 h 242312"/>
                <a:gd name="connsiteX495" fmla="*/ 65651 w 422852"/>
                <a:gd name="connsiteY495" fmla="*/ 188035 h 242312"/>
                <a:gd name="connsiteX496" fmla="*/ 65909 w 422852"/>
                <a:gd name="connsiteY496" fmla="*/ 188681 h 242312"/>
                <a:gd name="connsiteX497" fmla="*/ 65909 w 422852"/>
                <a:gd name="connsiteY497" fmla="*/ 189327 h 242312"/>
                <a:gd name="connsiteX498" fmla="*/ 66168 w 422852"/>
                <a:gd name="connsiteY498" fmla="*/ 190361 h 242312"/>
                <a:gd name="connsiteX499" fmla="*/ 66426 w 422852"/>
                <a:gd name="connsiteY499" fmla="*/ 190749 h 242312"/>
                <a:gd name="connsiteX500" fmla="*/ 66814 w 422852"/>
                <a:gd name="connsiteY500" fmla="*/ 191136 h 242312"/>
                <a:gd name="connsiteX501" fmla="*/ 67202 w 422852"/>
                <a:gd name="connsiteY501" fmla="*/ 191395 h 242312"/>
                <a:gd name="connsiteX502" fmla="*/ 67719 w 422852"/>
                <a:gd name="connsiteY502" fmla="*/ 191653 h 242312"/>
                <a:gd name="connsiteX503" fmla="*/ 70432 w 422852"/>
                <a:gd name="connsiteY503" fmla="*/ 192558 h 242312"/>
                <a:gd name="connsiteX504" fmla="*/ 71078 w 422852"/>
                <a:gd name="connsiteY504" fmla="*/ 192687 h 242312"/>
                <a:gd name="connsiteX505" fmla="*/ 71595 w 422852"/>
                <a:gd name="connsiteY505" fmla="*/ 192429 h 242312"/>
                <a:gd name="connsiteX506" fmla="*/ 71983 w 422852"/>
                <a:gd name="connsiteY506" fmla="*/ 191912 h 242312"/>
                <a:gd name="connsiteX507" fmla="*/ 71983 w 422852"/>
                <a:gd name="connsiteY507" fmla="*/ 191395 h 242312"/>
                <a:gd name="connsiteX508" fmla="*/ 71854 w 422852"/>
                <a:gd name="connsiteY508" fmla="*/ 191007 h 242312"/>
                <a:gd name="connsiteX509" fmla="*/ 71466 w 422852"/>
                <a:gd name="connsiteY509" fmla="*/ 190490 h 242312"/>
                <a:gd name="connsiteX510" fmla="*/ 71208 w 422852"/>
                <a:gd name="connsiteY510" fmla="*/ 190102 h 242312"/>
                <a:gd name="connsiteX511" fmla="*/ 71078 w 422852"/>
                <a:gd name="connsiteY511" fmla="*/ 189586 h 242312"/>
                <a:gd name="connsiteX512" fmla="*/ 70949 w 422852"/>
                <a:gd name="connsiteY512" fmla="*/ 189069 h 242312"/>
                <a:gd name="connsiteX513" fmla="*/ 71078 w 422852"/>
                <a:gd name="connsiteY513" fmla="*/ 188552 h 242312"/>
                <a:gd name="connsiteX514" fmla="*/ 71208 w 422852"/>
                <a:gd name="connsiteY514" fmla="*/ 188035 h 242312"/>
                <a:gd name="connsiteX515" fmla="*/ 72113 w 422852"/>
                <a:gd name="connsiteY515" fmla="*/ 186742 h 242312"/>
                <a:gd name="connsiteX516" fmla="*/ 72759 w 422852"/>
                <a:gd name="connsiteY516" fmla="*/ 185967 h 242312"/>
                <a:gd name="connsiteX517" fmla="*/ 73405 w 422852"/>
                <a:gd name="connsiteY517" fmla="*/ 185579 h 242312"/>
                <a:gd name="connsiteX518" fmla="*/ 74309 w 422852"/>
                <a:gd name="connsiteY518" fmla="*/ 185321 h 242312"/>
                <a:gd name="connsiteX519" fmla="*/ 75731 w 422852"/>
                <a:gd name="connsiteY519" fmla="*/ 185192 h 242312"/>
                <a:gd name="connsiteX520" fmla="*/ 76636 w 422852"/>
                <a:gd name="connsiteY520" fmla="*/ 185192 h 242312"/>
                <a:gd name="connsiteX521" fmla="*/ 77411 w 422852"/>
                <a:gd name="connsiteY521" fmla="*/ 185321 h 242312"/>
                <a:gd name="connsiteX522" fmla="*/ 82063 w 422852"/>
                <a:gd name="connsiteY522" fmla="*/ 187518 h 242312"/>
                <a:gd name="connsiteX523" fmla="*/ 82839 w 422852"/>
                <a:gd name="connsiteY523" fmla="*/ 187389 h 242312"/>
                <a:gd name="connsiteX524" fmla="*/ 83743 w 422852"/>
                <a:gd name="connsiteY524" fmla="*/ 187001 h 242312"/>
                <a:gd name="connsiteX525" fmla="*/ 86328 w 422852"/>
                <a:gd name="connsiteY525" fmla="*/ 185192 h 242312"/>
                <a:gd name="connsiteX526" fmla="*/ 86845 w 422852"/>
                <a:gd name="connsiteY526" fmla="*/ 184675 h 242312"/>
                <a:gd name="connsiteX527" fmla="*/ 87233 w 422852"/>
                <a:gd name="connsiteY527" fmla="*/ 184287 h 242312"/>
                <a:gd name="connsiteX528" fmla="*/ 88396 w 422852"/>
                <a:gd name="connsiteY528" fmla="*/ 182348 h 242312"/>
                <a:gd name="connsiteX529" fmla="*/ 90076 w 422852"/>
                <a:gd name="connsiteY529" fmla="*/ 178859 h 242312"/>
                <a:gd name="connsiteX530" fmla="*/ 90593 w 422852"/>
                <a:gd name="connsiteY530" fmla="*/ 177955 h 242312"/>
                <a:gd name="connsiteX531" fmla="*/ 91756 w 422852"/>
                <a:gd name="connsiteY531" fmla="*/ 176791 h 242312"/>
                <a:gd name="connsiteX532" fmla="*/ 93048 w 422852"/>
                <a:gd name="connsiteY532" fmla="*/ 175887 h 242312"/>
                <a:gd name="connsiteX533" fmla="*/ 94082 w 422852"/>
                <a:gd name="connsiteY533" fmla="*/ 175499 h 242312"/>
                <a:gd name="connsiteX534" fmla="*/ 102095 w 422852"/>
                <a:gd name="connsiteY534" fmla="*/ 172915 h 242312"/>
                <a:gd name="connsiteX535" fmla="*/ 103516 w 422852"/>
                <a:gd name="connsiteY535" fmla="*/ 171881 h 242312"/>
                <a:gd name="connsiteX536" fmla="*/ 104292 w 422852"/>
                <a:gd name="connsiteY536" fmla="*/ 171234 h 242312"/>
                <a:gd name="connsiteX537" fmla="*/ 104809 w 422852"/>
                <a:gd name="connsiteY537" fmla="*/ 170717 h 242312"/>
                <a:gd name="connsiteX538" fmla="*/ 107910 w 422852"/>
                <a:gd name="connsiteY538" fmla="*/ 166324 h 242312"/>
                <a:gd name="connsiteX539" fmla="*/ 110495 w 422852"/>
                <a:gd name="connsiteY539" fmla="*/ 163739 h 242312"/>
                <a:gd name="connsiteX540" fmla="*/ 111012 w 422852"/>
                <a:gd name="connsiteY540" fmla="*/ 163351 h 242312"/>
                <a:gd name="connsiteX541" fmla="*/ 122901 w 422852"/>
                <a:gd name="connsiteY541" fmla="*/ 158440 h 242312"/>
                <a:gd name="connsiteX542" fmla="*/ 127554 w 422852"/>
                <a:gd name="connsiteY542" fmla="*/ 155856 h 242312"/>
                <a:gd name="connsiteX543" fmla="*/ 128070 w 422852"/>
                <a:gd name="connsiteY543" fmla="*/ 155468 h 242312"/>
                <a:gd name="connsiteX544" fmla="*/ 128458 w 422852"/>
                <a:gd name="connsiteY544" fmla="*/ 155080 h 242312"/>
                <a:gd name="connsiteX545" fmla="*/ 129363 w 422852"/>
                <a:gd name="connsiteY545" fmla="*/ 153788 h 242312"/>
                <a:gd name="connsiteX546" fmla="*/ 130268 w 422852"/>
                <a:gd name="connsiteY546" fmla="*/ 151849 h 242312"/>
                <a:gd name="connsiteX547" fmla="*/ 130655 w 422852"/>
                <a:gd name="connsiteY547" fmla="*/ 151462 h 242312"/>
                <a:gd name="connsiteX548" fmla="*/ 132077 w 422852"/>
                <a:gd name="connsiteY548" fmla="*/ 149782 h 242312"/>
                <a:gd name="connsiteX549" fmla="*/ 133240 w 422852"/>
                <a:gd name="connsiteY549" fmla="*/ 148748 h 242312"/>
                <a:gd name="connsiteX550" fmla="*/ 134274 w 422852"/>
                <a:gd name="connsiteY550" fmla="*/ 147585 h 242312"/>
                <a:gd name="connsiteX551" fmla="*/ 134403 w 422852"/>
                <a:gd name="connsiteY551" fmla="*/ 147068 h 242312"/>
                <a:gd name="connsiteX552" fmla="*/ 134662 w 422852"/>
                <a:gd name="connsiteY552" fmla="*/ 145000 h 242312"/>
                <a:gd name="connsiteX553" fmla="*/ 134791 w 422852"/>
                <a:gd name="connsiteY553" fmla="*/ 144483 h 242312"/>
                <a:gd name="connsiteX554" fmla="*/ 135179 w 422852"/>
                <a:gd name="connsiteY554" fmla="*/ 143966 h 242312"/>
                <a:gd name="connsiteX555" fmla="*/ 135695 w 422852"/>
                <a:gd name="connsiteY555" fmla="*/ 143578 h 242312"/>
                <a:gd name="connsiteX556" fmla="*/ 139960 w 422852"/>
                <a:gd name="connsiteY556" fmla="*/ 141769 h 242312"/>
                <a:gd name="connsiteX557" fmla="*/ 140477 w 422852"/>
                <a:gd name="connsiteY557" fmla="*/ 141640 h 242312"/>
                <a:gd name="connsiteX558" fmla="*/ 140865 w 422852"/>
                <a:gd name="connsiteY558" fmla="*/ 141769 h 242312"/>
                <a:gd name="connsiteX559" fmla="*/ 141123 w 422852"/>
                <a:gd name="connsiteY559" fmla="*/ 142545 h 242312"/>
                <a:gd name="connsiteX560" fmla="*/ 141253 w 422852"/>
                <a:gd name="connsiteY560" fmla="*/ 143191 h 242312"/>
                <a:gd name="connsiteX561" fmla="*/ 141769 w 422852"/>
                <a:gd name="connsiteY561" fmla="*/ 143578 h 242312"/>
                <a:gd name="connsiteX562" fmla="*/ 142545 w 422852"/>
                <a:gd name="connsiteY562" fmla="*/ 143578 h 242312"/>
                <a:gd name="connsiteX563" fmla="*/ 143837 w 422852"/>
                <a:gd name="connsiteY563" fmla="*/ 143320 h 242312"/>
                <a:gd name="connsiteX564" fmla="*/ 144612 w 422852"/>
                <a:gd name="connsiteY564" fmla="*/ 142932 h 242312"/>
                <a:gd name="connsiteX565" fmla="*/ 145259 w 422852"/>
                <a:gd name="connsiteY565" fmla="*/ 142674 h 242312"/>
                <a:gd name="connsiteX566" fmla="*/ 145646 w 422852"/>
                <a:gd name="connsiteY566" fmla="*/ 142286 h 242312"/>
                <a:gd name="connsiteX567" fmla="*/ 146422 w 422852"/>
                <a:gd name="connsiteY567" fmla="*/ 141640 h 242312"/>
                <a:gd name="connsiteX568" fmla="*/ 146939 w 422852"/>
                <a:gd name="connsiteY568" fmla="*/ 140735 h 242312"/>
                <a:gd name="connsiteX569" fmla="*/ 147585 w 422852"/>
                <a:gd name="connsiteY569" fmla="*/ 139185 h 242312"/>
                <a:gd name="connsiteX570" fmla="*/ 147843 w 422852"/>
                <a:gd name="connsiteY570" fmla="*/ 138538 h 242312"/>
                <a:gd name="connsiteX571" fmla="*/ 148231 w 422852"/>
                <a:gd name="connsiteY571" fmla="*/ 137504 h 242312"/>
                <a:gd name="connsiteX572" fmla="*/ 148490 w 422852"/>
                <a:gd name="connsiteY572" fmla="*/ 137117 h 242312"/>
                <a:gd name="connsiteX573" fmla="*/ 149006 w 422852"/>
                <a:gd name="connsiteY573" fmla="*/ 136729 h 242312"/>
                <a:gd name="connsiteX574" fmla="*/ 149523 w 422852"/>
                <a:gd name="connsiteY574" fmla="*/ 136471 h 242312"/>
                <a:gd name="connsiteX575" fmla="*/ 156890 w 422852"/>
                <a:gd name="connsiteY575" fmla="*/ 134532 h 242312"/>
                <a:gd name="connsiteX576" fmla="*/ 158570 w 422852"/>
                <a:gd name="connsiteY576" fmla="*/ 133757 h 242312"/>
                <a:gd name="connsiteX577" fmla="*/ 158957 w 422852"/>
                <a:gd name="connsiteY577" fmla="*/ 133628 h 242312"/>
                <a:gd name="connsiteX578" fmla="*/ 159475 w 422852"/>
                <a:gd name="connsiteY578" fmla="*/ 133498 h 242312"/>
                <a:gd name="connsiteX579" fmla="*/ 160767 w 422852"/>
                <a:gd name="connsiteY579" fmla="*/ 134144 h 242312"/>
                <a:gd name="connsiteX580" fmla="*/ 162576 w 422852"/>
                <a:gd name="connsiteY580" fmla="*/ 135178 h 242312"/>
                <a:gd name="connsiteX581" fmla="*/ 170718 w 422852"/>
                <a:gd name="connsiteY581" fmla="*/ 141640 h 242312"/>
                <a:gd name="connsiteX582" fmla="*/ 175499 w 422852"/>
                <a:gd name="connsiteY582" fmla="*/ 143578 h 242312"/>
                <a:gd name="connsiteX583" fmla="*/ 178730 w 422852"/>
                <a:gd name="connsiteY583" fmla="*/ 145905 h 242312"/>
                <a:gd name="connsiteX584" fmla="*/ 179118 w 422852"/>
                <a:gd name="connsiteY584" fmla="*/ 146292 h 242312"/>
                <a:gd name="connsiteX585" fmla="*/ 179764 w 422852"/>
                <a:gd name="connsiteY585" fmla="*/ 146422 h 242312"/>
                <a:gd name="connsiteX586" fmla="*/ 180410 w 422852"/>
                <a:gd name="connsiteY586" fmla="*/ 146422 h 242312"/>
                <a:gd name="connsiteX587" fmla="*/ 182219 w 422852"/>
                <a:gd name="connsiteY587" fmla="*/ 146034 h 242312"/>
                <a:gd name="connsiteX588" fmla="*/ 182736 w 422852"/>
                <a:gd name="connsiteY588" fmla="*/ 146163 h 242312"/>
                <a:gd name="connsiteX589" fmla="*/ 183382 w 422852"/>
                <a:gd name="connsiteY589" fmla="*/ 146292 h 242312"/>
                <a:gd name="connsiteX590" fmla="*/ 183899 w 422852"/>
                <a:gd name="connsiteY590" fmla="*/ 146551 h 242312"/>
                <a:gd name="connsiteX591" fmla="*/ 184287 w 422852"/>
                <a:gd name="connsiteY591" fmla="*/ 146809 h 242312"/>
                <a:gd name="connsiteX592" fmla="*/ 184545 w 422852"/>
                <a:gd name="connsiteY592" fmla="*/ 147197 h 242312"/>
                <a:gd name="connsiteX593" fmla="*/ 184804 w 422852"/>
                <a:gd name="connsiteY593" fmla="*/ 147714 h 242312"/>
                <a:gd name="connsiteX594" fmla="*/ 184933 w 422852"/>
                <a:gd name="connsiteY594" fmla="*/ 148360 h 242312"/>
                <a:gd name="connsiteX595" fmla="*/ 184804 w 422852"/>
                <a:gd name="connsiteY595" fmla="*/ 150299 h 242312"/>
                <a:gd name="connsiteX596" fmla="*/ 184804 w 422852"/>
                <a:gd name="connsiteY596" fmla="*/ 150945 h 242312"/>
                <a:gd name="connsiteX597" fmla="*/ 184933 w 422852"/>
                <a:gd name="connsiteY597" fmla="*/ 151591 h 242312"/>
                <a:gd name="connsiteX598" fmla="*/ 185063 w 422852"/>
                <a:gd name="connsiteY598" fmla="*/ 152108 h 242312"/>
                <a:gd name="connsiteX599" fmla="*/ 185321 w 422852"/>
                <a:gd name="connsiteY599" fmla="*/ 152625 h 242312"/>
                <a:gd name="connsiteX600" fmla="*/ 187130 w 422852"/>
                <a:gd name="connsiteY600" fmla="*/ 155339 h 242312"/>
                <a:gd name="connsiteX601" fmla="*/ 187389 w 422852"/>
                <a:gd name="connsiteY601" fmla="*/ 155726 h 242312"/>
                <a:gd name="connsiteX602" fmla="*/ 187389 w 422852"/>
                <a:gd name="connsiteY602" fmla="*/ 156373 h 242312"/>
                <a:gd name="connsiteX603" fmla="*/ 187260 w 422852"/>
                <a:gd name="connsiteY603" fmla="*/ 157019 h 242312"/>
                <a:gd name="connsiteX604" fmla="*/ 186872 w 422852"/>
                <a:gd name="connsiteY604" fmla="*/ 157794 h 242312"/>
                <a:gd name="connsiteX605" fmla="*/ 185967 w 422852"/>
                <a:gd name="connsiteY605" fmla="*/ 158570 h 242312"/>
                <a:gd name="connsiteX606" fmla="*/ 185192 w 422852"/>
                <a:gd name="connsiteY606" fmla="*/ 158957 h 242312"/>
                <a:gd name="connsiteX607" fmla="*/ 178989 w 422852"/>
                <a:gd name="connsiteY607" fmla="*/ 161154 h 242312"/>
                <a:gd name="connsiteX608" fmla="*/ 176533 w 422852"/>
                <a:gd name="connsiteY608" fmla="*/ 162317 h 242312"/>
                <a:gd name="connsiteX609" fmla="*/ 174465 w 422852"/>
                <a:gd name="connsiteY609" fmla="*/ 163093 h 242312"/>
                <a:gd name="connsiteX610" fmla="*/ 173819 w 422852"/>
                <a:gd name="connsiteY610" fmla="*/ 163222 h 242312"/>
                <a:gd name="connsiteX611" fmla="*/ 170459 w 422852"/>
                <a:gd name="connsiteY611" fmla="*/ 163480 h 242312"/>
                <a:gd name="connsiteX612" fmla="*/ 169942 w 422852"/>
                <a:gd name="connsiteY612" fmla="*/ 163610 h 242312"/>
                <a:gd name="connsiteX613" fmla="*/ 168004 w 422852"/>
                <a:gd name="connsiteY613" fmla="*/ 164644 h 242312"/>
                <a:gd name="connsiteX614" fmla="*/ 167487 w 422852"/>
                <a:gd name="connsiteY614" fmla="*/ 164902 h 242312"/>
                <a:gd name="connsiteX615" fmla="*/ 166970 w 422852"/>
                <a:gd name="connsiteY615" fmla="*/ 165031 h 242312"/>
                <a:gd name="connsiteX616" fmla="*/ 166453 w 422852"/>
                <a:gd name="connsiteY616" fmla="*/ 165290 h 242312"/>
                <a:gd name="connsiteX617" fmla="*/ 166065 w 422852"/>
                <a:gd name="connsiteY617" fmla="*/ 165677 h 242312"/>
                <a:gd name="connsiteX618" fmla="*/ 165677 w 422852"/>
                <a:gd name="connsiteY618" fmla="*/ 166065 h 242312"/>
                <a:gd name="connsiteX619" fmla="*/ 165160 w 422852"/>
                <a:gd name="connsiteY619" fmla="*/ 166841 h 242312"/>
                <a:gd name="connsiteX620" fmla="*/ 164644 w 422852"/>
                <a:gd name="connsiteY620" fmla="*/ 168262 h 242312"/>
                <a:gd name="connsiteX621" fmla="*/ 163868 w 422852"/>
                <a:gd name="connsiteY621" fmla="*/ 171364 h 242312"/>
                <a:gd name="connsiteX622" fmla="*/ 163739 w 422852"/>
                <a:gd name="connsiteY622" fmla="*/ 172785 h 242312"/>
                <a:gd name="connsiteX623" fmla="*/ 163739 w 422852"/>
                <a:gd name="connsiteY623" fmla="*/ 173948 h 242312"/>
                <a:gd name="connsiteX624" fmla="*/ 163997 w 422852"/>
                <a:gd name="connsiteY624" fmla="*/ 174465 h 242312"/>
                <a:gd name="connsiteX625" fmla="*/ 164256 w 422852"/>
                <a:gd name="connsiteY625" fmla="*/ 174853 h 242312"/>
                <a:gd name="connsiteX626" fmla="*/ 166065 w 422852"/>
                <a:gd name="connsiteY626" fmla="*/ 178988 h 242312"/>
                <a:gd name="connsiteX627" fmla="*/ 166841 w 422852"/>
                <a:gd name="connsiteY627" fmla="*/ 181185 h 242312"/>
                <a:gd name="connsiteX628" fmla="*/ 168521 w 422852"/>
                <a:gd name="connsiteY628" fmla="*/ 183899 h 242312"/>
                <a:gd name="connsiteX629" fmla="*/ 168779 w 422852"/>
                <a:gd name="connsiteY629" fmla="*/ 185062 h 242312"/>
                <a:gd name="connsiteX630" fmla="*/ 168908 w 422852"/>
                <a:gd name="connsiteY630" fmla="*/ 185709 h 242312"/>
                <a:gd name="connsiteX631" fmla="*/ 168908 w 422852"/>
                <a:gd name="connsiteY631" fmla="*/ 186355 h 242312"/>
                <a:gd name="connsiteX632" fmla="*/ 168779 w 422852"/>
                <a:gd name="connsiteY632" fmla="*/ 187001 h 242312"/>
                <a:gd name="connsiteX633" fmla="*/ 168650 w 422852"/>
                <a:gd name="connsiteY633" fmla="*/ 187647 h 242312"/>
                <a:gd name="connsiteX634" fmla="*/ 168262 w 422852"/>
                <a:gd name="connsiteY634" fmla="*/ 188422 h 242312"/>
                <a:gd name="connsiteX635" fmla="*/ 167745 w 422852"/>
                <a:gd name="connsiteY635" fmla="*/ 189069 h 242312"/>
                <a:gd name="connsiteX636" fmla="*/ 166195 w 422852"/>
                <a:gd name="connsiteY636" fmla="*/ 190102 h 242312"/>
                <a:gd name="connsiteX637" fmla="*/ 163610 w 422852"/>
                <a:gd name="connsiteY637" fmla="*/ 191266 h 242312"/>
                <a:gd name="connsiteX638" fmla="*/ 162705 w 422852"/>
                <a:gd name="connsiteY638" fmla="*/ 191912 h 242312"/>
                <a:gd name="connsiteX639" fmla="*/ 162188 w 422852"/>
                <a:gd name="connsiteY639" fmla="*/ 192429 h 242312"/>
                <a:gd name="connsiteX640" fmla="*/ 161801 w 422852"/>
                <a:gd name="connsiteY640" fmla="*/ 193075 h 242312"/>
                <a:gd name="connsiteX641" fmla="*/ 160896 w 422852"/>
                <a:gd name="connsiteY641" fmla="*/ 195918 h 242312"/>
                <a:gd name="connsiteX642" fmla="*/ 160638 w 422852"/>
                <a:gd name="connsiteY642" fmla="*/ 196435 h 242312"/>
                <a:gd name="connsiteX643" fmla="*/ 156244 w 422852"/>
                <a:gd name="connsiteY643" fmla="*/ 203155 h 242312"/>
                <a:gd name="connsiteX644" fmla="*/ 155985 w 422852"/>
                <a:gd name="connsiteY644" fmla="*/ 203672 h 242312"/>
                <a:gd name="connsiteX645" fmla="*/ 154693 w 422852"/>
                <a:gd name="connsiteY645" fmla="*/ 204964 h 242312"/>
                <a:gd name="connsiteX646" fmla="*/ 150428 w 422852"/>
                <a:gd name="connsiteY646" fmla="*/ 207808 h 242312"/>
                <a:gd name="connsiteX647" fmla="*/ 149911 w 422852"/>
                <a:gd name="connsiteY647" fmla="*/ 208841 h 242312"/>
                <a:gd name="connsiteX648" fmla="*/ 149523 w 422852"/>
                <a:gd name="connsiteY648" fmla="*/ 209875 h 242312"/>
                <a:gd name="connsiteX649" fmla="*/ 149394 w 422852"/>
                <a:gd name="connsiteY649" fmla="*/ 210392 h 242312"/>
                <a:gd name="connsiteX650" fmla="*/ 149523 w 422852"/>
                <a:gd name="connsiteY650" fmla="*/ 210909 h 242312"/>
                <a:gd name="connsiteX651" fmla="*/ 149782 w 422852"/>
                <a:gd name="connsiteY651" fmla="*/ 211297 h 242312"/>
                <a:gd name="connsiteX652" fmla="*/ 150040 w 422852"/>
                <a:gd name="connsiteY652" fmla="*/ 211685 h 242312"/>
                <a:gd name="connsiteX653" fmla="*/ 150170 w 422852"/>
                <a:gd name="connsiteY653" fmla="*/ 211814 h 242312"/>
                <a:gd name="connsiteX654" fmla="*/ 150428 w 422852"/>
                <a:gd name="connsiteY654" fmla="*/ 211943 h 242312"/>
                <a:gd name="connsiteX655" fmla="*/ 150945 w 422852"/>
                <a:gd name="connsiteY655" fmla="*/ 212072 h 242312"/>
                <a:gd name="connsiteX656" fmla="*/ 151849 w 422852"/>
                <a:gd name="connsiteY656" fmla="*/ 212072 h 242312"/>
                <a:gd name="connsiteX657" fmla="*/ 152366 w 422852"/>
                <a:gd name="connsiteY657" fmla="*/ 212072 h 242312"/>
                <a:gd name="connsiteX658" fmla="*/ 152754 w 422852"/>
                <a:gd name="connsiteY658" fmla="*/ 211943 h 242312"/>
                <a:gd name="connsiteX659" fmla="*/ 154047 w 422852"/>
                <a:gd name="connsiteY659" fmla="*/ 211168 h 242312"/>
                <a:gd name="connsiteX660" fmla="*/ 154951 w 422852"/>
                <a:gd name="connsiteY660" fmla="*/ 210651 h 242312"/>
                <a:gd name="connsiteX661" fmla="*/ 155339 w 422852"/>
                <a:gd name="connsiteY661" fmla="*/ 210392 h 242312"/>
                <a:gd name="connsiteX662" fmla="*/ 155985 w 422852"/>
                <a:gd name="connsiteY662" fmla="*/ 210263 h 242312"/>
                <a:gd name="connsiteX663" fmla="*/ 157794 w 422852"/>
                <a:gd name="connsiteY663" fmla="*/ 210392 h 242312"/>
                <a:gd name="connsiteX664" fmla="*/ 158440 w 422852"/>
                <a:gd name="connsiteY664" fmla="*/ 210392 h 242312"/>
                <a:gd name="connsiteX665" fmla="*/ 158957 w 422852"/>
                <a:gd name="connsiteY665" fmla="*/ 210263 h 242312"/>
                <a:gd name="connsiteX666" fmla="*/ 159216 w 422852"/>
                <a:gd name="connsiteY666" fmla="*/ 210134 h 242312"/>
                <a:gd name="connsiteX667" fmla="*/ 160121 w 422852"/>
                <a:gd name="connsiteY667" fmla="*/ 209746 h 242312"/>
                <a:gd name="connsiteX668" fmla="*/ 160896 w 422852"/>
                <a:gd name="connsiteY668" fmla="*/ 209100 h 242312"/>
                <a:gd name="connsiteX669" fmla="*/ 161284 w 422852"/>
                <a:gd name="connsiteY669" fmla="*/ 208712 h 242312"/>
                <a:gd name="connsiteX670" fmla="*/ 162188 w 422852"/>
                <a:gd name="connsiteY670" fmla="*/ 208066 h 242312"/>
                <a:gd name="connsiteX671" fmla="*/ 163093 w 422852"/>
                <a:gd name="connsiteY671" fmla="*/ 207549 h 242312"/>
                <a:gd name="connsiteX672" fmla="*/ 163739 w 422852"/>
                <a:gd name="connsiteY672" fmla="*/ 207420 h 242312"/>
                <a:gd name="connsiteX673" fmla="*/ 164385 w 422852"/>
                <a:gd name="connsiteY673" fmla="*/ 207420 h 242312"/>
                <a:gd name="connsiteX674" fmla="*/ 165031 w 422852"/>
                <a:gd name="connsiteY674" fmla="*/ 207549 h 242312"/>
                <a:gd name="connsiteX675" fmla="*/ 166195 w 422852"/>
                <a:gd name="connsiteY675" fmla="*/ 207937 h 242312"/>
                <a:gd name="connsiteX676" fmla="*/ 167745 w 422852"/>
                <a:gd name="connsiteY676" fmla="*/ 208583 h 242312"/>
                <a:gd name="connsiteX677" fmla="*/ 170588 w 422852"/>
                <a:gd name="connsiteY677" fmla="*/ 209488 h 242312"/>
                <a:gd name="connsiteX678" fmla="*/ 171105 w 422852"/>
                <a:gd name="connsiteY678" fmla="*/ 210004 h 242312"/>
                <a:gd name="connsiteX679" fmla="*/ 171622 w 422852"/>
                <a:gd name="connsiteY679" fmla="*/ 210651 h 242312"/>
                <a:gd name="connsiteX680" fmla="*/ 171881 w 422852"/>
                <a:gd name="connsiteY680" fmla="*/ 212331 h 242312"/>
                <a:gd name="connsiteX681" fmla="*/ 171881 w 422852"/>
                <a:gd name="connsiteY681" fmla="*/ 213106 h 242312"/>
                <a:gd name="connsiteX682" fmla="*/ 171622 w 422852"/>
                <a:gd name="connsiteY682" fmla="*/ 213752 h 242312"/>
                <a:gd name="connsiteX683" fmla="*/ 170847 w 422852"/>
                <a:gd name="connsiteY683" fmla="*/ 214657 h 242312"/>
                <a:gd name="connsiteX684" fmla="*/ 170588 w 422852"/>
                <a:gd name="connsiteY684" fmla="*/ 215045 h 242312"/>
                <a:gd name="connsiteX685" fmla="*/ 170459 w 422852"/>
                <a:gd name="connsiteY685" fmla="*/ 215562 h 242312"/>
                <a:gd name="connsiteX686" fmla="*/ 170330 w 422852"/>
                <a:gd name="connsiteY686" fmla="*/ 216208 h 242312"/>
                <a:gd name="connsiteX687" fmla="*/ 170330 w 422852"/>
                <a:gd name="connsiteY687" fmla="*/ 216854 h 242312"/>
                <a:gd name="connsiteX688" fmla="*/ 170718 w 422852"/>
                <a:gd name="connsiteY688" fmla="*/ 218017 h 242312"/>
                <a:gd name="connsiteX689" fmla="*/ 171622 w 422852"/>
                <a:gd name="connsiteY689" fmla="*/ 220731 h 242312"/>
                <a:gd name="connsiteX690" fmla="*/ 171881 w 422852"/>
                <a:gd name="connsiteY690" fmla="*/ 221894 h 242312"/>
                <a:gd name="connsiteX691" fmla="*/ 172010 w 422852"/>
                <a:gd name="connsiteY691" fmla="*/ 224608 h 242312"/>
                <a:gd name="connsiteX692" fmla="*/ 172915 w 422852"/>
                <a:gd name="connsiteY692" fmla="*/ 229519 h 242312"/>
                <a:gd name="connsiteX693" fmla="*/ 173432 w 422852"/>
                <a:gd name="connsiteY693" fmla="*/ 230423 h 242312"/>
                <a:gd name="connsiteX694" fmla="*/ 174336 w 422852"/>
                <a:gd name="connsiteY694" fmla="*/ 231586 h 242312"/>
                <a:gd name="connsiteX695" fmla="*/ 178343 w 422852"/>
                <a:gd name="connsiteY695" fmla="*/ 235334 h 242312"/>
                <a:gd name="connsiteX696" fmla="*/ 178601 w 422852"/>
                <a:gd name="connsiteY696" fmla="*/ 235722 h 242312"/>
                <a:gd name="connsiteX697" fmla="*/ 179247 w 422852"/>
                <a:gd name="connsiteY697" fmla="*/ 236239 h 242312"/>
                <a:gd name="connsiteX698" fmla="*/ 180023 w 422852"/>
                <a:gd name="connsiteY698" fmla="*/ 236627 h 242312"/>
                <a:gd name="connsiteX699" fmla="*/ 182478 w 422852"/>
                <a:gd name="connsiteY699" fmla="*/ 237402 h 242312"/>
                <a:gd name="connsiteX700" fmla="*/ 183899 w 422852"/>
                <a:gd name="connsiteY700" fmla="*/ 238048 h 242312"/>
                <a:gd name="connsiteX701" fmla="*/ 186355 w 422852"/>
                <a:gd name="connsiteY701" fmla="*/ 240633 h 242312"/>
                <a:gd name="connsiteX702" fmla="*/ 190749 w 422852"/>
                <a:gd name="connsiteY702" fmla="*/ 242313 h 242312"/>
                <a:gd name="connsiteX703" fmla="*/ 192041 w 422852"/>
                <a:gd name="connsiteY703" fmla="*/ 242184 h 242312"/>
                <a:gd name="connsiteX704" fmla="*/ 193204 w 422852"/>
                <a:gd name="connsiteY704" fmla="*/ 241796 h 242312"/>
                <a:gd name="connsiteX705" fmla="*/ 193721 w 422852"/>
                <a:gd name="connsiteY705" fmla="*/ 241537 h 242312"/>
                <a:gd name="connsiteX706" fmla="*/ 199537 w 422852"/>
                <a:gd name="connsiteY706" fmla="*/ 237660 h 242312"/>
                <a:gd name="connsiteX707" fmla="*/ 201475 w 422852"/>
                <a:gd name="connsiteY707" fmla="*/ 236756 h 242312"/>
                <a:gd name="connsiteX708" fmla="*/ 202638 w 422852"/>
                <a:gd name="connsiteY708" fmla="*/ 236368 h 242312"/>
                <a:gd name="connsiteX709" fmla="*/ 204448 w 422852"/>
                <a:gd name="connsiteY709" fmla="*/ 235980 h 242312"/>
                <a:gd name="connsiteX710" fmla="*/ 210004 w 422852"/>
                <a:gd name="connsiteY710" fmla="*/ 235722 h 242312"/>
                <a:gd name="connsiteX711" fmla="*/ 210780 w 422852"/>
                <a:gd name="connsiteY711" fmla="*/ 235463 h 242312"/>
                <a:gd name="connsiteX712" fmla="*/ 211556 w 422852"/>
                <a:gd name="connsiteY712" fmla="*/ 234817 h 242312"/>
                <a:gd name="connsiteX713" fmla="*/ 216078 w 422852"/>
                <a:gd name="connsiteY713" fmla="*/ 230553 h 242312"/>
                <a:gd name="connsiteX714" fmla="*/ 216725 w 422852"/>
                <a:gd name="connsiteY714" fmla="*/ 229648 h 242312"/>
                <a:gd name="connsiteX715" fmla="*/ 217242 w 422852"/>
                <a:gd name="connsiteY715" fmla="*/ 228873 h 242312"/>
                <a:gd name="connsiteX716" fmla="*/ 218017 w 422852"/>
                <a:gd name="connsiteY716" fmla="*/ 227322 h 242312"/>
                <a:gd name="connsiteX717" fmla="*/ 218534 w 422852"/>
                <a:gd name="connsiteY717" fmla="*/ 226805 h 242312"/>
                <a:gd name="connsiteX718" fmla="*/ 219439 w 422852"/>
                <a:gd name="connsiteY718" fmla="*/ 226417 h 242312"/>
                <a:gd name="connsiteX719" fmla="*/ 221119 w 422852"/>
                <a:gd name="connsiteY719" fmla="*/ 225771 h 242312"/>
                <a:gd name="connsiteX720" fmla="*/ 222152 w 422852"/>
                <a:gd name="connsiteY720" fmla="*/ 225513 h 242312"/>
                <a:gd name="connsiteX721" fmla="*/ 223057 w 422852"/>
                <a:gd name="connsiteY721" fmla="*/ 224996 h 242312"/>
                <a:gd name="connsiteX722" fmla="*/ 223962 w 422852"/>
                <a:gd name="connsiteY722" fmla="*/ 224220 h 242312"/>
                <a:gd name="connsiteX723" fmla="*/ 225513 w 422852"/>
                <a:gd name="connsiteY723" fmla="*/ 222540 h 242312"/>
                <a:gd name="connsiteX724" fmla="*/ 226159 w 422852"/>
                <a:gd name="connsiteY724" fmla="*/ 221635 h 242312"/>
                <a:gd name="connsiteX725" fmla="*/ 226417 w 422852"/>
                <a:gd name="connsiteY725" fmla="*/ 220731 h 242312"/>
                <a:gd name="connsiteX726" fmla="*/ 226417 w 422852"/>
                <a:gd name="connsiteY726" fmla="*/ 220085 h 242312"/>
                <a:gd name="connsiteX727" fmla="*/ 226417 w 422852"/>
                <a:gd name="connsiteY727" fmla="*/ 219439 h 242312"/>
                <a:gd name="connsiteX728" fmla="*/ 226159 w 422852"/>
                <a:gd name="connsiteY728" fmla="*/ 218275 h 242312"/>
                <a:gd name="connsiteX729" fmla="*/ 225900 w 422852"/>
                <a:gd name="connsiteY729" fmla="*/ 217758 h 242312"/>
                <a:gd name="connsiteX730" fmla="*/ 224867 w 422852"/>
                <a:gd name="connsiteY730" fmla="*/ 215820 h 242312"/>
                <a:gd name="connsiteX731" fmla="*/ 223574 w 422852"/>
                <a:gd name="connsiteY731" fmla="*/ 214140 h 242312"/>
                <a:gd name="connsiteX732" fmla="*/ 223316 w 422852"/>
                <a:gd name="connsiteY732" fmla="*/ 213752 h 242312"/>
                <a:gd name="connsiteX733" fmla="*/ 223187 w 422852"/>
                <a:gd name="connsiteY733" fmla="*/ 213235 h 242312"/>
                <a:gd name="connsiteX734" fmla="*/ 223316 w 422852"/>
                <a:gd name="connsiteY734" fmla="*/ 212718 h 242312"/>
                <a:gd name="connsiteX735" fmla="*/ 223445 w 422852"/>
                <a:gd name="connsiteY735" fmla="*/ 212331 h 242312"/>
                <a:gd name="connsiteX736" fmla="*/ 223833 w 422852"/>
                <a:gd name="connsiteY736" fmla="*/ 211685 h 242312"/>
                <a:gd name="connsiteX737" fmla="*/ 226805 w 422852"/>
                <a:gd name="connsiteY737" fmla="*/ 208195 h 242312"/>
                <a:gd name="connsiteX738" fmla="*/ 227322 w 422852"/>
                <a:gd name="connsiteY738" fmla="*/ 207678 h 242312"/>
                <a:gd name="connsiteX739" fmla="*/ 228226 w 422852"/>
                <a:gd name="connsiteY739" fmla="*/ 207291 h 242312"/>
                <a:gd name="connsiteX740" fmla="*/ 229390 w 422852"/>
                <a:gd name="connsiteY740" fmla="*/ 207032 h 242312"/>
                <a:gd name="connsiteX741" fmla="*/ 230294 w 422852"/>
                <a:gd name="connsiteY741" fmla="*/ 207032 h 242312"/>
                <a:gd name="connsiteX742" fmla="*/ 231070 w 422852"/>
                <a:gd name="connsiteY742" fmla="*/ 207032 h 242312"/>
                <a:gd name="connsiteX743" fmla="*/ 231587 w 422852"/>
                <a:gd name="connsiteY743" fmla="*/ 207032 h 242312"/>
                <a:gd name="connsiteX744" fmla="*/ 232104 w 422852"/>
                <a:gd name="connsiteY744" fmla="*/ 206774 h 242312"/>
                <a:gd name="connsiteX745" fmla="*/ 232104 w 422852"/>
                <a:gd name="connsiteY745" fmla="*/ 206257 h 242312"/>
                <a:gd name="connsiteX746" fmla="*/ 231974 w 422852"/>
                <a:gd name="connsiteY746" fmla="*/ 205740 h 242312"/>
                <a:gd name="connsiteX747" fmla="*/ 231457 w 422852"/>
                <a:gd name="connsiteY747" fmla="*/ 204835 h 242312"/>
                <a:gd name="connsiteX748" fmla="*/ 231845 w 422852"/>
                <a:gd name="connsiteY748" fmla="*/ 204318 h 242312"/>
                <a:gd name="connsiteX749" fmla="*/ 232879 w 422852"/>
                <a:gd name="connsiteY749" fmla="*/ 203672 h 242312"/>
                <a:gd name="connsiteX750" fmla="*/ 235464 w 422852"/>
                <a:gd name="connsiteY750" fmla="*/ 203155 h 242312"/>
                <a:gd name="connsiteX751" fmla="*/ 240504 w 422852"/>
                <a:gd name="connsiteY751" fmla="*/ 202638 h 242312"/>
                <a:gd name="connsiteX752" fmla="*/ 243088 w 422852"/>
                <a:gd name="connsiteY752" fmla="*/ 203026 h 242312"/>
                <a:gd name="connsiteX753" fmla="*/ 243864 w 422852"/>
                <a:gd name="connsiteY753" fmla="*/ 202897 h 242312"/>
                <a:gd name="connsiteX754" fmla="*/ 244768 w 422852"/>
                <a:gd name="connsiteY754" fmla="*/ 202638 h 242312"/>
                <a:gd name="connsiteX755" fmla="*/ 245802 w 422852"/>
                <a:gd name="connsiteY755" fmla="*/ 202121 h 242312"/>
                <a:gd name="connsiteX756" fmla="*/ 248129 w 422852"/>
                <a:gd name="connsiteY756" fmla="*/ 200312 h 242312"/>
                <a:gd name="connsiteX757" fmla="*/ 248775 w 422852"/>
                <a:gd name="connsiteY757" fmla="*/ 199795 h 242312"/>
                <a:gd name="connsiteX758" fmla="*/ 249033 w 422852"/>
                <a:gd name="connsiteY758" fmla="*/ 199407 h 242312"/>
                <a:gd name="connsiteX759" fmla="*/ 249292 w 422852"/>
                <a:gd name="connsiteY759" fmla="*/ 198890 h 242312"/>
                <a:gd name="connsiteX760" fmla="*/ 249550 w 422852"/>
                <a:gd name="connsiteY760" fmla="*/ 198373 h 242312"/>
                <a:gd name="connsiteX761" fmla="*/ 249679 w 422852"/>
                <a:gd name="connsiteY761" fmla="*/ 197857 h 242312"/>
                <a:gd name="connsiteX762" fmla="*/ 249679 w 422852"/>
                <a:gd name="connsiteY762" fmla="*/ 197210 h 242312"/>
                <a:gd name="connsiteX763" fmla="*/ 249550 w 422852"/>
                <a:gd name="connsiteY763" fmla="*/ 196564 h 242312"/>
                <a:gd name="connsiteX764" fmla="*/ 249292 w 422852"/>
                <a:gd name="connsiteY764" fmla="*/ 196047 h 242312"/>
                <a:gd name="connsiteX765" fmla="*/ 248387 w 422852"/>
                <a:gd name="connsiteY765" fmla="*/ 194755 h 242312"/>
                <a:gd name="connsiteX766" fmla="*/ 248258 w 422852"/>
                <a:gd name="connsiteY766" fmla="*/ 194238 h 242312"/>
                <a:gd name="connsiteX767" fmla="*/ 248258 w 422852"/>
                <a:gd name="connsiteY767" fmla="*/ 193721 h 242312"/>
                <a:gd name="connsiteX768" fmla="*/ 248387 w 422852"/>
                <a:gd name="connsiteY768" fmla="*/ 193204 h 242312"/>
                <a:gd name="connsiteX769" fmla="*/ 249292 w 422852"/>
                <a:gd name="connsiteY769" fmla="*/ 192558 h 242312"/>
                <a:gd name="connsiteX770" fmla="*/ 250842 w 422852"/>
                <a:gd name="connsiteY770" fmla="*/ 192170 h 242312"/>
                <a:gd name="connsiteX771" fmla="*/ 257821 w 422852"/>
                <a:gd name="connsiteY771" fmla="*/ 191653 h 242312"/>
                <a:gd name="connsiteX772" fmla="*/ 260406 w 422852"/>
                <a:gd name="connsiteY772" fmla="*/ 191912 h 242312"/>
                <a:gd name="connsiteX773" fmla="*/ 262603 w 422852"/>
                <a:gd name="connsiteY773" fmla="*/ 192816 h 242312"/>
                <a:gd name="connsiteX774" fmla="*/ 263249 w 422852"/>
                <a:gd name="connsiteY774" fmla="*/ 192946 h 242312"/>
                <a:gd name="connsiteX775" fmla="*/ 264541 w 422852"/>
                <a:gd name="connsiteY775" fmla="*/ 193075 h 242312"/>
                <a:gd name="connsiteX776" fmla="*/ 265316 w 422852"/>
                <a:gd name="connsiteY776" fmla="*/ 193075 h 242312"/>
                <a:gd name="connsiteX777" fmla="*/ 266351 w 422852"/>
                <a:gd name="connsiteY777" fmla="*/ 192429 h 242312"/>
                <a:gd name="connsiteX778" fmla="*/ 267643 w 422852"/>
                <a:gd name="connsiteY778" fmla="*/ 191524 h 242312"/>
                <a:gd name="connsiteX779" fmla="*/ 270615 w 422852"/>
                <a:gd name="connsiteY779" fmla="*/ 188422 h 242312"/>
                <a:gd name="connsiteX780" fmla="*/ 271520 w 422852"/>
                <a:gd name="connsiteY780" fmla="*/ 189327 h 242312"/>
                <a:gd name="connsiteX781" fmla="*/ 271778 w 422852"/>
                <a:gd name="connsiteY781" fmla="*/ 190490 h 242312"/>
                <a:gd name="connsiteX782" fmla="*/ 271778 w 422852"/>
                <a:gd name="connsiteY782" fmla="*/ 191136 h 242312"/>
                <a:gd name="connsiteX783" fmla="*/ 271907 w 422852"/>
                <a:gd name="connsiteY783" fmla="*/ 191783 h 242312"/>
                <a:gd name="connsiteX784" fmla="*/ 272166 w 422852"/>
                <a:gd name="connsiteY784" fmla="*/ 192300 h 242312"/>
                <a:gd name="connsiteX785" fmla="*/ 272554 w 422852"/>
                <a:gd name="connsiteY785" fmla="*/ 192687 h 242312"/>
                <a:gd name="connsiteX786" fmla="*/ 273071 w 422852"/>
                <a:gd name="connsiteY786" fmla="*/ 192816 h 242312"/>
                <a:gd name="connsiteX787" fmla="*/ 273717 w 422852"/>
                <a:gd name="connsiteY787" fmla="*/ 192946 h 242312"/>
                <a:gd name="connsiteX788" fmla="*/ 275785 w 422852"/>
                <a:gd name="connsiteY788" fmla="*/ 192816 h 242312"/>
                <a:gd name="connsiteX789" fmla="*/ 276560 w 422852"/>
                <a:gd name="connsiteY789" fmla="*/ 192558 h 242312"/>
                <a:gd name="connsiteX790" fmla="*/ 277464 w 422852"/>
                <a:gd name="connsiteY790" fmla="*/ 192170 h 242312"/>
                <a:gd name="connsiteX791" fmla="*/ 278499 w 422852"/>
                <a:gd name="connsiteY791" fmla="*/ 191266 h 242312"/>
                <a:gd name="connsiteX792" fmla="*/ 280695 w 422852"/>
                <a:gd name="connsiteY792" fmla="*/ 188422 h 242312"/>
                <a:gd name="connsiteX793" fmla="*/ 281083 w 422852"/>
                <a:gd name="connsiteY793" fmla="*/ 188164 h 242312"/>
                <a:gd name="connsiteX794" fmla="*/ 281600 w 422852"/>
                <a:gd name="connsiteY794" fmla="*/ 187776 h 242312"/>
                <a:gd name="connsiteX795" fmla="*/ 282375 w 422852"/>
                <a:gd name="connsiteY795" fmla="*/ 187647 h 242312"/>
                <a:gd name="connsiteX796" fmla="*/ 283668 w 422852"/>
                <a:gd name="connsiteY796" fmla="*/ 187647 h 242312"/>
                <a:gd name="connsiteX797" fmla="*/ 284314 w 422852"/>
                <a:gd name="connsiteY797" fmla="*/ 188035 h 242312"/>
                <a:gd name="connsiteX798" fmla="*/ 284831 w 422852"/>
                <a:gd name="connsiteY798" fmla="*/ 188293 h 242312"/>
                <a:gd name="connsiteX799" fmla="*/ 285089 w 422852"/>
                <a:gd name="connsiteY799" fmla="*/ 188681 h 242312"/>
                <a:gd name="connsiteX800" fmla="*/ 285219 w 422852"/>
                <a:gd name="connsiteY800" fmla="*/ 188939 h 242312"/>
                <a:gd name="connsiteX801" fmla="*/ 285348 w 422852"/>
                <a:gd name="connsiteY801" fmla="*/ 189327 h 242312"/>
                <a:gd name="connsiteX802" fmla="*/ 285477 w 422852"/>
                <a:gd name="connsiteY802" fmla="*/ 189973 h 242312"/>
                <a:gd name="connsiteX803" fmla="*/ 285348 w 422852"/>
                <a:gd name="connsiteY803" fmla="*/ 191912 h 242312"/>
                <a:gd name="connsiteX804" fmla="*/ 285348 w 422852"/>
                <a:gd name="connsiteY804" fmla="*/ 192558 h 242312"/>
                <a:gd name="connsiteX805" fmla="*/ 285606 w 422852"/>
                <a:gd name="connsiteY805" fmla="*/ 193075 h 242312"/>
                <a:gd name="connsiteX806" fmla="*/ 285994 w 422852"/>
                <a:gd name="connsiteY806" fmla="*/ 193463 h 242312"/>
                <a:gd name="connsiteX807" fmla="*/ 286511 w 422852"/>
                <a:gd name="connsiteY807" fmla="*/ 193592 h 242312"/>
                <a:gd name="connsiteX808" fmla="*/ 287157 w 422852"/>
                <a:gd name="connsiteY808" fmla="*/ 193721 h 242312"/>
                <a:gd name="connsiteX809" fmla="*/ 287803 w 422852"/>
                <a:gd name="connsiteY809" fmla="*/ 193592 h 242312"/>
                <a:gd name="connsiteX810" fmla="*/ 293748 w 422852"/>
                <a:gd name="connsiteY810" fmla="*/ 192041 h 242312"/>
                <a:gd name="connsiteX811" fmla="*/ 296074 w 422852"/>
                <a:gd name="connsiteY811" fmla="*/ 192041 h 242312"/>
                <a:gd name="connsiteX812" fmla="*/ 297366 w 422852"/>
                <a:gd name="connsiteY812" fmla="*/ 192170 h 242312"/>
                <a:gd name="connsiteX813" fmla="*/ 298013 w 422852"/>
                <a:gd name="connsiteY813" fmla="*/ 192300 h 242312"/>
                <a:gd name="connsiteX814" fmla="*/ 299047 w 422852"/>
                <a:gd name="connsiteY814" fmla="*/ 192816 h 242312"/>
                <a:gd name="connsiteX815" fmla="*/ 299434 w 422852"/>
                <a:gd name="connsiteY815" fmla="*/ 193075 h 242312"/>
                <a:gd name="connsiteX816" fmla="*/ 300468 w 422852"/>
                <a:gd name="connsiteY816" fmla="*/ 194238 h 242312"/>
                <a:gd name="connsiteX817" fmla="*/ 300856 w 422852"/>
                <a:gd name="connsiteY817" fmla="*/ 194496 h 242312"/>
                <a:gd name="connsiteX818" fmla="*/ 301373 w 422852"/>
                <a:gd name="connsiteY818" fmla="*/ 194626 h 242312"/>
                <a:gd name="connsiteX819" fmla="*/ 301760 w 422852"/>
                <a:gd name="connsiteY819" fmla="*/ 194496 h 242312"/>
                <a:gd name="connsiteX820" fmla="*/ 302148 w 422852"/>
                <a:gd name="connsiteY820" fmla="*/ 193850 h 242312"/>
                <a:gd name="connsiteX821" fmla="*/ 302148 w 422852"/>
                <a:gd name="connsiteY821" fmla="*/ 193204 h 242312"/>
                <a:gd name="connsiteX822" fmla="*/ 302019 w 422852"/>
                <a:gd name="connsiteY822" fmla="*/ 192041 h 242312"/>
                <a:gd name="connsiteX823" fmla="*/ 302148 w 422852"/>
                <a:gd name="connsiteY823" fmla="*/ 191653 h 242312"/>
                <a:gd name="connsiteX824" fmla="*/ 302407 w 422852"/>
                <a:gd name="connsiteY824" fmla="*/ 191136 h 242312"/>
                <a:gd name="connsiteX825" fmla="*/ 302923 w 422852"/>
                <a:gd name="connsiteY825" fmla="*/ 190749 h 242312"/>
                <a:gd name="connsiteX826" fmla="*/ 303828 w 422852"/>
                <a:gd name="connsiteY826" fmla="*/ 190749 h 242312"/>
                <a:gd name="connsiteX827" fmla="*/ 304604 w 422852"/>
                <a:gd name="connsiteY827" fmla="*/ 190878 h 242312"/>
                <a:gd name="connsiteX828" fmla="*/ 306542 w 422852"/>
                <a:gd name="connsiteY828" fmla="*/ 191266 h 242312"/>
                <a:gd name="connsiteX829" fmla="*/ 307188 w 422852"/>
                <a:gd name="connsiteY829" fmla="*/ 191266 h 242312"/>
                <a:gd name="connsiteX830" fmla="*/ 307834 w 422852"/>
                <a:gd name="connsiteY830" fmla="*/ 191136 h 242312"/>
                <a:gd name="connsiteX831" fmla="*/ 308351 w 422852"/>
                <a:gd name="connsiteY831" fmla="*/ 190749 h 242312"/>
                <a:gd name="connsiteX832" fmla="*/ 308610 w 422852"/>
                <a:gd name="connsiteY832" fmla="*/ 189844 h 242312"/>
                <a:gd name="connsiteX833" fmla="*/ 308610 w 422852"/>
                <a:gd name="connsiteY833" fmla="*/ 189198 h 242312"/>
                <a:gd name="connsiteX834" fmla="*/ 308351 w 422852"/>
                <a:gd name="connsiteY834" fmla="*/ 188681 h 242312"/>
                <a:gd name="connsiteX835" fmla="*/ 307964 w 422852"/>
                <a:gd name="connsiteY835" fmla="*/ 188422 h 242312"/>
                <a:gd name="connsiteX836" fmla="*/ 307447 w 422852"/>
                <a:gd name="connsiteY836" fmla="*/ 188164 h 242312"/>
                <a:gd name="connsiteX837" fmla="*/ 306025 w 422852"/>
                <a:gd name="connsiteY837" fmla="*/ 187389 h 242312"/>
                <a:gd name="connsiteX838" fmla="*/ 305121 w 422852"/>
                <a:gd name="connsiteY838" fmla="*/ 186742 h 242312"/>
                <a:gd name="connsiteX839" fmla="*/ 304862 w 422852"/>
                <a:gd name="connsiteY839" fmla="*/ 186355 h 242312"/>
                <a:gd name="connsiteX840" fmla="*/ 304474 w 422852"/>
                <a:gd name="connsiteY840" fmla="*/ 185967 h 242312"/>
                <a:gd name="connsiteX841" fmla="*/ 304345 w 422852"/>
                <a:gd name="connsiteY841" fmla="*/ 185450 h 242312"/>
                <a:gd name="connsiteX842" fmla="*/ 304345 w 422852"/>
                <a:gd name="connsiteY842" fmla="*/ 184804 h 242312"/>
                <a:gd name="connsiteX843" fmla="*/ 304345 w 422852"/>
                <a:gd name="connsiteY843" fmla="*/ 184158 h 242312"/>
                <a:gd name="connsiteX844" fmla="*/ 304604 w 422852"/>
                <a:gd name="connsiteY844" fmla="*/ 183641 h 242312"/>
                <a:gd name="connsiteX845" fmla="*/ 304862 w 422852"/>
                <a:gd name="connsiteY845" fmla="*/ 183124 h 242312"/>
                <a:gd name="connsiteX846" fmla="*/ 305379 w 422852"/>
                <a:gd name="connsiteY846" fmla="*/ 182736 h 242312"/>
                <a:gd name="connsiteX847" fmla="*/ 305896 w 422852"/>
                <a:gd name="connsiteY847" fmla="*/ 182478 h 242312"/>
                <a:gd name="connsiteX848" fmla="*/ 306801 w 422852"/>
                <a:gd name="connsiteY848" fmla="*/ 182607 h 242312"/>
                <a:gd name="connsiteX849" fmla="*/ 307317 w 422852"/>
                <a:gd name="connsiteY849" fmla="*/ 182865 h 242312"/>
                <a:gd name="connsiteX850" fmla="*/ 307576 w 422852"/>
                <a:gd name="connsiteY850" fmla="*/ 183382 h 242312"/>
                <a:gd name="connsiteX851" fmla="*/ 307447 w 422852"/>
                <a:gd name="connsiteY851" fmla="*/ 183899 h 242312"/>
                <a:gd name="connsiteX852" fmla="*/ 307317 w 422852"/>
                <a:gd name="connsiteY852" fmla="*/ 184416 h 242312"/>
                <a:gd name="connsiteX853" fmla="*/ 307317 w 422852"/>
                <a:gd name="connsiteY853" fmla="*/ 184933 h 242312"/>
                <a:gd name="connsiteX854" fmla="*/ 307576 w 422852"/>
                <a:gd name="connsiteY854" fmla="*/ 185321 h 242312"/>
                <a:gd name="connsiteX855" fmla="*/ 307964 w 422852"/>
                <a:gd name="connsiteY855" fmla="*/ 185709 h 242312"/>
                <a:gd name="connsiteX856" fmla="*/ 308610 w 422852"/>
                <a:gd name="connsiteY856" fmla="*/ 185838 h 242312"/>
                <a:gd name="connsiteX857" fmla="*/ 309256 w 422852"/>
                <a:gd name="connsiteY857" fmla="*/ 185709 h 242312"/>
                <a:gd name="connsiteX858" fmla="*/ 311841 w 422852"/>
                <a:gd name="connsiteY858" fmla="*/ 184804 h 242312"/>
                <a:gd name="connsiteX859" fmla="*/ 312875 w 422852"/>
                <a:gd name="connsiteY859" fmla="*/ 184545 h 242312"/>
                <a:gd name="connsiteX860" fmla="*/ 314167 w 422852"/>
                <a:gd name="connsiteY860" fmla="*/ 184287 h 242312"/>
                <a:gd name="connsiteX861" fmla="*/ 315330 w 422852"/>
                <a:gd name="connsiteY861" fmla="*/ 184029 h 242312"/>
                <a:gd name="connsiteX862" fmla="*/ 324764 w 422852"/>
                <a:gd name="connsiteY862" fmla="*/ 180410 h 242312"/>
                <a:gd name="connsiteX863" fmla="*/ 325281 w 422852"/>
                <a:gd name="connsiteY863" fmla="*/ 180281 h 242312"/>
                <a:gd name="connsiteX864" fmla="*/ 325927 w 422852"/>
                <a:gd name="connsiteY864" fmla="*/ 180281 h 242312"/>
                <a:gd name="connsiteX865" fmla="*/ 326444 w 422852"/>
                <a:gd name="connsiteY865" fmla="*/ 180410 h 242312"/>
                <a:gd name="connsiteX866" fmla="*/ 327478 w 422852"/>
                <a:gd name="connsiteY866" fmla="*/ 180927 h 242312"/>
                <a:gd name="connsiteX867" fmla="*/ 327995 w 422852"/>
                <a:gd name="connsiteY867" fmla="*/ 181056 h 242312"/>
                <a:gd name="connsiteX868" fmla="*/ 328512 w 422852"/>
                <a:gd name="connsiteY868" fmla="*/ 181056 h 242312"/>
                <a:gd name="connsiteX869" fmla="*/ 329029 w 422852"/>
                <a:gd name="connsiteY869" fmla="*/ 180927 h 242312"/>
                <a:gd name="connsiteX870" fmla="*/ 329804 w 422852"/>
                <a:gd name="connsiteY870" fmla="*/ 180668 h 242312"/>
                <a:gd name="connsiteX871" fmla="*/ 330709 w 422852"/>
                <a:gd name="connsiteY871" fmla="*/ 180152 h 242312"/>
                <a:gd name="connsiteX872" fmla="*/ 333423 w 422852"/>
                <a:gd name="connsiteY872" fmla="*/ 177955 h 242312"/>
                <a:gd name="connsiteX873" fmla="*/ 335232 w 422852"/>
                <a:gd name="connsiteY873" fmla="*/ 176791 h 242312"/>
                <a:gd name="connsiteX874" fmla="*/ 341306 w 422852"/>
                <a:gd name="connsiteY874" fmla="*/ 174724 h 242312"/>
                <a:gd name="connsiteX875" fmla="*/ 342469 w 422852"/>
                <a:gd name="connsiteY875" fmla="*/ 172268 h 242312"/>
                <a:gd name="connsiteX876" fmla="*/ 345054 w 422852"/>
                <a:gd name="connsiteY876" fmla="*/ 162447 h 242312"/>
                <a:gd name="connsiteX877" fmla="*/ 346087 w 422852"/>
                <a:gd name="connsiteY877" fmla="*/ 156373 h 242312"/>
                <a:gd name="connsiteX878" fmla="*/ 346604 w 422852"/>
                <a:gd name="connsiteY878" fmla="*/ 154822 h 242312"/>
                <a:gd name="connsiteX879" fmla="*/ 347121 w 422852"/>
                <a:gd name="connsiteY879" fmla="*/ 153788 h 242312"/>
                <a:gd name="connsiteX880" fmla="*/ 347380 w 422852"/>
                <a:gd name="connsiteY880" fmla="*/ 153400 h 242312"/>
                <a:gd name="connsiteX881" fmla="*/ 348155 w 422852"/>
                <a:gd name="connsiteY881" fmla="*/ 153142 h 242312"/>
                <a:gd name="connsiteX882" fmla="*/ 349060 w 422852"/>
                <a:gd name="connsiteY882" fmla="*/ 153013 h 242312"/>
                <a:gd name="connsiteX883" fmla="*/ 355263 w 422852"/>
                <a:gd name="connsiteY883" fmla="*/ 153271 h 242312"/>
                <a:gd name="connsiteX884" fmla="*/ 356039 w 422852"/>
                <a:gd name="connsiteY884" fmla="*/ 153529 h 242312"/>
                <a:gd name="connsiteX885" fmla="*/ 356556 w 422852"/>
                <a:gd name="connsiteY885" fmla="*/ 153788 h 242312"/>
                <a:gd name="connsiteX886" fmla="*/ 357072 w 422852"/>
                <a:gd name="connsiteY886" fmla="*/ 154046 h 242312"/>
                <a:gd name="connsiteX887" fmla="*/ 357460 w 422852"/>
                <a:gd name="connsiteY887" fmla="*/ 154305 h 242312"/>
                <a:gd name="connsiteX888" fmla="*/ 358106 w 422852"/>
                <a:gd name="connsiteY888" fmla="*/ 154563 h 242312"/>
                <a:gd name="connsiteX889" fmla="*/ 358752 w 422852"/>
                <a:gd name="connsiteY889" fmla="*/ 154563 h 242312"/>
                <a:gd name="connsiteX890" fmla="*/ 359657 w 422852"/>
                <a:gd name="connsiteY890" fmla="*/ 154305 h 242312"/>
                <a:gd name="connsiteX891" fmla="*/ 360691 w 422852"/>
                <a:gd name="connsiteY891" fmla="*/ 153659 h 242312"/>
                <a:gd name="connsiteX892" fmla="*/ 361854 w 422852"/>
                <a:gd name="connsiteY892" fmla="*/ 152754 h 242312"/>
                <a:gd name="connsiteX893" fmla="*/ 363922 w 422852"/>
                <a:gd name="connsiteY893" fmla="*/ 150169 h 242312"/>
                <a:gd name="connsiteX894" fmla="*/ 367024 w 422852"/>
                <a:gd name="connsiteY894" fmla="*/ 147455 h 242312"/>
                <a:gd name="connsiteX895" fmla="*/ 367928 w 422852"/>
                <a:gd name="connsiteY895" fmla="*/ 146939 h 242312"/>
                <a:gd name="connsiteX896" fmla="*/ 369996 w 422852"/>
                <a:gd name="connsiteY896" fmla="*/ 145905 h 242312"/>
                <a:gd name="connsiteX897" fmla="*/ 370642 w 422852"/>
                <a:gd name="connsiteY897" fmla="*/ 145646 h 242312"/>
                <a:gd name="connsiteX898" fmla="*/ 371934 w 422852"/>
                <a:gd name="connsiteY898" fmla="*/ 145388 h 242312"/>
                <a:gd name="connsiteX899" fmla="*/ 373614 w 422852"/>
                <a:gd name="connsiteY899" fmla="*/ 145388 h 242312"/>
                <a:gd name="connsiteX900" fmla="*/ 375682 w 422852"/>
                <a:gd name="connsiteY900" fmla="*/ 145646 h 242312"/>
                <a:gd name="connsiteX901" fmla="*/ 384211 w 422852"/>
                <a:gd name="connsiteY901" fmla="*/ 147843 h 242312"/>
                <a:gd name="connsiteX902" fmla="*/ 385762 w 422852"/>
                <a:gd name="connsiteY902" fmla="*/ 147714 h 242312"/>
                <a:gd name="connsiteX903" fmla="*/ 388088 w 422852"/>
                <a:gd name="connsiteY903" fmla="*/ 147068 h 242312"/>
                <a:gd name="connsiteX904" fmla="*/ 388735 w 422852"/>
                <a:gd name="connsiteY904" fmla="*/ 146939 h 242312"/>
                <a:gd name="connsiteX905" fmla="*/ 389381 w 422852"/>
                <a:gd name="connsiteY905" fmla="*/ 146939 h 242312"/>
                <a:gd name="connsiteX906" fmla="*/ 391707 w 422852"/>
                <a:gd name="connsiteY906" fmla="*/ 147585 h 242312"/>
                <a:gd name="connsiteX907" fmla="*/ 393904 w 422852"/>
                <a:gd name="connsiteY907" fmla="*/ 148360 h 242312"/>
                <a:gd name="connsiteX908" fmla="*/ 396230 w 422852"/>
                <a:gd name="connsiteY908" fmla="*/ 150040 h 242312"/>
                <a:gd name="connsiteX909" fmla="*/ 400753 w 422852"/>
                <a:gd name="connsiteY909" fmla="*/ 154434 h 242312"/>
                <a:gd name="connsiteX910" fmla="*/ 401916 w 422852"/>
                <a:gd name="connsiteY910" fmla="*/ 156631 h 242312"/>
                <a:gd name="connsiteX911" fmla="*/ 402046 w 422852"/>
                <a:gd name="connsiteY911" fmla="*/ 157277 h 242312"/>
                <a:gd name="connsiteX912" fmla="*/ 402175 w 422852"/>
                <a:gd name="connsiteY912" fmla="*/ 157923 h 242312"/>
                <a:gd name="connsiteX913" fmla="*/ 402304 w 422852"/>
                <a:gd name="connsiteY913" fmla="*/ 158440 h 242312"/>
                <a:gd name="connsiteX914" fmla="*/ 402433 w 422852"/>
                <a:gd name="connsiteY914" fmla="*/ 158957 h 242312"/>
                <a:gd name="connsiteX915" fmla="*/ 403079 w 422852"/>
                <a:gd name="connsiteY915" fmla="*/ 159345 h 242312"/>
                <a:gd name="connsiteX916" fmla="*/ 408895 w 422852"/>
                <a:gd name="connsiteY916" fmla="*/ 160896 h 242312"/>
                <a:gd name="connsiteX917" fmla="*/ 412255 w 422852"/>
                <a:gd name="connsiteY917" fmla="*/ 162705 h 242312"/>
                <a:gd name="connsiteX918" fmla="*/ 413547 w 422852"/>
                <a:gd name="connsiteY918" fmla="*/ 162576 h 242312"/>
                <a:gd name="connsiteX919" fmla="*/ 417683 w 422852"/>
                <a:gd name="connsiteY919" fmla="*/ 162705 h 242312"/>
                <a:gd name="connsiteX920" fmla="*/ 418588 w 422852"/>
                <a:gd name="connsiteY920" fmla="*/ 162834 h 242312"/>
                <a:gd name="connsiteX921" fmla="*/ 419621 w 422852"/>
                <a:gd name="connsiteY921" fmla="*/ 163351 h 242312"/>
                <a:gd name="connsiteX922" fmla="*/ 420138 w 422852"/>
                <a:gd name="connsiteY922" fmla="*/ 163351 h 242312"/>
                <a:gd name="connsiteX923" fmla="*/ 420526 w 422852"/>
                <a:gd name="connsiteY923" fmla="*/ 162705 h 242312"/>
                <a:gd name="connsiteX924" fmla="*/ 421689 w 422852"/>
                <a:gd name="connsiteY924" fmla="*/ 159733 h 242312"/>
                <a:gd name="connsiteX925" fmla="*/ 420655 w 422852"/>
                <a:gd name="connsiteY925" fmla="*/ 156373 h 242312"/>
                <a:gd name="connsiteX926" fmla="*/ 420655 w 422852"/>
                <a:gd name="connsiteY926" fmla="*/ 152237 h 242312"/>
                <a:gd name="connsiteX927" fmla="*/ 421689 w 422852"/>
                <a:gd name="connsiteY927" fmla="*/ 144354 h 242312"/>
                <a:gd name="connsiteX928" fmla="*/ 421689 w 422852"/>
                <a:gd name="connsiteY928" fmla="*/ 128458 h 242312"/>
                <a:gd name="connsiteX929" fmla="*/ 421948 w 422852"/>
                <a:gd name="connsiteY929" fmla="*/ 126907 h 242312"/>
                <a:gd name="connsiteX930" fmla="*/ 422594 w 422852"/>
                <a:gd name="connsiteY930" fmla="*/ 125227 h 242312"/>
                <a:gd name="connsiteX931" fmla="*/ 422852 w 422852"/>
                <a:gd name="connsiteY931" fmla="*/ 123418 h 24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Lst>
              <a:rect l="l" t="t" r="r" b="b"/>
              <a:pathLst>
                <a:path w="422852" h="242312">
                  <a:moveTo>
                    <a:pt x="422464" y="121609"/>
                  </a:moveTo>
                  <a:lnTo>
                    <a:pt x="421948" y="121092"/>
                  </a:lnTo>
                  <a:lnTo>
                    <a:pt x="420138" y="120058"/>
                  </a:lnTo>
                  <a:lnTo>
                    <a:pt x="419492" y="119283"/>
                  </a:lnTo>
                  <a:lnTo>
                    <a:pt x="419234" y="118507"/>
                  </a:lnTo>
                  <a:lnTo>
                    <a:pt x="418717" y="115276"/>
                  </a:lnTo>
                  <a:lnTo>
                    <a:pt x="418717" y="108944"/>
                  </a:lnTo>
                  <a:lnTo>
                    <a:pt x="419621" y="104938"/>
                  </a:lnTo>
                  <a:lnTo>
                    <a:pt x="419492" y="102870"/>
                  </a:lnTo>
                  <a:lnTo>
                    <a:pt x="417942" y="101707"/>
                  </a:lnTo>
                  <a:lnTo>
                    <a:pt x="418329" y="103645"/>
                  </a:lnTo>
                  <a:lnTo>
                    <a:pt x="417037" y="107781"/>
                  </a:lnTo>
                  <a:lnTo>
                    <a:pt x="416520" y="110107"/>
                  </a:lnTo>
                  <a:lnTo>
                    <a:pt x="415874" y="112175"/>
                  </a:lnTo>
                  <a:lnTo>
                    <a:pt x="414064" y="114759"/>
                  </a:lnTo>
                  <a:lnTo>
                    <a:pt x="411868" y="117215"/>
                  </a:lnTo>
                  <a:lnTo>
                    <a:pt x="409929" y="118507"/>
                  </a:lnTo>
                  <a:lnTo>
                    <a:pt x="410575" y="117086"/>
                  </a:lnTo>
                  <a:lnTo>
                    <a:pt x="410704" y="115793"/>
                  </a:lnTo>
                  <a:lnTo>
                    <a:pt x="410188" y="114501"/>
                  </a:lnTo>
                  <a:lnTo>
                    <a:pt x="409153" y="113467"/>
                  </a:lnTo>
                  <a:lnTo>
                    <a:pt x="410058" y="114242"/>
                  </a:lnTo>
                  <a:lnTo>
                    <a:pt x="410704" y="114501"/>
                  </a:lnTo>
                  <a:lnTo>
                    <a:pt x="411351" y="114242"/>
                  </a:lnTo>
                  <a:lnTo>
                    <a:pt x="412126" y="113467"/>
                  </a:lnTo>
                  <a:lnTo>
                    <a:pt x="411868" y="113338"/>
                  </a:lnTo>
                  <a:lnTo>
                    <a:pt x="413547" y="108944"/>
                  </a:lnTo>
                  <a:lnTo>
                    <a:pt x="413806" y="107522"/>
                  </a:lnTo>
                  <a:lnTo>
                    <a:pt x="413547" y="105067"/>
                  </a:lnTo>
                  <a:lnTo>
                    <a:pt x="413547" y="103904"/>
                  </a:lnTo>
                  <a:lnTo>
                    <a:pt x="414064" y="103128"/>
                  </a:lnTo>
                  <a:lnTo>
                    <a:pt x="414840" y="102741"/>
                  </a:lnTo>
                  <a:lnTo>
                    <a:pt x="415486" y="101965"/>
                  </a:lnTo>
                  <a:lnTo>
                    <a:pt x="415744" y="100544"/>
                  </a:lnTo>
                  <a:lnTo>
                    <a:pt x="415744" y="95374"/>
                  </a:lnTo>
                  <a:lnTo>
                    <a:pt x="415227" y="94599"/>
                  </a:lnTo>
                  <a:lnTo>
                    <a:pt x="412126" y="93307"/>
                  </a:lnTo>
                  <a:lnTo>
                    <a:pt x="411092" y="92531"/>
                  </a:lnTo>
                  <a:lnTo>
                    <a:pt x="409670" y="90076"/>
                  </a:lnTo>
                  <a:lnTo>
                    <a:pt x="407732" y="81159"/>
                  </a:lnTo>
                  <a:lnTo>
                    <a:pt x="407732" y="81805"/>
                  </a:lnTo>
                  <a:lnTo>
                    <a:pt x="406957" y="79479"/>
                  </a:lnTo>
                  <a:lnTo>
                    <a:pt x="407215" y="77152"/>
                  </a:lnTo>
                  <a:lnTo>
                    <a:pt x="407732" y="75085"/>
                  </a:lnTo>
                  <a:lnTo>
                    <a:pt x="407732" y="73017"/>
                  </a:lnTo>
                  <a:lnTo>
                    <a:pt x="407086" y="71854"/>
                  </a:lnTo>
                  <a:lnTo>
                    <a:pt x="406440" y="70820"/>
                  </a:lnTo>
                  <a:lnTo>
                    <a:pt x="405794" y="69786"/>
                  </a:lnTo>
                  <a:lnTo>
                    <a:pt x="405406" y="67201"/>
                  </a:lnTo>
                  <a:lnTo>
                    <a:pt x="405018" y="65909"/>
                  </a:lnTo>
                  <a:lnTo>
                    <a:pt x="403984" y="63583"/>
                  </a:lnTo>
                  <a:lnTo>
                    <a:pt x="405277" y="59835"/>
                  </a:lnTo>
                  <a:lnTo>
                    <a:pt x="405147" y="54924"/>
                  </a:lnTo>
                  <a:lnTo>
                    <a:pt x="404760" y="51435"/>
                  </a:lnTo>
                  <a:lnTo>
                    <a:pt x="404372" y="51435"/>
                  </a:lnTo>
                  <a:lnTo>
                    <a:pt x="399590" y="52598"/>
                  </a:lnTo>
                  <a:lnTo>
                    <a:pt x="398298" y="53244"/>
                  </a:lnTo>
                  <a:lnTo>
                    <a:pt x="396618" y="54666"/>
                  </a:lnTo>
                  <a:lnTo>
                    <a:pt x="395713" y="54924"/>
                  </a:lnTo>
                  <a:lnTo>
                    <a:pt x="394421" y="54407"/>
                  </a:lnTo>
                  <a:lnTo>
                    <a:pt x="392224" y="53374"/>
                  </a:lnTo>
                  <a:lnTo>
                    <a:pt x="388347" y="53503"/>
                  </a:lnTo>
                  <a:lnTo>
                    <a:pt x="380981" y="52210"/>
                  </a:lnTo>
                  <a:lnTo>
                    <a:pt x="373356" y="51693"/>
                  </a:lnTo>
                  <a:lnTo>
                    <a:pt x="370771" y="53503"/>
                  </a:lnTo>
                  <a:lnTo>
                    <a:pt x="369220" y="53890"/>
                  </a:lnTo>
                  <a:lnTo>
                    <a:pt x="368057" y="54020"/>
                  </a:lnTo>
                  <a:lnTo>
                    <a:pt x="361854" y="52598"/>
                  </a:lnTo>
                  <a:lnTo>
                    <a:pt x="353583" y="48463"/>
                  </a:lnTo>
                  <a:lnTo>
                    <a:pt x="350869" y="47170"/>
                  </a:lnTo>
                  <a:lnTo>
                    <a:pt x="347639" y="46524"/>
                  </a:lnTo>
                  <a:lnTo>
                    <a:pt x="340660" y="46266"/>
                  </a:lnTo>
                  <a:lnTo>
                    <a:pt x="334586" y="44456"/>
                  </a:lnTo>
                  <a:lnTo>
                    <a:pt x="331743" y="43422"/>
                  </a:lnTo>
                  <a:lnTo>
                    <a:pt x="330450" y="43035"/>
                  </a:lnTo>
                  <a:lnTo>
                    <a:pt x="329029" y="43035"/>
                  </a:lnTo>
                  <a:lnTo>
                    <a:pt x="327478" y="43552"/>
                  </a:lnTo>
                  <a:lnTo>
                    <a:pt x="324764" y="44715"/>
                  </a:lnTo>
                  <a:lnTo>
                    <a:pt x="323601" y="44973"/>
                  </a:lnTo>
                  <a:lnTo>
                    <a:pt x="316364" y="45619"/>
                  </a:lnTo>
                  <a:lnTo>
                    <a:pt x="311582" y="46653"/>
                  </a:lnTo>
                  <a:lnTo>
                    <a:pt x="301760" y="47429"/>
                  </a:lnTo>
                  <a:lnTo>
                    <a:pt x="297754" y="46912"/>
                  </a:lnTo>
                  <a:lnTo>
                    <a:pt x="291163" y="45361"/>
                  </a:lnTo>
                  <a:lnTo>
                    <a:pt x="288837" y="45232"/>
                  </a:lnTo>
                  <a:lnTo>
                    <a:pt x="287416" y="45361"/>
                  </a:lnTo>
                  <a:lnTo>
                    <a:pt x="285865" y="45232"/>
                  </a:lnTo>
                  <a:lnTo>
                    <a:pt x="280695" y="43939"/>
                  </a:lnTo>
                  <a:lnTo>
                    <a:pt x="266738" y="41742"/>
                  </a:lnTo>
                  <a:lnTo>
                    <a:pt x="264929" y="40192"/>
                  </a:lnTo>
                  <a:lnTo>
                    <a:pt x="264283" y="38899"/>
                  </a:lnTo>
                  <a:lnTo>
                    <a:pt x="263766" y="36702"/>
                  </a:lnTo>
                  <a:lnTo>
                    <a:pt x="263766" y="35152"/>
                  </a:lnTo>
                  <a:lnTo>
                    <a:pt x="264024" y="33859"/>
                  </a:lnTo>
                  <a:lnTo>
                    <a:pt x="264153" y="32567"/>
                  </a:lnTo>
                  <a:lnTo>
                    <a:pt x="263637" y="31404"/>
                  </a:lnTo>
                  <a:lnTo>
                    <a:pt x="262473" y="30241"/>
                  </a:lnTo>
                  <a:lnTo>
                    <a:pt x="260406" y="29336"/>
                  </a:lnTo>
                  <a:lnTo>
                    <a:pt x="257563" y="30111"/>
                  </a:lnTo>
                  <a:lnTo>
                    <a:pt x="256270" y="30241"/>
                  </a:lnTo>
                  <a:lnTo>
                    <a:pt x="255107" y="30241"/>
                  </a:lnTo>
                  <a:lnTo>
                    <a:pt x="253944" y="29982"/>
                  </a:lnTo>
                  <a:lnTo>
                    <a:pt x="252652" y="29982"/>
                  </a:lnTo>
                  <a:lnTo>
                    <a:pt x="251618" y="30241"/>
                  </a:lnTo>
                  <a:lnTo>
                    <a:pt x="250455" y="31016"/>
                  </a:lnTo>
                  <a:lnTo>
                    <a:pt x="247224" y="35281"/>
                  </a:lnTo>
                  <a:lnTo>
                    <a:pt x="245415" y="36702"/>
                  </a:lnTo>
                  <a:lnTo>
                    <a:pt x="242184" y="37478"/>
                  </a:lnTo>
                  <a:lnTo>
                    <a:pt x="241021" y="37865"/>
                  </a:lnTo>
                  <a:lnTo>
                    <a:pt x="240116" y="38899"/>
                  </a:lnTo>
                  <a:lnTo>
                    <a:pt x="239341" y="40967"/>
                  </a:lnTo>
                  <a:lnTo>
                    <a:pt x="238824" y="44973"/>
                  </a:lnTo>
                  <a:lnTo>
                    <a:pt x="238565" y="48850"/>
                  </a:lnTo>
                  <a:lnTo>
                    <a:pt x="239082" y="50918"/>
                  </a:lnTo>
                  <a:lnTo>
                    <a:pt x="239728" y="52081"/>
                  </a:lnTo>
                  <a:lnTo>
                    <a:pt x="242055" y="54149"/>
                  </a:lnTo>
                  <a:lnTo>
                    <a:pt x="242701" y="55054"/>
                  </a:lnTo>
                  <a:lnTo>
                    <a:pt x="245415" y="60869"/>
                  </a:lnTo>
                  <a:lnTo>
                    <a:pt x="246319" y="64229"/>
                  </a:lnTo>
                  <a:lnTo>
                    <a:pt x="246190" y="65004"/>
                  </a:lnTo>
                  <a:lnTo>
                    <a:pt x="245285" y="65651"/>
                  </a:lnTo>
                  <a:lnTo>
                    <a:pt x="244252" y="65521"/>
                  </a:lnTo>
                  <a:lnTo>
                    <a:pt x="243347" y="65134"/>
                  </a:lnTo>
                  <a:lnTo>
                    <a:pt x="241538" y="63971"/>
                  </a:lnTo>
                  <a:lnTo>
                    <a:pt x="240633" y="63324"/>
                  </a:lnTo>
                  <a:lnTo>
                    <a:pt x="239728" y="63066"/>
                  </a:lnTo>
                  <a:lnTo>
                    <a:pt x="238694" y="63066"/>
                  </a:lnTo>
                  <a:lnTo>
                    <a:pt x="237790" y="63583"/>
                  </a:lnTo>
                  <a:lnTo>
                    <a:pt x="237144" y="64617"/>
                  </a:lnTo>
                  <a:lnTo>
                    <a:pt x="236498" y="65780"/>
                  </a:lnTo>
                  <a:lnTo>
                    <a:pt x="235981" y="67848"/>
                  </a:lnTo>
                  <a:lnTo>
                    <a:pt x="235851" y="69140"/>
                  </a:lnTo>
                  <a:lnTo>
                    <a:pt x="235981" y="71466"/>
                  </a:lnTo>
                  <a:lnTo>
                    <a:pt x="236239" y="73792"/>
                  </a:lnTo>
                  <a:lnTo>
                    <a:pt x="236885" y="75989"/>
                  </a:lnTo>
                  <a:lnTo>
                    <a:pt x="237273" y="77023"/>
                  </a:lnTo>
                  <a:lnTo>
                    <a:pt x="237790" y="77928"/>
                  </a:lnTo>
                  <a:lnTo>
                    <a:pt x="238436" y="78832"/>
                  </a:lnTo>
                  <a:lnTo>
                    <a:pt x="239082" y="79608"/>
                  </a:lnTo>
                  <a:lnTo>
                    <a:pt x="239728" y="80383"/>
                  </a:lnTo>
                  <a:lnTo>
                    <a:pt x="240116" y="81288"/>
                  </a:lnTo>
                  <a:lnTo>
                    <a:pt x="239987" y="82709"/>
                  </a:lnTo>
                  <a:lnTo>
                    <a:pt x="239470" y="84260"/>
                  </a:lnTo>
                  <a:lnTo>
                    <a:pt x="238307" y="86457"/>
                  </a:lnTo>
                  <a:lnTo>
                    <a:pt x="236756" y="90593"/>
                  </a:lnTo>
                  <a:lnTo>
                    <a:pt x="236239" y="91627"/>
                  </a:lnTo>
                  <a:lnTo>
                    <a:pt x="233913" y="95116"/>
                  </a:lnTo>
                  <a:lnTo>
                    <a:pt x="233137" y="96021"/>
                  </a:lnTo>
                  <a:lnTo>
                    <a:pt x="232233" y="96667"/>
                  </a:lnTo>
                  <a:lnTo>
                    <a:pt x="230424" y="97184"/>
                  </a:lnTo>
                  <a:lnTo>
                    <a:pt x="229131" y="97313"/>
                  </a:lnTo>
                  <a:lnTo>
                    <a:pt x="225642" y="96408"/>
                  </a:lnTo>
                  <a:lnTo>
                    <a:pt x="223833" y="96796"/>
                  </a:lnTo>
                  <a:lnTo>
                    <a:pt x="223187" y="97184"/>
                  </a:lnTo>
                  <a:lnTo>
                    <a:pt x="217630" y="101965"/>
                  </a:lnTo>
                  <a:lnTo>
                    <a:pt x="216466" y="102224"/>
                  </a:lnTo>
                  <a:lnTo>
                    <a:pt x="215045" y="101707"/>
                  </a:lnTo>
                  <a:lnTo>
                    <a:pt x="212848" y="99898"/>
                  </a:lnTo>
                  <a:lnTo>
                    <a:pt x="211814" y="98476"/>
                  </a:lnTo>
                  <a:lnTo>
                    <a:pt x="211168" y="97184"/>
                  </a:lnTo>
                  <a:lnTo>
                    <a:pt x="211168" y="96021"/>
                  </a:lnTo>
                  <a:lnTo>
                    <a:pt x="211426" y="94857"/>
                  </a:lnTo>
                  <a:lnTo>
                    <a:pt x="214528" y="88008"/>
                  </a:lnTo>
                  <a:lnTo>
                    <a:pt x="214657" y="86845"/>
                  </a:lnTo>
                  <a:lnTo>
                    <a:pt x="214269" y="85811"/>
                  </a:lnTo>
                  <a:lnTo>
                    <a:pt x="213365" y="84648"/>
                  </a:lnTo>
                  <a:lnTo>
                    <a:pt x="211943" y="83226"/>
                  </a:lnTo>
                  <a:lnTo>
                    <a:pt x="210134" y="80771"/>
                  </a:lnTo>
                  <a:lnTo>
                    <a:pt x="209100" y="79737"/>
                  </a:lnTo>
                  <a:lnTo>
                    <a:pt x="207549" y="78962"/>
                  </a:lnTo>
                  <a:lnTo>
                    <a:pt x="203543" y="78057"/>
                  </a:lnTo>
                  <a:lnTo>
                    <a:pt x="196435" y="77152"/>
                  </a:lnTo>
                  <a:lnTo>
                    <a:pt x="195272" y="77282"/>
                  </a:lnTo>
                  <a:lnTo>
                    <a:pt x="193980" y="77540"/>
                  </a:lnTo>
                  <a:lnTo>
                    <a:pt x="192817" y="77669"/>
                  </a:lnTo>
                  <a:lnTo>
                    <a:pt x="191524" y="76894"/>
                  </a:lnTo>
                  <a:lnTo>
                    <a:pt x="189973" y="74697"/>
                  </a:lnTo>
                  <a:lnTo>
                    <a:pt x="188940" y="73922"/>
                  </a:lnTo>
                  <a:lnTo>
                    <a:pt x="188035" y="73405"/>
                  </a:lnTo>
                  <a:lnTo>
                    <a:pt x="187001" y="73405"/>
                  </a:lnTo>
                  <a:lnTo>
                    <a:pt x="186484" y="73663"/>
                  </a:lnTo>
                  <a:lnTo>
                    <a:pt x="185709" y="74439"/>
                  </a:lnTo>
                  <a:lnTo>
                    <a:pt x="184029" y="76506"/>
                  </a:lnTo>
                  <a:lnTo>
                    <a:pt x="183124" y="77540"/>
                  </a:lnTo>
                  <a:lnTo>
                    <a:pt x="181961" y="78316"/>
                  </a:lnTo>
                  <a:lnTo>
                    <a:pt x="180798" y="78832"/>
                  </a:lnTo>
                  <a:lnTo>
                    <a:pt x="179635" y="79220"/>
                  </a:lnTo>
                  <a:lnTo>
                    <a:pt x="170330" y="81546"/>
                  </a:lnTo>
                  <a:lnTo>
                    <a:pt x="169167" y="81934"/>
                  </a:lnTo>
                  <a:lnTo>
                    <a:pt x="168004" y="82580"/>
                  </a:lnTo>
                  <a:lnTo>
                    <a:pt x="164385" y="85036"/>
                  </a:lnTo>
                  <a:lnTo>
                    <a:pt x="163222" y="85682"/>
                  </a:lnTo>
                  <a:lnTo>
                    <a:pt x="161930" y="85553"/>
                  </a:lnTo>
                  <a:lnTo>
                    <a:pt x="160767" y="84519"/>
                  </a:lnTo>
                  <a:lnTo>
                    <a:pt x="159216" y="81546"/>
                  </a:lnTo>
                  <a:lnTo>
                    <a:pt x="158311" y="78057"/>
                  </a:lnTo>
                  <a:lnTo>
                    <a:pt x="157923" y="76894"/>
                  </a:lnTo>
                  <a:lnTo>
                    <a:pt x="156890" y="75602"/>
                  </a:lnTo>
                  <a:lnTo>
                    <a:pt x="155080" y="74051"/>
                  </a:lnTo>
                  <a:lnTo>
                    <a:pt x="153401" y="73275"/>
                  </a:lnTo>
                  <a:lnTo>
                    <a:pt x="151979" y="72629"/>
                  </a:lnTo>
                  <a:lnTo>
                    <a:pt x="150816" y="72371"/>
                  </a:lnTo>
                  <a:lnTo>
                    <a:pt x="149523" y="72242"/>
                  </a:lnTo>
                  <a:lnTo>
                    <a:pt x="147068" y="72242"/>
                  </a:lnTo>
                  <a:lnTo>
                    <a:pt x="145905" y="72112"/>
                  </a:lnTo>
                  <a:lnTo>
                    <a:pt x="144742" y="72112"/>
                  </a:lnTo>
                  <a:lnTo>
                    <a:pt x="142286" y="72371"/>
                  </a:lnTo>
                  <a:lnTo>
                    <a:pt x="141123" y="72371"/>
                  </a:lnTo>
                  <a:lnTo>
                    <a:pt x="134920" y="71078"/>
                  </a:lnTo>
                  <a:lnTo>
                    <a:pt x="133240" y="70820"/>
                  </a:lnTo>
                  <a:lnTo>
                    <a:pt x="132464" y="70691"/>
                  </a:lnTo>
                  <a:lnTo>
                    <a:pt x="131560" y="70303"/>
                  </a:lnTo>
                  <a:lnTo>
                    <a:pt x="130914" y="69269"/>
                  </a:lnTo>
                  <a:lnTo>
                    <a:pt x="130526" y="68235"/>
                  </a:lnTo>
                  <a:lnTo>
                    <a:pt x="130397" y="67072"/>
                  </a:lnTo>
                  <a:lnTo>
                    <a:pt x="130397" y="64488"/>
                  </a:lnTo>
                  <a:lnTo>
                    <a:pt x="131560" y="58801"/>
                  </a:lnTo>
                  <a:lnTo>
                    <a:pt x="131948" y="57767"/>
                  </a:lnTo>
                  <a:lnTo>
                    <a:pt x="132464" y="56734"/>
                  </a:lnTo>
                  <a:lnTo>
                    <a:pt x="133498" y="56087"/>
                  </a:lnTo>
                  <a:lnTo>
                    <a:pt x="134920" y="55441"/>
                  </a:lnTo>
                  <a:lnTo>
                    <a:pt x="137375" y="54666"/>
                  </a:lnTo>
                  <a:lnTo>
                    <a:pt x="140606" y="52986"/>
                  </a:lnTo>
                  <a:lnTo>
                    <a:pt x="143062" y="46783"/>
                  </a:lnTo>
                  <a:lnTo>
                    <a:pt x="144354" y="39287"/>
                  </a:lnTo>
                  <a:lnTo>
                    <a:pt x="144742" y="38253"/>
                  </a:lnTo>
                  <a:lnTo>
                    <a:pt x="145775" y="36444"/>
                  </a:lnTo>
                  <a:lnTo>
                    <a:pt x="151074" y="29982"/>
                  </a:lnTo>
                  <a:lnTo>
                    <a:pt x="155727" y="25718"/>
                  </a:lnTo>
                  <a:lnTo>
                    <a:pt x="162576" y="15767"/>
                  </a:lnTo>
                  <a:lnTo>
                    <a:pt x="164127" y="14216"/>
                  </a:lnTo>
                  <a:lnTo>
                    <a:pt x="166712" y="12406"/>
                  </a:lnTo>
                  <a:lnTo>
                    <a:pt x="167875" y="10080"/>
                  </a:lnTo>
                  <a:lnTo>
                    <a:pt x="167616" y="3102"/>
                  </a:lnTo>
                  <a:lnTo>
                    <a:pt x="167228" y="2455"/>
                  </a:lnTo>
                  <a:lnTo>
                    <a:pt x="166582" y="2068"/>
                  </a:lnTo>
                  <a:lnTo>
                    <a:pt x="165807" y="1422"/>
                  </a:lnTo>
                  <a:lnTo>
                    <a:pt x="164644" y="905"/>
                  </a:lnTo>
                  <a:lnTo>
                    <a:pt x="163481" y="388"/>
                  </a:lnTo>
                  <a:lnTo>
                    <a:pt x="160121" y="0"/>
                  </a:lnTo>
                  <a:lnTo>
                    <a:pt x="158828" y="129"/>
                  </a:lnTo>
                  <a:lnTo>
                    <a:pt x="155339" y="1939"/>
                  </a:lnTo>
                  <a:lnTo>
                    <a:pt x="151074" y="3360"/>
                  </a:lnTo>
                  <a:lnTo>
                    <a:pt x="146551" y="5945"/>
                  </a:lnTo>
                  <a:lnTo>
                    <a:pt x="143966" y="6720"/>
                  </a:lnTo>
                  <a:lnTo>
                    <a:pt x="142932" y="7625"/>
                  </a:lnTo>
                  <a:lnTo>
                    <a:pt x="141253" y="8013"/>
                  </a:lnTo>
                  <a:lnTo>
                    <a:pt x="140090" y="7754"/>
                  </a:lnTo>
                  <a:lnTo>
                    <a:pt x="138022" y="6979"/>
                  </a:lnTo>
                  <a:lnTo>
                    <a:pt x="136988" y="6720"/>
                  </a:lnTo>
                  <a:lnTo>
                    <a:pt x="135954" y="6720"/>
                  </a:lnTo>
                  <a:lnTo>
                    <a:pt x="132981" y="7366"/>
                  </a:lnTo>
                  <a:lnTo>
                    <a:pt x="129621" y="7496"/>
                  </a:lnTo>
                  <a:lnTo>
                    <a:pt x="128588" y="7754"/>
                  </a:lnTo>
                  <a:lnTo>
                    <a:pt x="127554" y="8142"/>
                  </a:lnTo>
                  <a:lnTo>
                    <a:pt x="126390" y="9176"/>
                  </a:lnTo>
                  <a:lnTo>
                    <a:pt x="125486" y="9822"/>
                  </a:lnTo>
                  <a:lnTo>
                    <a:pt x="124323" y="10209"/>
                  </a:lnTo>
                  <a:lnTo>
                    <a:pt x="120575" y="10597"/>
                  </a:lnTo>
                  <a:lnTo>
                    <a:pt x="118249" y="10985"/>
                  </a:lnTo>
                  <a:lnTo>
                    <a:pt x="111270" y="13957"/>
                  </a:lnTo>
                  <a:lnTo>
                    <a:pt x="107522" y="15120"/>
                  </a:lnTo>
                  <a:lnTo>
                    <a:pt x="106489" y="15637"/>
                  </a:lnTo>
                  <a:lnTo>
                    <a:pt x="105455" y="16283"/>
                  </a:lnTo>
                  <a:lnTo>
                    <a:pt x="104809" y="17705"/>
                  </a:lnTo>
                  <a:lnTo>
                    <a:pt x="104292" y="18868"/>
                  </a:lnTo>
                  <a:lnTo>
                    <a:pt x="104033" y="20290"/>
                  </a:lnTo>
                  <a:lnTo>
                    <a:pt x="103258" y="21970"/>
                  </a:lnTo>
                  <a:lnTo>
                    <a:pt x="103387" y="25071"/>
                  </a:lnTo>
                  <a:lnTo>
                    <a:pt x="103129" y="26105"/>
                  </a:lnTo>
                  <a:lnTo>
                    <a:pt x="102353" y="28044"/>
                  </a:lnTo>
                  <a:lnTo>
                    <a:pt x="101836" y="28690"/>
                  </a:lnTo>
                  <a:lnTo>
                    <a:pt x="101061" y="28431"/>
                  </a:lnTo>
                  <a:lnTo>
                    <a:pt x="100415" y="27914"/>
                  </a:lnTo>
                  <a:lnTo>
                    <a:pt x="99639" y="27785"/>
                  </a:lnTo>
                  <a:lnTo>
                    <a:pt x="98864" y="28431"/>
                  </a:lnTo>
                  <a:lnTo>
                    <a:pt x="98347" y="29982"/>
                  </a:lnTo>
                  <a:lnTo>
                    <a:pt x="97959" y="31404"/>
                  </a:lnTo>
                  <a:lnTo>
                    <a:pt x="97442" y="32825"/>
                  </a:lnTo>
                  <a:lnTo>
                    <a:pt x="96409" y="33988"/>
                  </a:lnTo>
                  <a:lnTo>
                    <a:pt x="89042" y="37865"/>
                  </a:lnTo>
                  <a:lnTo>
                    <a:pt x="81676" y="42906"/>
                  </a:lnTo>
                  <a:lnTo>
                    <a:pt x="80383" y="43422"/>
                  </a:lnTo>
                  <a:lnTo>
                    <a:pt x="79737" y="43552"/>
                  </a:lnTo>
                  <a:lnTo>
                    <a:pt x="79350" y="43939"/>
                  </a:lnTo>
                  <a:lnTo>
                    <a:pt x="78704" y="44715"/>
                  </a:lnTo>
                  <a:lnTo>
                    <a:pt x="78445" y="45878"/>
                  </a:lnTo>
                  <a:lnTo>
                    <a:pt x="77152" y="48463"/>
                  </a:lnTo>
                  <a:lnTo>
                    <a:pt x="74956" y="47429"/>
                  </a:lnTo>
                  <a:lnTo>
                    <a:pt x="74568" y="46653"/>
                  </a:lnTo>
                  <a:lnTo>
                    <a:pt x="74180" y="45749"/>
                  </a:lnTo>
                  <a:lnTo>
                    <a:pt x="73793" y="45103"/>
                  </a:lnTo>
                  <a:lnTo>
                    <a:pt x="72888" y="44973"/>
                  </a:lnTo>
                  <a:lnTo>
                    <a:pt x="71725" y="45749"/>
                  </a:lnTo>
                  <a:lnTo>
                    <a:pt x="70949" y="46524"/>
                  </a:lnTo>
                  <a:lnTo>
                    <a:pt x="67331" y="52081"/>
                  </a:lnTo>
                  <a:lnTo>
                    <a:pt x="66685" y="52857"/>
                  </a:lnTo>
                  <a:lnTo>
                    <a:pt x="65780" y="53115"/>
                  </a:lnTo>
                  <a:lnTo>
                    <a:pt x="53891" y="49367"/>
                  </a:lnTo>
                  <a:lnTo>
                    <a:pt x="52728" y="49367"/>
                  </a:lnTo>
                  <a:lnTo>
                    <a:pt x="51952" y="49626"/>
                  </a:lnTo>
                  <a:lnTo>
                    <a:pt x="50660" y="50918"/>
                  </a:lnTo>
                  <a:lnTo>
                    <a:pt x="49497" y="51564"/>
                  </a:lnTo>
                  <a:lnTo>
                    <a:pt x="48850" y="51435"/>
                  </a:lnTo>
                  <a:lnTo>
                    <a:pt x="48204" y="51047"/>
                  </a:lnTo>
                  <a:lnTo>
                    <a:pt x="46007" y="49238"/>
                  </a:lnTo>
                  <a:lnTo>
                    <a:pt x="32955" y="41613"/>
                  </a:lnTo>
                  <a:lnTo>
                    <a:pt x="30887" y="41226"/>
                  </a:lnTo>
                  <a:lnTo>
                    <a:pt x="29207" y="40838"/>
                  </a:lnTo>
                  <a:lnTo>
                    <a:pt x="27914" y="40062"/>
                  </a:lnTo>
                  <a:lnTo>
                    <a:pt x="26751" y="38641"/>
                  </a:lnTo>
                  <a:lnTo>
                    <a:pt x="26751" y="37348"/>
                  </a:lnTo>
                  <a:lnTo>
                    <a:pt x="26881" y="35281"/>
                  </a:lnTo>
                  <a:lnTo>
                    <a:pt x="26493" y="34635"/>
                  </a:lnTo>
                  <a:lnTo>
                    <a:pt x="25588" y="34893"/>
                  </a:lnTo>
                  <a:lnTo>
                    <a:pt x="24813" y="35410"/>
                  </a:lnTo>
                  <a:lnTo>
                    <a:pt x="23391" y="38382"/>
                  </a:lnTo>
                  <a:lnTo>
                    <a:pt x="22875" y="41226"/>
                  </a:lnTo>
                  <a:lnTo>
                    <a:pt x="22358" y="42518"/>
                  </a:lnTo>
                  <a:lnTo>
                    <a:pt x="21194" y="44327"/>
                  </a:lnTo>
                  <a:lnTo>
                    <a:pt x="19385" y="46266"/>
                  </a:lnTo>
                  <a:lnTo>
                    <a:pt x="17705" y="48850"/>
                  </a:lnTo>
                  <a:lnTo>
                    <a:pt x="11244" y="68235"/>
                  </a:lnTo>
                  <a:lnTo>
                    <a:pt x="10597" y="69786"/>
                  </a:lnTo>
                  <a:lnTo>
                    <a:pt x="10210" y="71595"/>
                  </a:lnTo>
                  <a:lnTo>
                    <a:pt x="10339" y="72888"/>
                  </a:lnTo>
                  <a:lnTo>
                    <a:pt x="10597" y="73922"/>
                  </a:lnTo>
                  <a:lnTo>
                    <a:pt x="10985" y="74697"/>
                  </a:lnTo>
                  <a:lnTo>
                    <a:pt x="11373" y="75214"/>
                  </a:lnTo>
                  <a:lnTo>
                    <a:pt x="12536" y="76765"/>
                  </a:lnTo>
                  <a:lnTo>
                    <a:pt x="13053" y="77669"/>
                  </a:lnTo>
                  <a:lnTo>
                    <a:pt x="13440" y="78703"/>
                  </a:lnTo>
                  <a:lnTo>
                    <a:pt x="13440" y="79737"/>
                  </a:lnTo>
                  <a:lnTo>
                    <a:pt x="13053" y="80900"/>
                  </a:lnTo>
                  <a:lnTo>
                    <a:pt x="11890" y="81934"/>
                  </a:lnTo>
                  <a:lnTo>
                    <a:pt x="9822" y="87103"/>
                  </a:lnTo>
                  <a:lnTo>
                    <a:pt x="8917" y="88137"/>
                  </a:lnTo>
                  <a:lnTo>
                    <a:pt x="7625" y="89300"/>
                  </a:lnTo>
                  <a:lnTo>
                    <a:pt x="5040" y="90980"/>
                  </a:lnTo>
                  <a:lnTo>
                    <a:pt x="3490" y="91756"/>
                  </a:lnTo>
                  <a:lnTo>
                    <a:pt x="1809" y="92790"/>
                  </a:lnTo>
                  <a:lnTo>
                    <a:pt x="388" y="95374"/>
                  </a:lnTo>
                  <a:lnTo>
                    <a:pt x="0" y="99768"/>
                  </a:lnTo>
                  <a:lnTo>
                    <a:pt x="0" y="101190"/>
                  </a:lnTo>
                  <a:lnTo>
                    <a:pt x="517" y="103387"/>
                  </a:lnTo>
                  <a:lnTo>
                    <a:pt x="905" y="104291"/>
                  </a:lnTo>
                  <a:lnTo>
                    <a:pt x="1292" y="104679"/>
                  </a:lnTo>
                  <a:lnTo>
                    <a:pt x="1809" y="105067"/>
                  </a:lnTo>
                  <a:lnTo>
                    <a:pt x="3748" y="105713"/>
                  </a:lnTo>
                  <a:lnTo>
                    <a:pt x="4782" y="106230"/>
                  </a:lnTo>
                  <a:lnTo>
                    <a:pt x="5557" y="106876"/>
                  </a:lnTo>
                  <a:lnTo>
                    <a:pt x="6203" y="107652"/>
                  </a:lnTo>
                  <a:lnTo>
                    <a:pt x="6720" y="108685"/>
                  </a:lnTo>
                  <a:lnTo>
                    <a:pt x="7366" y="111012"/>
                  </a:lnTo>
                  <a:lnTo>
                    <a:pt x="7883" y="113338"/>
                  </a:lnTo>
                  <a:lnTo>
                    <a:pt x="8142" y="114759"/>
                  </a:lnTo>
                  <a:lnTo>
                    <a:pt x="8013" y="116310"/>
                  </a:lnTo>
                  <a:lnTo>
                    <a:pt x="7237" y="120058"/>
                  </a:lnTo>
                  <a:lnTo>
                    <a:pt x="7237" y="121480"/>
                  </a:lnTo>
                  <a:lnTo>
                    <a:pt x="8013" y="122643"/>
                  </a:lnTo>
                  <a:lnTo>
                    <a:pt x="9047" y="123289"/>
                  </a:lnTo>
                  <a:lnTo>
                    <a:pt x="10339" y="123547"/>
                  </a:lnTo>
                  <a:lnTo>
                    <a:pt x="11502" y="123676"/>
                  </a:lnTo>
                  <a:lnTo>
                    <a:pt x="12536" y="124064"/>
                  </a:lnTo>
                  <a:lnTo>
                    <a:pt x="13182" y="124840"/>
                  </a:lnTo>
                  <a:lnTo>
                    <a:pt x="14087" y="126907"/>
                  </a:lnTo>
                  <a:lnTo>
                    <a:pt x="14603" y="127812"/>
                  </a:lnTo>
                  <a:lnTo>
                    <a:pt x="15250" y="128458"/>
                  </a:lnTo>
                  <a:lnTo>
                    <a:pt x="16284" y="129104"/>
                  </a:lnTo>
                  <a:lnTo>
                    <a:pt x="17447" y="129363"/>
                  </a:lnTo>
                  <a:lnTo>
                    <a:pt x="19902" y="129363"/>
                  </a:lnTo>
                  <a:lnTo>
                    <a:pt x="20807" y="129880"/>
                  </a:lnTo>
                  <a:lnTo>
                    <a:pt x="21324" y="130784"/>
                  </a:lnTo>
                  <a:lnTo>
                    <a:pt x="21712" y="132464"/>
                  </a:lnTo>
                  <a:lnTo>
                    <a:pt x="22745" y="136083"/>
                  </a:lnTo>
                  <a:lnTo>
                    <a:pt x="22875" y="137375"/>
                  </a:lnTo>
                  <a:lnTo>
                    <a:pt x="22616" y="139055"/>
                  </a:lnTo>
                  <a:lnTo>
                    <a:pt x="22228" y="140348"/>
                  </a:lnTo>
                  <a:lnTo>
                    <a:pt x="21712" y="141640"/>
                  </a:lnTo>
                  <a:lnTo>
                    <a:pt x="21065" y="142803"/>
                  </a:lnTo>
                  <a:lnTo>
                    <a:pt x="19256" y="145259"/>
                  </a:lnTo>
                  <a:lnTo>
                    <a:pt x="17964" y="148619"/>
                  </a:lnTo>
                  <a:lnTo>
                    <a:pt x="17059" y="150169"/>
                  </a:lnTo>
                  <a:lnTo>
                    <a:pt x="15120" y="152237"/>
                  </a:lnTo>
                  <a:lnTo>
                    <a:pt x="12665" y="153013"/>
                  </a:lnTo>
                  <a:lnTo>
                    <a:pt x="12019" y="153659"/>
                  </a:lnTo>
                  <a:lnTo>
                    <a:pt x="12148" y="154822"/>
                  </a:lnTo>
                  <a:lnTo>
                    <a:pt x="12665" y="157277"/>
                  </a:lnTo>
                  <a:lnTo>
                    <a:pt x="12665" y="158570"/>
                  </a:lnTo>
                  <a:lnTo>
                    <a:pt x="12277" y="160120"/>
                  </a:lnTo>
                  <a:lnTo>
                    <a:pt x="11373" y="161800"/>
                  </a:lnTo>
                  <a:lnTo>
                    <a:pt x="9434" y="163997"/>
                  </a:lnTo>
                  <a:lnTo>
                    <a:pt x="8142" y="165160"/>
                  </a:lnTo>
                  <a:lnTo>
                    <a:pt x="5299" y="167228"/>
                  </a:lnTo>
                  <a:lnTo>
                    <a:pt x="4653" y="168004"/>
                  </a:lnTo>
                  <a:lnTo>
                    <a:pt x="4136" y="168779"/>
                  </a:lnTo>
                  <a:lnTo>
                    <a:pt x="4006" y="169554"/>
                  </a:lnTo>
                  <a:lnTo>
                    <a:pt x="5040" y="171105"/>
                  </a:lnTo>
                  <a:lnTo>
                    <a:pt x="6462" y="171493"/>
                  </a:lnTo>
                  <a:lnTo>
                    <a:pt x="6979" y="171493"/>
                  </a:lnTo>
                  <a:lnTo>
                    <a:pt x="7754" y="171493"/>
                  </a:lnTo>
                  <a:lnTo>
                    <a:pt x="8271" y="171364"/>
                  </a:lnTo>
                  <a:lnTo>
                    <a:pt x="8659" y="171234"/>
                  </a:lnTo>
                  <a:lnTo>
                    <a:pt x="9176" y="171234"/>
                  </a:lnTo>
                  <a:lnTo>
                    <a:pt x="9564" y="171751"/>
                  </a:lnTo>
                  <a:lnTo>
                    <a:pt x="9822" y="172915"/>
                  </a:lnTo>
                  <a:lnTo>
                    <a:pt x="9951" y="174724"/>
                  </a:lnTo>
                  <a:lnTo>
                    <a:pt x="10210" y="175887"/>
                  </a:lnTo>
                  <a:lnTo>
                    <a:pt x="10597" y="177050"/>
                  </a:lnTo>
                  <a:lnTo>
                    <a:pt x="10985" y="177567"/>
                  </a:lnTo>
                  <a:lnTo>
                    <a:pt x="11502" y="178084"/>
                  </a:lnTo>
                  <a:lnTo>
                    <a:pt x="12665" y="178730"/>
                  </a:lnTo>
                  <a:lnTo>
                    <a:pt x="13311" y="178859"/>
                  </a:lnTo>
                  <a:lnTo>
                    <a:pt x="13957" y="178988"/>
                  </a:lnTo>
                  <a:lnTo>
                    <a:pt x="15508" y="178601"/>
                  </a:lnTo>
                  <a:lnTo>
                    <a:pt x="16025" y="178601"/>
                  </a:lnTo>
                  <a:lnTo>
                    <a:pt x="16542" y="178730"/>
                  </a:lnTo>
                  <a:lnTo>
                    <a:pt x="16801" y="179247"/>
                  </a:lnTo>
                  <a:lnTo>
                    <a:pt x="17059" y="180152"/>
                  </a:lnTo>
                  <a:lnTo>
                    <a:pt x="16671" y="181573"/>
                  </a:lnTo>
                  <a:lnTo>
                    <a:pt x="16671" y="184029"/>
                  </a:lnTo>
                  <a:lnTo>
                    <a:pt x="17447" y="184804"/>
                  </a:lnTo>
                  <a:lnTo>
                    <a:pt x="18739" y="185192"/>
                  </a:lnTo>
                  <a:lnTo>
                    <a:pt x="20290" y="185192"/>
                  </a:lnTo>
                  <a:lnTo>
                    <a:pt x="21065" y="185450"/>
                  </a:lnTo>
                  <a:lnTo>
                    <a:pt x="21712" y="185709"/>
                  </a:lnTo>
                  <a:lnTo>
                    <a:pt x="22487" y="186355"/>
                  </a:lnTo>
                  <a:lnTo>
                    <a:pt x="22875" y="186742"/>
                  </a:lnTo>
                  <a:lnTo>
                    <a:pt x="23391" y="186872"/>
                  </a:lnTo>
                  <a:lnTo>
                    <a:pt x="24167" y="186872"/>
                  </a:lnTo>
                  <a:lnTo>
                    <a:pt x="25459" y="186742"/>
                  </a:lnTo>
                  <a:lnTo>
                    <a:pt x="27656" y="186096"/>
                  </a:lnTo>
                  <a:lnTo>
                    <a:pt x="28949" y="185450"/>
                  </a:lnTo>
                  <a:lnTo>
                    <a:pt x="30241" y="184416"/>
                  </a:lnTo>
                  <a:lnTo>
                    <a:pt x="30758" y="183899"/>
                  </a:lnTo>
                  <a:lnTo>
                    <a:pt x="31404" y="183382"/>
                  </a:lnTo>
                  <a:lnTo>
                    <a:pt x="32050" y="183124"/>
                  </a:lnTo>
                  <a:lnTo>
                    <a:pt x="33472" y="183253"/>
                  </a:lnTo>
                  <a:lnTo>
                    <a:pt x="33988" y="183641"/>
                  </a:lnTo>
                  <a:lnTo>
                    <a:pt x="34376" y="184287"/>
                  </a:lnTo>
                  <a:lnTo>
                    <a:pt x="34635" y="184804"/>
                  </a:lnTo>
                  <a:lnTo>
                    <a:pt x="35023" y="185062"/>
                  </a:lnTo>
                  <a:lnTo>
                    <a:pt x="35539" y="185062"/>
                  </a:lnTo>
                  <a:lnTo>
                    <a:pt x="36315" y="184545"/>
                  </a:lnTo>
                  <a:lnTo>
                    <a:pt x="37349" y="183124"/>
                  </a:lnTo>
                  <a:lnTo>
                    <a:pt x="38770" y="181573"/>
                  </a:lnTo>
                  <a:lnTo>
                    <a:pt x="41743" y="179635"/>
                  </a:lnTo>
                  <a:lnTo>
                    <a:pt x="43035" y="179893"/>
                  </a:lnTo>
                  <a:lnTo>
                    <a:pt x="43940" y="180539"/>
                  </a:lnTo>
                  <a:lnTo>
                    <a:pt x="44327" y="180927"/>
                  </a:lnTo>
                  <a:lnTo>
                    <a:pt x="44586" y="181444"/>
                  </a:lnTo>
                  <a:lnTo>
                    <a:pt x="45749" y="183899"/>
                  </a:lnTo>
                  <a:lnTo>
                    <a:pt x="46266" y="184933"/>
                  </a:lnTo>
                  <a:lnTo>
                    <a:pt x="46783" y="185838"/>
                  </a:lnTo>
                  <a:lnTo>
                    <a:pt x="47687" y="188681"/>
                  </a:lnTo>
                  <a:lnTo>
                    <a:pt x="47817" y="189198"/>
                  </a:lnTo>
                  <a:lnTo>
                    <a:pt x="47817" y="189844"/>
                  </a:lnTo>
                  <a:lnTo>
                    <a:pt x="47817" y="190490"/>
                  </a:lnTo>
                  <a:lnTo>
                    <a:pt x="47300" y="192300"/>
                  </a:lnTo>
                  <a:lnTo>
                    <a:pt x="47300" y="192946"/>
                  </a:lnTo>
                  <a:lnTo>
                    <a:pt x="47300" y="193463"/>
                  </a:lnTo>
                  <a:lnTo>
                    <a:pt x="47558" y="193980"/>
                  </a:lnTo>
                  <a:lnTo>
                    <a:pt x="48075" y="194238"/>
                  </a:lnTo>
                  <a:lnTo>
                    <a:pt x="49238" y="194367"/>
                  </a:lnTo>
                  <a:lnTo>
                    <a:pt x="49755" y="194626"/>
                  </a:lnTo>
                  <a:lnTo>
                    <a:pt x="51177" y="195272"/>
                  </a:lnTo>
                  <a:lnTo>
                    <a:pt x="52340" y="195660"/>
                  </a:lnTo>
                  <a:lnTo>
                    <a:pt x="52986" y="195660"/>
                  </a:lnTo>
                  <a:lnTo>
                    <a:pt x="53632" y="195401"/>
                  </a:lnTo>
                  <a:lnTo>
                    <a:pt x="54408" y="194755"/>
                  </a:lnTo>
                  <a:lnTo>
                    <a:pt x="54666" y="194109"/>
                  </a:lnTo>
                  <a:lnTo>
                    <a:pt x="54795" y="193463"/>
                  </a:lnTo>
                  <a:lnTo>
                    <a:pt x="54795" y="192816"/>
                  </a:lnTo>
                  <a:lnTo>
                    <a:pt x="54795" y="192170"/>
                  </a:lnTo>
                  <a:lnTo>
                    <a:pt x="54924" y="191653"/>
                  </a:lnTo>
                  <a:lnTo>
                    <a:pt x="55312" y="191524"/>
                  </a:lnTo>
                  <a:lnTo>
                    <a:pt x="55958" y="191783"/>
                  </a:lnTo>
                  <a:lnTo>
                    <a:pt x="56346" y="192041"/>
                  </a:lnTo>
                  <a:lnTo>
                    <a:pt x="56734" y="192429"/>
                  </a:lnTo>
                  <a:lnTo>
                    <a:pt x="57251" y="192687"/>
                  </a:lnTo>
                  <a:lnTo>
                    <a:pt x="57638" y="192946"/>
                  </a:lnTo>
                  <a:lnTo>
                    <a:pt x="58284" y="192946"/>
                  </a:lnTo>
                  <a:lnTo>
                    <a:pt x="58930" y="192946"/>
                  </a:lnTo>
                  <a:lnTo>
                    <a:pt x="59706" y="192816"/>
                  </a:lnTo>
                  <a:lnTo>
                    <a:pt x="60352" y="192429"/>
                  </a:lnTo>
                  <a:lnTo>
                    <a:pt x="61386" y="191653"/>
                  </a:lnTo>
                  <a:lnTo>
                    <a:pt x="61903" y="191007"/>
                  </a:lnTo>
                  <a:lnTo>
                    <a:pt x="62291" y="190361"/>
                  </a:lnTo>
                  <a:lnTo>
                    <a:pt x="62549" y="189844"/>
                  </a:lnTo>
                  <a:lnTo>
                    <a:pt x="62937" y="188164"/>
                  </a:lnTo>
                  <a:lnTo>
                    <a:pt x="63195" y="187647"/>
                  </a:lnTo>
                  <a:lnTo>
                    <a:pt x="63583" y="187130"/>
                  </a:lnTo>
                  <a:lnTo>
                    <a:pt x="64100" y="187001"/>
                  </a:lnTo>
                  <a:lnTo>
                    <a:pt x="64875" y="187130"/>
                  </a:lnTo>
                  <a:lnTo>
                    <a:pt x="65392" y="187518"/>
                  </a:lnTo>
                  <a:lnTo>
                    <a:pt x="65651" y="188035"/>
                  </a:lnTo>
                  <a:lnTo>
                    <a:pt x="65909" y="188681"/>
                  </a:lnTo>
                  <a:lnTo>
                    <a:pt x="65909" y="189327"/>
                  </a:lnTo>
                  <a:lnTo>
                    <a:pt x="66168" y="190361"/>
                  </a:lnTo>
                  <a:lnTo>
                    <a:pt x="66426" y="190749"/>
                  </a:lnTo>
                  <a:lnTo>
                    <a:pt x="66814" y="191136"/>
                  </a:lnTo>
                  <a:lnTo>
                    <a:pt x="67202" y="191395"/>
                  </a:lnTo>
                  <a:lnTo>
                    <a:pt x="67719" y="191653"/>
                  </a:lnTo>
                  <a:lnTo>
                    <a:pt x="70432" y="192558"/>
                  </a:lnTo>
                  <a:lnTo>
                    <a:pt x="71078" y="192687"/>
                  </a:lnTo>
                  <a:lnTo>
                    <a:pt x="71595" y="192429"/>
                  </a:lnTo>
                  <a:lnTo>
                    <a:pt x="71983" y="191912"/>
                  </a:lnTo>
                  <a:lnTo>
                    <a:pt x="71983" y="191395"/>
                  </a:lnTo>
                  <a:lnTo>
                    <a:pt x="71854" y="191007"/>
                  </a:lnTo>
                  <a:lnTo>
                    <a:pt x="71466" y="190490"/>
                  </a:lnTo>
                  <a:lnTo>
                    <a:pt x="71208" y="190102"/>
                  </a:lnTo>
                  <a:lnTo>
                    <a:pt x="71078" y="189586"/>
                  </a:lnTo>
                  <a:lnTo>
                    <a:pt x="70949" y="189069"/>
                  </a:lnTo>
                  <a:lnTo>
                    <a:pt x="71078" y="188552"/>
                  </a:lnTo>
                  <a:lnTo>
                    <a:pt x="71208" y="188035"/>
                  </a:lnTo>
                  <a:lnTo>
                    <a:pt x="72113" y="186742"/>
                  </a:lnTo>
                  <a:lnTo>
                    <a:pt x="72759" y="185967"/>
                  </a:lnTo>
                  <a:lnTo>
                    <a:pt x="73405" y="185579"/>
                  </a:lnTo>
                  <a:lnTo>
                    <a:pt x="74309" y="185321"/>
                  </a:lnTo>
                  <a:lnTo>
                    <a:pt x="75731" y="185192"/>
                  </a:lnTo>
                  <a:lnTo>
                    <a:pt x="76636" y="185192"/>
                  </a:lnTo>
                  <a:lnTo>
                    <a:pt x="77411" y="185321"/>
                  </a:lnTo>
                  <a:lnTo>
                    <a:pt x="82063" y="187518"/>
                  </a:lnTo>
                  <a:lnTo>
                    <a:pt x="82839" y="187389"/>
                  </a:lnTo>
                  <a:lnTo>
                    <a:pt x="83743" y="187001"/>
                  </a:lnTo>
                  <a:lnTo>
                    <a:pt x="86328" y="185192"/>
                  </a:lnTo>
                  <a:lnTo>
                    <a:pt x="86845" y="184675"/>
                  </a:lnTo>
                  <a:lnTo>
                    <a:pt x="87233" y="184287"/>
                  </a:lnTo>
                  <a:lnTo>
                    <a:pt x="88396" y="182348"/>
                  </a:lnTo>
                  <a:lnTo>
                    <a:pt x="90076" y="178859"/>
                  </a:lnTo>
                  <a:lnTo>
                    <a:pt x="90593" y="177955"/>
                  </a:lnTo>
                  <a:lnTo>
                    <a:pt x="91756" y="176791"/>
                  </a:lnTo>
                  <a:lnTo>
                    <a:pt x="93048" y="175887"/>
                  </a:lnTo>
                  <a:lnTo>
                    <a:pt x="94082" y="175499"/>
                  </a:lnTo>
                  <a:lnTo>
                    <a:pt x="102095" y="172915"/>
                  </a:lnTo>
                  <a:lnTo>
                    <a:pt x="103516" y="171881"/>
                  </a:lnTo>
                  <a:lnTo>
                    <a:pt x="104292" y="171234"/>
                  </a:lnTo>
                  <a:lnTo>
                    <a:pt x="104809" y="170717"/>
                  </a:lnTo>
                  <a:lnTo>
                    <a:pt x="107910" y="166324"/>
                  </a:lnTo>
                  <a:lnTo>
                    <a:pt x="110495" y="163739"/>
                  </a:lnTo>
                  <a:lnTo>
                    <a:pt x="111012" y="163351"/>
                  </a:lnTo>
                  <a:lnTo>
                    <a:pt x="122901" y="158440"/>
                  </a:lnTo>
                  <a:lnTo>
                    <a:pt x="127554" y="155856"/>
                  </a:lnTo>
                  <a:lnTo>
                    <a:pt x="128070" y="155468"/>
                  </a:lnTo>
                  <a:lnTo>
                    <a:pt x="128458" y="155080"/>
                  </a:lnTo>
                  <a:lnTo>
                    <a:pt x="129363" y="153788"/>
                  </a:lnTo>
                  <a:lnTo>
                    <a:pt x="130268" y="151849"/>
                  </a:lnTo>
                  <a:lnTo>
                    <a:pt x="130655" y="151462"/>
                  </a:lnTo>
                  <a:lnTo>
                    <a:pt x="132077" y="149782"/>
                  </a:lnTo>
                  <a:lnTo>
                    <a:pt x="133240" y="148748"/>
                  </a:lnTo>
                  <a:lnTo>
                    <a:pt x="134274" y="147585"/>
                  </a:lnTo>
                  <a:lnTo>
                    <a:pt x="134403" y="147068"/>
                  </a:lnTo>
                  <a:lnTo>
                    <a:pt x="134662" y="145000"/>
                  </a:lnTo>
                  <a:lnTo>
                    <a:pt x="134791" y="144483"/>
                  </a:lnTo>
                  <a:lnTo>
                    <a:pt x="135179" y="143966"/>
                  </a:lnTo>
                  <a:lnTo>
                    <a:pt x="135695" y="143578"/>
                  </a:lnTo>
                  <a:lnTo>
                    <a:pt x="139960" y="141769"/>
                  </a:lnTo>
                  <a:lnTo>
                    <a:pt x="140477" y="141640"/>
                  </a:lnTo>
                  <a:lnTo>
                    <a:pt x="140865" y="141769"/>
                  </a:lnTo>
                  <a:lnTo>
                    <a:pt x="141123" y="142545"/>
                  </a:lnTo>
                  <a:lnTo>
                    <a:pt x="141253" y="143191"/>
                  </a:lnTo>
                  <a:lnTo>
                    <a:pt x="141769" y="143578"/>
                  </a:lnTo>
                  <a:lnTo>
                    <a:pt x="142545" y="143578"/>
                  </a:lnTo>
                  <a:lnTo>
                    <a:pt x="143837" y="143320"/>
                  </a:lnTo>
                  <a:lnTo>
                    <a:pt x="144612" y="142932"/>
                  </a:lnTo>
                  <a:lnTo>
                    <a:pt x="145259" y="142674"/>
                  </a:lnTo>
                  <a:lnTo>
                    <a:pt x="145646" y="142286"/>
                  </a:lnTo>
                  <a:lnTo>
                    <a:pt x="146422" y="141640"/>
                  </a:lnTo>
                  <a:lnTo>
                    <a:pt x="146939" y="140735"/>
                  </a:lnTo>
                  <a:lnTo>
                    <a:pt x="147585" y="139185"/>
                  </a:lnTo>
                  <a:lnTo>
                    <a:pt x="147843" y="138538"/>
                  </a:lnTo>
                  <a:lnTo>
                    <a:pt x="148231" y="137504"/>
                  </a:lnTo>
                  <a:lnTo>
                    <a:pt x="148490" y="137117"/>
                  </a:lnTo>
                  <a:lnTo>
                    <a:pt x="149006" y="136729"/>
                  </a:lnTo>
                  <a:lnTo>
                    <a:pt x="149523" y="136471"/>
                  </a:lnTo>
                  <a:lnTo>
                    <a:pt x="156890" y="134532"/>
                  </a:lnTo>
                  <a:lnTo>
                    <a:pt x="158570" y="133757"/>
                  </a:lnTo>
                  <a:lnTo>
                    <a:pt x="158957" y="133628"/>
                  </a:lnTo>
                  <a:lnTo>
                    <a:pt x="159475" y="133498"/>
                  </a:lnTo>
                  <a:lnTo>
                    <a:pt x="160767" y="134144"/>
                  </a:lnTo>
                  <a:lnTo>
                    <a:pt x="162576" y="135178"/>
                  </a:lnTo>
                  <a:lnTo>
                    <a:pt x="170718" y="141640"/>
                  </a:lnTo>
                  <a:lnTo>
                    <a:pt x="175499" y="143578"/>
                  </a:lnTo>
                  <a:lnTo>
                    <a:pt x="178730" y="145905"/>
                  </a:lnTo>
                  <a:lnTo>
                    <a:pt x="179118" y="146292"/>
                  </a:lnTo>
                  <a:lnTo>
                    <a:pt x="179764" y="146422"/>
                  </a:lnTo>
                  <a:lnTo>
                    <a:pt x="180410" y="146422"/>
                  </a:lnTo>
                  <a:lnTo>
                    <a:pt x="182219" y="146034"/>
                  </a:lnTo>
                  <a:lnTo>
                    <a:pt x="182736" y="146163"/>
                  </a:lnTo>
                  <a:lnTo>
                    <a:pt x="183382" y="146292"/>
                  </a:lnTo>
                  <a:lnTo>
                    <a:pt x="183899" y="146551"/>
                  </a:lnTo>
                  <a:lnTo>
                    <a:pt x="184287" y="146809"/>
                  </a:lnTo>
                  <a:lnTo>
                    <a:pt x="184545" y="147197"/>
                  </a:lnTo>
                  <a:lnTo>
                    <a:pt x="184804" y="147714"/>
                  </a:lnTo>
                  <a:lnTo>
                    <a:pt x="184933" y="148360"/>
                  </a:lnTo>
                  <a:lnTo>
                    <a:pt x="184804" y="150299"/>
                  </a:lnTo>
                  <a:lnTo>
                    <a:pt x="184804" y="150945"/>
                  </a:lnTo>
                  <a:lnTo>
                    <a:pt x="184933" y="151591"/>
                  </a:lnTo>
                  <a:lnTo>
                    <a:pt x="185063" y="152108"/>
                  </a:lnTo>
                  <a:lnTo>
                    <a:pt x="185321" y="152625"/>
                  </a:lnTo>
                  <a:lnTo>
                    <a:pt x="187130" y="155339"/>
                  </a:lnTo>
                  <a:lnTo>
                    <a:pt x="187389" y="155726"/>
                  </a:lnTo>
                  <a:lnTo>
                    <a:pt x="187389" y="156373"/>
                  </a:lnTo>
                  <a:lnTo>
                    <a:pt x="187260" y="157019"/>
                  </a:lnTo>
                  <a:lnTo>
                    <a:pt x="186872" y="157794"/>
                  </a:lnTo>
                  <a:lnTo>
                    <a:pt x="185967" y="158570"/>
                  </a:lnTo>
                  <a:lnTo>
                    <a:pt x="185192" y="158957"/>
                  </a:lnTo>
                  <a:lnTo>
                    <a:pt x="178989" y="161154"/>
                  </a:lnTo>
                  <a:lnTo>
                    <a:pt x="176533" y="162317"/>
                  </a:lnTo>
                  <a:lnTo>
                    <a:pt x="174465" y="163093"/>
                  </a:lnTo>
                  <a:lnTo>
                    <a:pt x="173819" y="163222"/>
                  </a:lnTo>
                  <a:lnTo>
                    <a:pt x="170459" y="163480"/>
                  </a:lnTo>
                  <a:lnTo>
                    <a:pt x="169942" y="163610"/>
                  </a:lnTo>
                  <a:lnTo>
                    <a:pt x="168004" y="164644"/>
                  </a:lnTo>
                  <a:lnTo>
                    <a:pt x="167487" y="164902"/>
                  </a:lnTo>
                  <a:lnTo>
                    <a:pt x="166970" y="165031"/>
                  </a:lnTo>
                  <a:lnTo>
                    <a:pt x="166453" y="165290"/>
                  </a:lnTo>
                  <a:lnTo>
                    <a:pt x="166065" y="165677"/>
                  </a:lnTo>
                  <a:lnTo>
                    <a:pt x="165677" y="166065"/>
                  </a:lnTo>
                  <a:lnTo>
                    <a:pt x="165160" y="166841"/>
                  </a:lnTo>
                  <a:lnTo>
                    <a:pt x="164644" y="168262"/>
                  </a:lnTo>
                  <a:lnTo>
                    <a:pt x="163868" y="171364"/>
                  </a:lnTo>
                  <a:lnTo>
                    <a:pt x="163739" y="172785"/>
                  </a:lnTo>
                  <a:lnTo>
                    <a:pt x="163739" y="173948"/>
                  </a:lnTo>
                  <a:lnTo>
                    <a:pt x="163997" y="174465"/>
                  </a:lnTo>
                  <a:lnTo>
                    <a:pt x="164256" y="174853"/>
                  </a:lnTo>
                  <a:lnTo>
                    <a:pt x="166065" y="178988"/>
                  </a:lnTo>
                  <a:lnTo>
                    <a:pt x="166841" y="181185"/>
                  </a:lnTo>
                  <a:lnTo>
                    <a:pt x="168521" y="183899"/>
                  </a:lnTo>
                  <a:lnTo>
                    <a:pt x="168779" y="185062"/>
                  </a:lnTo>
                  <a:lnTo>
                    <a:pt x="168908" y="185709"/>
                  </a:lnTo>
                  <a:lnTo>
                    <a:pt x="168908" y="186355"/>
                  </a:lnTo>
                  <a:lnTo>
                    <a:pt x="168779" y="187001"/>
                  </a:lnTo>
                  <a:lnTo>
                    <a:pt x="168650" y="187647"/>
                  </a:lnTo>
                  <a:lnTo>
                    <a:pt x="168262" y="188422"/>
                  </a:lnTo>
                  <a:lnTo>
                    <a:pt x="167745" y="189069"/>
                  </a:lnTo>
                  <a:lnTo>
                    <a:pt x="166195" y="190102"/>
                  </a:lnTo>
                  <a:lnTo>
                    <a:pt x="163610" y="191266"/>
                  </a:lnTo>
                  <a:lnTo>
                    <a:pt x="162705" y="191912"/>
                  </a:lnTo>
                  <a:lnTo>
                    <a:pt x="162188" y="192429"/>
                  </a:lnTo>
                  <a:lnTo>
                    <a:pt x="161801" y="193075"/>
                  </a:lnTo>
                  <a:lnTo>
                    <a:pt x="160896" y="195918"/>
                  </a:lnTo>
                  <a:lnTo>
                    <a:pt x="160638" y="196435"/>
                  </a:lnTo>
                  <a:lnTo>
                    <a:pt x="156244" y="203155"/>
                  </a:lnTo>
                  <a:lnTo>
                    <a:pt x="155985" y="203672"/>
                  </a:lnTo>
                  <a:lnTo>
                    <a:pt x="154693" y="204964"/>
                  </a:lnTo>
                  <a:lnTo>
                    <a:pt x="150428" y="207808"/>
                  </a:lnTo>
                  <a:lnTo>
                    <a:pt x="149911" y="208841"/>
                  </a:lnTo>
                  <a:lnTo>
                    <a:pt x="149523" y="209875"/>
                  </a:lnTo>
                  <a:lnTo>
                    <a:pt x="149394" y="210392"/>
                  </a:lnTo>
                  <a:lnTo>
                    <a:pt x="149523" y="210909"/>
                  </a:lnTo>
                  <a:lnTo>
                    <a:pt x="149782" y="211297"/>
                  </a:lnTo>
                  <a:lnTo>
                    <a:pt x="150040" y="211685"/>
                  </a:lnTo>
                  <a:lnTo>
                    <a:pt x="150170" y="211814"/>
                  </a:lnTo>
                  <a:lnTo>
                    <a:pt x="150428" y="211943"/>
                  </a:lnTo>
                  <a:lnTo>
                    <a:pt x="150945" y="212072"/>
                  </a:lnTo>
                  <a:lnTo>
                    <a:pt x="151849" y="212072"/>
                  </a:lnTo>
                  <a:lnTo>
                    <a:pt x="152366" y="212072"/>
                  </a:lnTo>
                  <a:lnTo>
                    <a:pt x="152754" y="211943"/>
                  </a:lnTo>
                  <a:lnTo>
                    <a:pt x="154047" y="211168"/>
                  </a:lnTo>
                  <a:lnTo>
                    <a:pt x="154951" y="210651"/>
                  </a:lnTo>
                  <a:lnTo>
                    <a:pt x="155339" y="210392"/>
                  </a:lnTo>
                  <a:lnTo>
                    <a:pt x="155985" y="210263"/>
                  </a:lnTo>
                  <a:lnTo>
                    <a:pt x="157794" y="210392"/>
                  </a:lnTo>
                  <a:lnTo>
                    <a:pt x="158440" y="210392"/>
                  </a:lnTo>
                  <a:lnTo>
                    <a:pt x="158957" y="210263"/>
                  </a:lnTo>
                  <a:lnTo>
                    <a:pt x="159216" y="210134"/>
                  </a:lnTo>
                  <a:lnTo>
                    <a:pt x="160121" y="209746"/>
                  </a:lnTo>
                  <a:lnTo>
                    <a:pt x="160896" y="209100"/>
                  </a:lnTo>
                  <a:lnTo>
                    <a:pt x="161284" y="208712"/>
                  </a:lnTo>
                  <a:lnTo>
                    <a:pt x="162188" y="208066"/>
                  </a:lnTo>
                  <a:lnTo>
                    <a:pt x="163093" y="207549"/>
                  </a:lnTo>
                  <a:lnTo>
                    <a:pt x="163739" y="207420"/>
                  </a:lnTo>
                  <a:lnTo>
                    <a:pt x="164385" y="207420"/>
                  </a:lnTo>
                  <a:lnTo>
                    <a:pt x="165031" y="207549"/>
                  </a:lnTo>
                  <a:lnTo>
                    <a:pt x="166195" y="207937"/>
                  </a:lnTo>
                  <a:lnTo>
                    <a:pt x="167745" y="208583"/>
                  </a:lnTo>
                  <a:lnTo>
                    <a:pt x="170588" y="209488"/>
                  </a:lnTo>
                  <a:lnTo>
                    <a:pt x="171105" y="210004"/>
                  </a:lnTo>
                  <a:lnTo>
                    <a:pt x="171622" y="210651"/>
                  </a:lnTo>
                  <a:lnTo>
                    <a:pt x="171881" y="212331"/>
                  </a:lnTo>
                  <a:lnTo>
                    <a:pt x="171881" y="213106"/>
                  </a:lnTo>
                  <a:lnTo>
                    <a:pt x="171622" y="213752"/>
                  </a:lnTo>
                  <a:lnTo>
                    <a:pt x="170847" y="214657"/>
                  </a:lnTo>
                  <a:lnTo>
                    <a:pt x="170588" y="215045"/>
                  </a:lnTo>
                  <a:lnTo>
                    <a:pt x="170459" y="215562"/>
                  </a:lnTo>
                  <a:lnTo>
                    <a:pt x="170330" y="216208"/>
                  </a:lnTo>
                  <a:lnTo>
                    <a:pt x="170330" y="216854"/>
                  </a:lnTo>
                  <a:lnTo>
                    <a:pt x="170718" y="218017"/>
                  </a:lnTo>
                  <a:lnTo>
                    <a:pt x="171622" y="220731"/>
                  </a:lnTo>
                  <a:lnTo>
                    <a:pt x="171881" y="221894"/>
                  </a:lnTo>
                  <a:lnTo>
                    <a:pt x="172010" y="224608"/>
                  </a:lnTo>
                  <a:lnTo>
                    <a:pt x="172915" y="229519"/>
                  </a:lnTo>
                  <a:lnTo>
                    <a:pt x="173432" y="230423"/>
                  </a:lnTo>
                  <a:lnTo>
                    <a:pt x="174336" y="231586"/>
                  </a:lnTo>
                  <a:lnTo>
                    <a:pt x="178343" y="235334"/>
                  </a:lnTo>
                  <a:lnTo>
                    <a:pt x="178601" y="235722"/>
                  </a:lnTo>
                  <a:lnTo>
                    <a:pt x="179247" y="236239"/>
                  </a:lnTo>
                  <a:lnTo>
                    <a:pt x="180023" y="236627"/>
                  </a:lnTo>
                  <a:lnTo>
                    <a:pt x="182478" y="237402"/>
                  </a:lnTo>
                  <a:lnTo>
                    <a:pt x="183899" y="238048"/>
                  </a:lnTo>
                  <a:lnTo>
                    <a:pt x="186355" y="240633"/>
                  </a:lnTo>
                  <a:lnTo>
                    <a:pt x="190749" y="242313"/>
                  </a:lnTo>
                  <a:lnTo>
                    <a:pt x="192041" y="242184"/>
                  </a:lnTo>
                  <a:lnTo>
                    <a:pt x="193204" y="241796"/>
                  </a:lnTo>
                  <a:lnTo>
                    <a:pt x="193721" y="241537"/>
                  </a:lnTo>
                  <a:lnTo>
                    <a:pt x="199537" y="237660"/>
                  </a:lnTo>
                  <a:lnTo>
                    <a:pt x="201475" y="236756"/>
                  </a:lnTo>
                  <a:lnTo>
                    <a:pt x="202638" y="236368"/>
                  </a:lnTo>
                  <a:lnTo>
                    <a:pt x="204448" y="235980"/>
                  </a:lnTo>
                  <a:lnTo>
                    <a:pt x="210004" y="235722"/>
                  </a:lnTo>
                  <a:lnTo>
                    <a:pt x="210780" y="235463"/>
                  </a:lnTo>
                  <a:lnTo>
                    <a:pt x="211556" y="234817"/>
                  </a:lnTo>
                  <a:lnTo>
                    <a:pt x="216078" y="230553"/>
                  </a:lnTo>
                  <a:lnTo>
                    <a:pt x="216725" y="229648"/>
                  </a:lnTo>
                  <a:lnTo>
                    <a:pt x="217242" y="228873"/>
                  </a:lnTo>
                  <a:lnTo>
                    <a:pt x="218017" y="227322"/>
                  </a:lnTo>
                  <a:lnTo>
                    <a:pt x="218534" y="226805"/>
                  </a:lnTo>
                  <a:lnTo>
                    <a:pt x="219439" y="226417"/>
                  </a:lnTo>
                  <a:lnTo>
                    <a:pt x="221119" y="225771"/>
                  </a:lnTo>
                  <a:lnTo>
                    <a:pt x="222152" y="225513"/>
                  </a:lnTo>
                  <a:lnTo>
                    <a:pt x="223057" y="224996"/>
                  </a:lnTo>
                  <a:lnTo>
                    <a:pt x="223962" y="224220"/>
                  </a:lnTo>
                  <a:lnTo>
                    <a:pt x="225513" y="222540"/>
                  </a:lnTo>
                  <a:lnTo>
                    <a:pt x="226159" y="221635"/>
                  </a:lnTo>
                  <a:lnTo>
                    <a:pt x="226417" y="220731"/>
                  </a:lnTo>
                  <a:lnTo>
                    <a:pt x="226417" y="220085"/>
                  </a:lnTo>
                  <a:lnTo>
                    <a:pt x="226417" y="219439"/>
                  </a:lnTo>
                  <a:lnTo>
                    <a:pt x="226159" y="218275"/>
                  </a:lnTo>
                  <a:lnTo>
                    <a:pt x="225900" y="217758"/>
                  </a:lnTo>
                  <a:lnTo>
                    <a:pt x="224867" y="215820"/>
                  </a:lnTo>
                  <a:lnTo>
                    <a:pt x="223574" y="214140"/>
                  </a:lnTo>
                  <a:lnTo>
                    <a:pt x="223316" y="213752"/>
                  </a:lnTo>
                  <a:lnTo>
                    <a:pt x="223187" y="213235"/>
                  </a:lnTo>
                  <a:lnTo>
                    <a:pt x="223316" y="212718"/>
                  </a:lnTo>
                  <a:lnTo>
                    <a:pt x="223445" y="212331"/>
                  </a:lnTo>
                  <a:lnTo>
                    <a:pt x="223833" y="211685"/>
                  </a:lnTo>
                  <a:lnTo>
                    <a:pt x="226805" y="208195"/>
                  </a:lnTo>
                  <a:lnTo>
                    <a:pt x="227322" y="207678"/>
                  </a:lnTo>
                  <a:lnTo>
                    <a:pt x="228226" y="207291"/>
                  </a:lnTo>
                  <a:lnTo>
                    <a:pt x="229390" y="207032"/>
                  </a:lnTo>
                  <a:lnTo>
                    <a:pt x="230294" y="207032"/>
                  </a:lnTo>
                  <a:lnTo>
                    <a:pt x="231070" y="207032"/>
                  </a:lnTo>
                  <a:lnTo>
                    <a:pt x="231587" y="207032"/>
                  </a:lnTo>
                  <a:lnTo>
                    <a:pt x="232104" y="206774"/>
                  </a:lnTo>
                  <a:lnTo>
                    <a:pt x="232104" y="206257"/>
                  </a:lnTo>
                  <a:lnTo>
                    <a:pt x="231974" y="205740"/>
                  </a:lnTo>
                  <a:lnTo>
                    <a:pt x="231457" y="204835"/>
                  </a:lnTo>
                  <a:lnTo>
                    <a:pt x="231845" y="204318"/>
                  </a:lnTo>
                  <a:lnTo>
                    <a:pt x="232879" y="203672"/>
                  </a:lnTo>
                  <a:lnTo>
                    <a:pt x="235464" y="203155"/>
                  </a:lnTo>
                  <a:lnTo>
                    <a:pt x="240504" y="202638"/>
                  </a:lnTo>
                  <a:lnTo>
                    <a:pt x="243088" y="203026"/>
                  </a:lnTo>
                  <a:lnTo>
                    <a:pt x="243864" y="202897"/>
                  </a:lnTo>
                  <a:lnTo>
                    <a:pt x="244768" y="202638"/>
                  </a:lnTo>
                  <a:lnTo>
                    <a:pt x="245802" y="202121"/>
                  </a:lnTo>
                  <a:lnTo>
                    <a:pt x="248129" y="200312"/>
                  </a:lnTo>
                  <a:lnTo>
                    <a:pt x="248775" y="199795"/>
                  </a:lnTo>
                  <a:lnTo>
                    <a:pt x="249033" y="199407"/>
                  </a:lnTo>
                  <a:lnTo>
                    <a:pt x="249292" y="198890"/>
                  </a:lnTo>
                  <a:lnTo>
                    <a:pt x="249550" y="198373"/>
                  </a:lnTo>
                  <a:lnTo>
                    <a:pt x="249679" y="197857"/>
                  </a:lnTo>
                  <a:lnTo>
                    <a:pt x="249679" y="197210"/>
                  </a:lnTo>
                  <a:lnTo>
                    <a:pt x="249550" y="196564"/>
                  </a:lnTo>
                  <a:lnTo>
                    <a:pt x="249292" y="196047"/>
                  </a:lnTo>
                  <a:lnTo>
                    <a:pt x="248387" y="194755"/>
                  </a:lnTo>
                  <a:lnTo>
                    <a:pt x="248258" y="194238"/>
                  </a:lnTo>
                  <a:lnTo>
                    <a:pt x="248258" y="193721"/>
                  </a:lnTo>
                  <a:lnTo>
                    <a:pt x="248387" y="193204"/>
                  </a:lnTo>
                  <a:lnTo>
                    <a:pt x="249292" y="192558"/>
                  </a:lnTo>
                  <a:lnTo>
                    <a:pt x="250842" y="192170"/>
                  </a:lnTo>
                  <a:lnTo>
                    <a:pt x="257821" y="191653"/>
                  </a:lnTo>
                  <a:lnTo>
                    <a:pt x="260406" y="191912"/>
                  </a:lnTo>
                  <a:lnTo>
                    <a:pt x="262603" y="192816"/>
                  </a:lnTo>
                  <a:lnTo>
                    <a:pt x="263249" y="192946"/>
                  </a:lnTo>
                  <a:lnTo>
                    <a:pt x="264541" y="193075"/>
                  </a:lnTo>
                  <a:lnTo>
                    <a:pt x="265316" y="193075"/>
                  </a:lnTo>
                  <a:lnTo>
                    <a:pt x="266351" y="192429"/>
                  </a:lnTo>
                  <a:lnTo>
                    <a:pt x="267643" y="191524"/>
                  </a:lnTo>
                  <a:lnTo>
                    <a:pt x="270615" y="188422"/>
                  </a:lnTo>
                  <a:lnTo>
                    <a:pt x="271520" y="189327"/>
                  </a:lnTo>
                  <a:lnTo>
                    <a:pt x="271778" y="190490"/>
                  </a:lnTo>
                  <a:lnTo>
                    <a:pt x="271778" y="191136"/>
                  </a:lnTo>
                  <a:lnTo>
                    <a:pt x="271907" y="191783"/>
                  </a:lnTo>
                  <a:lnTo>
                    <a:pt x="272166" y="192300"/>
                  </a:lnTo>
                  <a:lnTo>
                    <a:pt x="272554" y="192687"/>
                  </a:lnTo>
                  <a:lnTo>
                    <a:pt x="273071" y="192816"/>
                  </a:lnTo>
                  <a:lnTo>
                    <a:pt x="273717" y="192946"/>
                  </a:lnTo>
                  <a:lnTo>
                    <a:pt x="275785" y="192816"/>
                  </a:lnTo>
                  <a:lnTo>
                    <a:pt x="276560" y="192558"/>
                  </a:lnTo>
                  <a:lnTo>
                    <a:pt x="277464" y="192170"/>
                  </a:lnTo>
                  <a:lnTo>
                    <a:pt x="278499" y="191266"/>
                  </a:lnTo>
                  <a:lnTo>
                    <a:pt x="280695" y="188422"/>
                  </a:lnTo>
                  <a:lnTo>
                    <a:pt x="281083" y="188164"/>
                  </a:lnTo>
                  <a:lnTo>
                    <a:pt x="281600" y="187776"/>
                  </a:lnTo>
                  <a:lnTo>
                    <a:pt x="282375" y="187647"/>
                  </a:lnTo>
                  <a:lnTo>
                    <a:pt x="283668" y="187647"/>
                  </a:lnTo>
                  <a:lnTo>
                    <a:pt x="284314" y="188035"/>
                  </a:lnTo>
                  <a:lnTo>
                    <a:pt x="284831" y="188293"/>
                  </a:lnTo>
                  <a:lnTo>
                    <a:pt x="285089" y="188681"/>
                  </a:lnTo>
                  <a:lnTo>
                    <a:pt x="285219" y="188939"/>
                  </a:lnTo>
                  <a:lnTo>
                    <a:pt x="285348" y="189327"/>
                  </a:lnTo>
                  <a:lnTo>
                    <a:pt x="285477" y="189973"/>
                  </a:lnTo>
                  <a:lnTo>
                    <a:pt x="285348" y="191912"/>
                  </a:lnTo>
                  <a:lnTo>
                    <a:pt x="285348" y="192558"/>
                  </a:lnTo>
                  <a:lnTo>
                    <a:pt x="285606" y="193075"/>
                  </a:lnTo>
                  <a:lnTo>
                    <a:pt x="285994" y="193463"/>
                  </a:lnTo>
                  <a:lnTo>
                    <a:pt x="286511" y="193592"/>
                  </a:lnTo>
                  <a:lnTo>
                    <a:pt x="287157" y="193721"/>
                  </a:lnTo>
                  <a:lnTo>
                    <a:pt x="287803" y="193592"/>
                  </a:lnTo>
                  <a:lnTo>
                    <a:pt x="293748" y="192041"/>
                  </a:lnTo>
                  <a:lnTo>
                    <a:pt x="296074" y="192041"/>
                  </a:lnTo>
                  <a:lnTo>
                    <a:pt x="297366" y="192170"/>
                  </a:lnTo>
                  <a:lnTo>
                    <a:pt x="298013" y="192300"/>
                  </a:lnTo>
                  <a:lnTo>
                    <a:pt x="299047" y="192816"/>
                  </a:lnTo>
                  <a:lnTo>
                    <a:pt x="299434" y="193075"/>
                  </a:lnTo>
                  <a:lnTo>
                    <a:pt x="300468" y="194238"/>
                  </a:lnTo>
                  <a:lnTo>
                    <a:pt x="300856" y="194496"/>
                  </a:lnTo>
                  <a:lnTo>
                    <a:pt x="301373" y="194626"/>
                  </a:lnTo>
                  <a:lnTo>
                    <a:pt x="301760" y="194496"/>
                  </a:lnTo>
                  <a:lnTo>
                    <a:pt x="302148" y="193850"/>
                  </a:lnTo>
                  <a:lnTo>
                    <a:pt x="302148" y="193204"/>
                  </a:lnTo>
                  <a:lnTo>
                    <a:pt x="302019" y="192041"/>
                  </a:lnTo>
                  <a:lnTo>
                    <a:pt x="302148" y="191653"/>
                  </a:lnTo>
                  <a:lnTo>
                    <a:pt x="302407" y="191136"/>
                  </a:lnTo>
                  <a:lnTo>
                    <a:pt x="302923" y="190749"/>
                  </a:lnTo>
                  <a:lnTo>
                    <a:pt x="303828" y="190749"/>
                  </a:lnTo>
                  <a:lnTo>
                    <a:pt x="304604" y="190878"/>
                  </a:lnTo>
                  <a:lnTo>
                    <a:pt x="306542" y="191266"/>
                  </a:lnTo>
                  <a:lnTo>
                    <a:pt x="307188" y="191266"/>
                  </a:lnTo>
                  <a:lnTo>
                    <a:pt x="307834" y="191136"/>
                  </a:lnTo>
                  <a:lnTo>
                    <a:pt x="308351" y="190749"/>
                  </a:lnTo>
                  <a:lnTo>
                    <a:pt x="308610" y="189844"/>
                  </a:lnTo>
                  <a:lnTo>
                    <a:pt x="308610" y="189198"/>
                  </a:lnTo>
                  <a:lnTo>
                    <a:pt x="308351" y="188681"/>
                  </a:lnTo>
                  <a:lnTo>
                    <a:pt x="307964" y="188422"/>
                  </a:lnTo>
                  <a:lnTo>
                    <a:pt x="307447" y="188164"/>
                  </a:lnTo>
                  <a:lnTo>
                    <a:pt x="306025" y="187389"/>
                  </a:lnTo>
                  <a:lnTo>
                    <a:pt x="305121" y="186742"/>
                  </a:lnTo>
                  <a:lnTo>
                    <a:pt x="304862" y="186355"/>
                  </a:lnTo>
                  <a:lnTo>
                    <a:pt x="304474" y="185967"/>
                  </a:lnTo>
                  <a:lnTo>
                    <a:pt x="304345" y="185450"/>
                  </a:lnTo>
                  <a:lnTo>
                    <a:pt x="304345" y="184804"/>
                  </a:lnTo>
                  <a:lnTo>
                    <a:pt x="304345" y="184158"/>
                  </a:lnTo>
                  <a:lnTo>
                    <a:pt x="304604" y="183641"/>
                  </a:lnTo>
                  <a:lnTo>
                    <a:pt x="304862" y="183124"/>
                  </a:lnTo>
                  <a:lnTo>
                    <a:pt x="305379" y="182736"/>
                  </a:lnTo>
                  <a:lnTo>
                    <a:pt x="305896" y="182478"/>
                  </a:lnTo>
                  <a:lnTo>
                    <a:pt x="306801" y="182607"/>
                  </a:lnTo>
                  <a:lnTo>
                    <a:pt x="307317" y="182865"/>
                  </a:lnTo>
                  <a:lnTo>
                    <a:pt x="307576" y="183382"/>
                  </a:lnTo>
                  <a:lnTo>
                    <a:pt x="307447" y="183899"/>
                  </a:lnTo>
                  <a:lnTo>
                    <a:pt x="307317" y="184416"/>
                  </a:lnTo>
                  <a:lnTo>
                    <a:pt x="307317" y="184933"/>
                  </a:lnTo>
                  <a:lnTo>
                    <a:pt x="307576" y="185321"/>
                  </a:lnTo>
                  <a:lnTo>
                    <a:pt x="307964" y="185709"/>
                  </a:lnTo>
                  <a:lnTo>
                    <a:pt x="308610" y="185838"/>
                  </a:lnTo>
                  <a:lnTo>
                    <a:pt x="309256" y="185709"/>
                  </a:lnTo>
                  <a:lnTo>
                    <a:pt x="311841" y="184804"/>
                  </a:lnTo>
                  <a:lnTo>
                    <a:pt x="312875" y="184545"/>
                  </a:lnTo>
                  <a:lnTo>
                    <a:pt x="314167" y="184287"/>
                  </a:lnTo>
                  <a:lnTo>
                    <a:pt x="315330" y="184029"/>
                  </a:lnTo>
                  <a:lnTo>
                    <a:pt x="324764" y="180410"/>
                  </a:lnTo>
                  <a:lnTo>
                    <a:pt x="325281" y="180281"/>
                  </a:lnTo>
                  <a:lnTo>
                    <a:pt x="325927" y="180281"/>
                  </a:lnTo>
                  <a:lnTo>
                    <a:pt x="326444" y="180410"/>
                  </a:lnTo>
                  <a:lnTo>
                    <a:pt x="327478" y="180927"/>
                  </a:lnTo>
                  <a:lnTo>
                    <a:pt x="327995" y="181056"/>
                  </a:lnTo>
                  <a:lnTo>
                    <a:pt x="328512" y="181056"/>
                  </a:lnTo>
                  <a:lnTo>
                    <a:pt x="329029" y="180927"/>
                  </a:lnTo>
                  <a:lnTo>
                    <a:pt x="329804" y="180668"/>
                  </a:lnTo>
                  <a:lnTo>
                    <a:pt x="330709" y="180152"/>
                  </a:lnTo>
                  <a:lnTo>
                    <a:pt x="333423" y="177955"/>
                  </a:lnTo>
                  <a:lnTo>
                    <a:pt x="335232" y="176791"/>
                  </a:lnTo>
                  <a:lnTo>
                    <a:pt x="341306" y="174724"/>
                  </a:lnTo>
                  <a:lnTo>
                    <a:pt x="342469" y="172268"/>
                  </a:lnTo>
                  <a:lnTo>
                    <a:pt x="345054" y="162447"/>
                  </a:lnTo>
                  <a:lnTo>
                    <a:pt x="346087" y="156373"/>
                  </a:lnTo>
                  <a:lnTo>
                    <a:pt x="346604" y="154822"/>
                  </a:lnTo>
                  <a:lnTo>
                    <a:pt x="347121" y="153788"/>
                  </a:lnTo>
                  <a:lnTo>
                    <a:pt x="347380" y="153400"/>
                  </a:lnTo>
                  <a:lnTo>
                    <a:pt x="348155" y="153142"/>
                  </a:lnTo>
                  <a:lnTo>
                    <a:pt x="349060" y="153013"/>
                  </a:lnTo>
                  <a:lnTo>
                    <a:pt x="355263" y="153271"/>
                  </a:lnTo>
                  <a:lnTo>
                    <a:pt x="356039" y="153529"/>
                  </a:lnTo>
                  <a:lnTo>
                    <a:pt x="356556" y="153788"/>
                  </a:lnTo>
                  <a:lnTo>
                    <a:pt x="357072" y="154046"/>
                  </a:lnTo>
                  <a:lnTo>
                    <a:pt x="357460" y="154305"/>
                  </a:lnTo>
                  <a:lnTo>
                    <a:pt x="358106" y="154563"/>
                  </a:lnTo>
                  <a:lnTo>
                    <a:pt x="358752" y="154563"/>
                  </a:lnTo>
                  <a:lnTo>
                    <a:pt x="359657" y="154305"/>
                  </a:lnTo>
                  <a:lnTo>
                    <a:pt x="360691" y="153659"/>
                  </a:lnTo>
                  <a:lnTo>
                    <a:pt x="361854" y="152754"/>
                  </a:lnTo>
                  <a:lnTo>
                    <a:pt x="363922" y="150169"/>
                  </a:lnTo>
                  <a:lnTo>
                    <a:pt x="367024" y="147455"/>
                  </a:lnTo>
                  <a:lnTo>
                    <a:pt x="367928" y="146939"/>
                  </a:lnTo>
                  <a:lnTo>
                    <a:pt x="369996" y="145905"/>
                  </a:lnTo>
                  <a:lnTo>
                    <a:pt x="370642" y="145646"/>
                  </a:lnTo>
                  <a:lnTo>
                    <a:pt x="371934" y="145388"/>
                  </a:lnTo>
                  <a:lnTo>
                    <a:pt x="373614" y="145388"/>
                  </a:lnTo>
                  <a:lnTo>
                    <a:pt x="375682" y="145646"/>
                  </a:lnTo>
                  <a:lnTo>
                    <a:pt x="384211" y="147843"/>
                  </a:lnTo>
                  <a:lnTo>
                    <a:pt x="385762" y="147714"/>
                  </a:lnTo>
                  <a:lnTo>
                    <a:pt x="388088" y="147068"/>
                  </a:lnTo>
                  <a:lnTo>
                    <a:pt x="388735" y="146939"/>
                  </a:lnTo>
                  <a:lnTo>
                    <a:pt x="389381" y="146939"/>
                  </a:lnTo>
                  <a:lnTo>
                    <a:pt x="391707" y="147585"/>
                  </a:lnTo>
                  <a:lnTo>
                    <a:pt x="393904" y="148360"/>
                  </a:lnTo>
                  <a:lnTo>
                    <a:pt x="396230" y="150040"/>
                  </a:lnTo>
                  <a:lnTo>
                    <a:pt x="400753" y="154434"/>
                  </a:lnTo>
                  <a:lnTo>
                    <a:pt x="401916" y="156631"/>
                  </a:lnTo>
                  <a:lnTo>
                    <a:pt x="402046" y="157277"/>
                  </a:lnTo>
                  <a:lnTo>
                    <a:pt x="402175" y="157923"/>
                  </a:lnTo>
                  <a:lnTo>
                    <a:pt x="402304" y="158440"/>
                  </a:lnTo>
                  <a:lnTo>
                    <a:pt x="402433" y="158957"/>
                  </a:lnTo>
                  <a:lnTo>
                    <a:pt x="403079" y="159345"/>
                  </a:lnTo>
                  <a:lnTo>
                    <a:pt x="408895" y="160896"/>
                  </a:lnTo>
                  <a:lnTo>
                    <a:pt x="412255" y="162705"/>
                  </a:lnTo>
                  <a:lnTo>
                    <a:pt x="413547" y="162576"/>
                  </a:lnTo>
                  <a:lnTo>
                    <a:pt x="417683" y="162705"/>
                  </a:lnTo>
                  <a:lnTo>
                    <a:pt x="418588" y="162834"/>
                  </a:lnTo>
                  <a:lnTo>
                    <a:pt x="419621" y="163351"/>
                  </a:lnTo>
                  <a:lnTo>
                    <a:pt x="420138" y="163351"/>
                  </a:lnTo>
                  <a:lnTo>
                    <a:pt x="420526" y="162705"/>
                  </a:lnTo>
                  <a:lnTo>
                    <a:pt x="421689" y="159733"/>
                  </a:lnTo>
                  <a:lnTo>
                    <a:pt x="420655" y="156373"/>
                  </a:lnTo>
                  <a:lnTo>
                    <a:pt x="420655" y="152237"/>
                  </a:lnTo>
                  <a:lnTo>
                    <a:pt x="421689" y="144354"/>
                  </a:lnTo>
                  <a:lnTo>
                    <a:pt x="421689" y="128458"/>
                  </a:lnTo>
                  <a:lnTo>
                    <a:pt x="421948" y="126907"/>
                  </a:lnTo>
                  <a:lnTo>
                    <a:pt x="422594" y="125227"/>
                  </a:lnTo>
                  <a:lnTo>
                    <a:pt x="422852" y="123418"/>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6" name="Graphic 2">
              <a:extLst>
                <a:ext uri="{FF2B5EF4-FFF2-40B4-BE49-F238E27FC236}">
                  <a16:creationId xmlns:a16="http://schemas.microsoft.com/office/drawing/2014/main" id="{DFC90529-9DC7-AA0F-5037-3F99848E98D7}"/>
                </a:ext>
              </a:extLst>
            </p:cNvPr>
            <p:cNvSpPr/>
            <p:nvPr/>
          </p:nvSpPr>
          <p:spPr>
            <a:xfrm>
              <a:off x="5291521" y="1523968"/>
              <a:ext cx="1381764" cy="1328132"/>
            </a:xfrm>
            <a:custGeom>
              <a:avLst/>
              <a:gdLst>
                <a:gd name="connsiteX0" fmla="*/ 1034385 w 1381764"/>
                <a:gd name="connsiteY0" fmla="*/ 462527 h 1328132"/>
                <a:gd name="connsiteX1" fmla="*/ 1033739 w 1381764"/>
                <a:gd name="connsiteY1" fmla="*/ 461105 h 1328132"/>
                <a:gd name="connsiteX2" fmla="*/ 1033481 w 1381764"/>
                <a:gd name="connsiteY2" fmla="*/ 459684 h 1328132"/>
                <a:gd name="connsiteX3" fmla="*/ 1031413 w 1381764"/>
                <a:gd name="connsiteY3" fmla="*/ 459167 h 1328132"/>
                <a:gd name="connsiteX4" fmla="*/ 1029862 w 1381764"/>
                <a:gd name="connsiteY4" fmla="*/ 460201 h 1328132"/>
                <a:gd name="connsiteX5" fmla="*/ 1027536 w 1381764"/>
                <a:gd name="connsiteY5" fmla="*/ 463302 h 1328132"/>
                <a:gd name="connsiteX6" fmla="*/ 1024563 w 1381764"/>
                <a:gd name="connsiteY6" fmla="*/ 464982 h 1328132"/>
                <a:gd name="connsiteX7" fmla="*/ 1023530 w 1381764"/>
                <a:gd name="connsiteY7" fmla="*/ 465887 h 1328132"/>
                <a:gd name="connsiteX8" fmla="*/ 1023142 w 1381764"/>
                <a:gd name="connsiteY8" fmla="*/ 466791 h 1328132"/>
                <a:gd name="connsiteX9" fmla="*/ 1022754 w 1381764"/>
                <a:gd name="connsiteY9" fmla="*/ 468988 h 1328132"/>
                <a:gd name="connsiteX10" fmla="*/ 1022366 w 1381764"/>
                <a:gd name="connsiteY10" fmla="*/ 469893 h 1328132"/>
                <a:gd name="connsiteX11" fmla="*/ 1019652 w 1381764"/>
                <a:gd name="connsiteY11" fmla="*/ 472478 h 1328132"/>
                <a:gd name="connsiteX12" fmla="*/ 1019136 w 1381764"/>
                <a:gd name="connsiteY12" fmla="*/ 473899 h 1328132"/>
                <a:gd name="connsiteX13" fmla="*/ 1020299 w 1381764"/>
                <a:gd name="connsiteY13" fmla="*/ 475709 h 1328132"/>
                <a:gd name="connsiteX14" fmla="*/ 1021979 w 1381764"/>
                <a:gd name="connsiteY14" fmla="*/ 476742 h 1328132"/>
                <a:gd name="connsiteX15" fmla="*/ 1026373 w 1381764"/>
                <a:gd name="connsiteY15" fmla="*/ 477776 h 1328132"/>
                <a:gd name="connsiteX16" fmla="*/ 1028311 w 1381764"/>
                <a:gd name="connsiteY16" fmla="*/ 478552 h 1328132"/>
                <a:gd name="connsiteX17" fmla="*/ 1029216 w 1381764"/>
                <a:gd name="connsiteY17" fmla="*/ 477389 h 1328132"/>
                <a:gd name="connsiteX18" fmla="*/ 1032059 w 1381764"/>
                <a:gd name="connsiteY18" fmla="*/ 474158 h 1328132"/>
                <a:gd name="connsiteX19" fmla="*/ 1034514 w 1381764"/>
                <a:gd name="connsiteY19" fmla="*/ 470410 h 1328132"/>
                <a:gd name="connsiteX20" fmla="*/ 1035419 w 1381764"/>
                <a:gd name="connsiteY20" fmla="*/ 469893 h 1328132"/>
                <a:gd name="connsiteX21" fmla="*/ 1036324 w 1381764"/>
                <a:gd name="connsiteY21" fmla="*/ 468988 h 1328132"/>
                <a:gd name="connsiteX22" fmla="*/ 1037487 w 1381764"/>
                <a:gd name="connsiteY22" fmla="*/ 467050 h 1328132"/>
                <a:gd name="connsiteX23" fmla="*/ 1038004 w 1381764"/>
                <a:gd name="connsiteY23" fmla="*/ 465111 h 1328132"/>
                <a:gd name="connsiteX24" fmla="*/ 1036841 w 1381764"/>
                <a:gd name="connsiteY24" fmla="*/ 464207 h 1328132"/>
                <a:gd name="connsiteX25" fmla="*/ 1035548 w 1381764"/>
                <a:gd name="connsiteY25" fmla="*/ 463819 h 1328132"/>
                <a:gd name="connsiteX26" fmla="*/ 1034385 w 1381764"/>
                <a:gd name="connsiteY26" fmla="*/ 462527 h 1328132"/>
                <a:gd name="connsiteX27" fmla="*/ 995098 w 1381764"/>
                <a:gd name="connsiteY27" fmla="*/ 273975 h 1328132"/>
                <a:gd name="connsiteX28" fmla="*/ 988249 w 1381764"/>
                <a:gd name="connsiteY28" fmla="*/ 276947 h 1328132"/>
                <a:gd name="connsiteX29" fmla="*/ 981787 w 1381764"/>
                <a:gd name="connsiteY29" fmla="*/ 281858 h 1328132"/>
                <a:gd name="connsiteX30" fmla="*/ 979332 w 1381764"/>
                <a:gd name="connsiteY30" fmla="*/ 284443 h 1328132"/>
                <a:gd name="connsiteX31" fmla="*/ 978427 w 1381764"/>
                <a:gd name="connsiteY31" fmla="*/ 287932 h 1328132"/>
                <a:gd name="connsiteX32" fmla="*/ 990833 w 1381764"/>
                <a:gd name="connsiteY32" fmla="*/ 292714 h 1328132"/>
                <a:gd name="connsiteX33" fmla="*/ 993935 w 1381764"/>
                <a:gd name="connsiteY33" fmla="*/ 291422 h 1328132"/>
                <a:gd name="connsiteX34" fmla="*/ 1014742 w 1381764"/>
                <a:gd name="connsiteY34" fmla="*/ 291163 h 1328132"/>
                <a:gd name="connsiteX35" fmla="*/ 1017843 w 1381764"/>
                <a:gd name="connsiteY35" fmla="*/ 290646 h 1328132"/>
                <a:gd name="connsiteX36" fmla="*/ 1020428 w 1381764"/>
                <a:gd name="connsiteY36" fmla="*/ 289871 h 1328132"/>
                <a:gd name="connsiteX37" fmla="*/ 1021591 w 1381764"/>
                <a:gd name="connsiteY37" fmla="*/ 288837 h 1328132"/>
                <a:gd name="connsiteX38" fmla="*/ 1022496 w 1381764"/>
                <a:gd name="connsiteY38" fmla="*/ 287286 h 1328132"/>
                <a:gd name="connsiteX39" fmla="*/ 1026114 w 1381764"/>
                <a:gd name="connsiteY39" fmla="*/ 284572 h 1328132"/>
                <a:gd name="connsiteX40" fmla="*/ 1026631 w 1381764"/>
                <a:gd name="connsiteY40" fmla="*/ 282763 h 1328132"/>
                <a:gd name="connsiteX41" fmla="*/ 1027148 w 1381764"/>
                <a:gd name="connsiteY41" fmla="*/ 283021 h 1328132"/>
                <a:gd name="connsiteX42" fmla="*/ 1028440 w 1381764"/>
                <a:gd name="connsiteY42" fmla="*/ 283280 h 1328132"/>
                <a:gd name="connsiteX43" fmla="*/ 1028957 w 1381764"/>
                <a:gd name="connsiteY43" fmla="*/ 283538 h 1328132"/>
                <a:gd name="connsiteX44" fmla="*/ 1029087 w 1381764"/>
                <a:gd name="connsiteY44" fmla="*/ 282117 h 1328132"/>
                <a:gd name="connsiteX45" fmla="*/ 1029604 w 1381764"/>
                <a:gd name="connsiteY45" fmla="*/ 281341 h 1328132"/>
                <a:gd name="connsiteX46" fmla="*/ 1030250 w 1381764"/>
                <a:gd name="connsiteY46" fmla="*/ 280695 h 1328132"/>
                <a:gd name="connsiteX47" fmla="*/ 1030508 w 1381764"/>
                <a:gd name="connsiteY47" fmla="*/ 279661 h 1328132"/>
                <a:gd name="connsiteX48" fmla="*/ 1030379 w 1381764"/>
                <a:gd name="connsiteY48" fmla="*/ 278498 h 1328132"/>
                <a:gd name="connsiteX49" fmla="*/ 1029991 w 1381764"/>
                <a:gd name="connsiteY49" fmla="*/ 278369 h 1328132"/>
                <a:gd name="connsiteX50" fmla="*/ 1029216 w 1381764"/>
                <a:gd name="connsiteY50" fmla="*/ 278369 h 1328132"/>
                <a:gd name="connsiteX51" fmla="*/ 1028053 w 1381764"/>
                <a:gd name="connsiteY51" fmla="*/ 277464 h 1328132"/>
                <a:gd name="connsiteX52" fmla="*/ 1027923 w 1381764"/>
                <a:gd name="connsiteY52" fmla="*/ 276689 h 1328132"/>
                <a:gd name="connsiteX53" fmla="*/ 1028182 w 1381764"/>
                <a:gd name="connsiteY53" fmla="*/ 275784 h 1328132"/>
                <a:gd name="connsiteX54" fmla="*/ 1028053 w 1381764"/>
                <a:gd name="connsiteY54" fmla="*/ 274492 h 1328132"/>
                <a:gd name="connsiteX55" fmla="*/ 1026890 w 1381764"/>
                <a:gd name="connsiteY55" fmla="*/ 272812 h 1328132"/>
                <a:gd name="connsiteX56" fmla="*/ 1025856 w 1381764"/>
                <a:gd name="connsiteY56" fmla="*/ 272037 h 1328132"/>
                <a:gd name="connsiteX57" fmla="*/ 1021850 w 1381764"/>
                <a:gd name="connsiteY57" fmla="*/ 269840 h 1328132"/>
                <a:gd name="connsiteX58" fmla="*/ 1020428 w 1381764"/>
                <a:gd name="connsiteY58" fmla="*/ 269323 h 1328132"/>
                <a:gd name="connsiteX59" fmla="*/ 1018877 w 1381764"/>
                <a:gd name="connsiteY59" fmla="*/ 269452 h 1328132"/>
                <a:gd name="connsiteX60" fmla="*/ 1017456 w 1381764"/>
                <a:gd name="connsiteY60" fmla="*/ 269969 h 1328132"/>
                <a:gd name="connsiteX61" fmla="*/ 1015776 w 1381764"/>
                <a:gd name="connsiteY61" fmla="*/ 270227 h 1328132"/>
                <a:gd name="connsiteX62" fmla="*/ 1015517 w 1381764"/>
                <a:gd name="connsiteY62" fmla="*/ 269710 h 1328132"/>
                <a:gd name="connsiteX63" fmla="*/ 1014612 w 1381764"/>
                <a:gd name="connsiteY63" fmla="*/ 268547 h 1328132"/>
                <a:gd name="connsiteX64" fmla="*/ 1014354 w 1381764"/>
                <a:gd name="connsiteY64" fmla="*/ 267901 h 1328132"/>
                <a:gd name="connsiteX65" fmla="*/ 1011382 w 1381764"/>
                <a:gd name="connsiteY65" fmla="*/ 269193 h 1328132"/>
                <a:gd name="connsiteX66" fmla="*/ 1000267 w 1381764"/>
                <a:gd name="connsiteY66" fmla="*/ 270873 h 1328132"/>
                <a:gd name="connsiteX67" fmla="*/ 995098 w 1381764"/>
                <a:gd name="connsiteY67" fmla="*/ 273975 h 1328132"/>
                <a:gd name="connsiteX68" fmla="*/ 953744 w 1381764"/>
                <a:gd name="connsiteY68" fmla="*/ 249033 h 1328132"/>
                <a:gd name="connsiteX69" fmla="*/ 948962 w 1381764"/>
                <a:gd name="connsiteY69" fmla="*/ 253298 h 1328132"/>
                <a:gd name="connsiteX70" fmla="*/ 946765 w 1381764"/>
                <a:gd name="connsiteY70" fmla="*/ 253298 h 1328132"/>
                <a:gd name="connsiteX71" fmla="*/ 939140 w 1381764"/>
                <a:gd name="connsiteY71" fmla="*/ 253168 h 1328132"/>
                <a:gd name="connsiteX72" fmla="*/ 935651 w 1381764"/>
                <a:gd name="connsiteY72" fmla="*/ 253039 h 1328132"/>
                <a:gd name="connsiteX73" fmla="*/ 933325 w 1381764"/>
                <a:gd name="connsiteY73" fmla="*/ 252522 h 1328132"/>
                <a:gd name="connsiteX74" fmla="*/ 930611 w 1381764"/>
                <a:gd name="connsiteY74" fmla="*/ 252652 h 1328132"/>
                <a:gd name="connsiteX75" fmla="*/ 927897 w 1381764"/>
                <a:gd name="connsiteY75" fmla="*/ 253815 h 1328132"/>
                <a:gd name="connsiteX76" fmla="*/ 921306 w 1381764"/>
                <a:gd name="connsiteY76" fmla="*/ 254073 h 1328132"/>
                <a:gd name="connsiteX77" fmla="*/ 920143 w 1381764"/>
                <a:gd name="connsiteY77" fmla="*/ 254719 h 1328132"/>
                <a:gd name="connsiteX78" fmla="*/ 919755 w 1381764"/>
                <a:gd name="connsiteY78" fmla="*/ 256141 h 1328132"/>
                <a:gd name="connsiteX79" fmla="*/ 919497 w 1381764"/>
                <a:gd name="connsiteY79" fmla="*/ 262990 h 1328132"/>
                <a:gd name="connsiteX80" fmla="*/ 919884 w 1381764"/>
                <a:gd name="connsiteY80" fmla="*/ 265058 h 1328132"/>
                <a:gd name="connsiteX81" fmla="*/ 921306 w 1381764"/>
                <a:gd name="connsiteY81" fmla="*/ 267126 h 1328132"/>
                <a:gd name="connsiteX82" fmla="*/ 922340 w 1381764"/>
                <a:gd name="connsiteY82" fmla="*/ 264541 h 1328132"/>
                <a:gd name="connsiteX83" fmla="*/ 923115 w 1381764"/>
                <a:gd name="connsiteY83" fmla="*/ 263507 h 1328132"/>
                <a:gd name="connsiteX84" fmla="*/ 924149 w 1381764"/>
                <a:gd name="connsiteY84" fmla="*/ 262861 h 1328132"/>
                <a:gd name="connsiteX85" fmla="*/ 923891 w 1381764"/>
                <a:gd name="connsiteY85" fmla="*/ 264799 h 1328132"/>
                <a:gd name="connsiteX86" fmla="*/ 922727 w 1381764"/>
                <a:gd name="connsiteY86" fmla="*/ 268806 h 1328132"/>
                <a:gd name="connsiteX87" fmla="*/ 922857 w 1381764"/>
                <a:gd name="connsiteY87" fmla="*/ 270873 h 1328132"/>
                <a:gd name="connsiteX88" fmla="*/ 923503 w 1381764"/>
                <a:gd name="connsiteY88" fmla="*/ 272037 h 1328132"/>
                <a:gd name="connsiteX89" fmla="*/ 925958 w 1381764"/>
                <a:gd name="connsiteY89" fmla="*/ 274234 h 1328132"/>
                <a:gd name="connsiteX90" fmla="*/ 928672 w 1381764"/>
                <a:gd name="connsiteY90" fmla="*/ 275784 h 1328132"/>
                <a:gd name="connsiteX91" fmla="*/ 931386 w 1381764"/>
                <a:gd name="connsiteY91" fmla="*/ 275526 h 1328132"/>
                <a:gd name="connsiteX92" fmla="*/ 933971 w 1381764"/>
                <a:gd name="connsiteY92" fmla="*/ 274492 h 1328132"/>
                <a:gd name="connsiteX93" fmla="*/ 936297 w 1381764"/>
                <a:gd name="connsiteY93" fmla="*/ 273846 h 1328132"/>
                <a:gd name="connsiteX94" fmla="*/ 936814 w 1381764"/>
                <a:gd name="connsiteY94" fmla="*/ 273458 h 1328132"/>
                <a:gd name="connsiteX95" fmla="*/ 938494 w 1381764"/>
                <a:gd name="connsiteY95" fmla="*/ 272812 h 1328132"/>
                <a:gd name="connsiteX96" fmla="*/ 940303 w 1381764"/>
                <a:gd name="connsiteY96" fmla="*/ 272553 h 1328132"/>
                <a:gd name="connsiteX97" fmla="*/ 941079 w 1381764"/>
                <a:gd name="connsiteY97" fmla="*/ 273329 h 1328132"/>
                <a:gd name="connsiteX98" fmla="*/ 941854 w 1381764"/>
                <a:gd name="connsiteY98" fmla="*/ 273846 h 1328132"/>
                <a:gd name="connsiteX99" fmla="*/ 946894 w 1381764"/>
                <a:gd name="connsiteY99" fmla="*/ 273070 h 1328132"/>
                <a:gd name="connsiteX100" fmla="*/ 950125 w 1381764"/>
                <a:gd name="connsiteY100" fmla="*/ 273717 h 1328132"/>
                <a:gd name="connsiteX101" fmla="*/ 953097 w 1381764"/>
                <a:gd name="connsiteY101" fmla="*/ 275267 h 1328132"/>
                <a:gd name="connsiteX102" fmla="*/ 955682 w 1381764"/>
                <a:gd name="connsiteY102" fmla="*/ 277335 h 1328132"/>
                <a:gd name="connsiteX103" fmla="*/ 957879 w 1381764"/>
                <a:gd name="connsiteY103" fmla="*/ 279661 h 1328132"/>
                <a:gd name="connsiteX104" fmla="*/ 959171 w 1381764"/>
                <a:gd name="connsiteY104" fmla="*/ 281858 h 1328132"/>
                <a:gd name="connsiteX105" fmla="*/ 960076 w 1381764"/>
                <a:gd name="connsiteY105" fmla="*/ 282634 h 1328132"/>
                <a:gd name="connsiteX106" fmla="*/ 961239 w 1381764"/>
                <a:gd name="connsiteY106" fmla="*/ 282117 h 1328132"/>
                <a:gd name="connsiteX107" fmla="*/ 962144 w 1381764"/>
                <a:gd name="connsiteY107" fmla="*/ 281471 h 1328132"/>
                <a:gd name="connsiteX108" fmla="*/ 963307 w 1381764"/>
                <a:gd name="connsiteY108" fmla="*/ 280824 h 1328132"/>
                <a:gd name="connsiteX109" fmla="*/ 964599 w 1381764"/>
                <a:gd name="connsiteY109" fmla="*/ 280437 h 1328132"/>
                <a:gd name="connsiteX110" fmla="*/ 967701 w 1381764"/>
                <a:gd name="connsiteY110" fmla="*/ 280049 h 1328132"/>
                <a:gd name="connsiteX111" fmla="*/ 974808 w 1381764"/>
                <a:gd name="connsiteY111" fmla="*/ 278111 h 1328132"/>
                <a:gd name="connsiteX112" fmla="*/ 978815 w 1381764"/>
                <a:gd name="connsiteY112" fmla="*/ 275784 h 1328132"/>
                <a:gd name="connsiteX113" fmla="*/ 981399 w 1381764"/>
                <a:gd name="connsiteY113" fmla="*/ 271778 h 1328132"/>
                <a:gd name="connsiteX114" fmla="*/ 983467 w 1381764"/>
                <a:gd name="connsiteY114" fmla="*/ 267126 h 1328132"/>
                <a:gd name="connsiteX115" fmla="*/ 985923 w 1381764"/>
                <a:gd name="connsiteY115" fmla="*/ 262732 h 1328132"/>
                <a:gd name="connsiteX116" fmla="*/ 993547 w 1381764"/>
                <a:gd name="connsiteY116" fmla="*/ 255107 h 1328132"/>
                <a:gd name="connsiteX117" fmla="*/ 998846 w 1381764"/>
                <a:gd name="connsiteY117" fmla="*/ 252135 h 1328132"/>
                <a:gd name="connsiteX118" fmla="*/ 1003240 w 1381764"/>
                <a:gd name="connsiteY118" fmla="*/ 248645 h 1328132"/>
                <a:gd name="connsiteX119" fmla="*/ 1010994 w 1381764"/>
                <a:gd name="connsiteY119" fmla="*/ 244898 h 1328132"/>
                <a:gd name="connsiteX120" fmla="*/ 1010865 w 1381764"/>
                <a:gd name="connsiteY120" fmla="*/ 239211 h 1328132"/>
                <a:gd name="connsiteX121" fmla="*/ 1007634 w 1381764"/>
                <a:gd name="connsiteY121" fmla="*/ 235851 h 1328132"/>
                <a:gd name="connsiteX122" fmla="*/ 997941 w 1381764"/>
                <a:gd name="connsiteY122" fmla="*/ 235851 h 1328132"/>
                <a:gd name="connsiteX123" fmla="*/ 987732 w 1381764"/>
                <a:gd name="connsiteY123" fmla="*/ 239340 h 1328132"/>
                <a:gd name="connsiteX124" fmla="*/ 979203 w 1381764"/>
                <a:gd name="connsiteY124" fmla="*/ 242701 h 1328132"/>
                <a:gd name="connsiteX125" fmla="*/ 975584 w 1381764"/>
                <a:gd name="connsiteY125" fmla="*/ 244898 h 1328132"/>
                <a:gd name="connsiteX126" fmla="*/ 968993 w 1381764"/>
                <a:gd name="connsiteY126" fmla="*/ 245802 h 1328132"/>
                <a:gd name="connsiteX127" fmla="*/ 964987 w 1381764"/>
                <a:gd name="connsiteY127" fmla="*/ 244122 h 1328132"/>
                <a:gd name="connsiteX128" fmla="*/ 960205 w 1381764"/>
                <a:gd name="connsiteY128" fmla="*/ 243993 h 1328132"/>
                <a:gd name="connsiteX129" fmla="*/ 956716 w 1381764"/>
                <a:gd name="connsiteY129" fmla="*/ 245156 h 1328132"/>
                <a:gd name="connsiteX130" fmla="*/ 953744 w 1381764"/>
                <a:gd name="connsiteY130" fmla="*/ 249033 h 1328132"/>
                <a:gd name="connsiteX131" fmla="*/ 1024176 w 1381764"/>
                <a:gd name="connsiteY131" fmla="*/ 298142 h 1328132"/>
                <a:gd name="connsiteX132" fmla="*/ 1023788 w 1381764"/>
                <a:gd name="connsiteY132" fmla="*/ 300080 h 1328132"/>
                <a:gd name="connsiteX133" fmla="*/ 1024951 w 1381764"/>
                <a:gd name="connsiteY133" fmla="*/ 302148 h 1328132"/>
                <a:gd name="connsiteX134" fmla="*/ 1026114 w 1381764"/>
                <a:gd name="connsiteY134" fmla="*/ 303699 h 1328132"/>
                <a:gd name="connsiteX135" fmla="*/ 1026114 w 1381764"/>
                <a:gd name="connsiteY135" fmla="*/ 304345 h 1328132"/>
                <a:gd name="connsiteX136" fmla="*/ 1024951 w 1381764"/>
                <a:gd name="connsiteY136" fmla="*/ 303957 h 1328132"/>
                <a:gd name="connsiteX137" fmla="*/ 1022883 w 1381764"/>
                <a:gd name="connsiteY137" fmla="*/ 301890 h 1328132"/>
                <a:gd name="connsiteX138" fmla="*/ 1022108 w 1381764"/>
                <a:gd name="connsiteY138" fmla="*/ 301502 h 1328132"/>
                <a:gd name="connsiteX139" fmla="*/ 1019523 w 1381764"/>
                <a:gd name="connsiteY139" fmla="*/ 300856 h 1328132"/>
                <a:gd name="connsiteX140" fmla="*/ 1018489 w 1381764"/>
                <a:gd name="connsiteY140" fmla="*/ 300726 h 1328132"/>
                <a:gd name="connsiteX141" fmla="*/ 1016163 w 1381764"/>
                <a:gd name="connsiteY141" fmla="*/ 300985 h 1328132"/>
                <a:gd name="connsiteX142" fmla="*/ 1012028 w 1381764"/>
                <a:gd name="connsiteY142" fmla="*/ 302019 h 1328132"/>
                <a:gd name="connsiteX143" fmla="*/ 997683 w 1381764"/>
                <a:gd name="connsiteY143" fmla="*/ 302665 h 1328132"/>
                <a:gd name="connsiteX144" fmla="*/ 982563 w 1381764"/>
                <a:gd name="connsiteY144" fmla="*/ 298142 h 1328132"/>
                <a:gd name="connsiteX145" fmla="*/ 959559 w 1381764"/>
                <a:gd name="connsiteY145" fmla="*/ 293231 h 1328132"/>
                <a:gd name="connsiteX146" fmla="*/ 956328 w 1381764"/>
                <a:gd name="connsiteY146" fmla="*/ 293360 h 1328132"/>
                <a:gd name="connsiteX147" fmla="*/ 950254 w 1381764"/>
                <a:gd name="connsiteY147" fmla="*/ 291034 h 1328132"/>
                <a:gd name="connsiteX148" fmla="*/ 931386 w 1381764"/>
                <a:gd name="connsiteY148" fmla="*/ 289095 h 1328132"/>
                <a:gd name="connsiteX149" fmla="*/ 925441 w 1381764"/>
                <a:gd name="connsiteY149" fmla="*/ 287674 h 1328132"/>
                <a:gd name="connsiteX150" fmla="*/ 922986 w 1381764"/>
                <a:gd name="connsiteY150" fmla="*/ 287545 h 1328132"/>
                <a:gd name="connsiteX151" fmla="*/ 921047 w 1381764"/>
                <a:gd name="connsiteY151" fmla="*/ 288191 h 1328132"/>
                <a:gd name="connsiteX152" fmla="*/ 920014 w 1381764"/>
                <a:gd name="connsiteY152" fmla="*/ 289742 h 1328132"/>
                <a:gd name="connsiteX153" fmla="*/ 919238 w 1381764"/>
                <a:gd name="connsiteY153" fmla="*/ 291680 h 1328132"/>
                <a:gd name="connsiteX154" fmla="*/ 918204 w 1381764"/>
                <a:gd name="connsiteY154" fmla="*/ 293360 h 1328132"/>
                <a:gd name="connsiteX155" fmla="*/ 916395 w 1381764"/>
                <a:gd name="connsiteY155" fmla="*/ 294394 h 1328132"/>
                <a:gd name="connsiteX156" fmla="*/ 914844 w 1381764"/>
                <a:gd name="connsiteY156" fmla="*/ 294265 h 1328132"/>
                <a:gd name="connsiteX157" fmla="*/ 913035 w 1381764"/>
                <a:gd name="connsiteY157" fmla="*/ 293619 h 1328132"/>
                <a:gd name="connsiteX158" fmla="*/ 910580 w 1381764"/>
                <a:gd name="connsiteY158" fmla="*/ 293231 h 1328132"/>
                <a:gd name="connsiteX159" fmla="*/ 907995 w 1381764"/>
                <a:gd name="connsiteY159" fmla="*/ 293748 h 1328132"/>
                <a:gd name="connsiteX160" fmla="*/ 906185 w 1381764"/>
                <a:gd name="connsiteY160" fmla="*/ 294782 h 1328132"/>
                <a:gd name="connsiteX161" fmla="*/ 904635 w 1381764"/>
                <a:gd name="connsiteY161" fmla="*/ 295945 h 1328132"/>
                <a:gd name="connsiteX162" fmla="*/ 902825 w 1381764"/>
                <a:gd name="connsiteY162" fmla="*/ 296849 h 1328132"/>
                <a:gd name="connsiteX163" fmla="*/ 901662 w 1381764"/>
                <a:gd name="connsiteY163" fmla="*/ 296849 h 1328132"/>
                <a:gd name="connsiteX164" fmla="*/ 900370 w 1381764"/>
                <a:gd name="connsiteY164" fmla="*/ 296720 h 1328132"/>
                <a:gd name="connsiteX165" fmla="*/ 899078 w 1381764"/>
                <a:gd name="connsiteY165" fmla="*/ 296720 h 1328132"/>
                <a:gd name="connsiteX166" fmla="*/ 898173 w 1381764"/>
                <a:gd name="connsiteY166" fmla="*/ 297108 h 1328132"/>
                <a:gd name="connsiteX167" fmla="*/ 896493 w 1381764"/>
                <a:gd name="connsiteY167" fmla="*/ 299951 h 1328132"/>
                <a:gd name="connsiteX168" fmla="*/ 895976 w 1381764"/>
                <a:gd name="connsiteY168" fmla="*/ 300339 h 1328132"/>
                <a:gd name="connsiteX169" fmla="*/ 894942 w 1381764"/>
                <a:gd name="connsiteY169" fmla="*/ 300985 h 1328132"/>
                <a:gd name="connsiteX170" fmla="*/ 891453 w 1381764"/>
                <a:gd name="connsiteY170" fmla="*/ 303828 h 1328132"/>
                <a:gd name="connsiteX171" fmla="*/ 890548 w 1381764"/>
                <a:gd name="connsiteY171" fmla="*/ 304733 h 1328132"/>
                <a:gd name="connsiteX172" fmla="*/ 889127 w 1381764"/>
                <a:gd name="connsiteY172" fmla="*/ 308480 h 1328132"/>
                <a:gd name="connsiteX173" fmla="*/ 888610 w 1381764"/>
                <a:gd name="connsiteY173" fmla="*/ 310677 h 1328132"/>
                <a:gd name="connsiteX174" fmla="*/ 888351 w 1381764"/>
                <a:gd name="connsiteY174" fmla="*/ 312487 h 1328132"/>
                <a:gd name="connsiteX175" fmla="*/ 888093 w 1381764"/>
                <a:gd name="connsiteY175" fmla="*/ 313004 h 1328132"/>
                <a:gd name="connsiteX176" fmla="*/ 886671 w 1381764"/>
                <a:gd name="connsiteY176" fmla="*/ 314425 h 1328132"/>
                <a:gd name="connsiteX177" fmla="*/ 886154 w 1381764"/>
                <a:gd name="connsiteY177" fmla="*/ 315071 h 1328132"/>
                <a:gd name="connsiteX178" fmla="*/ 885767 w 1381764"/>
                <a:gd name="connsiteY178" fmla="*/ 316234 h 1328132"/>
                <a:gd name="connsiteX179" fmla="*/ 885379 w 1381764"/>
                <a:gd name="connsiteY179" fmla="*/ 320111 h 1328132"/>
                <a:gd name="connsiteX180" fmla="*/ 883440 w 1381764"/>
                <a:gd name="connsiteY180" fmla="*/ 326185 h 1328132"/>
                <a:gd name="connsiteX181" fmla="*/ 883182 w 1381764"/>
                <a:gd name="connsiteY181" fmla="*/ 327736 h 1328132"/>
                <a:gd name="connsiteX182" fmla="*/ 883440 w 1381764"/>
                <a:gd name="connsiteY182" fmla="*/ 330192 h 1328132"/>
                <a:gd name="connsiteX183" fmla="*/ 883957 w 1381764"/>
                <a:gd name="connsiteY183" fmla="*/ 332130 h 1328132"/>
                <a:gd name="connsiteX184" fmla="*/ 886671 w 1381764"/>
                <a:gd name="connsiteY184" fmla="*/ 339109 h 1328132"/>
                <a:gd name="connsiteX185" fmla="*/ 887317 w 1381764"/>
                <a:gd name="connsiteY185" fmla="*/ 341306 h 1328132"/>
                <a:gd name="connsiteX186" fmla="*/ 887576 w 1381764"/>
                <a:gd name="connsiteY186" fmla="*/ 342986 h 1328132"/>
                <a:gd name="connsiteX187" fmla="*/ 888610 w 1381764"/>
                <a:gd name="connsiteY187" fmla="*/ 343761 h 1328132"/>
                <a:gd name="connsiteX188" fmla="*/ 894942 w 1381764"/>
                <a:gd name="connsiteY188" fmla="*/ 344795 h 1328132"/>
                <a:gd name="connsiteX189" fmla="*/ 900629 w 1381764"/>
                <a:gd name="connsiteY189" fmla="*/ 346733 h 1328132"/>
                <a:gd name="connsiteX190" fmla="*/ 901533 w 1381764"/>
                <a:gd name="connsiteY190" fmla="*/ 347380 h 1328132"/>
                <a:gd name="connsiteX191" fmla="*/ 901792 w 1381764"/>
                <a:gd name="connsiteY191" fmla="*/ 348284 h 1328132"/>
                <a:gd name="connsiteX192" fmla="*/ 902050 w 1381764"/>
                <a:gd name="connsiteY192" fmla="*/ 348672 h 1328132"/>
                <a:gd name="connsiteX193" fmla="*/ 901662 w 1381764"/>
                <a:gd name="connsiteY193" fmla="*/ 348801 h 1328132"/>
                <a:gd name="connsiteX194" fmla="*/ 898948 w 1381764"/>
                <a:gd name="connsiteY194" fmla="*/ 349060 h 1328132"/>
                <a:gd name="connsiteX195" fmla="*/ 897785 w 1381764"/>
                <a:gd name="connsiteY195" fmla="*/ 348930 h 1328132"/>
                <a:gd name="connsiteX196" fmla="*/ 895718 w 1381764"/>
                <a:gd name="connsiteY196" fmla="*/ 348414 h 1328132"/>
                <a:gd name="connsiteX197" fmla="*/ 887576 w 1381764"/>
                <a:gd name="connsiteY197" fmla="*/ 344537 h 1328132"/>
                <a:gd name="connsiteX198" fmla="*/ 886284 w 1381764"/>
                <a:gd name="connsiteY198" fmla="*/ 343503 h 1328132"/>
                <a:gd name="connsiteX199" fmla="*/ 885896 w 1381764"/>
                <a:gd name="connsiteY199" fmla="*/ 341435 h 1328132"/>
                <a:gd name="connsiteX200" fmla="*/ 884733 w 1381764"/>
                <a:gd name="connsiteY200" fmla="*/ 338721 h 1328132"/>
                <a:gd name="connsiteX201" fmla="*/ 883311 w 1381764"/>
                <a:gd name="connsiteY201" fmla="*/ 336266 h 1328132"/>
                <a:gd name="connsiteX202" fmla="*/ 882019 w 1381764"/>
                <a:gd name="connsiteY202" fmla="*/ 334973 h 1328132"/>
                <a:gd name="connsiteX203" fmla="*/ 877496 w 1381764"/>
                <a:gd name="connsiteY203" fmla="*/ 346475 h 1328132"/>
                <a:gd name="connsiteX204" fmla="*/ 876850 w 1381764"/>
                <a:gd name="connsiteY204" fmla="*/ 350998 h 1328132"/>
                <a:gd name="connsiteX205" fmla="*/ 877108 w 1381764"/>
                <a:gd name="connsiteY205" fmla="*/ 351515 h 1328132"/>
                <a:gd name="connsiteX206" fmla="*/ 878142 w 1381764"/>
                <a:gd name="connsiteY206" fmla="*/ 351903 h 1328132"/>
                <a:gd name="connsiteX207" fmla="*/ 878400 w 1381764"/>
                <a:gd name="connsiteY207" fmla="*/ 352549 h 1328132"/>
                <a:gd name="connsiteX208" fmla="*/ 878142 w 1381764"/>
                <a:gd name="connsiteY208" fmla="*/ 352937 h 1328132"/>
                <a:gd name="connsiteX209" fmla="*/ 877108 w 1381764"/>
                <a:gd name="connsiteY209" fmla="*/ 353841 h 1328132"/>
                <a:gd name="connsiteX210" fmla="*/ 876850 w 1381764"/>
                <a:gd name="connsiteY210" fmla="*/ 354358 h 1328132"/>
                <a:gd name="connsiteX211" fmla="*/ 876720 w 1381764"/>
                <a:gd name="connsiteY211" fmla="*/ 357460 h 1328132"/>
                <a:gd name="connsiteX212" fmla="*/ 876850 w 1381764"/>
                <a:gd name="connsiteY212" fmla="*/ 358235 h 1328132"/>
                <a:gd name="connsiteX213" fmla="*/ 878400 w 1381764"/>
                <a:gd name="connsiteY213" fmla="*/ 359786 h 1328132"/>
                <a:gd name="connsiteX214" fmla="*/ 880210 w 1381764"/>
                <a:gd name="connsiteY214" fmla="*/ 360432 h 1328132"/>
                <a:gd name="connsiteX215" fmla="*/ 881631 w 1381764"/>
                <a:gd name="connsiteY215" fmla="*/ 361466 h 1328132"/>
                <a:gd name="connsiteX216" fmla="*/ 882019 w 1381764"/>
                <a:gd name="connsiteY216" fmla="*/ 364051 h 1328132"/>
                <a:gd name="connsiteX217" fmla="*/ 881114 w 1381764"/>
                <a:gd name="connsiteY217" fmla="*/ 362758 h 1328132"/>
                <a:gd name="connsiteX218" fmla="*/ 879822 w 1381764"/>
                <a:gd name="connsiteY218" fmla="*/ 361983 h 1328132"/>
                <a:gd name="connsiteX219" fmla="*/ 878530 w 1381764"/>
                <a:gd name="connsiteY219" fmla="*/ 361983 h 1328132"/>
                <a:gd name="connsiteX220" fmla="*/ 877625 w 1381764"/>
                <a:gd name="connsiteY220" fmla="*/ 363275 h 1328132"/>
                <a:gd name="connsiteX221" fmla="*/ 878013 w 1381764"/>
                <a:gd name="connsiteY221" fmla="*/ 364439 h 1328132"/>
                <a:gd name="connsiteX222" fmla="*/ 877496 w 1381764"/>
                <a:gd name="connsiteY222" fmla="*/ 365731 h 1328132"/>
                <a:gd name="connsiteX223" fmla="*/ 876591 w 1381764"/>
                <a:gd name="connsiteY223" fmla="*/ 367282 h 1328132"/>
                <a:gd name="connsiteX224" fmla="*/ 875945 w 1381764"/>
                <a:gd name="connsiteY224" fmla="*/ 369091 h 1328132"/>
                <a:gd name="connsiteX225" fmla="*/ 875299 w 1381764"/>
                <a:gd name="connsiteY225" fmla="*/ 372968 h 1328132"/>
                <a:gd name="connsiteX226" fmla="*/ 875299 w 1381764"/>
                <a:gd name="connsiteY226" fmla="*/ 380722 h 1328132"/>
                <a:gd name="connsiteX227" fmla="*/ 875945 w 1381764"/>
                <a:gd name="connsiteY227" fmla="*/ 384340 h 1328132"/>
                <a:gd name="connsiteX228" fmla="*/ 876591 w 1381764"/>
                <a:gd name="connsiteY228" fmla="*/ 385891 h 1328132"/>
                <a:gd name="connsiteX229" fmla="*/ 878530 w 1381764"/>
                <a:gd name="connsiteY229" fmla="*/ 388864 h 1328132"/>
                <a:gd name="connsiteX230" fmla="*/ 878917 w 1381764"/>
                <a:gd name="connsiteY230" fmla="*/ 389768 h 1328132"/>
                <a:gd name="connsiteX231" fmla="*/ 879822 w 1381764"/>
                <a:gd name="connsiteY231" fmla="*/ 391061 h 1328132"/>
                <a:gd name="connsiteX232" fmla="*/ 882019 w 1381764"/>
                <a:gd name="connsiteY232" fmla="*/ 391836 h 1328132"/>
                <a:gd name="connsiteX233" fmla="*/ 889644 w 1381764"/>
                <a:gd name="connsiteY233" fmla="*/ 392353 h 1328132"/>
                <a:gd name="connsiteX234" fmla="*/ 890677 w 1381764"/>
                <a:gd name="connsiteY234" fmla="*/ 392224 h 1328132"/>
                <a:gd name="connsiteX235" fmla="*/ 891582 w 1381764"/>
                <a:gd name="connsiteY235" fmla="*/ 391836 h 1328132"/>
                <a:gd name="connsiteX236" fmla="*/ 893650 w 1381764"/>
                <a:gd name="connsiteY236" fmla="*/ 390414 h 1328132"/>
                <a:gd name="connsiteX237" fmla="*/ 894555 w 1381764"/>
                <a:gd name="connsiteY237" fmla="*/ 390156 h 1328132"/>
                <a:gd name="connsiteX238" fmla="*/ 896751 w 1381764"/>
                <a:gd name="connsiteY238" fmla="*/ 389897 h 1328132"/>
                <a:gd name="connsiteX239" fmla="*/ 898819 w 1381764"/>
                <a:gd name="connsiteY239" fmla="*/ 389122 h 1328132"/>
                <a:gd name="connsiteX240" fmla="*/ 900758 w 1381764"/>
                <a:gd name="connsiteY240" fmla="*/ 387830 h 1328132"/>
                <a:gd name="connsiteX241" fmla="*/ 902438 w 1381764"/>
                <a:gd name="connsiteY241" fmla="*/ 386150 h 1328132"/>
                <a:gd name="connsiteX242" fmla="*/ 903989 w 1381764"/>
                <a:gd name="connsiteY242" fmla="*/ 385116 h 1328132"/>
                <a:gd name="connsiteX243" fmla="*/ 905669 w 1381764"/>
                <a:gd name="connsiteY243" fmla="*/ 384987 h 1328132"/>
                <a:gd name="connsiteX244" fmla="*/ 907478 w 1381764"/>
                <a:gd name="connsiteY244" fmla="*/ 385504 h 1328132"/>
                <a:gd name="connsiteX245" fmla="*/ 909416 w 1381764"/>
                <a:gd name="connsiteY245" fmla="*/ 386537 h 1328132"/>
                <a:gd name="connsiteX246" fmla="*/ 907090 w 1381764"/>
                <a:gd name="connsiteY246" fmla="*/ 386537 h 1328132"/>
                <a:gd name="connsiteX247" fmla="*/ 905281 w 1381764"/>
                <a:gd name="connsiteY247" fmla="*/ 386279 h 1328132"/>
                <a:gd name="connsiteX248" fmla="*/ 903730 w 1381764"/>
                <a:gd name="connsiteY248" fmla="*/ 386537 h 1328132"/>
                <a:gd name="connsiteX249" fmla="*/ 902050 w 1381764"/>
                <a:gd name="connsiteY249" fmla="*/ 388088 h 1328132"/>
                <a:gd name="connsiteX250" fmla="*/ 902179 w 1381764"/>
                <a:gd name="connsiteY250" fmla="*/ 387959 h 1328132"/>
                <a:gd name="connsiteX251" fmla="*/ 901275 w 1381764"/>
                <a:gd name="connsiteY251" fmla="*/ 390156 h 1328132"/>
                <a:gd name="connsiteX252" fmla="*/ 903213 w 1381764"/>
                <a:gd name="connsiteY252" fmla="*/ 390673 h 1328132"/>
                <a:gd name="connsiteX253" fmla="*/ 904506 w 1381764"/>
                <a:gd name="connsiteY253" fmla="*/ 391578 h 1328132"/>
                <a:gd name="connsiteX254" fmla="*/ 904506 w 1381764"/>
                <a:gd name="connsiteY254" fmla="*/ 392611 h 1328132"/>
                <a:gd name="connsiteX255" fmla="*/ 902696 w 1381764"/>
                <a:gd name="connsiteY255" fmla="*/ 393775 h 1328132"/>
                <a:gd name="connsiteX256" fmla="*/ 902309 w 1381764"/>
                <a:gd name="connsiteY256" fmla="*/ 393645 h 1328132"/>
                <a:gd name="connsiteX257" fmla="*/ 899336 w 1381764"/>
                <a:gd name="connsiteY257" fmla="*/ 393128 h 1328132"/>
                <a:gd name="connsiteX258" fmla="*/ 898561 w 1381764"/>
                <a:gd name="connsiteY258" fmla="*/ 393387 h 1328132"/>
                <a:gd name="connsiteX259" fmla="*/ 897139 w 1381764"/>
                <a:gd name="connsiteY259" fmla="*/ 394291 h 1328132"/>
                <a:gd name="connsiteX260" fmla="*/ 894296 w 1381764"/>
                <a:gd name="connsiteY260" fmla="*/ 395196 h 1328132"/>
                <a:gd name="connsiteX261" fmla="*/ 899078 w 1381764"/>
                <a:gd name="connsiteY261" fmla="*/ 399332 h 1328132"/>
                <a:gd name="connsiteX262" fmla="*/ 900370 w 1381764"/>
                <a:gd name="connsiteY262" fmla="*/ 401916 h 1328132"/>
                <a:gd name="connsiteX263" fmla="*/ 894555 w 1381764"/>
                <a:gd name="connsiteY263" fmla="*/ 398944 h 1328132"/>
                <a:gd name="connsiteX264" fmla="*/ 892874 w 1381764"/>
                <a:gd name="connsiteY264" fmla="*/ 398427 h 1328132"/>
                <a:gd name="connsiteX265" fmla="*/ 887834 w 1381764"/>
                <a:gd name="connsiteY265" fmla="*/ 397522 h 1328132"/>
                <a:gd name="connsiteX266" fmla="*/ 881243 w 1381764"/>
                <a:gd name="connsiteY266" fmla="*/ 394550 h 1328132"/>
                <a:gd name="connsiteX267" fmla="*/ 876720 w 1381764"/>
                <a:gd name="connsiteY267" fmla="*/ 391836 h 1328132"/>
                <a:gd name="connsiteX268" fmla="*/ 875428 w 1381764"/>
                <a:gd name="connsiteY268" fmla="*/ 391578 h 1328132"/>
                <a:gd name="connsiteX269" fmla="*/ 874006 w 1381764"/>
                <a:gd name="connsiteY269" fmla="*/ 393258 h 1328132"/>
                <a:gd name="connsiteX270" fmla="*/ 874652 w 1381764"/>
                <a:gd name="connsiteY270" fmla="*/ 395842 h 1328132"/>
                <a:gd name="connsiteX271" fmla="*/ 876074 w 1381764"/>
                <a:gd name="connsiteY271" fmla="*/ 398556 h 1328132"/>
                <a:gd name="connsiteX272" fmla="*/ 876850 w 1381764"/>
                <a:gd name="connsiteY272" fmla="*/ 400753 h 1328132"/>
                <a:gd name="connsiteX273" fmla="*/ 876720 w 1381764"/>
                <a:gd name="connsiteY273" fmla="*/ 403079 h 1328132"/>
                <a:gd name="connsiteX274" fmla="*/ 873360 w 1381764"/>
                <a:gd name="connsiteY274" fmla="*/ 415873 h 1328132"/>
                <a:gd name="connsiteX275" fmla="*/ 873102 w 1381764"/>
                <a:gd name="connsiteY275" fmla="*/ 418200 h 1328132"/>
                <a:gd name="connsiteX276" fmla="*/ 873231 w 1381764"/>
                <a:gd name="connsiteY276" fmla="*/ 419621 h 1328132"/>
                <a:gd name="connsiteX277" fmla="*/ 874523 w 1381764"/>
                <a:gd name="connsiteY277" fmla="*/ 422981 h 1328132"/>
                <a:gd name="connsiteX278" fmla="*/ 874782 w 1381764"/>
                <a:gd name="connsiteY278" fmla="*/ 423111 h 1328132"/>
                <a:gd name="connsiteX279" fmla="*/ 875299 w 1381764"/>
                <a:gd name="connsiteY279" fmla="*/ 423369 h 1328132"/>
                <a:gd name="connsiteX280" fmla="*/ 875816 w 1381764"/>
                <a:gd name="connsiteY280" fmla="*/ 423757 h 1328132"/>
                <a:gd name="connsiteX281" fmla="*/ 876074 w 1381764"/>
                <a:gd name="connsiteY281" fmla="*/ 424403 h 1328132"/>
                <a:gd name="connsiteX282" fmla="*/ 875816 w 1381764"/>
                <a:gd name="connsiteY282" fmla="*/ 424403 h 1328132"/>
                <a:gd name="connsiteX283" fmla="*/ 874782 w 1381764"/>
                <a:gd name="connsiteY283" fmla="*/ 425178 h 1328132"/>
                <a:gd name="connsiteX284" fmla="*/ 874523 w 1381764"/>
                <a:gd name="connsiteY284" fmla="*/ 425178 h 1328132"/>
                <a:gd name="connsiteX285" fmla="*/ 874006 w 1381764"/>
                <a:gd name="connsiteY285" fmla="*/ 427634 h 1328132"/>
                <a:gd name="connsiteX286" fmla="*/ 874136 w 1381764"/>
                <a:gd name="connsiteY286" fmla="*/ 428668 h 1328132"/>
                <a:gd name="connsiteX287" fmla="*/ 874911 w 1381764"/>
                <a:gd name="connsiteY287" fmla="*/ 429831 h 1328132"/>
                <a:gd name="connsiteX288" fmla="*/ 877883 w 1381764"/>
                <a:gd name="connsiteY288" fmla="*/ 433320 h 1328132"/>
                <a:gd name="connsiteX289" fmla="*/ 878271 w 1381764"/>
                <a:gd name="connsiteY289" fmla="*/ 434354 h 1328132"/>
                <a:gd name="connsiteX290" fmla="*/ 878917 w 1381764"/>
                <a:gd name="connsiteY290" fmla="*/ 436551 h 1328132"/>
                <a:gd name="connsiteX291" fmla="*/ 880597 w 1381764"/>
                <a:gd name="connsiteY291" fmla="*/ 439006 h 1328132"/>
                <a:gd name="connsiteX292" fmla="*/ 897139 w 1381764"/>
                <a:gd name="connsiteY292" fmla="*/ 455290 h 1328132"/>
                <a:gd name="connsiteX293" fmla="*/ 899465 w 1381764"/>
                <a:gd name="connsiteY293" fmla="*/ 460201 h 1328132"/>
                <a:gd name="connsiteX294" fmla="*/ 897398 w 1381764"/>
                <a:gd name="connsiteY294" fmla="*/ 460588 h 1328132"/>
                <a:gd name="connsiteX295" fmla="*/ 895847 w 1381764"/>
                <a:gd name="connsiteY295" fmla="*/ 462139 h 1328132"/>
                <a:gd name="connsiteX296" fmla="*/ 895201 w 1381764"/>
                <a:gd name="connsiteY296" fmla="*/ 463819 h 1328132"/>
                <a:gd name="connsiteX297" fmla="*/ 895459 w 1381764"/>
                <a:gd name="connsiteY297" fmla="*/ 464594 h 1328132"/>
                <a:gd name="connsiteX298" fmla="*/ 896235 w 1381764"/>
                <a:gd name="connsiteY298" fmla="*/ 464982 h 1328132"/>
                <a:gd name="connsiteX299" fmla="*/ 898690 w 1381764"/>
                <a:gd name="connsiteY299" fmla="*/ 466921 h 1328132"/>
                <a:gd name="connsiteX300" fmla="*/ 900111 w 1381764"/>
                <a:gd name="connsiteY300" fmla="*/ 467567 h 1328132"/>
                <a:gd name="connsiteX301" fmla="*/ 916653 w 1381764"/>
                <a:gd name="connsiteY301" fmla="*/ 470927 h 1328132"/>
                <a:gd name="connsiteX302" fmla="*/ 919755 w 1381764"/>
                <a:gd name="connsiteY302" fmla="*/ 471056 h 1328132"/>
                <a:gd name="connsiteX303" fmla="*/ 922727 w 1381764"/>
                <a:gd name="connsiteY303" fmla="*/ 470668 h 1328132"/>
                <a:gd name="connsiteX304" fmla="*/ 925829 w 1381764"/>
                <a:gd name="connsiteY304" fmla="*/ 469635 h 1328132"/>
                <a:gd name="connsiteX305" fmla="*/ 928284 w 1381764"/>
                <a:gd name="connsiteY305" fmla="*/ 467955 h 1328132"/>
                <a:gd name="connsiteX306" fmla="*/ 926604 w 1381764"/>
                <a:gd name="connsiteY306" fmla="*/ 466921 h 1328132"/>
                <a:gd name="connsiteX307" fmla="*/ 923374 w 1381764"/>
                <a:gd name="connsiteY307" fmla="*/ 466016 h 1328132"/>
                <a:gd name="connsiteX308" fmla="*/ 920789 w 1381764"/>
                <a:gd name="connsiteY308" fmla="*/ 464594 h 1328132"/>
                <a:gd name="connsiteX309" fmla="*/ 923244 w 1381764"/>
                <a:gd name="connsiteY309" fmla="*/ 465111 h 1328132"/>
                <a:gd name="connsiteX310" fmla="*/ 926088 w 1381764"/>
                <a:gd name="connsiteY310" fmla="*/ 465241 h 1328132"/>
                <a:gd name="connsiteX311" fmla="*/ 928543 w 1381764"/>
                <a:gd name="connsiteY311" fmla="*/ 464594 h 1328132"/>
                <a:gd name="connsiteX312" fmla="*/ 929577 w 1381764"/>
                <a:gd name="connsiteY312" fmla="*/ 462656 h 1328132"/>
                <a:gd name="connsiteX313" fmla="*/ 929318 w 1381764"/>
                <a:gd name="connsiteY313" fmla="*/ 460071 h 1328132"/>
                <a:gd name="connsiteX314" fmla="*/ 927251 w 1381764"/>
                <a:gd name="connsiteY314" fmla="*/ 452059 h 1328132"/>
                <a:gd name="connsiteX315" fmla="*/ 928026 w 1381764"/>
                <a:gd name="connsiteY315" fmla="*/ 452059 h 1328132"/>
                <a:gd name="connsiteX316" fmla="*/ 930611 w 1381764"/>
                <a:gd name="connsiteY316" fmla="*/ 459425 h 1328132"/>
                <a:gd name="connsiteX317" fmla="*/ 930869 w 1381764"/>
                <a:gd name="connsiteY317" fmla="*/ 461622 h 1328132"/>
                <a:gd name="connsiteX318" fmla="*/ 931644 w 1381764"/>
                <a:gd name="connsiteY318" fmla="*/ 461622 h 1328132"/>
                <a:gd name="connsiteX319" fmla="*/ 932162 w 1381764"/>
                <a:gd name="connsiteY319" fmla="*/ 459554 h 1328132"/>
                <a:gd name="connsiteX320" fmla="*/ 932678 w 1381764"/>
                <a:gd name="connsiteY320" fmla="*/ 454256 h 1328132"/>
                <a:gd name="connsiteX321" fmla="*/ 933454 w 1381764"/>
                <a:gd name="connsiteY321" fmla="*/ 452576 h 1328132"/>
                <a:gd name="connsiteX322" fmla="*/ 933971 w 1381764"/>
                <a:gd name="connsiteY322" fmla="*/ 450767 h 1328132"/>
                <a:gd name="connsiteX323" fmla="*/ 932162 w 1381764"/>
                <a:gd name="connsiteY323" fmla="*/ 449216 h 1328132"/>
                <a:gd name="connsiteX324" fmla="*/ 929835 w 1381764"/>
                <a:gd name="connsiteY324" fmla="*/ 447665 h 1328132"/>
                <a:gd name="connsiteX325" fmla="*/ 928672 w 1381764"/>
                <a:gd name="connsiteY325" fmla="*/ 445985 h 1328132"/>
                <a:gd name="connsiteX326" fmla="*/ 928931 w 1381764"/>
                <a:gd name="connsiteY326" fmla="*/ 444951 h 1328132"/>
                <a:gd name="connsiteX327" fmla="*/ 929448 w 1381764"/>
                <a:gd name="connsiteY327" fmla="*/ 444305 h 1328132"/>
                <a:gd name="connsiteX328" fmla="*/ 930223 w 1381764"/>
                <a:gd name="connsiteY328" fmla="*/ 443659 h 1328132"/>
                <a:gd name="connsiteX329" fmla="*/ 930998 w 1381764"/>
                <a:gd name="connsiteY329" fmla="*/ 442754 h 1328132"/>
                <a:gd name="connsiteX330" fmla="*/ 931386 w 1381764"/>
                <a:gd name="connsiteY330" fmla="*/ 442496 h 1328132"/>
                <a:gd name="connsiteX331" fmla="*/ 931774 w 1381764"/>
                <a:gd name="connsiteY331" fmla="*/ 442625 h 1328132"/>
                <a:gd name="connsiteX332" fmla="*/ 932162 w 1381764"/>
                <a:gd name="connsiteY332" fmla="*/ 442625 h 1328132"/>
                <a:gd name="connsiteX333" fmla="*/ 932420 w 1381764"/>
                <a:gd name="connsiteY333" fmla="*/ 442108 h 1328132"/>
                <a:gd name="connsiteX334" fmla="*/ 932420 w 1381764"/>
                <a:gd name="connsiteY334" fmla="*/ 441591 h 1328132"/>
                <a:gd name="connsiteX335" fmla="*/ 932162 w 1381764"/>
                <a:gd name="connsiteY335" fmla="*/ 441332 h 1328132"/>
                <a:gd name="connsiteX336" fmla="*/ 931903 w 1381764"/>
                <a:gd name="connsiteY336" fmla="*/ 441074 h 1328132"/>
                <a:gd name="connsiteX337" fmla="*/ 930481 w 1381764"/>
                <a:gd name="connsiteY337" fmla="*/ 437197 h 1328132"/>
                <a:gd name="connsiteX338" fmla="*/ 930611 w 1381764"/>
                <a:gd name="connsiteY338" fmla="*/ 435388 h 1328132"/>
                <a:gd name="connsiteX339" fmla="*/ 932549 w 1381764"/>
                <a:gd name="connsiteY339" fmla="*/ 433966 h 1328132"/>
                <a:gd name="connsiteX340" fmla="*/ 932420 w 1381764"/>
                <a:gd name="connsiteY340" fmla="*/ 435000 h 1328132"/>
                <a:gd name="connsiteX341" fmla="*/ 931903 w 1381764"/>
                <a:gd name="connsiteY341" fmla="*/ 436809 h 1328132"/>
                <a:gd name="connsiteX342" fmla="*/ 931903 w 1381764"/>
                <a:gd name="connsiteY342" fmla="*/ 437585 h 1328132"/>
                <a:gd name="connsiteX343" fmla="*/ 932162 w 1381764"/>
                <a:gd name="connsiteY343" fmla="*/ 438489 h 1328132"/>
                <a:gd name="connsiteX344" fmla="*/ 933066 w 1381764"/>
                <a:gd name="connsiteY344" fmla="*/ 440169 h 1328132"/>
                <a:gd name="connsiteX345" fmla="*/ 933454 w 1381764"/>
                <a:gd name="connsiteY345" fmla="*/ 441849 h 1328132"/>
                <a:gd name="connsiteX346" fmla="*/ 933454 w 1381764"/>
                <a:gd name="connsiteY346" fmla="*/ 442237 h 1328132"/>
                <a:gd name="connsiteX347" fmla="*/ 932549 w 1381764"/>
                <a:gd name="connsiteY347" fmla="*/ 444046 h 1328132"/>
                <a:gd name="connsiteX348" fmla="*/ 931903 w 1381764"/>
                <a:gd name="connsiteY348" fmla="*/ 444563 h 1328132"/>
                <a:gd name="connsiteX349" fmla="*/ 931128 w 1381764"/>
                <a:gd name="connsiteY349" fmla="*/ 444693 h 1328132"/>
                <a:gd name="connsiteX350" fmla="*/ 930481 w 1381764"/>
                <a:gd name="connsiteY350" fmla="*/ 444951 h 1328132"/>
                <a:gd name="connsiteX351" fmla="*/ 930223 w 1381764"/>
                <a:gd name="connsiteY351" fmla="*/ 445856 h 1328132"/>
                <a:gd name="connsiteX352" fmla="*/ 930740 w 1381764"/>
                <a:gd name="connsiteY352" fmla="*/ 447277 h 1328132"/>
                <a:gd name="connsiteX353" fmla="*/ 932032 w 1381764"/>
                <a:gd name="connsiteY353" fmla="*/ 447665 h 1328132"/>
                <a:gd name="connsiteX354" fmla="*/ 933454 w 1381764"/>
                <a:gd name="connsiteY354" fmla="*/ 447794 h 1328132"/>
                <a:gd name="connsiteX355" fmla="*/ 934617 w 1381764"/>
                <a:gd name="connsiteY355" fmla="*/ 448440 h 1328132"/>
                <a:gd name="connsiteX356" fmla="*/ 935005 w 1381764"/>
                <a:gd name="connsiteY356" fmla="*/ 449733 h 1328132"/>
                <a:gd name="connsiteX357" fmla="*/ 934746 w 1381764"/>
                <a:gd name="connsiteY357" fmla="*/ 457357 h 1328132"/>
                <a:gd name="connsiteX358" fmla="*/ 935134 w 1381764"/>
                <a:gd name="connsiteY358" fmla="*/ 459425 h 1328132"/>
                <a:gd name="connsiteX359" fmla="*/ 936168 w 1381764"/>
                <a:gd name="connsiteY359" fmla="*/ 460976 h 1328132"/>
                <a:gd name="connsiteX360" fmla="*/ 940174 w 1381764"/>
                <a:gd name="connsiteY360" fmla="*/ 462010 h 1328132"/>
                <a:gd name="connsiteX361" fmla="*/ 941466 w 1381764"/>
                <a:gd name="connsiteY361" fmla="*/ 464078 h 1328132"/>
                <a:gd name="connsiteX362" fmla="*/ 942242 w 1381764"/>
                <a:gd name="connsiteY362" fmla="*/ 465241 h 1328132"/>
                <a:gd name="connsiteX363" fmla="*/ 943792 w 1381764"/>
                <a:gd name="connsiteY363" fmla="*/ 466145 h 1328132"/>
                <a:gd name="connsiteX364" fmla="*/ 950383 w 1381764"/>
                <a:gd name="connsiteY364" fmla="*/ 462914 h 1328132"/>
                <a:gd name="connsiteX365" fmla="*/ 951030 w 1381764"/>
                <a:gd name="connsiteY365" fmla="*/ 462010 h 1328132"/>
                <a:gd name="connsiteX366" fmla="*/ 954002 w 1381764"/>
                <a:gd name="connsiteY366" fmla="*/ 459684 h 1328132"/>
                <a:gd name="connsiteX367" fmla="*/ 954777 w 1381764"/>
                <a:gd name="connsiteY367" fmla="*/ 458133 h 1328132"/>
                <a:gd name="connsiteX368" fmla="*/ 954777 w 1381764"/>
                <a:gd name="connsiteY368" fmla="*/ 455548 h 1328132"/>
                <a:gd name="connsiteX369" fmla="*/ 954519 w 1381764"/>
                <a:gd name="connsiteY369" fmla="*/ 453997 h 1328132"/>
                <a:gd name="connsiteX370" fmla="*/ 955036 w 1381764"/>
                <a:gd name="connsiteY370" fmla="*/ 453222 h 1328132"/>
                <a:gd name="connsiteX371" fmla="*/ 957362 w 1381764"/>
                <a:gd name="connsiteY371" fmla="*/ 452963 h 1328132"/>
                <a:gd name="connsiteX372" fmla="*/ 957621 w 1381764"/>
                <a:gd name="connsiteY372" fmla="*/ 453480 h 1328132"/>
                <a:gd name="connsiteX373" fmla="*/ 956974 w 1381764"/>
                <a:gd name="connsiteY373" fmla="*/ 458650 h 1328132"/>
                <a:gd name="connsiteX374" fmla="*/ 956974 w 1381764"/>
                <a:gd name="connsiteY374" fmla="*/ 459296 h 1328132"/>
                <a:gd name="connsiteX375" fmla="*/ 957362 w 1381764"/>
                <a:gd name="connsiteY375" fmla="*/ 459813 h 1328132"/>
                <a:gd name="connsiteX376" fmla="*/ 959559 w 1381764"/>
                <a:gd name="connsiteY376" fmla="*/ 462010 h 1328132"/>
                <a:gd name="connsiteX377" fmla="*/ 960076 w 1381764"/>
                <a:gd name="connsiteY377" fmla="*/ 462397 h 1328132"/>
                <a:gd name="connsiteX378" fmla="*/ 962402 w 1381764"/>
                <a:gd name="connsiteY378" fmla="*/ 462268 h 1328132"/>
                <a:gd name="connsiteX379" fmla="*/ 963695 w 1381764"/>
                <a:gd name="connsiteY379" fmla="*/ 462527 h 1328132"/>
                <a:gd name="connsiteX380" fmla="*/ 965892 w 1381764"/>
                <a:gd name="connsiteY380" fmla="*/ 463561 h 1328132"/>
                <a:gd name="connsiteX381" fmla="*/ 968347 w 1381764"/>
                <a:gd name="connsiteY381" fmla="*/ 464078 h 1328132"/>
                <a:gd name="connsiteX382" fmla="*/ 969381 w 1381764"/>
                <a:gd name="connsiteY382" fmla="*/ 464853 h 1328132"/>
                <a:gd name="connsiteX383" fmla="*/ 970415 w 1381764"/>
                <a:gd name="connsiteY383" fmla="*/ 465758 h 1328132"/>
                <a:gd name="connsiteX384" fmla="*/ 971707 w 1381764"/>
                <a:gd name="connsiteY384" fmla="*/ 466533 h 1328132"/>
                <a:gd name="connsiteX385" fmla="*/ 972741 w 1381764"/>
                <a:gd name="connsiteY385" fmla="*/ 466791 h 1328132"/>
                <a:gd name="connsiteX386" fmla="*/ 974938 w 1381764"/>
                <a:gd name="connsiteY386" fmla="*/ 466921 h 1328132"/>
                <a:gd name="connsiteX387" fmla="*/ 975972 w 1381764"/>
                <a:gd name="connsiteY387" fmla="*/ 467308 h 1328132"/>
                <a:gd name="connsiteX388" fmla="*/ 977264 w 1381764"/>
                <a:gd name="connsiteY388" fmla="*/ 468213 h 1328132"/>
                <a:gd name="connsiteX389" fmla="*/ 978169 w 1381764"/>
                <a:gd name="connsiteY389" fmla="*/ 469118 h 1328132"/>
                <a:gd name="connsiteX390" fmla="*/ 979203 w 1381764"/>
                <a:gd name="connsiteY390" fmla="*/ 469893 h 1328132"/>
                <a:gd name="connsiteX391" fmla="*/ 980753 w 1381764"/>
                <a:gd name="connsiteY391" fmla="*/ 470152 h 1328132"/>
                <a:gd name="connsiteX392" fmla="*/ 981658 w 1381764"/>
                <a:gd name="connsiteY392" fmla="*/ 469893 h 1328132"/>
                <a:gd name="connsiteX393" fmla="*/ 984243 w 1381764"/>
                <a:gd name="connsiteY393" fmla="*/ 468859 h 1328132"/>
                <a:gd name="connsiteX394" fmla="*/ 987732 w 1381764"/>
                <a:gd name="connsiteY394" fmla="*/ 466016 h 1328132"/>
                <a:gd name="connsiteX395" fmla="*/ 988507 w 1381764"/>
                <a:gd name="connsiteY395" fmla="*/ 465111 h 1328132"/>
                <a:gd name="connsiteX396" fmla="*/ 988895 w 1381764"/>
                <a:gd name="connsiteY396" fmla="*/ 464078 h 1328132"/>
                <a:gd name="connsiteX397" fmla="*/ 989283 w 1381764"/>
                <a:gd name="connsiteY397" fmla="*/ 463044 h 1328132"/>
                <a:gd name="connsiteX398" fmla="*/ 989412 w 1381764"/>
                <a:gd name="connsiteY398" fmla="*/ 461881 h 1328132"/>
                <a:gd name="connsiteX399" fmla="*/ 989283 w 1381764"/>
                <a:gd name="connsiteY399" fmla="*/ 460717 h 1328132"/>
                <a:gd name="connsiteX400" fmla="*/ 986052 w 1381764"/>
                <a:gd name="connsiteY400" fmla="*/ 454256 h 1328132"/>
                <a:gd name="connsiteX401" fmla="*/ 985535 w 1381764"/>
                <a:gd name="connsiteY401" fmla="*/ 451671 h 1328132"/>
                <a:gd name="connsiteX402" fmla="*/ 985793 w 1381764"/>
                <a:gd name="connsiteY402" fmla="*/ 450120 h 1328132"/>
                <a:gd name="connsiteX403" fmla="*/ 987215 w 1381764"/>
                <a:gd name="connsiteY403" fmla="*/ 446760 h 1328132"/>
                <a:gd name="connsiteX404" fmla="*/ 987603 w 1381764"/>
                <a:gd name="connsiteY404" fmla="*/ 444951 h 1328132"/>
                <a:gd name="connsiteX405" fmla="*/ 988120 w 1381764"/>
                <a:gd name="connsiteY405" fmla="*/ 446502 h 1328132"/>
                <a:gd name="connsiteX406" fmla="*/ 987086 w 1381764"/>
                <a:gd name="connsiteY406" fmla="*/ 449733 h 1328132"/>
                <a:gd name="connsiteX407" fmla="*/ 986956 w 1381764"/>
                <a:gd name="connsiteY407" fmla="*/ 451542 h 1328132"/>
                <a:gd name="connsiteX408" fmla="*/ 987603 w 1381764"/>
                <a:gd name="connsiteY408" fmla="*/ 452705 h 1328132"/>
                <a:gd name="connsiteX409" fmla="*/ 989541 w 1381764"/>
                <a:gd name="connsiteY409" fmla="*/ 455290 h 1328132"/>
                <a:gd name="connsiteX410" fmla="*/ 990446 w 1381764"/>
                <a:gd name="connsiteY410" fmla="*/ 460071 h 1328132"/>
                <a:gd name="connsiteX411" fmla="*/ 991867 w 1381764"/>
                <a:gd name="connsiteY411" fmla="*/ 463044 h 1328132"/>
                <a:gd name="connsiteX412" fmla="*/ 993806 w 1381764"/>
                <a:gd name="connsiteY412" fmla="*/ 464982 h 1328132"/>
                <a:gd name="connsiteX413" fmla="*/ 995874 w 1381764"/>
                <a:gd name="connsiteY413" fmla="*/ 465241 h 1328132"/>
                <a:gd name="connsiteX414" fmla="*/ 997424 w 1381764"/>
                <a:gd name="connsiteY414" fmla="*/ 463948 h 1328132"/>
                <a:gd name="connsiteX415" fmla="*/ 1000655 w 1381764"/>
                <a:gd name="connsiteY415" fmla="*/ 460201 h 1328132"/>
                <a:gd name="connsiteX416" fmla="*/ 1002852 w 1381764"/>
                <a:gd name="connsiteY416" fmla="*/ 459425 h 1328132"/>
                <a:gd name="connsiteX417" fmla="*/ 1007634 w 1381764"/>
                <a:gd name="connsiteY417" fmla="*/ 460201 h 1328132"/>
                <a:gd name="connsiteX418" fmla="*/ 1008409 w 1381764"/>
                <a:gd name="connsiteY418" fmla="*/ 459813 h 1328132"/>
                <a:gd name="connsiteX419" fmla="*/ 1009185 w 1381764"/>
                <a:gd name="connsiteY419" fmla="*/ 457357 h 1328132"/>
                <a:gd name="connsiteX420" fmla="*/ 1009055 w 1381764"/>
                <a:gd name="connsiteY420" fmla="*/ 456065 h 1328132"/>
                <a:gd name="connsiteX421" fmla="*/ 1007634 w 1381764"/>
                <a:gd name="connsiteY421" fmla="*/ 455677 h 1328132"/>
                <a:gd name="connsiteX422" fmla="*/ 1007634 w 1381764"/>
                <a:gd name="connsiteY422" fmla="*/ 454902 h 1328132"/>
                <a:gd name="connsiteX423" fmla="*/ 1009185 w 1381764"/>
                <a:gd name="connsiteY423" fmla="*/ 454902 h 1328132"/>
                <a:gd name="connsiteX424" fmla="*/ 1008280 w 1381764"/>
                <a:gd name="connsiteY424" fmla="*/ 453351 h 1328132"/>
                <a:gd name="connsiteX425" fmla="*/ 1007892 w 1381764"/>
                <a:gd name="connsiteY425" fmla="*/ 451671 h 1328132"/>
                <a:gd name="connsiteX426" fmla="*/ 1008409 w 1381764"/>
                <a:gd name="connsiteY426" fmla="*/ 450379 h 1328132"/>
                <a:gd name="connsiteX427" fmla="*/ 1010219 w 1381764"/>
                <a:gd name="connsiteY427" fmla="*/ 449862 h 1328132"/>
                <a:gd name="connsiteX428" fmla="*/ 1011511 w 1381764"/>
                <a:gd name="connsiteY428" fmla="*/ 449216 h 1328132"/>
                <a:gd name="connsiteX429" fmla="*/ 1012415 w 1381764"/>
                <a:gd name="connsiteY429" fmla="*/ 447665 h 1328132"/>
                <a:gd name="connsiteX430" fmla="*/ 1012415 w 1381764"/>
                <a:gd name="connsiteY430" fmla="*/ 445985 h 1328132"/>
                <a:gd name="connsiteX431" fmla="*/ 1011252 w 1381764"/>
                <a:gd name="connsiteY431" fmla="*/ 444693 h 1328132"/>
                <a:gd name="connsiteX432" fmla="*/ 1011899 w 1381764"/>
                <a:gd name="connsiteY432" fmla="*/ 444822 h 1328132"/>
                <a:gd name="connsiteX433" fmla="*/ 1012415 w 1381764"/>
                <a:gd name="connsiteY433" fmla="*/ 444822 h 1328132"/>
                <a:gd name="connsiteX434" fmla="*/ 1012932 w 1381764"/>
                <a:gd name="connsiteY434" fmla="*/ 444951 h 1328132"/>
                <a:gd name="connsiteX435" fmla="*/ 1013449 w 1381764"/>
                <a:gd name="connsiteY435" fmla="*/ 445339 h 1328132"/>
                <a:gd name="connsiteX436" fmla="*/ 1013449 w 1381764"/>
                <a:gd name="connsiteY436" fmla="*/ 439911 h 1328132"/>
                <a:gd name="connsiteX437" fmla="*/ 1013062 w 1381764"/>
                <a:gd name="connsiteY437" fmla="*/ 438619 h 1328132"/>
                <a:gd name="connsiteX438" fmla="*/ 1012157 w 1381764"/>
                <a:gd name="connsiteY438" fmla="*/ 437585 h 1328132"/>
                <a:gd name="connsiteX439" fmla="*/ 1011252 w 1381764"/>
                <a:gd name="connsiteY439" fmla="*/ 437068 h 1328132"/>
                <a:gd name="connsiteX440" fmla="*/ 1010606 w 1381764"/>
                <a:gd name="connsiteY440" fmla="*/ 436292 h 1328132"/>
                <a:gd name="connsiteX441" fmla="*/ 1011640 w 1381764"/>
                <a:gd name="connsiteY441" fmla="*/ 436680 h 1328132"/>
                <a:gd name="connsiteX442" fmla="*/ 1012545 w 1381764"/>
                <a:gd name="connsiteY442" fmla="*/ 436809 h 1328132"/>
                <a:gd name="connsiteX443" fmla="*/ 1013449 w 1381764"/>
                <a:gd name="connsiteY443" fmla="*/ 436680 h 1328132"/>
                <a:gd name="connsiteX444" fmla="*/ 1014354 w 1381764"/>
                <a:gd name="connsiteY444" fmla="*/ 436292 h 1328132"/>
                <a:gd name="connsiteX445" fmla="*/ 1015000 w 1381764"/>
                <a:gd name="connsiteY445" fmla="*/ 442496 h 1328132"/>
                <a:gd name="connsiteX446" fmla="*/ 1015646 w 1381764"/>
                <a:gd name="connsiteY446" fmla="*/ 443788 h 1328132"/>
                <a:gd name="connsiteX447" fmla="*/ 1015776 w 1381764"/>
                <a:gd name="connsiteY447" fmla="*/ 447406 h 1328132"/>
                <a:gd name="connsiteX448" fmla="*/ 1017326 w 1381764"/>
                <a:gd name="connsiteY448" fmla="*/ 449603 h 1328132"/>
                <a:gd name="connsiteX449" fmla="*/ 1020040 w 1381764"/>
                <a:gd name="connsiteY449" fmla="*/ 450896 h 1328132"/>
                <a:gd name="connsiteX450" fmla="*/ 1021979 w 1381764"/>
                <a:gd name="connsiteY450" fmla="*/ 450637 h 1328132"/>
                <a:gd name="connsiteX451" fmla="*/ 1023917 w 1381764"/>
                <a:gd name="connsiteY451" fmla="*/ 451154 h 1328132"/>
                <a:gd name="connsiteX452" fmla="*/ 1027536 w 1381764"/>
                <a:gd name="connsiteY452" fmla="*/ 452188 h 1328132"/>
                <a:gd name="connsiteX453" fmla="*/ 1029087 w 1381764"/>
                <a:gd name="connsiteY453" fmla="*/ 451283 h 1328132"/>
                <a:gd name="connsiteX454" fmla="*/ 1029474 w 1381764"/>
                <a:gd name="connsiteY454" fmla="*/ 448828 h 1328132"/>
                <a:gd name="connsiteX455" fmla="*/ 1027148 w 1381764"/>
                <a:gd name="connsiteY455" fmla="*/ 445856 h 1328132"/>
                <a:gd name="connsiteX456" fmla="*/ 1023530 w 1381764"/>
                <a:gd name="connsiteY456" fmla="*/ 443529 h 1328132"/>
                <a:gd name="connsiteX457" fmla="*/ 1023013 w 1381764"/>
                <a:gd name="connsiteY457" fmla="*/ 441203 h 1328132"/>
                <a:gd name="connsiteX458" fmla="*/ 1023917 w 1381764"/>
                <a:gd name="connsiteY458" fmla="*/ 438619 h 1328132"/>
                <a:gd name="connsiteX459" fmla="*/ 1025339 w 1381764"/>
                <a:gd name="connsiteY459" fmla="*/ 436292 h 1328132"/>
                <a:gd name="connsiteX460" fmla="*/ 1025985 w 1381764"/>
                <a:gd name="connsiteY460" fmla="*/ 435000 h 1328132"/>
                <a:gd name="connsiteX461" fmla="*/ 1026373 w 1381764"/>
                <a:gd name="connsiteY461" fmla="*/ 436034 h 1328132"/>
                <a:gd name="connsiteX462" fmla="*/ 1026114 w 1381764"/>
                <a:gd name="connsiteY462" fmla="*/ 437068 h 1328132"/>
                <a:gd name="connsiteX463" fmla="*/ 1025597 w 1381764"/>
                <a:gd name="connsiteY463" fmla="*/ 438231 h 1328132"/>
                <a:gd name="connsiteX464" fmla="*/ 1025339 w 1381764"/>
                <a:gd name="connsiteY464" fmla="*/ 439782 h 1328132"/>
                <a:gd name="connsiteX465" fmla="*/ 1025856 w 1381764"/>
                <a:gd name="connsiteY465" fmla="*/ 440816 h 1328132"/>
                <a:gd name="connsiteX466" fmla="*/ 1029733 w 1381764"/>
                <a:gd name="connsiteY466" fmla="*/ 444563 h 1328132"/>
                <a:gd name="connsiteX467" fmla="*/ 1032059 w 1381764"/>
                <a:gd name="connsiteY467" fmla="*/ 446114 h 1328132"/>
                <a:gd name="connsiteX468" fmla="*/ 1033997 w 1381764"/>
                <a:gd name="connsiteY468" fmla="*/ 447794 h 1328132"/>
                <a:gd name="connsiteX469" fmla="*/ 1036194 w 1381764"/>
                <a:gd name="connsiteY469" fmla="*/ 449216 h 1328132"/>
                <a:gd name="connsiteX470" fmla="*/ 1038262 w 1381764"/>
                <a:gd name="connsiteY470" fmla="*/ 449603 h 1328132"/>
                <a:gd name="connsiteX471" fmla="*/ 1040201 w 1381764"/>
                <a:gd name="connsiteY471" fmla="*/ 449474 h 1328132"/>
                <a:gd name="connsiteX472" fmla="*/ 1043819 w 1381764"/>
                <a:gd name="connsiteY472" fmla="*/ 449603 h 1328132"/>
                <a:gd name="connsiteX473" fmla="*/ 1047567 w 1381764"/>
                <a:gd name="connsiteY473" fmla="*/ 448182 h 1328132"/>
                <a:gd name="connsiteX474" fmla="*/ 1049635 w 1381764"/>
                <a:gd name="connsiteY474" fmla="*/ 445985 h 1328132"/>
                <a:gd name="connsiteX475" fmla="*/ 1048084 w 1381764"/>
                <a:gd name="connsiteY475" fmla="*/ 446373 h 1328132"/>
                <a:gd name="connsiteX476" fmla="*/ 1047438 w 1381764"/>
                <a:gd name="connsiteY476" fmla="*/ 446760 h 1328132"/>
                <a:gd name="connsiteX477" fmla="*/ 1046792 w 1381764"/>
                <a:gd name="connsiteY477" fmla="*/ 447536 h 1328132"/>
                <a:gd name="connsiteX478" fmla="*/ 1046145 w 1381764"/>
                <a:gd name="connsiteY478" fmla="*/ 445985 h 1328132"/>
                <a:gd name="connsiteX479" fmla="*/ 1045112 w 1381764"/>
                <a:gd name="connsiteY479" fmla="*/ 445726 h 1328132"/>
                <a:gd name="connsiteX480" fmla="*/ 1043948 w 1381764"/>
                <a:gd name="connsiteY480" fmla="*/ 445597 h 1328132"/>
                <a:gd name="connsiteX481" fmla="*/ 1043173 w 1381764"/>
                <a:gd name="connsiteY481" fmla="*/ 444563 h 1328132"/>
                <a:gd name="connsiteX482" fmla="*/ 1044207 w 1381764"/>
                <a:gd name="connsiteY482" fmla="*/ 444305 h 1328132"/>
                <a:gd name="connsiteX483" fmla="*/ 1044982 w 1381764"/>
                <a:gd name="connsiteY483" fmla="*/ 444046 h 1328132"/>
                <a:gd name="connsiteX484" fmla="*/ 1045629 w 1381764"/>
                <a:gd name="connsiteY484" fmla="*/ 443659 h 1328132"/>
                <a:gd name="connsiteX485" fmla="*/ 1046145 w 1381764"/>
                <a:gd name="connsiteY485" fmla="*/ 443012 h 1328132"/>
                <a:gd name="connsiteX486" fmla="*/ 1046662 w 1381764"/>
                <a:gd name="connsiteY486" fmla="*/ 443659 h 1328132"/>
                <a:gd name="connsiteX487" fmla="*/ 1046792 w 1381764"/>
                <a:gd name="connsiteY487" fmla="*/ 443917 h 1328132"/>
                <a:gd name="connsiteX488" fmla="*/ 1046921 w 1381764"/>
                <a:gd name="connsiteY488" fmla="*/ 444434 h 1328132"/>
                <a:gd name="connsiteX489" fmla="*/ 1047308 w 1381764"/>
                <a:gd name="connsiteY489" fmla="*/ 444305 h 1328132"/>
                <a:gd name="connsiteX490" fmla="*/ 1048342 w 1381764"/>
                <a:gd name="connsiteY490" fmla="*/ 443659 h 1328132"/>
                <a:gd name="connsiteX491" fmla="*/ 1046275 w 1381764"/>
                <a:gd name="connsiteY491" fmla="*/ 442237 h 1328132"/>
                <a:gd name="connsiteX492" fmla="*/ 1046016 w 1381764"/>
                <a:gd name="connsiteY492" fmla="*/ 439652 h 1328132"/>
                <a:gd name="connsiteX493" fmla="*/ 1048084 w 1381764"/>
                <a:gd name="connsiteY493" fmla="*/ 431640 h 1328132"/>
                <a:gd name="connsiteX494" fmla="*/ 1048084 w 1381764"/>
                <a:gd name="connsiteY494" fmla="*/ 429055 h 1328132"/>
                <a:gd name="connsiteX495" fmla="*/ 1047308 w 1381764"/>
                <a:gd name="connsiteY495" fmla="*/ 426858 h 1328132"/>
                <a:gd name="connsiteX496" fmla="*/ 1045112 w 1381764"/>
                <a:gd name="connsiteY496" fmla="*/ 425307 h 1328132"/>
                <a:gd name="connsiteX497" fmla="*/ 1046275 w 1381764"/>
                <a:gd name="connsiteY497" fmla="*/ 424661 h 1328132"/>
                <a:gd name="connsiteX498" fmla="*/ 1046921 w 1381764"/>
                <a:gd name="connsiteY498" fmla="*/ 424920 h 1328132"/>
                <a:gd name="connsiteX499" fmla="*/ 1047438 w 1381764"/>
                <a:gd name="connsiteY499" fmla="*/ 425566 h 1328132"/>
                <a:gd name="connsiteX500" fmla="*/ 1047955 w 1381764"/>
                <a:gd name="connsiteY500" fmla="*/ 425954 h 1328132"/>
                <a:gd name="connsiteX501" fmla="*/ 1051186 w 1381764"/>
                <a:gd name="connsiteY501" fmla="*/ 425954 h 1328132"/>
                <a:gd name="connsiteX502" fmla="*/ 1051444 w 1381764"/>
                <a:gd name="connsiteY502" fmla="*/ 426729 h 1328132"/>
                <a:gd name="connsiteX503" fmla="*/ 1053770 w 1381764"/>
                <a:gd name="connsiteY503" fmla="*/ 431381 h 1328132"/>
                <a:gd name="connsiteX504" fmla="*/ 1054029 w 1381764"/>
                <a:gd name="connsiteY504" fmla="*/ 432415 h 1328132"/>
                <a:gd name="connsiteX505" fmla="*/ 1055321 w 1381764"/>
                <a:gd name="connsiteY505" fmla="*/ 435775 h 1328132"/>
                <a:gd name="connsiteX506" fmla="*/ 1055967 w 1381764"/>
                <a:gd name="connsiteY506" fmla="*/ 436809 h 1328132"/>
                <a:gd name="connsiteX507" fmla="*/ 1056484 w 1381764"/>
                <a:gd name="connsiteY507" fmla="*/ 437197 h 1328132"/>
                <a:gd name="connsiteX508" fmla="*/ 1057001 w 1381764"/>
                <a:gd name="connsiteY508" fmla="*/ 437455 h 1328132"/>
                <a:gd name="connsiteX509" fmla="*/ 1057647 w 1381764"/>
                <a:gd name="connsiteY509" fmla="*/ 437585 h 1328132"/>
                <a:gd name="connsiteX510" fmla="*/ 1058552 w 1381764"/>
                <a:gd name="connsiteY510" fmla="*/ 437585 h 1328132"/>
                <a:gd name="connsiteX511" fmla="*/ 1059456 w 1381764"/>
                <a:gd name="connsiteY511" fmla="*/ 437843 h 1328132"/>
                <a:gd name="connsiteX512" fmla="*/ 1059586 w 1381764"/>
                <a:gd name="connsiteY512" fmla="*/ 438489 h 1328132"/>
                <a:gd name="connsiteX513" fmla="*/ 1059586 w 1381764"/>
                <a:gd name="connsiteY513" fmla="*/ 439265 h 1328132"/>
                <a:gd name="connsiteX514" fmla="*/ 1060232 w 1381764"/>
                <a:gd name="connsiteY514" fmla="*/ 439782 h 1328132"/>
                <a:gd name="connsiteX515" fmla="*/ 1062170 w 1381764"/>
                <a:gd name="connsiteY515" fmla="*/ 439911 h 1328132"/>
                <a:gd name="connsiteX516" fmla="*/ 1063463 w 1381764"/>
                <a:gd name="connsiteY516" fmla="*/ 439394 h 1328132"/>
                <a:gd name="connsiteX517" fmla="*/ 1064755 w 1381764"/>
                <a:gd name="connsiteY517" fmla="*/ 438748 h 1328132"/>
                <a:gd name="connsiteX518" fmla="*/ 1070183 w 1381764"/>
                <a:gd name="connsiteY518" fmla="*/ 437972 h 1328132"/>
                <a:gd name="connsiteX519" fmla="*/ 1072122 w 1381764"/>
                <a:gd name="connsiteY519" fmla="*/ 437455 h 1328132"/>
                <a:gd name="connsiteX520" fmla="*/ 1072897 w 1381764"/>
                <a:gd name="connsiteY520" fmla="*/ 436680 h 1328132"/>
                <a:gd name="connsiteX521" fmla="*/ 1073285 w 1381764"/>
                <a:gd name="connsiteY521" fmla="*/ 435646 h 1328132"/>
                <a:gd name="connsiteX522" fmla="*/ 1074318 w 1381764"/>
                <a:gd name="connsiteY522" fmla="*/ 435905 h 1328132"/>
                <a:gd name="connsiteX523" fmla="*/ 1076128 w 1381764"/>
                <a:gd name="connsiteY523" fmla="*/ 437068 h 1328132"/>
                <a:gd name="connsiteX524" fmla="*/ 1076903 w 1381764"/>
                <a:gd name="connsiteY524" fmla="*/ 436680 h 1328132"/>
                <a:gd name="connsiteX525" fmla="*/ 1077291 w 1381764"/>
                <a:gd name="connsiteY525" fmla="*/ 435775 h 1328132"/>
                <a:gd name="connsiteX526" fmla="*/ 1077549 w 1381764"/>
                <a:gd name="connsiteY526" fmla="*/ 434742 h 1328132"/>
                <a:gd name="connsiteX527" fmla="*/ 1077937 w 1381764"/>
                <a:gd name="connsiteY527" fmla="*/ 433966 h 1328132"/>
                <a:gd name="connsiteX528" fmla="*/ 1079359 w 1381764"/>
                <a:gd name="connsiteY528" fmla="*/ 432932 h 1328132"/>
                <a:gd name="connsiteX529" fmla="*/ 1081038 w 1381764"/>
                <a:gd name="connsiteY529" fmla="*/ 432157 h 1328132"/>
                <a:gd name="connsiteX530" fmla="*/ 1082848 w 1381764"/>
                <a:gd name="connsiteY530" fmla="*/ 431640 h 1328132"/>
                <a:gd name="connsiteX531" fmla="*/ 1084528 w 1381764"/>
                <a:gd name="connsiteY531" fmla="*/ 431252 h 1328132"/>
                <a:gd name="connsiteX532" fmla="*/ 1084528 w 1381764"/>
                <a:gd name="connsiteY532" fmla="*/ 430477 h 1328132"/>
                <a:gd name="connsiteX533" fmla="*/ 1080780 w 1381764"/>
                <a:gd name="connsiteY533" fmla="*/ 428021 h 1328132"/>
                <a:gd name="connsiteX534" fmla="*/ 1079746 w 1381764"/>
                <a:gd name="connsiteY534" fmla="*/ 427634 h 1328132"/>
                <a:gd name="connsiteX535" fmla="*/ 1079359 w 1381764"/>
                <a:gd name="connsiteY535" fmla="*/ 427246 h 1328132"/>
                <a:gd name="connsiteX536" fmla="*/ 1078842 w 1381764"/>
                <a:gd name="connsiteY536" fmla="*/ 425695 h 1328132"/>
                <a:gd name="connsiteX537" fmla="*/ 1078454 w 1381764"/>
                <a:gd name="connsiteY537" fmla="*/ 425307 h 1328132"/>
                <a:gd name="connsiteX538" fmla="*/ 1078325 w 1381764"/>
                <a:gd name="connsiteY538" fmla="*/ 425178 h 1328132"/>
                <a:gd name="connsiteX539" fmla="*/ 1075998 w 1381764"/>
                <a:gd name="connsiteY539" fmla="*/ 424532 h 1328132"/>
                <a:gd name="connsiteX540" fmla="*/ 1075482 w 1381764"/>
                <a:gd name="connsiteY540" fmla="*/ 423369 h 1328132"/>
                <a:gd name="connsiteX541" fmla="*/ 1075094 w 1381764"/>
                <a:gd name="connsiteY541" fmla="*/ 421818 h 1328132"/>
                <a:gd name="connsiteX542" fmla="*/ 1074577 w 1381764"/>
                <a:gd name="connsiteY542" fmla="*/ 420526 h 1328132"/>
                <a:gd name="connsiteX543" fmla="*/ 1073543 w 1381764"/>
                <a:gd name="connsiteY543" fmla="*/ 420009 h 1328132"/>
                <a:gd name="connsiteX544" fmla="*/ 1072638 w 1381764"/>
                <a:gd name="connsiteY544" fmla="*/ 420397 h 1328132"/>
                <a:gd name="connsiteX545" fmla="*/ 1070054 w 1381764"/>
                <a:gd name="connsiteY545" fmla="*/ 422335 h 1328132"/>
                <a:gd name="connsiteX546" fmla="*/ 1068632 w 1381764"/>
                <a:gd name="connsiteY546" fmla="*/ 422852 h 1328132"/>
                <a:gd name="connsiteX547" fmla="*/ 1069666 w 1381764"/>
                <a:gd name="connsiteY547" fmla="*/ 421947 h 1328132"/>
                <a:gd name="connsiteX548" fmla="*/ 1070183 w 1381764"/>
                <a:gd name="connsiteY548" fmla="*/ 420914 h 1328132"/>
                <a:gd name="connsiteX549" fmla="*/ 1070183 w 1381764"/>
                <a:gd name="connsiteY549" fmla="*/ 420009 h 1328132"/>
                <a:gd name="connsiteX550" fmla="*/ 1069537 w 1381764"/>
                <a:gd name="connsiteY550" fmla="*/ 419234 h 1328132"/>
                <a:gd name="connsiteX551" fmla="*/ 1069537 w 1381764"/>
                <a:gd name="connsiteY551" fmla="*/ 418458 h 1328132"/>
                <a:gd name="connsiteX552" fmla="*/ 1072509 w 1381764"/>
                <a:gd name="connsiteY552" fmla="*/ 417554 h 1328132"/>
                <a:gd name="connsiteX553" fmla="*/ 1073414 w 1381764"/>
                <a:gd name="connsiteY553" fmla="*/ 416003 h 1328132"/>
                <a:gd name="connsiteX554" fmla="*/ 1072251 w 1381764"/>
                <a:gd name="connsiteY554" fmla="*/ 414581 h 1328132"/>
                <a:gd name="connsiteX555" fmla="*/ 1068761 w 1381764"/>
                <a:gd name="connsiteY555" fmla="*/ 414193 h 1328132"/>
                <a:gd name="connsiteX556" fmla="*/ 1071604 w 1381764"/>
                <a:gd name="connsiteY556" fmla="*/ 413160 h 1328132"/>
                <a:gd name="connsiteX557" fmla="*/ 1073931 w 1381764"/>
                <a:gd name="connsiteY557" fmla="*/ 414581 h 1328132"/>
                <a:gd name="connsiteX558" fmla="*/ 1082848 w 1381764"/>
                <a:gd name="connsiteY558" fmla="*/ 425566 h 1328132"/>
                <a:gd name="connsiteX559" fmla="*/ 1084916 w 1381764"/>
                <a:gd name="connsiteY559" fmla="*/ 427375 h 1328132"/>
                <a:gd name="connsiteX560" fmla="*/ 1085562 w 1381764"/>
                <a:gd name="connsiteY560" fmla="*/ 427375 h 1328132"/>
                <a:gd name="connsiteX561" fmla="*/ 1088793 w 1381764"/>
                <a:gd name="connsiteY561" fmla="*/ 419234 h 1328132"/>
                <a:gd name="connsiteX562" fmla="*/ 1089826 w 1381764"/>
                <a:gd name="connsiteY562" fmla="*/ 412901 h 1328132"/>
                <a:gd name="connsiteX563" fmla="*/ 1089439 w 1381764"/>
                <a:gd name="connsiteY563" fmla="*/ 411738 h 1328132"/>
                <a:gd name="connsiteX564" fmla="*/ 1087759 w 1381764"/>
                <a:gd name="connsiteY564" fmla="*/ 410575 h 1328132"/>
                <a:gd name="connsiteX565" fmla="*/ 1086337 w 1381764"/>
                <a:gd name="connsiteY565" fmla="*/ 410316 h 1328132"/>
                <a:gd name="connsiteX566" fmla="*/ 1083236 w 1381764"/>
                <a:gd name="connsiteY566" fmla="*/ 410316 h 1328132"/>
                <a:gd name="connsiteX567" fmla="*/ 1081814 w 1381764"/>
                <a:gd name="connsiteY567" fmla="*/ 410058 h 1328132"/>
                <a:gd name="connsiteX568" fmla="*/ 1081814 w 1381764"/>
                <a:gd name="connsiteY568" fmla="*/ 409283 h 1328132"/>
                <a:gd name="connsiteX569" fmla="*/ 1084269 w 1381764"/>
                <a:gd name="connsiteY569" fmla="*/ 409799 h 1328132"/>
                <a:gd name="connsiteX570" fmla="*/ 1085045 w 1381764"/>
                <a:gd name="connsiteY570" fmla="*/ 408119 h 1328132"/>
                <a:gd name="connsiteX571" fmla="*/ 1084528 w 1381764"/>
                <a:gd name="connsiteY571" fmla="*/ 405922 h 1328132"/>
                <a:gd name="connsiteX572" fmla="*/ 1082977 w 1381764"/>
                <a:gd name="connsiteY572" fmla="*/ 404759 h 1328132"/>
                <a:gd name="connsiteX573" fmla="*/ 1080909 w 1381764"/>
                <a:gd name="connsiteY573" fmla="*/ 404113 h 1328132"/>
                <a:gd name="connsiteX574" fmla="*/ 1078842 w 1381764"/>
                <a:gd name="connsiteY574" fmla="*/ 402433 h 1328132"/>
                <a:gd name="connsiteX575" fmla="*/ 1077032 w 1381764"/>
                <a:gd name="connsiteY575" fmla="*/ 400365 h 1328132"/>
                <a:gd name="connsiteX576" fmla="*/ 1075998 w 1381764"/>
                <a:gd name="connsiteY576" fmla="*/ 398298 h 1328132"/>
                <a:gd name="connsiteX577" fmla="*/ 1076645 w 1381764"/>
                <a:gd name="connsiteY577" fmla="*/ 397522 h 1328132"/>
                <a:gd name="connsiteX578" fmla="*/ 1078454 w 1381764"/>
                <a:gd name="connsiteY578" fmla="*/ 399978 h 1328132"/>
                <a:gd name="connsiteX579" fmla="*/ 1080780 w 1381764"/>
                <a:gd name="connsiteY579" fmla="*/ 402433 h 1328132"/>
                <a:gd name="connsiteX580" fmla="*/ 1083623 w 1381764"/>
                <a:gd name="connsiteY580" fmla="*/ 404242 h 1328132"/>
                <a:gd name="connsiteX581" fmla="*/ 1086983 w 1381764"/>
                <a:gd name="connsiteY581" fmla="*/ 404759 h 1328132"/>
                <a:gd name="connsiteX582" fmla="*/ 1089439 w 1381764"/>
                <a:gd name="connsiteY582" fmla="*/ 403596 h 1328132"/>
                <a:gd name="connsiteX583" fmla="*/ 1093445 w 1381764"/>
                <a:gd name="connsiteY583" fmla="*/ 399202 h 1328132"/>
                <a:gd name="connsiteX584" fmla="*/ 1095383 w 1381764"/>
                <a:gd name="connsiteY584" fmla="*/ 398168 h 1328132"/>
                <a:gd name="connsiteX585" fmla="*/ 1097710 w 1381764"/>
                <a:gd name="connsiteY585" fmla="*/ 397393 h 1328132"/>
                <a:gd name="connsiteX586" fmla="*/ 1102491 w 1381764"/>
                <a:gd name="connsiteY586" fmla="*/ 393904 h 1328132"/>
                <a:gd name="connsiteX587" fmla="*/ 1104042 w 1381764"/>
                <a:gd name="connsiteY587" fmla="*/ 393128 h 1328132"/>
                <a:gd name="connsiteX588" fmla="*/ 1105593 w 1381764"/>
                <a:gd name="connsiteY588" fmla="*/ 392094 h 1328132"/>
                <a:gd name="connsiteX589" fmla="*/ 1107144 w 1381764"/>
                <a:gd name="connsiteY589" fmla="*/ 389897 h 1328132"/>
                <a:gd name="connsiteX590" fmla="*/ 1107144 w 1381764"/>
                <a:gd name="connsiteY590" fmla="*/ 388217 h 1328132"/>
                <a:gd name="connsiteX591" fmla="*/ 1104301 w 1381764"/>
                <a:gd name="connsiteY591" fmla="*/ 388734 h 1328132"/>
                <a:gd name="connsiteX592" fmla="*/ 1104301 w 1381764"/>
                <a:gd name="connsiteY592" fmla="*/ 387959 h 1328132"/>
                <a:gd name="connsiteX593" fmla="*/ 1106885 w 1381764"/>
                <a:gd name="connsiteY593" fmla="*/ 386279 h 1328132"/>
                <a:gd name="connsiteX594" fmla="*/ 1107273 w 1381764"/>
                <a:gd name="connsiteY594" fmla="*/ 385891 h 1328132"/>
                <a:gd name="connsiteX595" fmla="*/ 1107015 w 1381764"/>
                <a:gd name="connsiteY595" fmla="*/ 384340 h 1328132"/>
                <a:gd name="connsiteX596" fmla="*/ 1106239 w 1381764"/>
                <a:gd name="connsiteY596" fmla="*/ 384211 h 1328132"/>
                <a:gd name="connsiteX597" fmla="*/ 1105205 w 1381764"/>
                <a:gd name="connsiteY597" fmla="*/ 384599 h 1328132"/>
                <a:gd name="connsiteX598" fmla="*/ 1104301 w 1381764"/>
                <a:gd name="connsiteY598" fmla="*/ 384470 h 1328132"/>
                <a:gd name="connsiteX599" fmla="*/ 1103137 w 1381764"/>
                <a:gd name="connsiteY599" fmla="*/ 383565 h 1328132"/>
                <a:gd name="connsiteX600" fmla="*/ 1103137 w 1381764"/>
                <a:gd name="connsiteY600" fmla="*/ 383307 h 1328132"/>
                <a:gd name="connsiteX601" fmla="*/ 1103913 w 1381764"/>
                <a:gd name="connsiteY601" fmla="*/ 383048 h 1328132"/>
                <a:gd name="connsiteX602" fmla="*/ 1104947 w 1381764"/>
                <a:gd name="connsiteY602" fmla="*/ 382144 h 1328132"/>
                <a:gd name="connsiteX603" fmla="*/ 1106756 w 1381764"/>
                <a:gd name="connsiteY603" fmla="*/ 379817 h 1328132"/>
                <a:gd name="connsiteX604" fmla="*/ 1107144 w 1381764"/>
                <a:gd name="connsiteY604" fmla="*/ 378783 h 1328132"/>
                <a:gd name="connsiteX605" fmla="*/ 1106497 w 1381764"/>
                <a:gd name="connsiteY605" fmla="*/ 377750 h 1328132"/>
                <a:gd name="connsiteX606" fmla="*/ 1108694 w 1381764"/>
                <a:gd name="connsiteY606" fmla="*/ 376070 h 1328132"/>
                <a:gd name="connsiteX607" fmla="*/ 1114381 w 1381764"/>
                <a:gd name="connsiteY607" fmla="*/ 374131 h 1328132"/>
                <a:gd name="connsiteX608" fmla="*/ 1116836 w 1381764"/>
                <a:gd name="connsiteY608" fmla="*/ 372063 h 1328132"/>
                <a:gd name="connsiteX609" fmla="*/ 1117870 w 1381764"/>
                <a:gd name="connsiteY609" fmla="*/ 369737 h 1328132"/>
                <a:gd name="connsiteX610" fmla="*/ 1118387 w 1381764"/>
                <a:gd name="connsiteY610" fmla="*/ 366894 h 1328132"/>
                <a:gd name="connsiteX611" fmla="*/ 1118129 w 1381764"/>
                <a:gd name="connsiteY611" fmla="*/ 364051 h 1328132"/>
                <a:gd name="connsiteX612" fmla="*/ 1116965 w 1381764"/>
                <a:gd name="connsiteY612" fmla="*/ 361725 h 1328132"/>
                <a:gd name="connsiteX613" fmla="*/ 1118516 w 1381764"/>
                <a:gd name="connsiteY613" fmla="*/ 359011 h 1328132"/>
                <a:gd name="connsiteX614" fmla="*/ 1116965 w 1381764"/>
                <a:gd name="connsiteY614" fmla="*/ 355909 h 1328132"/>
                <a:gd name="connsiteX615" fmla="*/ 1114510 w 1381764"/>
                <a:gd name="connsiteY615" fmla="*/ 352678 h 1328132"/>
                <a:gd name="connsiteX616" fmla="*/ 1113218 w 1381764"/>
                <a:gd name="connsiteY616" fmla="*/ 349189 h 1328132"/>
                <a:gd name="connsiteX617" fmla="*/ 1116965 w 1381764"/>
                <a:gd name="connsiteY617" fmla="*/ 353195 h 1328132"/>
                <a:gd name="connsiteX618" fmla="*/ 1119033 w 1381764"/>
                <a:gd name="connsiteY618" fmla="*/ 354875 h 1328132"/>
                <a:gd name="connsiteX619" fmla="*/ 1121359 w 1381764"/>
                <a:gd name="connsiteY619" fmla="*/ 355780 h 1328132"/>
                <a:gd name="connsiteX620" fmla="*/ 1121618 w 1381764"/>
                <a:gd name="connsiteY620" fmla="*/ 353583 h 1328132"/>
                <a:gd name="connsiteX621" fmla="*/ 1122264 w 1381764"/>
                <a:gd name="connsiteY621" fmla="*/ 351386 h 1328132"/>
                <a:gd name="connsiteX622" fmla="*/ 1122523 w 1381764"/>
                <a:gd name="connsiteY622" fmla="*/ 349577 h 1328132"/>
                <a:gd name="connsiteX623" fmla="*/ 1121359 w 1381764"/>
                <a:gd name="connsiteY623" fmla="*/ 348672 h 1328132"/>
                <a:gd name="connsiteX624" fmla="*/ 1122393 w 1381764"/>
                <a:gd name="connsiteY624" fmla="*/ 347509 h 1328132"/>
                <a:gd name="connsiteX625" fmla="*/ 1122652 w 1381764"/>
                <a:gd name="connsiteY625" fmla="*/ 346346 h 1328132"/>
                <a:gd name="connsiteX626" fmla="*/ 1122781 w 1381764"/>
                <a:gd name="connsiteY626" fmla="*/ 343632 h 1328132"/>
                <a:gd name="connsiteX627" fmla="*/ 1124719 w 1381764"/>
                <a:gd name="connsiteY627" fmla="*/ 339626 h 1328132"/>
                <a:gd name="connsiteX628" fmla="*/ 1124978 w 1381764"/>
                <a:gd name="connsiteY628" fmla="*/ 338075 h 1328132"/>
                <a:gd name="connsiteX629" fmla="*/ 1125107 w 1381764"/>
                <a:gd name="connsiteY629" fmla="*/ 331613 h 1328132"/>
                <a:gd name="connsiteX630" fmla="*/ 1125883 w 1381764"/>
                <a:gd name="connsiteY630" fmla="*/ 328382 h 1328132"/>
                <a:gd name="connsiteX631" fmla="*/ 1128338 w 1381764"/>
                <a:gd name="connsiteY631" fmla="*/ 324247 h 1328132"/>
                <a:gd name="connsiteX632" fmla="*/ 1129501 w 1381764"/>
                <a:gd name="connsiteY632" fmla="*/ 320758 h 1328132"/>
                <a:gd name="connsiteX633" fmla="*/ 1130535 w 1381764"/>
                <a:gd name="connsiteY633" fmla="*/ 320111 h 1328132"/>
                <a:gd name="connsiteX634" fmla="*/ 1131698 w 1381764"/>
                <a:gd name="connsiteY634" fmla="*/ 319724 h 1328132"/>
                <a:gd name="connsiteX635" fmla="*/ 1132861 w 1381764"/>
                <a:gd name="connsiteY635" fmla="*/ 318819 h 1328132"/>
                <a:gd name="connsiteX636" fmla="*/ 1133895 w 1381764"/>
                <a:gd name="connsiteY636" fmla="*/ 317527 h 1328132"/>
                <a:gd name="connsiteX637" fmla="*/ 1134541 w 1381764"/>
                <a:gd name="connsiteY637" fmla="*/ 316364 h 1328132"/>
                <a:gd name="connsiteX638" fmla="*/ 1134929 w 1381764"/>
                <a:gd name="connsiteY638" fmla="*/ 314942 h 1328132"/>
                <a:gd name="connsiteX639" fmla="*/ 1135317 w 1381764"/>
                <a:gd name="connsiteY639" fmla="*/ 310160 h 1328132"/>
                <a:gd name="connsiteX640" fmla="*/ 1135058 w 1381764"/>
                <a:gd name="connsiteY640" fmla="*/ 308351 h 1328132"/>
                <a:gd name="connsiteX641" fmla="*/ 1134283 w 1381764"/>
                <a:gd name="connsiteY641" fmla="*/ 307317 h 1328132"/>
                <a:gd name="connsiteX642" fmla="*/ 1133378 w 1381764"/>
                <a:gd name="connsiteY642" fmla="*/ 306542 h 1328132"/>
                <a:gd name="connsiteX643" fmla="*/ 1132344 w 1381764"/>
                <a:gd name="connsiteY643" fmla="*/ 305508 h 1328132"/>
                <a:gd name="connsiteX644" fmla="*/ 1131569 w 1381764"/>
                <a:gd name="connsiteY644" fmla="*/ 305508 h 1328132"/>
                <a:gd name="connsiteX645" fmla="*/ 1128726 w 1381764"/>
                <a:gd name="connsiteY645" fmla="*/ 304345 h 1328132"/>
                <a:gd name="connsiteX646" fmla="*/ 1116190 w 1381764"/>
                <a:gd name="connsiteY646" fmla="*/ 302665 h 1328132"/>
                <a:gd name="connsiteX647" fmla="*/ 1110116 w 1381764"/>
                <a:gd name="connsiteY647" fmla="*/ 300726 h 1328132"/>
                <a:gd name="connsiteX648" fmla="*/ 1107790 w 1381764"/>
                <a:gd name="connsiteY648" fmla="*/ 300468 h 1328132"/>
                <a:gd name="connsiteX649" fmla="*/ 1105334 w 1381764"/>
                <a:gd name="connsiteY649" fmla="*/ 300726 h 1328132"/>
                <a:gd name="connsiteX650" fmla="*/ 1101328 w 1381764"/>
                <a:gd name="connsiteY650" fmla="*/ 301760 h 1328132"/>
                <a:gd name="connsiteX651" fmla="*/ 1099390 w 1381764"/>
                <a:gd name="connsiteY651" fmla="*/ 301890 h 1328132"/>
                <a:gd name="connsiteX652" fmla="*/ 1087112 w 1381764"/>
                <a:gd name="connsiteY652" fmla="*/ 298788 h 1328132"/>
                <a:gd name="connsiteX653" fmla="*/ 1082460 w 1381764"/>
                <a:gd name="connsiteY653" fmla="*/ 298917 h 1328132"/>
                <a:gd name="connsiteX654" fmla="*/ 1078971 w 1381764"/>
                <a:gd name="connsiteY654" fmla="*/ 299563 h 1328132"/>
                <a:gd name="connsiteX655" fmla="*/ 1078971 w 1381764"/>
                <a:gd name="connsiteY655" fmla="*/ 298400 h 1328132"/>
                <a:gd name="connsiteX656" fmla="*/ 1080134 w 1381764"/>
                <a:gd name="connsiteY656" fmla="*/ 296849 h 1328132"/>
                <a:gd name="connsiteX657" fmla="*/ 1080263 w 1381764"/>
                <a:gd name="connsiteY657" fmla="*/ 293877 h 1328132"/>
                <a:gd name="connsiteX658" fmla="*/ 1078842 w 1381764"/>
                <a:gd name="connsiteY658" fmla="*/ 292714 h 1328132"/>
                <a:gd name="connsiteX659" fmla="*/ 1075223 w 1381764"/>
                <a:gd name="connsiteY659" fmla="*/ 293360 h 1328132"/>
                <a:gd name="connsiteX660" fmla="*/ 1073026 w 1381764"/>
                <a:gd name="connsiteY660" fmla="*/ 294911 h 1328132"/>
                <a:gd name="connsiteX661" fmla="*/ 1071604 w 1381764"/>
                <a:gd name="connsiteY661" fmla="*/ 295945 h 1328132"/>
                <a:gd name="connsiteX662" fmla="*/ 1069537 w 1381764"/>
                <a:gd name="connsiteY662" fmla="*/ 296332 h 1328132"/>
                <a:gd name="connsiteX663" fmla="*/ 1068115 w 1381764"/>
                <a:gd name="connsiteY663" fmla="*/ 294782 h 1328132"/>
                <a:gd name="connsiteX664" fmla="*/ 1066177 w 1381764"/>
                <a:gd name="connsiteY664" fmla="*/ 293489 h 1328132"/>
                <a:gd name="connsiteX665" fmla="*/ 1064626 w 1381764"/>
                <a:gd name="connsiteY665" fmla="*/ 293489 h 1328132"/>
                <a:gd name="connsiteX666" fmla="*/ 1057647 w 1381764"/>
                <a:gd name="connsiteY666" fmla="*/ 292843 h 1328132"/>
                <a:gd name="connsiteX667" fmla="*/ 1054546 w 1381764"/>
                <a:gd name="connsiteY667" fmla="*/ 293748 h 1328132"/>
                <a:gd name="connsiteX668" fmla="*/ 1053382 w 1381764"/>
                <a:gd name="connsiteY668" fmla="*/ 292714 h 1328132"/>
                <a:gd name="connsiteX669" fmla="*/ 1051961 w 1381764"/>
                <a:gd name="connsiteY669" fmla="*/ 292585 h 1328132"/>
                <a:gd name="connsiteX670" fmla="*/ 1050539 w 1381764"/>
                <a:gd name="connsiteY670" fmla="*/ 292843 h 1328132"/>
                <a:gd name="connsiteX671" fmla="*/ 1049376 w 1381764"/>
                <a:gd name="connsiteY671" fmla="*/ 292843 h 1328132"/>
                <a:gd name="connsiteX672" fmla="*/ 1047955 w 1381764"/>
                <a:gd name="connsiteY672" fmla="*/ 292326 h 1328132"/>
                <a:gd name="connsiteX673" fmla="*/ 1046533 w 1381764"/>
                <a:gd name="connsiteY673" fmla="*/ 291551 h 1328132"/>
                <a:gd name="connsiteX674" fmla="*/ 1045370 w 1381764"/>
                <a:gd name="connsiteY674" fmla="*/ 291422 h 1328132"/>
                <a:gd name="connsiteX675" fmla="*/ 1044336 w 1381764"/>
                <a:gd name="connsiteY675" fmla="*/ 291551 h 1328132"/>
                <a:gd name="connsiteX676" fmla="*/ 1042139 w 1381764"/>
                <a:gd name="connsiteY676" fmla="*/ 292197 h 1328132"/>
                <a:gd name="connsiteX677" fmla="*/ 1039425 w 1381764"/>
                <a:gd name="connsiteY677" fmla="*/ 292326 h 1328132"/>
                <a:gd name="connsiteX678" fmla="*/ 1038004 w 1381764"/>
                <a:gd name="connsiteY678" fmla="*/ 292843 h 1328132"/>
                <a:gd name="connsiteX679" fmla="*/ 1037099 w 1381764"/>
                <a:gd name="connsiteY679" fmla="*/ 293489 h 1328132"/>
                <a:gd name="connsiteX680" fmla="*/ 1035548 w 1381764"/>
                <a:gd name="connsiteY680" fmla="*/ 293360 h 1328132"/>
                <a:gd name="connsiteX681" fmla="*/ 1034644 w 1381764"/>
                <a:gd name="connsiteY681" fmla="*/ 293619 h 1328132"/>
                <a:gd name="connsiteX682" fmla="*/ 1033997 w 1381764"/>
                <a:gd name="connsiteY682" fmla="*/ 293877 h 1328132"/>
                <a:gd name="connsiteX683" fmla="*/ 1033481 w 1381764"/>
                <a:gd name="connsiteY683" fmla="*/ 293877 h 1328132"/>
                <a:gd name="connsiteX684" fmla="*/ 1032576 w 1381764"/>
                <a:gd name="connsiteY684" fmla="*/ 293231 h 1328132"/>
                <a:gd name="connsiteX685" fmla="*/ 1026114 w 1381764"/>
                <a:gd name="connsiteY685" fmla="*/ 296462 h 1328132"/>
                <a:gd name="connsiteX686" fmla="*/ 1024176 w 1381764"/>
                <a:gd name="connsiteY686" fmla="*/ 298142 h 1328132"/>
                <a:gd name="connsiteX687" fmla="*/ 1017714 w 1381764"/>
                <a:gd name="connsiteY687" fmla="*/ 452963 h 1328132"/>
                <a:gd name="connsiteX688" fmla="*/ 1016163 w 1381764"/>
                <a:gd name="connsiteY688" fmla="*/ 453093 h 1328132"/>
                <a:gd name="connsiteX689" fmla="*/ 1014871 w 1381764"/>
                <a:gd name="connsiteY689" fmla="*/ 453868 h 1328132"/>
                <a:gd name="connsiteX690" fmla="*/ 1013837 w 1381764"/>
                <a:gd name="connsiteY690" fmla="*/ 453480 h 1328132"/>
                <a:gd name="connsiteX691" fmla="*/ 1012545 w 1381764"/>
                <a:gd name="connsiteY691" fmla="*/ 453997 h 1328132"/>
                <a:gd name="connsiteX692" fmla="*/ 1011252 w 1381764"/>
                <a:gd name="connsiteY692" fmla="*/ 455031 h 1328132"/>
                <a:gd name="connsiteX693" fmla="*/ 1010994 w 1381764"/>
                <a:gd name="connsiteY693" fmla="*/ 456194 h 1328132"/>
                <a:gd name="connsiteX694" fmla="*/ 1010994 w 1381764"/>
                <a:gd name="connsiteY694" fmla="*/ 458262 h 1328132"/>
                <a:gd name="connsiteX695" fmla="*/ 1010865 w 1381764"/>
                <a:gd name="connsiteY695" fmla="*/ 459684 h 1328132"/>
                <a:gd name="connsiteX696" fmla="*/ 1011640 w 1381764"/>
                <a:gd name="connsiteY696" fmla="*/ 461622 h 1328132"/>
                <a:gd name="connsiteX697" fmla="*/ 1013191 w 1381764"/>
                <a:gd name="connsiteY697" fmla="*/ 462656 h 1328132"/>
                <a:gd name="connsiteX698" fmla="*/ 1014483 w 1381764"/>
                <a:gd name="connsiteY698" fmla="*/ 462397 h 1328132"/>
                <a:gd name="connsiteX699" fmla="*/ 1016163 w 1381764"/>
                <a:gd name="connsiteY699" fmla="*/ 461105 h 1328132"/>
                <a:gd name="connsiteX700" fmla="*/ 1017456 w 1381764"/>
                <a:gd name="connsiteY700" fmla="*/ 459942 h 1328132"/>
                <a:gd name="connsiteX701" fmla="*/ 1020040 w 1381764"/>
                <a:gd name="connsiteY701" fmla="*/ 459167 h 1328132"/>
                <a:gd name="connsiteX702" fmla="*/ 1021333 w 1381764"/>
                <a:gd name="connsiteY702" fmla="*/ 458779 h 1328132"/>
                <a:gd name="connsiteX703" fmla="*/ 1022237 w 1381764"/>
                <a:gd name="connsiteY703" fmla="*/ 457487 h 1328132"/>
                <a:gd name="connsiteX704" fmla="*/ 1022496 w 1381764"/>
                <a:gd name="connsiteY704" fmla="*/ 456194 h 1328132"/>
                <a:gd name="connsiteX705" fmla="*/ 1022366 w 1381764"/>
                <a:gd name="connsiteY705" fmla="*/ 455160 h 1328132"/>
                <a:gd name="connsiteX706" fmla="*/ 1020945 w 1381764"/>
                <a:gd name="connsiteY706" fmla="*/ 454127 h 1328132"/>
                <a:gd name="connsiteX707" fmla="*/ 1017714 w 1381764"/>
                <a:gd name="connsiteY707" fmla="*/ 452963 h 1328132"/>
                <a:gd name="connsiteX708" fmla="*/ 1131181 w 1381764"/>
                <a:gd name="connsiteY708" fmla="*/ 390673 h 1328132"/>
                <a:gd name="connsiteX709" fmla="*/ 1129372 w 1381764"/>
                <a:gd name="connsiteY709" fmla="*/ 391836 h 1328132"/>
                <a:gd name="connsiteX710" fmla="*/ 1128596 w 1381764"/>
                <a:gd name="connsiteY710" fmla="*/ 395842 h 1328132"/>
                <a:gd name="connsiteX711" fmla="*/ 1128209 w 1381764"/>
                <a:gd name="connsiteY711" fmla="*/ 396488 h 1328132"/>
                <a:gd name="connsiteX712" fmla="*/ 1125624 w 1381764"/>
                <a:gd name="connsiteY712" fmla="*/ 398427 h 1328132"/>
                <a:gd name="connsiteX713" fmla="*/ 1124590 w 1381764"/>
                <a:gd name="connsiteY713" fmla="*/ 400107 h 1328132"/>
                <a:gd name="connsiteX714" fmla="*/ 1124978 w 1381764"/>
                <a:gd name="connsiteY714" fmla="*/ 400882 h 1328132"/>
                <a:gd name="connsiteX715" fmla="*/ 1126270 w 1381764"/>
                <a:gd name="connsiteY715" fmla="*/ 401270 h 1328132"/>
                <a:gd name="connsiteX716" fmla="*/ 1127950 w 1381764"/>
                <a:gd name="connsiteY716" fmla="*/ 402045 h 1328132"/>
                <a:gd name="connsiteX717" fmla="*/ 1130147 w 1381764"/>
                <a:gd name="connsiteY717" fmla="*/ 404372 h 1328132"/>
                <a:gd name="connsiteX718" fmla="*/ 1131440 w 1381764"/>
                <a:gd name="connsiteY718" fmla="*/ 404889 h 1328132"/>
                <a:gd name="connsiteX719" fmla="*/ 1132344 w 1381764"/>
                <a:gd name="connsiteY719" fmla="*/ 403467 h 1328132"/>
                <a:gd name="connsiteX720" fmla="*/ 1132344 w 1381764"/>
                <a:gd name="connsiteY720" fmla="*/ 404242 h 1328132"/>
                <a:gd name="connsiteX721" fmla="*/ 1132474 w 1381764"/>
                <a:gd name="connsiteY721" fmla="*/ 405018 h 1328132"/>
                <a:gd name="connsiteX722" fmla="*/ 1132990 w 1381764"/>
                <a:gd name="connsiteY722" fmla="*/ 405793 h 1328132"/>
                <a:gd name="connsiteX723" fmla="*/ 1133895 w 1381764"/>
                <a:gd name="connsiteY723" fmla="*/ 406439 h 1328132"/>
                <a:gd name="connsiteX724" fmla="*/ 1135575 w 1381764"/>
                <a:gd name="connsiteY724" fmla="*/ 405664 h 1328132"/>
                <a:gd name="connsiteX725" fmla="*/ 1137126 w 1381764"/>
                <a:gd name="connsiteY725" fmla="*/ 405535 h 1328132"/>
                <a:gd name="connsiteX726" fmla="*/ 1138677 w 1381764"/>
                <a:gd name="connsiteY726" fmla="*/ 405147 h 1328132"/>
                <a:gd name="connsiteX727" fmla="*/ 1140227 w 1381764"/>
                <a:gd name="connsiteY727" fmla="*/ 403467 h 1328132"/>
                <a:gd name="connsiteX728" fmla="*/ 1140357 w 1381764"/>
                <a:gd name="connsiteY728" fmla="*/ 402562 h 1328132"/>
                <a:gd name="connsiteX729" fmla="*/ 1140227 w 1381764"/>
                <a:gd name="connsiteY729" fmla="*/ 400236 h 1328132"/>
                <a:gd name="connsiteX730" fmla="*/ 1140615 w 1381764"/>
                <a:gd name="connsiteY730" fmla="*/ 399848 h 1328132"/>
                <a:gd name="connsiteX731" fmla="*/ 1142554 w 1381764"/>
                <a:gd name="connsiteY731" fmla="*/ 397005 h 1328132"/>
                <a:gd name="connsiteX732" fmla="*/ 1141132 w 1381764"/>
                <a:gd name="connsiteY732" fmla="*/ 395325 h 1328132"/>
                <a:gd name="connsiteX733" fmla="*/ 1139711 w 1381764"/>
                <a:gd name="connsiteY733" fmla="*/ 391448 h 1328132"/>
                <a:gd name="connsiteX734" fmla="*/ 1138160 w 1381764"/>
                <a:gd name="connsiteY734" fmla="*/ 390414 h 1328132"/>
                <a:gd name="connsiteX735" fmla="*/ 1133378 w 1381764"/>
                <a:gd name="connsiteY735" fmla="*/ 390285 h 1328132"/>
                <a:gd name="connsiteX736" fmla="*/ 1131181 w 1381764"/>
                <a:gd name="connsiteY736" fmla="*/ 390673 h 1328132"/>
                <a:gd name="connsiteX737" fmla="*/ 1201097 w 1381764"/>
                <a:gd name="connsiteY737" fmla="*/ 343115 h 1328132"/>
                <a:gd name="connsiteX738" fmla="*/ 1204974 w 1381764"/>
                <a:gd name="connsiteY738" fmla="*/ 344666 h 1328132"/>
                <a:gd name="connsiteX739" fmla="*/ 1206137 w 1381764"/>
                <a:gd name="connsiteY739" fmla="*/ 348801 h 1328132"/>
                <a:gd name="connsiteX740" fmla="*/ 1206653 w 1381764"/>
                <a:gd name="connsiteY740" fmla="*/ 350869 h 1328132"/>
                <a:gd name="connsiteX741" fmla="*/ 1206395 w 1381764"/>
                <a:gd name="connsiteY741" fmla="*/ 352549 h 1328132"/>
                <a:gd name="connsiteX742" fmla="*/ 1208075 w 1381764"/>
                <a:gd name="connsiteY742" fmla="*/ 352291 h 1328132"/>
                <a:gd name="connsiteX743" fmla="*/ 1211048 w 1381764"/>
                <a:gd name="connsiteY743" fmla="*/ 352420 h 1328132"/>
                <a:gd name="connsiteX744" fmla="*/ 1212211 w 1381764"/>
                <a:gd name="connsiteY744" fmla="*/ 351903 h 1328132"/>
                <a:gd name="connsiteX745" fmla="*/ 1212598 w 1381764"/>
                <a:gd name="connsiteY745" fmla="*/ 350869 h 1328132"/>
                <a:gd name="connsiteX746" fmla="*/ 1212727 w 1381764"/>
                <a:gd name="connsiteY746" fmla="*/ 349060 h 1328132"/>
                <a:gd name="connsiteX747" fmla="*/ 1212598 w 1381764"/>
                <a:gd name="connsiteY747" fmla="*/ 347250 h 1328132"/>
                <a:gd name="connsiteX748" fmla="*/ 1212211 w 1381764"/>
                <a:gd name="connsiteY748" fmla="*/ 346217 h 1328132"/>
                <a:gd name="connsiteX749" fmla="*/ 1213115 w 1381764"/>
                <a:gd name="connsiteY749" fmla="*/ 344020 h 1328132"/>
                <a:gd name="connsiteX750" fmla="*/ 1212986 w 1381764"/>
                <a:gd name="connsiteY750" fmla="*/ 341952 h 1328132"/>
                <a:gd name="connsiteX751" fmla="*/ 1212081 w 1381764"/>
                <a:gd name="connsiteY751" fmla="*/ 340143 h 1328132"/>
                <a:gd name="connsiteX752" fmla="*/ 1210918 w 1381764"/>
                <a:gd name="connsiteY752" fmla="*/ 338850 h 1328132"/>
                <a:gd name="connsiteX753" fmla="*/ 1208075 w 1381764"/>
                <a:gd name="connsiteY753" fmla="*/ 339367 h 1328132"/>
                <a:gd name="connsiteX754" fmla="*/ 1206395 w 1381764"/>
                <a:gd name="connsiteY754" fmla="*/ 338592 h 1328132"/>
                <a:gd name="connsiteX755" fmla="*/ 1206007 w 1381764"/>
                <a:gd name="connsiteY755" fmla="*/ 336653 h 1328132"/>
                <a:gd name="connsiteX756" fmla="*/ 1205103 w 1381764"/>
                <a:gd name="connsiteY756" fmla="*/ 335361 h 1328132"/>
                <a:gd name="connsiteX757" fmla="*/ 1203035 w 1381764"/>
                <a:gd name="connsiteY757" fmla="*/ 334715 h 1328132"/>
                <a:gd name="connsiteX758" fmla="*/ 1202130 w 1381764"/>
                <a:gd name="connsiteY758" fmla="*/ 335361 h 1328132"/>
                <a:gd name="connsiteX759" fmla="*/ 1201872 w 1381764"/>
                <a:gd name="connsiteY759" fmla="*/ 337041 h 1328132"/>
                <a:gd name="connsiteX760" fmla="*/ 1200709 w 1381764"/>
                <a:gd name="connsiteY760" fmla="*/ 337429 h 1328132"/>
                <a:gd name="connsiteX761" fmla="*/ 1200063 w 1381764"/>
                <a:gd name="connsiteY761" fmla="*/ 338463 h 1328132"/>
                <a:gd name="connsiteX762" fmla="*/ 1201226 w 1381764"/>
                <a:gd name="connsiteY762" fmla="*/ 341693 h 1328132"/>
                <a:gd name="connsiteX763" fmla="*/ 1201097 w 1381764"/>
                <a:gd name="connsiteY763" fmla="*/ 343115 h 1328132"/>
                <a:gd name="connsiteX764" fmla="*/ 1178351 w 1381764"/>
                <a:gd name="connsiteY764" fmla="*/ 353066 h 1328132"/>
                <a:gd name="connsiteX765" fmla="*/ 1178610 w 1381764"/>
                <a:gd name="connsiteY765" fmla="*/ 354746 h 1328132"/>
                <a:gd name="connsiteX766" fmla="*/ 1183521 w 1381764"/>
                <a:gd name="connsiteY766" fmla="*/ 352420 h 1328132"/>
                <a:gd name="connsiteX767" fmla="*/ 1185718 w 1381764"/>
                <a:gd name="connsiteY767" fmla="*/ 350611 h 1328132"/>
                <a:gd name="connsiteX768" fmla="*/ 1186622 w 1381764"/>
                <a:gd name="connsiteY768" fmla="*/ 348284 h 1328132"/>
                <a:gd name="connsiteX769" fmla="*/ 1185718 w 1381764"/>
                <a:gd name="connsiteY769" fmla="*/ 346604 h 1328132"/>
                <a:gd name="connsiteX770" fmla="*/ 1183650 w 1381764"/>
                <a:gd name="connsiteY770" fmla="*/ 345312 h 1328132"/>
                <a:gd name="connsiteX771" fmla="*/ 1181453 w 1381764"/>
                <a:gd name="connsiteY771" fmla="*/ 344795 h 1328132"/>
                <a:gd name="connsiteX772" fmla="*/ 1180031 w 1381764"/>
                <a:gd name="connsiteY772" fmla="*/ 345312 h 1328132"/>
                <a:gd name="connsiteX773" fmla="*/ 1179773 w 1381764"/>
                <a:gd name="connsiteY773" fmla="*/ 344795 h 1328132"/>
                <a:gd name="connsiteX774" fmla="*/ 1179256 w 1381764"/>
                <a:gd name="connsiteY774" fmla="*/ 344537 h 1328132"/>
                <a:gd name="connsiteX775" fmla="*/ 1178610 w 1381764"/>
                <a:gd name="connsiteY775" fmla="*/ 344537 h 1328132"/>
                <a:gd name="connsiteX776" fmla="*/ 1177834 w 1381764"/>
                <a:gd name="connsiteY776" fmla="*/ 344666 h 1328132"/>
                <a:gd name="connsiteX777" fmla="*/ 1177576 w 1381764"/>
                <a:gd name="connsiteY777" fmla="*/ 345053 h 1328132"/>
                <a:gd name="connsiteX778" fmla="*/ 1177059 w 1381764"/>
                <a:gd name="connsiteY778" fmla="*/ 345829 h 1328132"/>
                <a:gd name="connsiteX779" fmla="*/ 1176930 w 1381764"/>
                <a:gd name="connsiteY779" fmla="*/ 346604 h 1328132"/>
                <a:gd name="connsiteX780" fmla="*/ 1178093 w 1381764"/>
                <a:gd name="connsiteY780" fmla="*/ 347250 h 1328132"/>
                <a:gd name="connsiteX781" fmla="*/ 1177576 w 1381764"/>
                <a:gd name="connsiteY781" fmla="*/ 347767 h 1328132"/>
                <a:gd name="connsiteX782" fmla="*/ 1176801 w 1381764"/>
                <a:gd name="connsiteY782" fmla="*/ 348543 h 1328132"/>
                <a:gd name="connsiteX783" fmla="*/ 1176413 w 1381764"/>
                <a:gd name="connsiteY783" fmla="*/ 348801 h 1328132"/>
                <a:gd name="connsiteX784" fmla="*/ 1176930 w 1381764"/>
                <a:gd name="connsiteY784" fmla="*/ 350481 h 1328132"/>
                <a:gd name="connsiteX785" fmla="*/ 1178351 w 1381764"/>
                <a:gd name="connsiteY785" fmla="*/ 353066 h 1328132"/>
                <a:gd name="connsiteX786" fmla="*/ 1140744 w 1381764"/>
                <a:gd name="connsiteY786" fmla="*/ 384340 h 1328132"/>
                <a:gd name="connsiteX787" fmla="*/ 1141778 w 1381764"/>
                <a:gd name="connsiteY787" fmla="*/ 385504 h 1328132"/>
                <a:gd name="connsiteX788" fmla="*/ 1143846 w 1381764"/>
                <a:gd name="connsiteY788" fmla="*/ 385891 h 1328132"/>
                <a:gd name="connsiteX789" fmla="*/ 1149145 w 1381764"/>
                <a:gd name="connsiteY789" fmla="*/ 386279 h 1328132"/>
                <a:gd name="connsiteX790" fmla="*/ 1150695 w 1381764"/>
                <a:gd name="connsiteY790" fmla="*/ 385891 h 1328132"/>
                <a:gd name="connsiteX791" fmla="*/ 1152375 w 1381764"/>
                <a:gd name="connsiteY791" fmla="*/ 385116 h 1328132"/>
                <a:gd name="connsiteX792" fmla="*/ 1153022 w 1381764"/>
                <a:gd name="connsiteY792" fmla="*/ 384470 h 1328132"/>
                <a:gd name="connsiteX793" fmla="*/ 1153797 w 1381764"/>
                <a:gd name="connsiteY793" fmla="*/ 381497 h 1328132"/>
                <a:gd name="connsiteX794" fmla="*/ 1157286 w 1381764"/>
                <a:gd name="connsiteY794" fmla="*/ 374777 h 1328132"/>
                <a:gd name="connsiteX795" fmla="*/ 1157933 w 1381764"/>
                <a:gd name="connsiteY795" fmla="*/ 371288 h 1328132"/>
                <a:gd name="connsiteX796" fmla="*/ 1155348 w 1381764"/>
                <a:gd name="connsiteY796" fmla="*/ 369866 h 1328132"/>
                <a:gd name="connsiteX797" fmla="*/ 1155348 w 1381764"/>
                <a:gd name="connsiteY797" fmla="*/ 369091 h 1328132"/>
                <a:gd name="connsiteX798" fmla="*/ 1158062 w 1381764"/>
                <a:gd name="connsiteY798" fmla="*/ 368962 h 1328132"/>
                <a:gd name="connsiteX799" fmla="*/ 1157286 w 1381764"/>
                <a:gd name="connsiteY799" fmla="*/ 367282 h 1328132"/>
                <a:gd name="connsiteX800" fmla="*/ 1153797 w 1381764"/>
                <a:gd name="connsiteY800" fmla="*/ 364051 h 1328132"/>
                <a:gd name="connsiteX801" fmla="*/ 1148628 w 1381764"/>
                <a:gd name="connsiteY801" fmla="*/ 366377 h 1328132"/>
                <a:gd name="connsiteX802" fmla="*/ 1147982 w 1381764"/>
                <a:gd name="connsiteY802" fmla="*/ 367282 h 1328132"/>
                <a:gd name="connsiteX803" fmla="*/ 1147464 w 1381764"/>
                <a:gd name="connsiteY803" fmla="*/ 368703 h 1328132"/>
                <a:gd name="connsiteX804" fmla="*/ 1145397 w 1381764"/>
                <a:gd name="connsiteY804" fmla="*/ 372193 h 1328132"/>
                <a:gd name="connsiteX805" fmla="*/ 1144234 w 1381764"/>
                <a:gd name="connsiteY805" fmla="*/ 375036 h 1328132"/>
                <a:gd name="connsiteX806" fmla="*/ 1141261 w 1381764"/>
                <a:gd name="connsiteY806" fmla="*/ 378396 h 1328132"/>
                <a:gd name="connsiteX807" fmla="*/ 1140615 w 1381764"/>
                <a:gd name="connsiteY807" fmla="*/ 380593 h 1328132"/>
                <a:gd name="connsiteX808" fmla="*/ 1140615 w 1381764"/>
                <a:gd name="connsiteY808" fmla="*/ 382660 h 1328132"/>
                <a:gd name="connsiteX809" fmla="*/ 1140744 w 1381764"/>
                <a:gd name="connsiteY809" fmla="*/ 384340 h 1328132"/>
                <a:gd name="connsiteX810" fmla="*/ 751235 w 1381764"/>
                <a:gd name="connsiteY810" fmla="*/ 428280 h 1328132"/>
                <a:gd name="connsiteX811" fmla="*/ 752268 w 1381764"/>
                <a:gd name="connsiteY811" fmla="*/ 431898 h 1328132"/>
                <a:gd name="connsiteX812" fmla="*/ 753690 w 1381764"/>
                <a:gd name="connsiteY812" fmla="*/ 433449 h 1328132"/>
                <a:gd name="connsiteX813" fmla="*/ 755628 w 1381764"/>
                <a:gd name="connsiteY813" fmla="*/ 434612 h 1328132"/>
                <a:gd name="connsiteX814" fmla="*/ 757825 w 1381764"/>
                <a:gd name="connsiteY814" fmla="*/ 434871 h 1328132"/>
                <a:gd name="connsiteX815" fmla="*/ 762219 w 1381764"/>
                <a:gd name="connsiteY815" fmla="*/ 432803 h 1328132"/>
                <a:gd name="connsiteX816" fmla="*/ 767001 w 1381764"/>
                <a:gd name="connsiteY816" fmla="*/ 432028 h 1328132"/>
                <a:gd name="connsiteX817" fmla="*/ 769198 w 1381764"/>
                <a:gd name="connsiteY817" fmla="*/ 431252 h 1328132"/>
                <a:gd name="connsiteX818" fmla="*/ 773980 w 1381764"/>
                <a:gd name="connsiteY818" fmla="*/ 428021 h 1328132"/>
                <a:gd name="connsiteX819" fmla="*/ 778244 w 1381764"/>
                <a:gd name="connsiteY819" fmla="*/ 424274 h 1328132"/>
                <a:gd name="connsiteX820" fmla="*/ 778761 w 1381764"/>
                <a:gd name="connsiteY820" fmla="*/ 423886 h 1328132"/>
                <a:gd name="connsiteX821" fmla="*/ 780312 w 1381764"/>
                <a:gd name="connsiteY821" fmla="*/ 423498 h 1328132"/>
                <a:gd name="connsiteX822" fmla="*/ 780829 w 1381764"/>
                <a:gd name="connsiteY822" fmla="*/ 423240 h 1328132"/>
                <a:gd name="connsiteX823" fmla="*/ 780958 w 1381764"/>
                <a:gd name="connsiteY823" fmla="*/ 422852 h 1328132"/>
                <a:gd name="connsiteX824" fmla="*/ 781217 w 1381764"/>
                <a:gd name="connsiteY824" fmla="*/ 421431 h 1328132"/>
                <a:gd name="connsiteX825" fmla="*/ 781346 w 1381764"/>
                <a:gd name="connsiteY825" fmla="*/ 421043 h 1328132"/>
                <a:gd name="connsiteX826" fmla="*/ 782121 w 1381764"/>
                <a:gd name="connsiteY826" fmla="*/ 420655 h 1328132"/>
                <a:gd name="connsiteX827" fmla="*/ 785094 w 1381764"/>
                <a:gd name="connsiteY827" fmla="*/ 419621 h 1328132"/>
                <a:gd name="connsiteX828" fmla="*/ 785998 w 1381764"/>
                <a:gd name="connsiteY828" fmla="*/ 418846 h 1328132"/>
                <a:gd name="connsiteX829" fmla="*/ 786774 w 1381764"/>
                <a:gd name="connsiteY829" fmla="*/ 417812 h 1328132"/>
                <a:gd name="connsiteX830" fmla="*/ 787678 w 1381764"/>
                <a:gd name="connsiteY830" fmla="*/ 416907 h 1328132"/>
                <a:gd name="connsiteX831" fmla="*/ 788971 w 1381764"/>
                <a:gd name="connsiteY831" fmla="*/ 416520 h 1328132"/>
                <a:gd name="connsiteX832" fmla="*/ 793365 w 1381764"/>
                <a:gd name="connsiteY832" fmla="*/ 414064 h 1328132"/>
                <a:gd name="connsiteX833" fmla="*/ 806417 w 1381764"/>
                <a:gd name="connsiteY833" fmla="*/ 403209 h 1328132"/>
                <a:gd name="connsiteX834" fmla="*/ 809131 w 1381764"/>
                <a:gd name="connsiteY834" fmla="*/ 399590 h 1328132"/>
                <a:gd name="connsiteX835" fmla="*/ 817531 w 1381764"/>
                <a:gd name="connsiteY835" fmla="*/ 384340 h 1328132"/>
                <a:gd name="connsiteX836" fmla="*/ 819858 w 1381764"/>
                <a:gd name="connsiteY836" fmla="*/ 383565 h 1328132"/>
                <a:gd name="connsiteX837" fmla="*/ 822442 w 1381764"/>
                <a:gd name="connsiteY837" fmla="*/ 386667 h 1328132"/>
                <a:gd name="connsiteX838" fmla="*/ 823605 w 1381764"/>
                <a:gd name="connsiteY838" fmla="*/ 386020 h 1328132"/>
                <a:gd name="connsiteX839" fmla="*/ 824122 w 1381764"/>
                <a:gd name="connsiteY839" fmla="*/ 385245 h 1328132"/>
                <a:gd name="connsiteX840" fmla="*/ 826190 w 1381764"/>
                <a:gd name="connsiteY840" fmla="*/ 379300 h 1328132"/>
                <a:gd name="connsiteX841" fmla="*/ 828516 w 1381764"/>
                <a:gd name="connsiteY841" fmla="*/ 366248 h 1328132"/>
                <a:gd name="connsiteX842" fmla="*/ 829938 w 1381764"/>
                <a:gd name="connsiteY842" fmla="*/ 362242 h 1328132"/>
                <a:gd name="connsiteX843" fmla="*/ 836529 w 1381764"/>
                <a:gd name="connsiteY843" fmla="*/ 349447 h 1328132"/>
                <a:gd name="connsiteX844" fmla="*/ 837175 w 1381764"/>
                <a:gd name="connsiteY844" fmla="*/ 346992 h 1328132"/>
                <a:gd name="connsiteX845" fmla="*/ 837046 w 1381764"/>
                <a:gd name="connsiteY845" fmla="*/ 344666 h 1328132"/>
                <a:gd name="connsiteX846" fmla="*/ 835882 w 1381764"/>
                <a:gd name="connsiteY846" fmla="*/ 342857 h 1328132"/>
                <a:gd name="connsiteX847" fmla="*/ 833427 w 1381764"/>
                <a:gd name="connsiteY847" fmla="*/ 342210 h 1328132"/>
                <a:gd name="connsiteX848" fmla="*/ 831618 w 1381764"/>
                <a:gd name="connsiteY848" fmla="*/ 341177 h 1328132"/>
                <a:gd name="connsiteX849" fmla="*/ 829421 w 1381764"/>
                <a:gd name="connsiteY849" fmla="*/ 336136 h 1328132"/>
                <a:gd name="connsiteX850" fmla="*/ 827870 w 1381764"/>
                <a:gd name="connsiteY850" fmla="*/ 334069 h 1328132"/>
                <a:gd name="connsiteX851" fmla="*/ 826190 w 1381764"/>
                <a:gd name="connsiteY851" fmla="*/ 333293 h 1328132"/>
                <a:gd name="connsiteX852" fmla="*/ 820374 w 1381764"/>
                <a:gd name="connsiteY852" fmla="*/ 331872 h 1328132"/>
                <a:gd name="connsiteX853" fmla="*/ 819082 w 1381764"/>
                <a:gd name="connsiteY853" fmla="*/ 332130 h 1328132"/>
                <a:gd name="connsiteX854" fmla="*/ 818824 w 1381764"/>
                <a:gd name="connsiteY854" fmla="*/ 332906 h 1328132"/>
                <a:gd name="connsiteX855" fmla="*/ 818436 w 1381764"/>
                <a:gd name="connsiteY855" fmla="*/ 333293 h 1328132"/>
                <a:gd name="connsiteX856" fmla="*/ 818177 w 1381764"/>
                <a:gd name="connsiteY856" fmla="*/ 333939 h 1328132"/>
                <a:gd name="connsiteX857" fmla="*/ 818436 w 1381764"/>
                <a:gd name="connsiteY857" fmla="*/ 335361 h 1328132"/>
                <a:gd name="connsiteX858" fmla="*/ 818953 w 1381764"/>
                <a:gd name="connsiteY858" fmla="*/ 336524 h 1328132"/>
                <a:gd name="connsiteX859" fmla="*/ 821279 w 1381764"/>
                <a:gd name="connsiteY859" fmla="*/ 339755 h 1328132"/>
                <a:gd name="connsiteX860" fmla="*/ 820245 w 1381764"/>
                <a:gd name="connsiteY860" fmla="*/ 339496 h 1328132"/>
                <a:gd name="connsiteX861" fmla="*/ 819341 w 1381764"/>
                <a:gd name="connsiteY861" fmla="*/ 339109 h 1328132"/>
                <a:gd name="connsiteX862" fmla="*/ 818436 w 1381764"/>
                <a:gd name="connsiteY862" fmla="*/ 338463 h 1328132"/>
                <a:gd name="connsiteX863" fmla="*/ 817661 w 1381764"/>
                <a:gd name="connsiteY863" fmla="*/ 337687 h 1328132"/>
                <a:gd name="connsiteX864" fmla="*/ 817661 w 1381764"/>
                <a:gd name="connsiteY864" fmla="*/ 339755 h 1328132"/>
                <a:gd name="connsiteX865" fmla="*/ 816885 w 1381764"/>
                <a:gd name="connsiteY865" fmla="*/ 339755 h 1328132"/>
                <a:gd name="connsiteX866" fmla="*/ 816885 w 1381764"/>
                <a:gd name="connsiteY866" fmla="*/ 337687 h 1328132"/>
                <a:gd name="connsiteX867" fmla="*/ 815464 w 1381764"/>
                <a:gd name="connsiteY867" fmla="*/ 338463 h 1328132"/>
                <a:gd name="connsiteX868" fmla="*/ 815464 w 1381764"/>
                <a:gd name="connsiteY868" fmla="*/ 339496 h 1328132"/>
                <a:gd name="connsiteX869" fmla="*/ 815981 w 1381764"/>
                <a:gd name="connsiteY869" fmla="*/ 340660 h 1328132"/>
                <a:gd name="connsiteX870" fmla="*/ 815981 w 1381764"/>
                <a:gd name="connsiteY870" fmla="*/ 342081 h 1328132"/>
                <a:gd name="connsiteX871" fmla="*/ 815205 w 1381764"/>
                <a:gd name="connsiteY871" fmla="*/ 343373 h 1328132"/>
                <a:gd name="connsiteX872" fmla="*/ 813137 w 1381764"/>
                <a:gd name="connsiteY872" fmla="*/ 345312 h 1328132"/>
                <a:gd name="connsiteX873" fmla="*/ 812362 w 1381764"/>
                <a:gd name="connsiteY873" fmla="*/ 346346 h 1328132"/>
                <a:gd name="connsiteX874" fmla="*/ 811587 w 1381764"/>
                <a:gd name="connsiteY874" fmla="*/ 346346 h 1328132"/>
                <a:gd name="connsiteX875" fmla="*/ 811974 w 1381764"/>
                <a:gd name="connsiteY875" fmla="*/ 345312 h 1328132"/>
                <a:gd name="connsiteX876" fmla="*/ 813267 w 1381764"/>
                <a:gd name="connsiteY876" fmla="*/ 343632 h 1328132"/>
                <a:gd name="connsiteX877" fmla="*/ 813784 w 1381764"/>
                <a:gd name="connsiteY877" fmla="*/ 342598 h 1328132"/>
                <a:gd name="connsiteX878" fmla="*/ 814042 w 1381764"/>
                <a:gd name="connsiteY878" fmla="*/ 341564 h 1328132"/>
                <a:gd name="connsiteX879" fmla="*/ 814042 w 1381764"/>
                <a:gd name="connsiteY879" fmla="*/ 341047 h 1328132"/>
                <a:gd name="connsiteX880" fmla="*/ 813913 w 1381764"/>
                <a:gd name="connsiteY880" fmla="*/ 340660 h 1328132"/>
                <a:gd name="connsiteX881" fmla="*/ 813784 w 1381764"/>
                <a:gd name="connsiteY881" fmla="*/ 340143 h 1328132"/>
                <a:gd name="connsiteX882" fmla="*/ 813913 w 1381764"/>
                <a:gd name="connsiteY882" fmla="*/ 338592 h 1328132"/>
                <a:gd name="connsiteX883" fmla="*/ 814300 w 1381764"/>
                <a:gd name="connsiteY883" fmla="*/ 336524 h 1328132"/>
                <a:gd name="connsiteX884" fmla="*/ 814947 w 1381764"/>
                <a:gd name="connsiteY884" fmla="*/ 334586 h 1328132"/>
                <a:gd name="connsiteX885" fmla="*/ 815981 w 1381764"/>
                <a:gd name="connsiteY885" fmla="*/ 333293 h 1328132"/>
                <a:gd name="connsiteX886" fmla="*/ 815205 w 1381764"/>
                <a:gd name="connsiteY886" fmla="*/ 333293 h 1328132"/>
                <a:gd name="connsiteX887" fmla="*/ 813525 w 1381764"/>
                <a:gd name="connsiteY887" fmla="*/ 333552 h 1328132"/>
                <a:gd name="connsiteX888" fmla="*/ 807710 w 1381764"/>
                <a:gd name="connsiteY888" fmla="*/ 335619 h 1328132"/>
                <a:gd name="connsiteX889" fmla="*/ 806029 w 1381764"/>
                <a:gd name="connsiteY889" fmla="*/ 336524 h 1328132"/>
                <a:gd name="connsiteX890" fmla="*/ 804479 w 1381764"/>
                <a:gd name="connsiteY890" fmla="*/ 337816 h 1328132"/>
                <a:gd name="connsiteX891" fmla="*/ 799051 w 1381764"/>
                <a:gd name="connsiteY891" fmla="*/ 341306 h 1328132"/>
                <a:gd name="connsiteX892" fmla="*/ 795949 w 1381764"/>
                <a:gd name="connsiteY892" fmla="*/ 344278 h 1328132"/>
                <a:gd name="connsiteX893" fmla="*/ 793235 w 1381764"/>
                <a:gd name="connsiteY893" fmla="*/ 347509 h 1328132"/>
                <a:gd name="connsiteX894" fmla="*/ 790780 w 1381764"/>
                <a:gd name="connsiteY894" fmla="*/ 351127 h 1328132"/>
                <a:gd name="connsiteX895" fmla="*/ 786386 w 1381764"/>
                <a:gd name="connsiteY895" fmla="*/ 360820 h 1328132"/>
                <a:gd name="connsiteX896" fmla="*/ 780829 w 1381764"/>
                <a:gd name="connsiteY896" fmla="*/ 366894 h 1328132"/>
                <a:gd name="connsiteX897" fmla="*/ 779666 w 1381764"/>
                <a:gd name="connsiteY897" fmla="*/ 370900 h 1328132"/>
                <a:gd name="connsiteX898" fmla="*/ 779278 w 1381764"/>
                <a:gd name="connsiteY898" fmla="*/ 385116 h 1328132"/>
                <a:gd name="connsiteX899" fmla="*/ 781604 w 1381764"/>
                <a:gd name="connsiteY899" fmla="*/ 389251 h 1328132"/>
                <a:gd name="connsiteX900" fmla="*/ 779924 w 1381764"/>
                <a:gd name="connsiteY900" fmla="*/ 393387 h 1328132"/>
                <a:gd name="connsiteX901" fmla="*/ 776306 w 1381764"/>
                <a:gd name="connsiteY901" fmla="*/ 396876 h 1328132"/>
                <a:gd name="connsiteX902" fmla="*/ 772687 w 1381764"/>
                <a:gd name="connsiteY902" fmla="*/ 398815 h 1328132"/>
                <a:gd name="connsiteX903" fmla="*/ 770749 w 1381764"/>
                <a:gd name="connsiteY903" fmla="*/ 399461 h 1328132"/>
                <a:gd name="connsiteX904" fmla="*/ 769715 w 1381764"/>
                <a:gd name="connsiteY904" fmla="*/ 399719 h 1328132"/>
                <a:gd name="connsiteX905" fmla="*/ 769327 w 1381764"/>
                <a:gd name="connsiteY905" fmla="*/ 400236 h 1328132"/>
                <a:gd name="connsiteX906" fmla="*/ 769069 w 1381764"/>
                <a:gd name="connsiteY906" fmla="*/ 400624 h 1328132"/>
                <a:gd name="connsiteX907" fmla="*/ 768164 w 1381764"/>
                <a:gd name="connsiteY907" fmla="*/ 402950 h 1328132"/>
                <a:gd name="connsiteX908" fmla="*/ 768035 w 1381764"/>
                <a:gd name="connsiteY908" fmla="*/ 403467 h 1328132"/>
                <a:gd name="connsiteX909" fmla="*/ 767001 w 1381764"/>
                <a:gd name="connsiteY909" fmla="*/ 403984 h 1328132"/>
                <a:gd name="connsiteX910" fmla="*/ 759893 w 1381764"/>
                <a:gd name="connsiteY910" fmla="*/ 409283 h 1328132"/>
                <a:gd name="connsiteX911" fmla="*/ 758601 w 1381764"/>
                <a:gd name="connsiteY911" fmla="*/ 410704 h 1328132"/>
                <a:gd name="connsiteX912" fmla="*/ 758084 w 1381764"/>
                <a:gd name="connsiteY912" fmla="*/ 411996 h 1328132"/>
                <a:gd name="connsiteX913" fmla="*/ 757696 w 1381764"/>
                <a:gd name="connsiteY913" fmla="*/ 416003 h 1328132"/>
                <a:gd name="connsiteX914" fmla="*/ 757179 w 1381764"/>
                <a:gd name="connsiteY914" fmla="*/ 418070 h 1328132"/>
                <a:gd name="connsiteX915" fmla="*/ 756533 w 1381764"/>
                <a:gd name="connsiteY915" fmla="*/ 419621 h 1328132"/>
                <a:gd name="connsiteX916" fmla="*/ 752398 w 1381764"/>
                <a:gd name="connsiteY916" fmla="*/ 425049 h 1328132"/>
                <a:gd name="connsiteX917" fmla="*/ 751235 w 1381764"/>
                <a:gd name="connsiteY917" fmla="*/ 428280 h 1328132"/>
                <a:gd name="connsiteX918" fmla="*/ 948962 w 1381764"/>
                <a:gd name="connsiteY918" fmla="*/ 245802 h 1328132"/>
                <a:gd name="connsiteX919" fmla="*/ 950771 w 1381764"/>
                <a:gd name="connsiteY919" fmla="*/ 244381 h 1328132"/>
                <a:gd name="connsiteX920" fmla="*/ 951288 w 1381764"/>
                <a:gd name="connsiteY920" fmla="*/ 242830 h 1328132"/>
                <a:gd name="connsiteX921" fmla="*/ 950513 w 1381764"/>
                <a:gd name="connsiteY921" fmla="*/ 240891 h 1328132"/>
                <a:gd name="connsiteX922" fmla="*/ 948316 w 1381764"/>
                <a:gd name="connsiteY922" fmla="*/ 241021 h 1328132"/>
                <a:gd name="connsiteX923" fmla="*/ 945602 w 1381764"/>
                <a:gd name="connsiteY923" fmla="*/ 242313 h 1328132"/>
                <a:gd name="connsiteX924" fmla="*/ 939140 w 1381764"/>
                <a:gd name="connsiteY924" fmla="*/ 246319 h 1328132"/>
                <a:gd name="connsiteX925" fmla="*/ 937202 w 1381764"/>
                <a:gd name="connsiteY925" fmla="*/ 249033 h 1328132"/>
                <a:gd name="connsiteX926" fmla="*/ 936814 w 1381764"/>
                <a:gd name="connsiteY926" fmla="*/ 250842 h 1328132"/>
                <a:gd name="connsiteX927" fmla="*/ 942629 w 1381764"/>
                <a:gd name="connsiteY927" fmla="*/ 249162 h 1328132"/>
                <a:gd name="connsiteX928" fmla="*/ 948962 w 1381764"/>
                <a:gd name="connsiteY928" fmla="*/ 245802 h 1328132"/>
                <a:gd name="connsiteX929" fmla="*/ 842603 w 1381764"/>
                <a:gd name="connsiteY929" fmla="*/ 364826 h 1328132"/>
                <a:gd name="connsiteX930" fmla="*/ 843249 w 1381764"/>
                <a:gd name="connsiteY930" fmla="*/ 364826 h 1328132"/>
                <a:gd name="connsiteX931" fmla="*/ 844929 w 1381764"/>
                <a:gd name="connsiteY931" fmla="*/ 363275 h 1328132"/>
                <a:gd name="connsiteX932" fmla="*/ 847514 w 1381764"/>
                <a:gd name="connsiteY932" fmla="*/ 361595 h 1328132"/>
                <a:gd name="connsiteX933" fmla="*/ 850486 w 1381764"/>
                <a:gd name="connsiteY933" fmla="*/ 360174 h 1328132"/>
                <a:gd name="connsiteX934" fmla="*/ 853200 w 1381764"/>
                <a:gd name="connsiteY934" fmla="*/ 359657 h 1328132"/>
                <a:gd name="connsiteX935" fmla="*/ 855914 w 1381764"/>
                <a:gd name="connsiteY935" fmla="*/ 358752 h 1328132"/>
                <a:gd name="connsiteX936" fmla="*/ 860437 w 1381764"/>
                <a:gd name="connsiteY936" fmla="*/ 354746 h 1328132"/>
                <a:gd name="connsiteX937" fmla="*/ 863539 w 1381764"/>
                <a:gd name="connsiteY937" fmla="*/ 353841 h 1328132"/>
                <a:gd name="connsiteX938" fmla="*/ 867157 w 1381764"/>
                <a:gd name="connsiteY938" fmla="*/ 353712 h 1328132"/>
                <a:gd name="connsiteX939" fmla="*/ 870259 w 1381764"/>
                <a:gd name="connsiteY939" fmla="*/ 353066 h 1328132"/>
                <a:gd name="connsiteX940" fmla="*/ 872456 w 1381764"/>
                <a:gd name="connsiteY940" fmla="*/ 351386 h 1328132"/>
                <a:gd name="connsiteX941" fmla="*/ 873489 w 1381764"/>
                <a:gd name="connsiteY941" fmla="*/ 348155 h 1328132"/>
                <a:gd name="connsiteX942" fmla="*/ 873489 w 1381764"/>
                <a:gd name="connsiteY942" fmla="*/ 346604 h 1328132"/>
                <a:gd name="connsiteX943" fmla="*/ 872843 w 1381764"/>
                <a:gd name="connsiteY943" fmla="*/ 342857 h 1328132"/>
                <a:gd name="connsiteX944" fmla="*/ 871810 w 1381764"/>
                <a:gd name="connsiteY944" fmla="*/ 338980 h 1328132"/>
                <a:gd name="connsiteX945" fmla="*/ 871292 w 1381764"/>
                <a:gd name="connsiteY945" fmla="*/ 337816 h 1328132"/>
                <a:gd name="connsiteX946" fmla="*/ 871163 w 1381764"/>
                <a:gd name="connsiteY946" fmla="*/ 336912 h 1328132"/>
                <a:gd name="connsiteX947" fmla="*/ 871034 w 1381764"/>
                <a:gd name="connsiteY947" fmla="*/ 336524 h 1328132"/>
                <a:gd name="connsiteX948" fmla="*/ 870646 w 1381764"/>
                <a:gd name="connsiteY948" fmla="*/ 336136 h 1328132"/>
                <a:gd name="connsiteX949" fmla="*/ 867028 w 1381764"/>
                <a:gd name="connsiteY949" fmla="*/ 341952 h 1328132"/>
                <a:gd name="connsiteX950" fmla="*/ 866252 w 1381764"/>
                <a:gd name="connsiteY950" fmla="*/ 341952 h 1328132"/>
                <a:gd name="connsiteX951" fmla="*/ 866511 w 1381764"/>
                <a:gd name="connsiteY951" fmla="*/ 340530 h 1328132"/>
                <a:gd name="connsiteX952" fmla="*/ 868449 w 1381764"/>
                <a:gd name="connsiteY952" fmla="*/ 336783 h 1328132"/>
                <a:gd name="connsiteX953" fmla="*/ 863280 w 1381764"/>
                <a:gd name="connsiteY953" fmla="*/ 338721 h 1328132"/>
                <a:gd name="connsiteX954" fmla="*/ 858240 w 1381764"/>
                <a:gd name="connsiteY954" fmla="*/ 341306 h 1328132"/>
                <a:gd name="connsiteX955" fmla="*/ 855655 w 1381764"/>
                <a:gd name="connsiteY955" fmla="*/ 343373 h 1328132"/>
                <a:gd name="connsiteX956" fmla="*/ 851778 w 1381764"/>
                <a:gd name="connsiteY956" fmla="*/ 347767 h 1328132"/>
                <a:gd name="connsiteX957" fmla="*/ 849323 w 1381764"/>
                <a:gd name="connsiteY957" fmla="*/ 349189 h 1328132"/>
                <a:gd name="connsiteX958" fmla="*/ 848677 w 1381764"/>
                <a:gd name="connsiteY958" fmla="*/ 349189 h 1328132"/>
                <a:gd name="connsiteX959" fmla="*/ 847255 w 1381764"/>
                <a:gd name="connsiteY959" fmla="*/ 348543 h 1328132"/>
                <a:gd name="connsiteX960" fmla="*/ 846480 w 1381764"/>
                <a:gd name="connsiteY960" fmla="*/ 348672 h 1328132"/>
                <a:gd name="connsiteX961" fmla="*/ 846221 w 1381764"/>
                <a:gd name="connsiteY961" fmla="*/ 349060 h 1328132"/>
                <a:gd name="connsiteX962" fmla="*/ 845704 w 1381764"/>
                <a:gd name="connsiteY962" fmla="*/ 350481 h 1328132"/>
                <a:gd name="connsiteX963" fmla="*/ 845317 w 1381764"/>
                <a:gd name="connsiteY963" fmla="*/ 350740 h 1328132"/>
                <a:gd name="connsiteX964" fmla="*/ 844800 w 1381764"/>
                <a:gd name="connsiteY964" fmla="*/ 351257 h 1328132"/>
                <a:gd name="connsiteX965" fmla="*/ 842861 w 1381764"/>
                <a:gd name="connsiteY965" fmla="*/ 354358 h 1328132"/>
                <a:gd name="connsiteX966" fmla="*/ 842086 w 1381764"/>
                <a:gd name="connsiteY966" fmla="*/ 357072 h 1328132"/>
                <a:gd name="connsiteX967" fmla="*/ 841698 w 1381764"/>
                <a:gd name="connsiteY967" fmla="*/ 359915 h 1328132"/>
                <a:gd name="connsiteX968" fmla="*/ 841956 w 1381764"/>
                <a:gd name="connsiteY968" fmla="*/ 362500 h 1328132"/>
                <a:gd name="connsiteX969" fmla="*/ 842603 w 1381764"/>
                <a:gd name="connsiteY969" fmla="*/ 364826 h 1328132"/>
                <a:gd name="connsiteX970" fmla="*/ 1379439 w 1381764"/>
                <a:gd name="connsiteY970" fmla="*/ 400495 h 1328132"/>
                <a:gd name="connsiteX971" fmla="*/ 1380731 w 1381764"/>
                <a:gd name="connsiteY971" fmla="*/ 399719 h 1328132"/>
                <a:gd name="connsiteX972" fmla="*/ 1381765 w 1381764"/>
                <a:gd name="connsiteY972" fmla="*/ 398944 h 1328132"/>
                <a:gd name="connsiteX973" fmla="*/ 1381377 w 1381764"/>
                <a:gd name="connsiteY973" fmla="*/ 397135 h 1328132"/>
                <a:gd name="connsiteX974" fmla="*/ 1379697 w 1381764"/>
                <a:gd name="connsiteY974" fmla="*/ 393904 h 1328132"/>
                <a:gd name="connsiteX975" fmla="*/ 1379309 w 1381764"/>
                <a:gd name="connsiteY975" fmla="*/ 392870 h 1328132"/>
                <a:gd name="connsiteX976" fmla="*/ 1379051 w 1381764"/>
                <a:gd name="connsiteY976" fmla="*/ 391965 h 1328132"/>
                <a:gd name="connsiteX977" fmla="*/ 1378663 w 1381764"/>
                <a:gd name="connsiteY977" fmla="*/ 391319 h 1328132"/>
                <a:gd name="connsiteX978" fmla="*/ 1377888 w 1381764"/>
                <a:gd name="connsiteY978" fmla="*/ 391061 h 1328132"/>
                <a:gd name="connsiteX979" fmla="*/ 1377242 w 1381764"/>
                <a:gd name="connsiteY979" fmla="*/ 391448 h 1328132"/>
                <a:gd name="connsiteX980" fmla="*/ 1376337 w 1381764"/>
                <a:gd name="connsiteY980" fmla="*/ 392353 h 1328132"/>
                <a:gd name="connsiteX981" fmla="*/ 1375562 w 1381764"/>
                <a:gd name="connsiteY981" fmla="*/ 393387 h 1328132"/>
                <a:gd name="connsiteX982" fmla="*/ 1375303 w 1381764"/>
                <a:gd name="connsiteY982" fmla="*/ 394291 h 1328132"/>
                <a:gd name="connsiteX983" fmla="*/ 1375174 w 1381764"/>
                <a:gd name="connsiteY983" fmla="*/ 398815 h 1328132"/>
                <a:gd name="connsiteX984" fmla="*/ 1374528 w 1381764"/>
                <a:gd name="connsiteY984" fmla="*/ 400753 h 1328132"/>
                <a:gd name="connsiteX985" fmla="*/ 1373106 w 1381764"/>
                <a:gd name="connsiteY985" fmla="*/ 402045 h 1328132"/>
                <a:gd name="connsiteX986" fmla="*/ 1373235 w 1381764"/>
                <a:gd name="connsiteY986" fmla="*/ 400495 h 1328132"/>
                <a:gd name="connsiteX987" fmla="*/ 1374140 w 1381764"/>
                <a:gd name="connsiteY987" fmla="*/ 396747 h 1328132"/>
                <a:gd name="connsiteX988" fmla="*/ 1373882 w 1381764"/>
                <a:gd name="connsiteY988" fmla="*/ 395455 h 1328132"/>
                <a:gd name="connsiteX989" fmla="*/ 1373106 w 1381764"/>
                <a:gd name="connsiteY989" fmla="*/ 395584 h 1328132"/>
                <a:gd name="connsiteX990" fmla="*/ 1372202 w 1381764"/>
                <a:gd name="connsiteY990" fmla="*/ 396876 h 1328132"/>
                <a:gd name="connsiteX991" fmla="*/ 1371039 w 1381764"/>
                <a:gd name="connsiteY991" fmla="*/ 399202 h 1328132"/>
                <a:gd name="connsiteX992" fmla="*/ 1369359 w 1381764"/>
                <a:gd name="connsiteY992" fmla="*/ 399719 h 1328132"/>
                <a:gd name="connsiteX993" fmla="*/ 1367808 w 1381764"/>
                <a:gd name="connsiteY993" fmla="*/ 399332 h 1328132"/>
                <a:gd name="connsiteX994" fmla="*/ 1366386 w 1381764"/>
                <a:gd name="connsiteY994" fmla="*/ 398685 h 1328132"/>
                <a:gd name="connsiteX995" fmla="*/ 1365094 w 1381764"/>
                <a:gd name="connsiteY995" fmla="*/ 398556 h 1328132"/>
                <a:gd name="connsiteX996" fmla="*/ 1364060 w 1381764"/>
                <a:gd name="connsiteY996" fmla="*/ 399202 h 1328132"/>
                <a:gd name="connsiteX997" fmla="*/ 1360700 w 1381764"/>
                <a:gd name="connsiteY997" fmla="*/ 402950 h 1328132"/>
                <a:gd name="connsiteX998" fmla="*/ 1366128 w 1381764"/>
                <a:gd name="connsiteY998" fmla="*/ 391448 h 1328132"/>
                <a:gd name="connsiteX999" fmla="*/ 1365094 w 1381764"/>
                <a:gd name="connsiteY999" fmla="*/ 389768 h 1328132"/>
                <a:gd name="connsiteX1000" fmla="*/ 1365482 w 1381764"/>
                <a:gd name="connsiteY1000" fmla="*/ 389251 h 1328132"/>
                <a:gd name="connsiteX1001" fmla="*/ 1365998 w 1381764"/>
                <a:gd name="connsiteY1001" fmla="*/ 388217 h 1328132"/>
                <a:gd name="connsiteX1002" fmla="*/ 1366515 w 1381764"/>
                <a:gd name="connsiteY1002" fmla="*/ 387701 h 1328132"/>
                <a:gd name="connsiteX1003" fmla="*/ 1366128 w 1381764"/>
                <a:gd name="connsiteY1003" fmla="*/ 387313 h 1328132"/>
                <a:gd name="connsiteX1004" fmla="*/ 1365998 w 1381764"/>
                <a:gd name="connsiteY1004" fmla="*/ 386925 h 1328132"/>
                <a:gd name="connsiteX1005" fmla="*/ 1365869 w 1381764"/>
                <a:gd name="connsiteY1005" fmla="*/ 386537 h 1328132"/>
                <a:gd name="connsiteX1006" fmla="*/ 1365740 w 1381764"/>
                <a:gd name="connsiteY1006" fmla="*/ 386150 h 1328132"/>
                <a:gd name="connsiteX1007" fmla="*/ 1367161 w 1381764"/>
                <a:gd name="connsiteY1007" fmla="*/ 385504 h 1328132"/>
                <a:gd name="connsiteX1008" fmla="*/ 1367420 w 1381764"/>
                <a:gd name="connsiteY1008" fmla="*/ 384728 h 1328132"/>
                <a:gd name="connsiteX1009" fmla="*/ 1366645 w 1381764"/>
                <a:gd name="connsiteY1009" fmla="*/ 384340 h 1328132"/>
                <a:gd name="connsiteX1010" fmla="*/ 1364965 w 1381764"/>
                <a:gd name="connsiteY1010" fmla="*/ 384857 h 1328132"/>
                <a:gd name="connsiteX1011" fmla="*/ 1365611 w 1381764"/>
                <a:gd name="connsiteY1011" fmla="*/ 383436 h 1328132"/>
                <a:gd name="connsiteX1012" fmla="*/ 1366903 w 1381764"/>
                <a:gd name="connsiteY1012" fmla="*/ 381239 h 1328132"/>
                <a:gd name="connsiteX1013" fmla="*/ 1368325 w 1381764"/>
                <a:gd name="connsiteY1013" fmla="*/ 379430 h 1328132"/>
                <a:gd name="connsiteX1014" fmla="*/ 1369359 w 1381764"/>
                <a:gd name="connsiteY1014" fmla="*/ 379171 h 1328132"/>
                <a:gd name="connsiteX1015" fmla="*/ 1370005 w 1381764"/>
                <a:gd name="connsiteY1015" fmla="*/ 379171 h 1328132"/>
                <a:gd name="connsiteX1016" fmla="*/ 1370263 w 1381764"/>
                <a:gd name="connsiteY1016" fmla="*/ 375423 h 1328132"/>
                <a:gd name="connsiteX1017" fmla="*/ 1367161 w 1381764"/>
                <a:gd name="connsiteY1017" fmla="*/ 374002 h 1328132"/>
                <a:gd name="connsiteX1018" fmla="*/ 1363543 w 1381764"/>
                <a:gd name="connsiteY1018" fmla="*/ 375036 h 1328132"/>
                <a:gd name="connsiteX1019" fmla="*/ 1361863 w 1381764"/>
                <a:gd name="connsiteY1019" fmla="*/ 376457 h 1328132"/>
                <a:gd name="connsiteX1020" fmla="*/ 1360571 w 1381764"/>
                <a:gd name="connsiteY1020" fmla="*/ 378525 h 1328132"/>
                <a:gd name="connsiteX1021" fmla="*/ 1359924 w 1381764"/>
                <a:gd name="connsiteY1021" fmla="*/ 380722 h 1328132"/>
                <a:gd name="connsiteX1022" fmla="*/ 1358761 w 1381764"/>
                <a:gd name="connsiteY1022" fmla="*/ 382273 h 1328132"/>
                <a:gd name="connsiteX1023" fmla="*/ 1358503 w 1381764"/>
                <a:gd name="connsiteY1023" fmla="*/ 383436 h 1328132"/>
                <a:gd name="connsiteX1024" fmla="*/ 1359278 w 1381764"/>
                <a:gd name="connsiteY1024" fmla="*/ 384340 h 1328132"/>
                <a:gd name="connsiteX1025" fmla="*/ 1360441 w 1381764"/>
                <a:gd name="connsiteY1025" fmla="*/ 385504 h 1328132"/>
                <a:gd name="connsiteX1026" fmla="*/ 1358374 w 1381764"/>
                <a:gd name="connsiteY1026" fmla="*/ 386020 h 1328132"/>
                <a:gd name="connsiteX1027" fmla="*/ 1358374 w 1381764"/>
                <a:gd name="connsiteY1027" fmla="*/ 386796 h 1328132"/>
                <a:gd name="connsiteX1028" fmla="*/ 1358891 w 1381764"/>
                <a:gd name="connsiteY1028" fmla="*/ 387571 h 1328132"/>
                <a:gd name="connsiteX1029" fmla="*/ 1359149 w 1381764"/>
                <a:gd name="connsiteY1029" fmla="*/ 387830 h 1328132"/>
                <a:gd name="connsiteX1030" fmla="*/ 1359666 w 1381764"/>
                <a:gd name="connsiteY1030" fmla="*/ 389381 h 1328132"/>
                <a:gd name="connsiteX1031" fmla="*/ 1361475 w 1381764"/>
                <a:gd name="connsiteY1031" fmla="*/ 391965 h 1328132"/>
                <a:gd name="connsiteX1032" fmla="*/ 1362121 w 1381764"/>
                <a:gd name="connsiteY1032" fmla="*/ 393645 h 1328132"/>
                <a:gd name="connsiteX1033" fmla="*/ 1361346 w 1381764"/>
                <a:gd name="connsiteY1033" fmla="*/ 391836 h 1328132"/>
                <a:gd name="connsiteX1034" fmla="*/ 1358761 w 1381764"/>
                <a:gd name="connsiteY1034" fmla="*/ 388864 h 1328132"/>
                <a:gd name="connsiteX1035" fmla="*/ 1357727 w 1381764"/>
                <a:gd name="connsiteY1035" fmla="*/ 387054 h 1328132"/>
                <a:gd name="connsiteX1036" fmla="*/ 1356952 w 1381764"/>
                <a:gd name="connsiteY1036" fmla="*/ 387054 h 1328132"/>
                <a:gd name="connsiteX1037" fmla="*/ 1356823 w 1381764"/>
                <a:gd name="connsiteY1037" fmla="*/ 389768 h 1328132"/>
                <a:gd name="connsiteX1038" fmla="*/ 1356435 w 1381764"/>
                <a:gd name="connsiteY1038" fmla="*/ 392094 h 1328132"/>
                <a:gd name="connsiteX1039" fmla="*/ 1355531 w 1381764"/>
                <a:gd name="connsiteY1039" fmla="*/ 393904 h 1328132"/>
                <a:gd name="connsiteX1040" fmla="*/ 1353850 w 1381764"/>
                <a:gd name="connsiteY1040" fmla="*/ 395067 h 1328132"/>
                <a:gd name="connsiteX1041" fmla="*/ 1353850 w 1381764"/>
                <a:gd name="connsiteY1041" fmla="*/ 394033 h 1328132"/>
                <a:gd name="connsiteX1042" fmla="*/ 1354367 w 1381764"/>
                <a:gd name="connsiteY1042" fmla="*/ 392353 h 1328132"/>
                <a:gd name="connsiteX1043" fmla="*/ 1354497 w 1381764"/>
                <a:gd name="connsiteY1043" fmla="*/ 391448 h 1328132"/>
                <a:gd name="connsiteX1044" fmla="*/ 1354497 w 1381764"/>
                <a:gd name="connsiteY1044" fmla="*/ 387442 h 1328132"/>
                <a:gd name="connsiteX1045" fmla="*/ 1353980 w 1381764"/>
                <a:gd name="connsiteY1045" fmla="*/ 385891 h 1328132"/>
                <a:gd name="connsiteX1046" fmla="*/ 1352687 w 1381764"/>
                <a:gd name="connsiteY1046" fmla="*/ 386150 h 1328132"/>
                <a:gd name="connsiteX1047" fmla="*/ 1351395 w 1381764"/>
                <a:gd name="connsiteY1047" fmla="*/ 387442 h 1328132"/>
                <a:gd name="connsiteX1048" fmla="*/ 1350878 w 1381764"/>
                <a:gd name="connsiteY1048" fmla="*/ 388993 h 1328132"/>
                <a:gd name="connsiteX1049" fmla="*/ 1350749 w 1381764"/>
                <a:gd name="connsiteY1049" fmla="*/ 391190 h 1328132"/>
                <a:gd name="connsiteX1050" fmla="*/ 1350361 w 1381764"/>
                <a:gd name="connsiteY1050" fmla="*/ 391836 h 1328132"/>
                <a:gd name="connsiteX1051" fmla="*/ 1349844 w 1381764"/>
                <a:gd name="connsiteY1051" fmla="*/ 390931 h 1328132"/>
                <a:gd name="connsiteX1052" fmla="*/ 1349327 w 1381764"/>
                <a:gd name="connsiteY1052" fmla="*/ 388605 h 1328132"/>
                <a:gd name="connsiteX1053" fmla="*/ 1349198 w 1381764"/>
                <a:gd name="connsiteY1053" fmla="*/ 386537 h 1328132"/>
                <a:gd name="connsiteX1054" fmla="*/ 1349457 w 1381764"/>
                <a:gd name="connsiteY1054" fmla="*/ 384728 h 1328132"/>
                <a:gd name="connsiteX1055" fmla="*/ 1347389 w 1381764"/>
                <a:gd name="connsiteY1055" fmla="*/ 384857 h 1328132"/>
                <a:gd name="connsiteX1056" fmla="*/ 1346484 w 1381764"/>
                <a:gd name="connsiteY1056" fmla="*/ 386667 h 1328132"/>
                <a:gd name="connsiteX1057" fmla="*/ 1344933 w 1381764"/>
                <a:gd name="connsiteY1057" fmla="*/ 387959 h 1328132"/>
                <a:gd name="connsiteX1058" fmla="*/ 1344158 w 1381764"/>
                <a:gd name="connsiteY1058" fmla="*/ 387571 h 1328132"/>
                <a:gd name="connsiteX1059" fmla="*/ 1342995 w 1381764"/>
                <a:gd name="connsiteY1059" fmla="*/ 386796 h 1328132"/>
                <a:gd name="connsiteX1060" fmla="*/ 1341832 w 1381764"/>
                <a:gd name="connsiteY1060" fmla="*/ 386279 h 1328132"/>
                <a:gd name="connsiteX1061" fmla="*/ 1341315 w 1381764"/>
                <a:gd name="connsiteY1061" fmla="*/ 386796 h 1328132"/>
                <a:gd name="connsiteX1062" fmla="*/ 1340927 w 1381764"/>
                <a:gd name="connsiteY1062" fmla="*/ 387830 h 1328132"/>
                <a:gd name="connsiteX1063" fmla="*/ 1339893 w 1381764"/>
                <a:gd name="connsiteY1063" fmla="*/ 388476 h 1328132"/>
                <a:gd name="connsiteX1064" fmla="*/ 1338730 w 1381764"/>
                <a:gd name="connsiteY1064" fmla="*/ 388734 h 1328132"/>
                <a:gd name="connsiteX1065" fmla="*/ 1337567 w 1381764"/>
                <a:gd name="connsiteY1065" fmla="*/ 388734 h 1328132"/>
                <a:gd name="connsiteX1066" fmla="*/ 1338860 w 1381764"/>
                <a:gd name="connsiteY1066" fmla="*/ 387313 h 1328132"/>
                <a:gd name="connsiteX1067" fmla="*/ 1338472 w 1381764"/>
                <a:gd name="connsiteY1067" fmla="*/ 386408 h 1328132"/>
                <a:gd name="connsiteX1068" fmla="*/ 1337050 w 1381764"/>
                <a:gd name="connsiteY1068" fmla="*/ 386279 h 1328132"/>
                <a:gd name="connsiteX1069" fmla="*/ 1337567 w 1381764"/>
                <a:gd name="connsiteY1069" fmla="*/ 384599 h 1328132"/>
                <a:gd name="connsiteX1070" fmla="*/ 1337955 w 1381764"/>
                <a:gd name="connsiteY1070" fmla="*/ 382402 h 1328132"/>
                <a:gd name="connsiteX1071" fmla="*/ 1336146 w 1381764"/>
                <a:gd name="connsiteY1071" fmla="*/ 381368 h 1328132"/>
                <a:gd name="connsiteX1072" fmla="*/ 1336016 w 1381764"/>
                <a:gd name="connsiteY1072" fmla="*/ 380205 h 1328132"/>
                <a:gd name="connsiteX1073" fmla="*/ 1337309 w 1381764"/>
                <a:gd name="connsiteY1073" fmla="*/ 378913 h 1328132"/>
                <a:gd name="connsiteX1074" fmla="*/ 1337696 w 1381764"/>
                <a:gd name="connsiteY1074" fmla="*/ 377233 h 1328132"/>
                <a:gd name="connsiteX1075" fmla="*/ 1336921 w 1381764"/>
                <a:gd name="connsiteY1075" fmla="*/ 375423 h 1328132"/>
                <a:gd name="connsiteX1076" fmla="*/ 1338989 w 1381764"/>
                <a:gd name="connsiteY1076" fmla="*/ 374002 h 1328132"/>
                <a:gd name="connsiteX1077" fmla="*/ 1341444 w 1381764"/>
                <a:gd name="connsiteY1077" fmla="*/ 373614 h 1328132"/>
                <a:gd name="connsiteX1078" fmla="*/ 1343253 w 1381764"/>
                <a:gd name="connsiteY1078" fmla="*/ 372709 h 1328132"/>
                <a:gd name="connsiteX1079" fmla="*/ 1343770 w 1381764"/>
                <a:gd name="connsiteY1079" fmla="*/ 371288 h 1328132"/>
                <a:gd name="connsiteX1080" fmla="*/ 1342607 w 1381764"/>
                <a:gd name="connsiteY1080" fmla="*/ 369996 h 1328132"/>
                <a:gd name="connsiteX1081" fmla="*/ 1340539 w 1381764"/>
                <a:gd name="connsiteY1081" fmla="*/ 370383 h 1328132"/>
                <a:gd name="connsiteX1082" fmla="*/ 1338601 w 1381764"/>
                <a:gd name="connsiteY1082" fmla="*/ 370771 h 1328132"/>
                <a:gd name="connsiteX1083" fmla="*/ 1337567 w 1381764"/>
                <a:gd name="connsiteY1083" fmla="*/ 371546 h 1328132"/>
                <a:gd name="connsiteX1084" fmla="*/ 1336275 w 1381764"/>
                <a:gd name="connsiteY1084" fmla="*/ 371029 h 1328132"/>
                <a:gd name="connsiteX1085" fmla="*/ 1334595 w 1381764"/>
                <a:gd name="connsiteY1085" fmla="*/ 371546 h 1328132"/>
                <a:gd name="connsiteX1086" fmla="*/ 1332915 w 1381764"/>
                <a:gd name="connsiteY1086" fmla="*/ 373356 h 1328132"/>
                <a:gd name="connsiteX1087" fmla="*/ 1329942 w 1381764"/>
                <a:gd name="connsiteY1087" fmla="*/ 374777 h 1328132"/>
                <a:gd name="connsiteX1088" fmla="*/ 1328262 w 1381764"/>
                <a:gd name="connsiteY1088" fmla="*/ 376328 h 1328132"/>
                <a:gd name="connsiteX1089" fmla="*/ 1327875 w 1381764"/>
                <a:gd name="connsiteY1089" fmla="*/ 378783 h 1328132"/>
                <a:gd name="connsiteX1090" fmla="*/ 1326065 w 1381764"/>
                <a:gd name="connsiteY1090" fmla="*/ 380851 h 1328132"/>
                <a:gd name="connsiteX1091" fmla="*/ 1323610 w 1381764"/>
                <a:gd name="connsiteY1091" fmla="*/ 379430 h 1328132"/>
                <a:gd name="connsiteX1092" fmla="*/ 1321413 w 1381764"/>
                <a:gd name="connsiteY1092" fmla="*/ 380076 h 1328132"/>
                <a:gd name="connsiteX1093" fmla="*/ 1318441 w 1381764"/>
                <a:gd name="connsiteY1093" fmla="*/ 380593 h 1328132"/>
                <a:gd name="connsiteX1094" fmla="*/ 1315856 w 1381764"/>
                <a:gd name="connsiteY1094" fmla="*/ 380463 h 1328132"/>
                <a:gd name="connsiteX1095" fmla="*/ 1315468 w 1381764"/>
                <a:gd name="connsiteY1095" fmla="*/ 380205 h 1328132"/>
                <a:gd name="connsiteX1096" fmla="*/ 1313400 w 1381764"/>
                <a:gd name="connsiteY1096" fmla="*/ 380851 h 1328132"/>
                <a:gd name="connsiteX1097" fmla="*/ 1311204 w 1381764"/>
                <a:gd name="connsiteY1097" fmla="*/ 382402 h 1328132"/>
                <a:gd name="connsiteX1098" fmla="*/ 1309394 w 1381764"/>
                <a:gd name="connsiteY1098" fmla="*/ 384211 h 1328132"/>
                <a:gd name="connsiteX1099" fmla="*/ 1308231 w 1381764"/>
                <a:gd name="connsiteY1099" fmla="*/ 386020 h 1328132"/>
                <a:gd name="connsiteX1100" fmla="*/ 1308490 w 1381764"/>
                <a:gd name="connsiteY1100" fmla="*/ 383953 h 1328132"/>
                <a:gd name="connsiteX1101" fmla="*/ 1309523 w 1381764"/>
                <a:gd name="connsiteY1101" fmla="*/ 382402 h 1328132"/>
                <a:gd name="connsiteX1102" fmla="*/ 1311074 w 1381764"/>
                <a:gd name="connsiteY1102" fmla="*/ 381239 h 1328132"/>
                <a:gd name="connsiteX1103" fmla="*/ 1315468 w 1381764"/>
                <a:gd name="connsiteY1103" fmla="*/ 378525 h 1328132"/>
                <a:gd name="connsiteX1104" fmla="*/ 1316502 w 1381764"/>
                <a:gd name="connsiteY1104" fmla="*/ 377491 h 1328132"/>
                <a:gd name="connsiteX1105" fmla="*/ 1317148 w 1381764"/>
                <a:gd name="connsiteY1105" fmla="*/ 375940 h 1328132"/>
                <a:gd name="connsiteX1106" fmla="*/ 1317924 w 1381764"/>
                <a:gd name="connsiteY1106" fmla="*/ 375940 h 1328132"/>
                <a:gd name="connsiteX1107" fmla="*/ 1318311 w 1381764"/>
                <a:gd name="connsiteY1107" fmla="*/ 377750 h 1328132"/>
                <a:gd name="connsiteX1108" fmla="*/ 1319474 w 1381764"/>
                <a:gd name="connsiteY1108" fmla="*/ 378396 h 1328132"/>
                <a:gd name="connsiteX1109" fmla="*/ 1320896 w 1381764"/>
                <a:gd name="connsiteY1109" fmla="*/ 378137 h 1328132"/>
                <a:gd name="connsiteX1110" fmla="*/ 1322318 w 1381764"/>
                <a:gd name="connsiteY1110" fmla="*/ 377233 h 1328132"/>
                <a:gd name="connsiteX1111" fmla="*/ 1323093 w 1381764"/>
                <a:gd name="connsiteY1111" fmla="*/ 376070 h 1328132"/>
                <a:gd name="connsiteX1112" fmla="*/ 1323351 w 1381764"/>
                <a:gd name="connsiteY1112" fmla="*/ 374648 h 1328132"/>
                <a:gd name="connsiteX1113" fmla="*/ 1323093 w 1381764"/>
                <a:gd name="connsiteY1113" fmla="*/ 373873 h 1328132"/>
                <a:gd name="connsiteX1114" fmla="*/ 1322318 w 1381764"/>
                <a:gd name="connsiteY1114" fmla="*/ 373614 h 1328132"/>
                <a:gd name="connsiteX1115" fmla="*/ 1321542 w 1381764"/>
                <a:gd name="connsiteY1115" fmla="*/ 373614 h 1328132"/>
                <a:gd name="connsiteX1116" fmla="*/ 1321930 w 1381764"/>
                <a:gd name="connsiteY1116" fmla="*/ 372451 h 1328132"/>
                <a:gd name="connsiteX1117" fmla="*/ 1324515 w 1381764"/>
                <a:gd name="connsiteY1117" fmla="*/ 369220 h 1328132"/>
                <a:gd name="connsiteX1118" fmla="*/ 1322834 w 1381764"/>
                <a:gd name="connsiteY1118" fmla="*/ 363534 h 1328132"/>
                <a:gd name="connsiteX1119" fmla="*/ 1320250 w 1381764"/>
                <a:gd name="connsiteY1119" fmla="*/ 362371 h 1328132"/>
                <a:gd name="connsiteX1120" fmla="*/ 1318311 w 1381764"/>
                <a:gd name="connsiteY1120" fmla="*/ 362371 h 1328132"/>
                <a:gd name="connsiteX1121" fmla="*/ 1318182 w 1381764"/>
                <a:gd name="connsiteY1121" fmla="*/ 363663 h 1328132"/>
                <a:gd name="connsiteX1122" fmla="*/ 1320508 w 1381764"/>
                <a:gd name="connsiteY1122" fmla="*/ 367799 h 1328132"/>
                <a:gd name="connsiteX1123" fmla="*/ 1320767 w 1381764"/>
                <a:gd name="connsiteY1123" fmla="*/ 368832 h 1328132"/>
                <a:gd name="connsiteX1124" fmla="*/ 1319604 w 1381764"/>
                <a:gd name="connsiteY1124" fmla="*/ 369220 h 1328132"/>
                <a:gd name="connsiteX1125" fmla="*/ 1318182 w 1381764"/>
                <a:gd name="connsiteY1125" fmla="*/ 368832 h 1328132"/>
                <a:gd name="connsiteX1126" fmla="*/ 1317924 w 1381764"/>
                <a:gd name="connsiteY1126" fmla="*/ 367928 h 1328132"/>
                <a:gd name="connsiteX1127" fmla="*/ 1317794 w 1381764"/>
                <a:gd name="connsiteY1127" fmla="*/ 366765 h 1328132"/>
                <a:gd name="connsiteX1128" fmla="*/ 1317019 w 1381764"/>
                <a:gd name="connsiteY1128" fmla="*/ 365472 h 1328132"/>
                <a:gd name="connsiteX1129" fmla="*/ 1314693 w 1381764"/>
                <a:gd name="connsiteY1129" fmla="*/ 364697 h 1328132"/>
                <a:gd name="connsiteX1130" fmla="*/ 1313788 w 1381764"/>
                <a:gd name="connsiteY1130" fmla="*/ 366635 h 1328132"/>
                <a:gd name="connsiteX1131" fmla="*/ 1313659 w 1381764"/>
                <a:gd name="connsiteY1131" fmla="*/ 369220 h 1328132"/>
                <a:gd name="connsiteX1132" fmla="*/ 1313788 w 1381764"/>
                <a:gd name="connsiteY1132" fmla="*/ 370512 h 1328132"/>
                <a:gd name="connsiteX1133" fmla="*/ 1312625 w 1381764"/>
                <a:gd name="connsiteY1133" fmla="*/ 371417 h 1328132"/>
                <a:gd name="connsiteX1134" fmla="*/ 1310040 w 1381764"/>
                <a:gd name="connsiteY1134" fmla="*/ 375811 h 1328132"/>
                <a:gd name="connsiteX1135" fmla="*/ 1308360 w 1381764"/>
                <a:gd name="connsiteY1135" fmla="*/ 377103 h 1328132"/>
                <a:gd name="connsiteX1136" fmla="*/ 1311591 w 1381764"/>
                <a:gd name="connsiteY1136" fmla="*/ 371934 h 1328132"/>
                <a:gd name="connsiteX1137" fmla="*/ 1311979 w 1381764"/>
                <a:gd name="connsiteY1137" fmla="*/ 370125 h 1328132"/>
                <a:gd name="connsiteX1138" fmla="*/ 1311462 w 1381764"/>
                <a:gd name="connsiteY1138" fmla="*/ 368703 h 1328132"/>
                <a:gd name="connsiteX1139" fmla="*/ 1308748 w 1381764"/>
                <a:gd name="connsiteY1139" fmla="*/ 364955 h 1328132"/>
                <a:gd name="connsiteX1140" fmla="*/ 1307585 w 1381764"/>
                <a:gd name="connsiteY1140" fmla="*/ 363922 h 1328132"/>
                <a:gd name="connsiteX1141" fmla="*/ 1307585 w 1381764"/>
                <a:gd name="connsiteY1141" fmla="*/ 367152 h 1328132"/>
                <a:gd name="connsiteX1142" fmla="*/ 1307197 w 1381764"/>
                <a:gd name="connsiteY1142" fmla="*/ 368316 h 1328132"/>
                <a:gd name="connsiteX1143" fmla="*/ 1306163 w 1381764"/>
                <a:gd name="connsiteY1143" fmla="*/ 368962 h 1328132"/>
                <a:gd name="connsiteX1144" fmla="*/ 1306163 w 1381764"/>
                <a:gd name="connsiteY1144" fmla="*/ 366765 h 1328132"/>
                <a:gd name="connsiteX1145" fmla="*/ 1305388 w 1381764"/>
                <a:gd name="connsiteY1145" fmla="*/ 366765 h 1328132"/>
                <a:gd name="connsiteX1146" fmla="*/ 1304354 w 1381764"/>
                <a:gd name="connsiteY1146" fmla="*/ 368445 h 1328132"/>
                <a:gd name="connsiteX1147" fmla="*/ 1304613 w 1381764"/>
                <a:gd name="connsiteY1147" fmla="*/ 369737 h 1328132"/>
                <a:gd name="connsiteX1148" fmla="*/ 1305130 w 1381764"/>
                <a:gd name="connsiteY1148" fmla="*/ 370900 h 1328132"/>
                <a:gd name="connsiteX1149" fmla="*/ 1304742 w 1381764"/>
                <a:gd name="connsiteY1149" fmla="*/ 372580 h 1328132"/>
                <a:gd name="connsiteX1150" fmla="*/ 1304483 w 1381764"/>
                <a:gd name="connsiteY1150" fmla="*/ 371805 h 1328132"/>
                <a:gd name="connsiteX1151" fmla="*/ 1303320 w 1381764"/>
                <a:gd name="connsiteY1151" fmla="*/ 369737 h 1328132"/>
                <a:gd name="connsiteX1152" fmla="*/ 1302933 w 1381764"/>
                <a:gd name="connsiteY1152" fmla="*/ 368703 h 1328132"/>
                <a:gd name="connsiteX1153" fmla="*/ 1302933 w 1381764"/>
                <a:gd name="connsiteY1153" fmla="*/ 368445 h 1328132"/>
                <a:gd name="connsiteX1154" fmla="*/ 1303062 w 1381764"/>
                <a:gd name="connsiteY1154" fmla="*/ 368186 h 1328132"/>
                <a:gd name="connsiteX1155" fmla="*/ 1303837 w 1381764"/>
                <a:gd name="connsiteY1155" fmla="*/ 362242 h 1328132"/>
                <a:gd name="connsiteX1156" fmla="*/ 1303191 w 1381764"/>
                <a:gd name="connsiteY1156" fmla="*/ 362242 h 1328132"/>
                <a:gd name="connsiteX1157" fmla="*/ 1302933 w 1381764"/>
                <a:gd name="connsiteY1157" fmla="*/ 363534 h 1328132"/>
                <a:gd name="connsiteX1158" fmla="*/ 1302286 w 1381764"/>
                <a:gd name="connsiteY1158" fmla="*/ 364439 h 1328132"/>
                <a:gd name="connsiteX1159" fmla="*/ 1301382 w 1381764"/>
                <a:gd name="connsiteY1159" fmla="*/ 364955 h 1328132"/>
                <a:gd name="connsiteX1160" fmla="*/ 1300089 w 1381764"/>
                <a:gd name="connsiteY1160" fmla="*/ 365343 h 1328132"/>
                <a:gd name="connsiteX1161" fmla="*/ 1300606 w 1381764"/>
                <a:gd name="connsiteY1161" fmla="*/ 364309 h 1328132"/>
                <a:gd name="connsiteX1162" fmla="*/ 1300735 w 1381764"/>
                <a:gd name="connsiteY1162" fmla="*/ 363405 h 1328132"/>
                <a:gd name="connsiteX1163" fmla="*/ 1300348 w 1381764"/>
                <a:gd name="connsiteY1163" fmla="*/ 362758 h 1328132"/>
                <a:gd name="connsiteX1164" fmla="*/ 1299314 w 1381764"/>
                <a:gd name="connsiteY1164" fmla="*/ 362500 h 1328132"/>
                <a:gd name="connsiteX1165" fmla="*/ 1299314 w 1381764"/>
                <a:gd name="connsiteY1165" fmla="*/ 361983 h 1328132"/>
                <a:gd name="connsiteX1166" fmla="*/ 1300477 w 1381764"/>
                <a:gd name="connsiteY1166" fmla="*/ 361595 h 1328132"/>
                <a:gd name="connsiteX1167" fmla="*/ 1301253 w 1381764"/>
                <a:gd name="connsiteY1167" fmla="*/ 361078 h 1328132"/>
                <a:gd name="connsiteX1168" fmla="*/ 1301382 w 1381764"/>
                <a:gd name="connsiteY1168" fmla="*/ 360432 h 1328132"/>
                <a:gd name="connsiteX1169" fmla="*/ 1300735 w 1381764"/>
                <a:gd name="connsiteY1169" fmla="*/ 359786 h 1328132"/>
                <a:gd name="connsiteX1170" fmla="*/ 1300735 w 1381764"/>
                <a:gd name="connsiteY1170" fmla="*/ 359011 h 1328132"/>
                <a:gd name="connsiteX1171" fmla="*/ 1301511 w 1381764"/>
                <a:gd name="connsiteY1171" fmla="*/ 359011 h 1328132"/>
                <a:gd name="connsiteX1172" fmla="*/ 1303062 w 1381764"/>
                <a:gd name="connsiteY1172" fmla="*/ 358365 h 1328132"/>
                <a:gd name="connsiteX1173" fmla="*/ 1302028 w 1381764"/>
                <a:gd name="connsiteY1173" fmla="*/ 357331 h 1328132"/>
                <a:gd name="connsiteX1174" fmla="*/ 1301511 w 1381764"/>
                <a:gd name="connsiteY1174" fmla="*/ 356426 h 1328132"/>
                <a:gd name="connsiteX1175" fmla="*/ 1301769 w 1381764"/>
                <a:gd name="connsiteY1175" fmla="*/ 355780 h 1328132"/>
                <a:gd name="connsiteX1176" fmla="*/ 1303062 w 1381764"/>
                <a:gd name="connsiteY1176" fmla="*/ 355392 h 1328132"/>
                <a:gd name="connsiteX1177" fmla="*/ 1302545 w 1381764"/>
                <a:gd name="connsiteY1177" fmla="*/ 354229 h 1328132"/>
                <a:gd name="connsiteX1178" fmla="*/ 1301769 w 1381764"/>
                <a:gd name="connsiteY1178" fmla="*/ 353324 h 1328132"/>
                <a:gd name="connsiteX1179" fmla="*/ 1300735 w 1381764"/>
                <a:gd name="connsiteY1179" fmla="*/ 352678 h 1328132"/>
                <a:gd name="connsiteX1180" fmla="*/ 1299443 w 1381764"/>
                <a:gd name="connsiteY1180" fmla="*/ 352420 h 1328132"/>
                <a:gd name="connsiteX1181" fmla="*/ 1300865 w 1381764"/>
                <a:gd name="connsiteY1181" fmla="*/ 353195 h 1328132"/>
                <a:gd name="connsiteX1182" fmla="*/ 1300865 w 1381764"/>
                <a:gd name="connsiteY1182" fmla="*/ 353971 h 1328132"/>
                <a:gd name="connsiteX1183" fmla="*/ 1299314 w 1381764"/>
                <a:gd name="connsiteY1183" fmla="*/ 354746 h 1328132"/>
                <a:gd name="connsiteX1184" fmla="*/ 1296600 w 1381764"/>
                <a:gd name="connsiteY1184" fmla="*/ 358494 h 1328132"/>
                <a:gd name="connsiteX1185" fmla="*/ 1295049 w 1381764"/>
                <a:gd name="connsiteY1185" fmla="*/ 359786 h 1328132"/>
                <a:gd name="connsiteX1186" fmla="*/ 1296083 w 1381764"/>
                <a:gd name="connsiteY1186" fmla="*/ 360045 h 1328132"/>
                <a:gd name="connsiteX1187" fmla="*/ 1296859 w 1381764"/>
                <a:gd name="connsiteY1187" fmla="*/ 360432 h 1328132"/>
                <a:gd name="connsiteX1188" fmla="*/ 1297505 w 1381764"/>
                <a:gd name="connsiteY1188" fmla="*/ 361078 h 1328132"/>
                <a:gd name="connsiteX1189" fmla="*/ 1298022 w 1381764"/>
                <a:gd name="connsiteY1189" fmla="*/ 361854 h 1328132"/>
                <a:gd name="connsiteX1190" fmla="*/ 1296988 w 1381764"/>
                <a:gd name="connsiteY1190" fmla="*/ 361983 h 1328132"/>
                <a:gd name="connsiteX1191" fmla="*/ 1296471 w 1381764"/>
                <a:gd name="connsiteY1191" fmla="*/ 362242 h 1328132"/>
                <a:gd name="connsiteX1192" fmla="*/ 1296212 w 1381764"/>
                <a:gd name="connsiteY1192" fmla="*/ 362629 h 1328132"/>
                <a:gd name="connsiteX1193" fmla="*/ 1295825 w 1381764"/>
                <a:gd name="connsiteY1193" fmla="*/ 363275 h 1328132"/>
                <a:gd name="connsiteX1194" fmla="*/ 1295049 w 1381764"/>
                <a:gd name="connsiteY1194" fmla="*/ 363275 h 1328132"/>
                <a:gd name="connsiteX1195" fmla="*/ 1294920 w 1381764"/>
                <a:gd name="connsiteY1195" fmla="*/ 362242 h 1328132"/>
                <a:gd name="connsiteX1196" fmla="*/ 1294532 w 1381764"/>
                <a:gd name="connsiteY1196" fmla="*/ 361466 h 1328132"/>
                <a:gd name="connsiteX1197" fmla="*/ 1293886 w 1381764"/>
                <a:gd name="connsiteY1197" fmla="*/ 360820 h 1328132"/>
                <a:gd name="connsiteX1198" fmla="*/ 1292982 w 1381764"/>
                <a:gd name="connsiteY1198" fmla="*/ 360303 h 1328132"/>
                <a:gd name="connsiteX1199" fmla="*/ 1293111 w 1381764"/>
                <a:gd name="connsiteY1199" fmla="*/ 365472 h 1328132"/>
                <a:gd name="connsiteX1200" fmla="*/ 1292982 w 1381764"/>
                <a:gd name="connsiteY1200" fmla="*/ 366765 h 1328132"/>
                <a:gd name="connsiteX1201" fmla="*/ 1292206 w 1381764"/>
                <a:gd name="connsiteY1201" fmla="*/ 365989 h 1328132"/>
                <a:gd name="connsiteX1202" fmla="*/ 1292206 w 1381764"/>
                <a:gd name="connsiteY1202" fmla="*/ 367928 h 1328132"/>
                <a:gd name="connsiteX1203" fmla="*/ 1291043 w 1381764"/>
                <a:gd name="connsiteY1203" fmla="*/ 368186 h 1328132"/>
                <a:gd name="connsiteX1204" fmla="*/ 1288588 w 1381764"/>
                <a:gd name="connsiteY1204" fmla="*/ 367540 h 1328132"/>
                <a:gd name="connsiteX1205" fmla="*/ 1287037 w 1381764"/>
                <a:gd name="connsiteY1205" fmla="*/ 368316 h 1328132"/>
                <a:gd name="connsiteX1206" fmla="*/ 1286778 w 1381764"/>
                <a:gd name="connsiteY1206" fmla="*/ 369349 h 1328132"/>
                <a:gd name="connsiteX1207" fmla="*/ 1287037 w 1381764"/>
                <a:gd name="connsiteY1207" fmla="*/ 370771 h 1328132"/>
                <a:gd name="connsiteX1208" fmla="*/ 1287166 w 1381764"/>
                <a:gd name="connsiteY1208" fmla="*/ 372580 h 1328132"/>
                <a:gd name="connsiteX1209" fmla="*/ 1285227 w 1381764"/>
                <a:gd name="connsiteY1209" fmla="*/ 371676 h 1328132"/>
                <a:gd name="connsiteX1210" fmla="*/ 1284840 w 1381764"/>
                <a:gd name="connsiteY1210" fmla="*/ 370254 h 1328132"/>
                <a:gd name="connsiteX1211" fmla="*/ 1285357 w 1381764"/>
                <a:gd name="connsiteY1211" fmla="*/ 368703 h 1328132"/>
                <a:gd name="connsiteX1212" fmla="*/ 1286261 w 1381764"/>
                <a:gd name="connsiteY1212" fmla="*/ 367540 h 1328132"/>
                <a:gd name="connsiteX1213" fmla="*/ 1287424 w 1381764"/>
                <a:gd name="connsiteY1213" fmla="*/ 366894 h 1328132"/>
                <a:gd name="connsiteX1214" fmla="*/ 1288846 w 1381764"/>
                <a:gd name="connsiteY1214" fmla="*/ 366377 h 1328132"/>
                <a:gd name="connsiteX1215" fmla="*/ 1289751 w 1381764"/>
                <a:gd name="connsiteY1215" fmla="*/ 365472 h 1328132"/>
                <a:gd name="connsiteX1216" fmla="*/ 1289105 w 1381764"/>
                <a:gd name="connsiteY1216" fmla="*/ 363922 h 1328132"/>
                <a:gd name="connsiteX1217" fmla="*/ 1288717 w 1381764"/>
                <a:gd name="connsiteY1217" fmla="*/ 364180 h 1328132"/>
                <a:gd name="connsiteX1218" fmla="*/ 1288588 w 1381764"/>
                <a:gd name="connsiteY1218" fmla="*/ 364309 h 1328132"/>
                <a:gd name="connsiteX1219" fmla="*/ 1287683 w 1381764"/>
                <a:gd name="connsiteY1219" fmla="*/ 364697 h 1328132"/>
                <a:gd name="connsiteX1220" fmla="*/ 1288071 w 1381764"/>
                <a:gd name="connsiteY1220" fmla="*/ 364051 h 1328132"/>
                <a:gd name="connsiteX1221" fmla="*/ 1288717 w 1381764"/>
                <a:gd name="connsiteY1221" fmla="*/ 362371 h 1328132"/>
                <a:gd name="connsiteX1222" fmla="*/ 1289105 w 1381764"/>
                <a:gd name="connsiteY1222" fmla="*/ 361725 h 1328132"/>
                <a:gd name="connsiteX1223" fmla="*/ 1287037 w 1381764"/>
                <a:gd name="connsiteY1223" fmla="*/ 361725 h 1328132"/>
                <a:gd name="connsiteX1224" fmla="*/ 1287554 w 1381764"/>
                <a:gd name="connsiteY1224" fmla="*/ 360820 h 1328132"/>
                <a:gd name="connsiteX1225" fmla="*/ 1287554 w 1381764"/>
                <a:gd name="connsiteY1225" fmla="*/ 360045 h 1328132"/>
                <a:gd name="connsiteX1226" fmla="*/ 1287166 w 1381764"/>
                <a:gd name="connsiteY1226" fmla="*/ 359398 h 1328132"/>
                <a:gd name="connsiteX1227" fmla="*/ 1286261 w 1381764"/>
                <a:gd name="connsiteY1227" fmla="*/ 358881 h 1328132"/>
                <a:gd name="connsiteX1228" fmla="*/ 1285486 w 1381764"/>
                <a:gd name="connsiteY1228" fmla="*/ 360432 h 1328132"/>
                <a:gd name="connsiteX1229" fmla="*/ 1284711 w 1381764"/>
                <a:gd name="connsiteY1229" fmla="*/ 360432 h 1328132"/>
                <a:gd name="connsiteX1230" fmla="*/ 1286003 w 1381764"/>
                <a:gd name="connsiteY1230" fmla="*/ 355134 h 1328132"/>
                <a:gd name="connsiteX1231" fmla="*/ 1286003 w 1381764"/>
                <a:gd name="connsiteY1231" fmla="*/ 352420 h 1328132"/>
                <a:gd name="connsiteX1232" fmla="*/ 1284711 w 1381764"/>
                <a:gd name="connsiteY1232" fmla="*/ 350869 h 1328132"/>
                <a:gd name="connsiteX1233" fmla="*/ 1283806 w 1381764"/>
                <a:gd name="connsiteY1233" fmla="*/ 354617 h 1328132"/>
                <a:gd name="connsiteX1234" fmla="*/ 1283031 w 1381764"/>
                <a:gd name="connsiteY1234" fmla="*/ 356555 h 1328132"/>
                <a:gd name="connsiteX1235" fmla="*/ 1282126 w 1381764"/>
                <a:gd name="connsiteY1235" fmla="*/ 357460 h 1328132"/>
                <a:gd name="connsiteX1236" fmla="*/ 1280446 w 1381764"/>
                <a:gd name="connsiteY1236" fmla="*/ 357460 h 1328132"/>
                <a:gd name="connsiteX1237" fmla="*/ 1279671 w 1381764"/>
                <a:gd name="connsiteY1237" fmla="*/ 357718 h 1328132"/>
                <a:gd name="connsiteX1238" fmla="*/ 1279541 w 1381764"/>
                <a:gd name="connsiteY1238" fmla="*/ 358752 h 1328132"/>
                <a:gd name="connsiteX1239" fmla="*/ 1279541 w 1381764"/>
                <a:gd name="connsiteY1239" fmla="*/ 361078 h 1328132"/>
                <a:gd name="connsiteX1240" fmla="*/ 1278766 w 1381764"/>
                <a:gd name="connsiteY1240" fmla="*/ 360691 h 1328132"/>
                <a:gd name="connsiteX1241" fmla="*/ 1278378 w 1381764"/>
                <a:gd name="connsiteY1241" fmla="*/ 360432 h 1328132"/>
                <a:gd name="connsiteX1242" fmla="*/ 1277732 w 1381764"/>
                <a:gd name="connsiteY1242" fmla="*/ 361078 h 1328132"/>
                <a:gd name="connsiteX1243" fmla="*/ 1277086 w 1381764"/>
                <a:gd name="connsiteY1243" fmla="*/ 361983 h 1328132"/>
                <a:gd name="connsiteX1244" fmla="*/ 1276569 w 1381764"/>
                <a:gd name="connsiteY1244" fmla="*/ 363017 h 1328132"/>
                <a:gd name="connsiteX1245" fmla="*/ 1276181 w 1381764"/>
                <a:gd name="connsiteY1245" fmla="*/ 363922 h 1328132"/>
                <a:gd name="connsiteX1246" fmla="*/ 1275793 w 1381764"/>
                <a:gd name="connsiteY1246" fmla="*/ 367928 h 1328132"/>
                <a:gd name="connsiteX1247" fmla="*/ 1275535 w 1381764"/>
                <a:gd name="connsiteY1247" fmla="*/ 369091 h 1328132"/>
                <a:gd name="connsiteX1248" fmla="*/ 1275018 w 1381764"/>
                <a:gd name="connsiteY1248" fmla="*/ 367928 h 1328132"/>
                <a:gd name="connsiteX1249" fmla="*/ 1273467 w 1381764"/>
                <a:gd name="connsiteY1249" fmla="*/ 365860 h 1328132"/>
                <a:gd name="connsiteX1250" fmla="*/ 1273338 w 1381764"/>
                <a:gd name="connsiteY1250" fmla="*/ 364826 h 1328132"/>
                <a:gd name="connsiteX1251" fmla="*/ 1273855 w 1381764"/>
                <a:gd name="connsiteY1251" fmla="*/ 363663 h 1328132"/>
                <a:gd name="connsiteX1252" fmla="*/ 1275923 w 1381764"/>
                <a:gd name="connsiteY1252" fmla="*/ 362371 h 1328132"/>
                <a:gd name="connsiteX1253" fmla="*/ 1277086 w 1381764"/>
                <a:gd name="connsiteY1253" fmla="*/ 361208 h 1328132"/>
                <a:gd name="connsiteX1254" fmla="*/ 1275276 w 1381764"/>
                <a:gd name="connsiteY1254" fmla="*/ 361078 h 1328132"/>
                <a:gd name="connsiteX1255" fmla="*/ 1274760 w 1381764"/>
                <a:gd name="connsiteY1255" fmla="*/ 359786 h 1328132"/>
                <a:gd name="connsiteX1256" fmla="*/ 1274630 w 1381764"/>
                <a:gd name="connsiteY1256" fmla="*/ 357977 h 1328132"/>
                <a:gd name="connsiteX1257" fmla="*/ 1273984 w 1381764"/>
                <a:gd name="connsiteY1257" fmla="*/ 356297 h 1328132"/>
                <a:gd name="connsiteX1258" fmla="*/ 1273209 w 1381764"/>
                <a:gd name="connsiteY1258" fmla="*/ 357718 h 1328132"/>
                <a:gd name="connsiteX1259" fmla="*/ 1272563 w 1381764"/>
                <a:gd name="connsiteY1259" fmla="*/ 357072 h 1328132"/>
                <a:gd name="connsiteX1260" fmla="*/ 1273079 w 1381764"/>
                <a:gd name="connsiteY1260" fmla="*/ 355521 h 1328132"/>
                <a:gd name="connsiteX1261" fmla="*/ 1273079 w 1381764"/>
                <a:gd name="connsiteY1261" fmla="*/ 352678 h 1328132"/>
                <a:gd name="connsiteX1262" fmla="*/ 1273984 w 1381764"/>
                <a:gd name="connsiteY1262" fmla="*/ 351903 h 1328132"/>
                <a:gd name="connsiteX1263" fmla="*/ 1273855 w 1381764"/>
                <a:gd name="connsiteY1263" fmla="*/ 351386 h 1328132"/>
                <a:gd name="connsiteX1264" fmla="*/ 1273726 w 1381764"/>
                <a:gd name="connsiteY1264" fmla="*/ 351386 h 1328132"/>
                <a:gd name="connsiteX1265" fmla="*/ 1273597 w 1381764"/>
                <a:gd name="connsiteY1265" fmla="*/ 351386 h 1328132"/>
                <a:gd name="connsiteX1266" fmla="*/ 1273338 w 1381764"/>
                <a:gd name="connsiteY1266" fmla="*/ 351257 h 1328132"/>
                <a:gd name="connsiteX1267" fmla="*/ 1273855 w 1381764"/>
                <a:gd name="connsiteY1267" fmla="*/ 350223 h 1328132"/>
                <a:gd name="connsiteX1268" fmla="*/ 1273855 w 1381764"/>
                <a:gd name="connsiteY1268" fmla="*/ 349060 h 1328132"/>
                <a:gd name="connsiteX1269" fmla="*/ 1273338 w 1381764"/>
                <a:gd name="connsiteY1269" fmla="*/ 347767 h 1328132"/>
                <a:gd name="connsiteX1270" fmla="*/ 1272175 w 1381764"/>
                <a:gd name="connsiteY1270" fmla="*/ 347380 h 1328132"/>
                <a:gd name="connsiteX1271" fmla="*/ 1271012 w 1381764"/>
                <a:gd name="connsiteY1271" fmla="*/ 347767 h 1328132"/>
                <a:gd name="connsiteX1272" fmla="*/ 1270624 w 1381764"/>
                <a:gd name="connsiteY1272" fmla="*/ 348801 h 1328132"/>
                <a:gd name="connsiteX1273" fmla="*/ 1270366 w 1381764"/>
                <a:gd name="connsiteY1273" fmla="*/ 350998 h 1328132"/>
                <a:gd name="connsiteX1274" fmla="*/ 1269849 w 1381764"/>
                <a:gd name="connsiteY1274" fmla="*/ 351774 h 1328132"/>
                <a:gd name="connsiteX1275" fmla="*/ 1268944 w 1381764"/>
                <a:gd name="connsiteY1275" fmla="*/ 352937 h 1328132"/>
                <a:gd name="connsiteX1276" fmla="*/ 1268815 w 1381764"/>
                <a:gd name="connsiteY1276" fmla="*/ 353583 h 1328132"/>
                <a:gd name="connsiteX1277" fmla="*/ 1268944 w 1381764"/>
                <a:gd name="connsiteY1277" fmla="*/ 354746 h 1328132"/>
                <a:gd name="connsiteX1278" fmla="*/ 1269203 w 1381764"/>
                <a:gd name="connsiteY1278" fmla="*/ 355392 h 1328132"/>
                <a:gd name="connsiteX1279" fmla="*/ 1269203 w 1381764"/>
                <a:gd name="connsiteY1279" fmla="*/ 355909 h 1328132"/>
                <a:gd name="connsiteX1280" fmla="*/ 1268815 w 1381764"/>
                <a:gd name="connsiteY1280" fmla="*/ 356814 h 1328132"/>
                <a:gd name="connsiteX1281" fmla="*/ 1268686 w 1381764"/>
                <a:gd name="connsiteY1281" fmla="*/ 356168 h 1328132"/>
                <a:gd name="connsiteX1282" fmla="*/ 1268298 w 1381764"/>
                <a:gd name="connsiteY1282" fmla="*/ 355392 h 1328132"/>
                <a:gd name="connsiteX1283" fmla="*/ 1268169 w 1381764"/>
                <a:gd name="connsiteY1283" fmla="*/ 354617 h 1328132"/>
                <a:gd name="connsiteX1284" fmla="*/ 1266747 w 1381764"/>
                <a:gd name="connsiteY1284" fmla="*/ 355780 h 1328132"/>
                <a:gd name="connsiteX1285" fmla="*/ 1266876 w 1381764"/>
                <a:gd name="connsiteY1285" fmla="*/ 357718 h 1328132"/>
                <a:gd name="connsiteX1286" fmla="*/ 1267264 w 1381764"/>
                <a:gd name="connsiteY1286" fmla="*/ 359915 h 1328132"/>
                <a:gd name="connsiteX1287" fmla="*/ 1266747 w 1381764"/>
                <a:gd name="connsiteY1287" fmla="*/ 361854 h 1328132"/>
                <a:gd name="connsiteX1288" fmla="*/ 1266359 w 1381764"/>
                <a:gd name="connsiteY1288" fmla="*/ 360432 h 1328132"/>
                <a:gd name="connsiteX1289" fmla="*/ 1265842 w 1381764"/>
                <a:gd name="connsiteY1289" fmla="*/ 359140 h 1328132"/>
                <a:gd name="connsiteX1290" fmla="*/ 1265067 w 1381764"/>
                <a:gd name="connsiteY1290" fmla="*/ 358106 h 1328132"/>
                <a:gd name="connsiteX1291" fmla="*/ 1263904 w 1381764"/>
                <a:gd name="connsiteY1291" fmla="*/ 357331 h 1328132"/>
                <a:gd name="connsiteX1292" fmla="*/ 1263258 w 1381764"/>
                <a:gd name="connsiteY1292" fmla="*/ 358106 h 1328132"/>
                <a:gd name="connsiteX1293" fmla="*/ 1262224 w 1381764"/>
                <a:gd name="connsiteY1293" fmla="*/ 358752 h 1328132"/>
                <a:gd name="connsiteX1294" fmla="*/ 1261319 w 1381764"/>
                <a:gd name="connsiteY1294" fmla="*/ 358752 h 1328132"/>
                <a:gd name="connsiteX1295" fmla="*/ 1260932 w 1381764"/>
                <a:gd name="connsiteY1295" fmla="*/ 357718 h 1328132"/>
                <a:gd name="connsiteX1296" fmla="*/ 1261319 w 1381764"/>
                <a:gd name="connsiteY1296" fmla="*/ 357201 h 1328132"/>
                <a:gd name="connsiteX1297" fmla="*/ 1263129 w 1381764"/>
                <a:gd name="connsiteY1297" fmla="*/ 356426 h 1328132"/>
                <a:gd name="connsiteX1298" fmla="*/ 1263775 w 1381764"/>
                <a:gd name="connsiteY1298" fmla="*/ 355909 h 1328132"/>
                <a:gd name="connsiteX1299" fmla="*/ 1264679 w 1381764"/>
                <a:gd name="connsiteY1299" fmla="*/ 354358 h 1328132"/>
                <a:gd name="connsiteX1300" fmla="*/ 1265196 w 1381764"/>
                <a:gd name="connsiteY1300" fmla="*/ 352678 h 1328132"/>
                <a:gd name="connsiteX1301" fmla="*/ 1265067 w 1381764"/>
                <a:gd name="connsiteY1301" fmla="*/ 350998 h 1328132"/>
                <a:gd name="connsiteX1302" fmla="*/ 1264421 w 1381764"/>
                <a:gd name="connsiteY1302" fmla="*/ 349318 h 1328132"/>
                <a:gd name="connsiteX1303" fmla="*/ 1263645 w 1381764"/>
                <a:gd name="connsiteY1303" fmla="*/ 349964 h 1328132"/>
                <a:gd name="connsiteX1304" fmla="*/ 1263129 w 1381764"/>
                <a:gd name="connsiteY1304" fmla="*/ 350481 h 1328132"/>
                <a:gd name="connsiteX1305" fmla="*/ 1262870 w 1381764"/>
                <a:gd name="connsiteY1305" fmla="*/ 351127 h 1328132"/>
                <a:gd name="connsiteX1306" fmla="*/ 1262870 w 1381764"/>
                <a:gd name="connsiteY1306" fmla="*/ 352291 h 1328132"/>
                <a:gd name="connsiteX1307" fmla="*/ 1261061 w 1381764"/>
                <a:gd name="connsiteY1307" fmla="*/ 351515 h 1328132"/>
                <a:gd name="connsiteX1308" fmla="*/ 1259252 w 1381764"/>
                <a:gd name="connsiteY1308" fmla="*/ 351127 h 1328132"/>
                <a:gd name="connsiteX1309" fmla="*/ 1257701 w 1381764"/>
                <a:gd name="connsiteY1309" fmla="*/ 351515 h 1328132"/>
                <a:gd name="connsiteX1310" fmla="*/ 1256925 w 1381764"/>
                <a:gd name="connsiteY1310" fmla="*/ 353066 h 1328132"/>
                <a:gd name="connsiteX1311" fmla="*/ 1256150 w 1381764"/>
                <a:gd name="connsiteY1311" fmla="*/ 353066 h 1328132"/>
                <a:gd name="connsiteX1312" fmla="*/ 1254728 w 1381764"/>
                <a:gd name="connsiteY1312" fmla="*/ 351644 h 1328132"/>
                <a:gd name="connsiteX1313" fmla="*/ 1254728 w 1381764"/>
                <a:gd name="connsiteY1313" fmla="*/ 350869 h 1328132"/>
                <a:gd name="connsiteX1314" fmla="*/ 1255891 w 1381764"/>
                <a:gd name="connsiteY1314" fmla="*/ 350481 h 1328132"/>
                <a:gd name="connsiteX1315" fmla="*/ 1256796 w 1381764"/>
                <a:gd name="connsiteY1315" fmla="*/ 349964 h 1328132"/>
                <a:gd name="connsiteX1316" fmla="*/ 1257313 w 1381764"/>
                <a:gd name="connsiteY1316" fmla="*/ 349189 h 1328132"/>
                <a:gd name="connsiteX1317" fmla="*/ 1257572 w 1381764"/>
                <a:gd name="connsiteY1317" fmla="*/ 348026 h 1328132"/>
                <a:gd name="connsiteX1318" fmla="*/ 1258347 w 1381764"/>
                <a:gd name="connsiteY1318" fmla="*/ 348026 h 1328132"/>
                <a:gd name="connsiteX1319" fmla="*/ 1259122 w 1381764"/>
                <a:gd name="connsiteY1319" fmla="*/ 349318 h 1328132"/>
                <a:gd name="connsiteX1320" fmla="*/ 1260027 w 1381764"/>
                <a:gd name="connsiteY1320" fmla="*/ 348801 h 1328132"/>
                <a:gd name="connsiteX1321" fmla="*/ 1260544 w 1381764"/>
                <a:gd name="connsiteY1321" fmla="*/ 347380 h 1328132"/>
                <a:gd name="connsiteX1322" fmla="*/ 1260156 w 1381764"/>
                <a:gd name="connsiteY1322" fmla="*/ 346087 h 1328132"/>
                <a:gd name="connsiteX1323" fmla="*/ 1255375 w 1381764"/>
                <a:gd name="connsiteY1323" fmla="*/ 342727 h 1328132"/>
                <a:gd name="connsiteX1324" fmla="*/ 1255891 w 1381764"/>
                <a:gd name="connsiteY1324" fmla="*/ 344407 h 1328132"/>
                <a:gd name="connsiteX1325" fmla="*/ 1256279 w 1381764"/>
                <a:gd name="connsiteY1325" fmla="*/ 346087 h 1328132"/>
                <a:gd name="connsiteX1326" fmla="*/ 1255762 w 1381764"/>
                <a:gd name="connsiteY1326" fmla="*/ 347509 h 1328132"/>
                <a:gd name="connsiteX1327" fmla="*/ 1253953 w 1381764"/>
                <a:gd name="connsiteY1327" fmla="*/ 348672 h 1328132"/>
                <a:gd name="connsiteX1328" fmla="*/ 1254599 w 1381764"/>
                <a:gd name="connsiteY1328" fmla="*/ 346992 h 1328132"/>
                <a:gd name="connsiteX1329" fmla="*/ 1254470 w 1381764"/>
                <a:gd name="connsiteY1329" fmla="*/ 345570 h 1328132"/>
                <a:gd name="connsiteX1330" fmla="*/ 1253694 w 1381764"/>
                <a:gd name="connsiteY1330" fmla="*/ 344924 h 1328132"/>
                <a:gd name="connsiteX1331" fmla="*/ 1252402 w 1381764"/>
                <a:gd name="connsiteY1331" fmla="*/ 345700 h 1328132"/>
                <a:gd name="connsiteX1332" fmla="*/ 1251627 w 1381764"/>
                <a:gd name="connsiteY1332" fmla="*/ 345700 h 1328132"/>
                <a:gd name="connsiteX1333" fmla="*/ 1251368 w 1381764"/>
                <a:gd name="connsiteY1333" fmla="*/ 344020 h 1328132"/>
                <a:gd name="connsiteX1334" fmla="*/ 1251627 w 1381764"/>
                <a:gd name="connsiteY1334" fmla="*/ 342081 h 1328132"/>
                <a:gd name="connsiteX1335" fmla="*/ 1251368 w 1381764"/>
                <a:gd name="connsiteY1335" fmla="*/ 340530 h 1328132"/>
                <a:gd name="connsiteX1336" fmla="*/ 1249818 w 1381764"/>
                <a:gd name="connsiteY1336" fmla="*/ 339884 h 1328132"/>
                <a:gd name="connsiteX1337" fmla="*/ 1248525 w 1381764"/>
                <a:gd name="connsiteY1337" fmla="*/ 340401 h 1328132"/>
                <a:gd name="connsiteX1338" fmla="*/ 1247362 w 1381764"/>
                <a:gd name="connsiteY1338" fmla="*/ 341435 h 1328132"/>
                <a:gd name="connsiteX1339" fmla="*/ 1246070 w 1381764"/>
                <a:gd name="connsiteY1339" fmla="*/ 342081 h 1328132"/>
                <a:gd name="connsiteX1340" fmla="*/ 1244260 w 1381764"/>
                <a:gd name="connsiteY1340" fmla="*/ 341435 h 1328132"/>
                <a:gd name="connsiteX1341" fmla="*/ 1244778 w 1381764"/>
                <a:gd name="connsiteY1341" fmla="*/ 342857 h 1328132"/>
                <a:gd name="connsiteX1342" fmla="*/ 1245553 w 1381764"/>
                <a:gd name="connsiteY1342" fmla="*/ 343761 h 1328132"/>
                <a:gd name="connsiteX1343" fmla="*/ 1246199 w 1381764"/>
                <a:gd name="connsiteY1343" fmla="*/ 344795 h 1328132"/>
                <a:gd name="connsiteX1344" fmla="*/ 1246328 w 1381764"/>
                <a:gd name="connsiteY1344" fmla="*/ 346475 h 1328132"/>
                <a:gd name="connsiteX1345" fmla="*/ 1244002 w 1381764"/>
                <a:gd name="connsiteY1345" fmla="*/ 344666 h 1328132"/>
                <a:gd name="connsiteX1346" fmla="*/ 1242580 w 1381764"/>
                <a:gd name="connsiteY1346" fmla="*/ 344020 h 1328132"/>
                <a:gd name="connsiteX1347" fmla="*/ 1241159 w 1381764"/>
                <a:gd name="connsiteY1347" fmla="*/ 344278 h 1328132"/>
                <a:gd name="connsiteX1348" fmla="*/ 1240254 w 1381764"/>
                <a:gd name="connsiteY1348" fmla="*/ 345570 h 1328132"/>
                <a:gd name="connsiteX1349" fmla="*/ 1240383 w 1381764"/>
                <a:gd name="connsiteY1349" fmla="*/ 346992 h 1328132"/>
                <a:gd name="connsiteX1350" fmla="*/ 1241030 w 1381764"/>
                <a:gd name="connsiteY1350" fmla="*/ 348155 h 1328132"/>
                <a:gd name="connsiteX1351" fmla="*/ 1241934 w 1381764"/>
                <a:gd name="connsiteY1351" fmla="*/ 348801 h 1328132"/>
                <a:gd name="connsiteX1352" fmla="*/ 1241934 w 1381764"/>
                <a:gd name="connsiteY1352" fmla="*/ 349447 h 1328132"/>
                <a:gd name="connsiteX1353" fmla="*/ 1240642 w 1381764"/>
                <a:gd name="connsiteY1353" fmla="*/ 349318 h 1328132"/>
                <a:gd name="connsiteX1354" fmla="*/ 1239867 w 1381764"/>
                <a:gd name="connsiteY1354" fmla="*/ 348543 h 1328132"/>
                <a:gd name="connsiteX1355" fmla="*/ 1239350 w 1381764"/>
                <a:gd name="connsiteY1355" fmla="*/ 347380 h 1328132"/>
                <a:gd name="connsiteX1356" fmla="*/ 1239091 w 1381764"/>
                <a:gd name="connsiteY1356" fmla="*/ 345958 h 1328132"/>
                <a:gd name="connsiteX1357" fmla="*/ 1238057 w 1381764"/>
                <a:gd name="connsiteY1357" fmla="*/ 346475 h 1328132"/>
                <a:gd name="connsiteX1358" fmla="*/ 1237540 w 1381764"/>
                <a:gd name="connsiteY1358" fmla="*/ 347250 h 1328132"/>
                <a:gd name="connsiteX1359" fmla="*/ 1237411 w 1381764"/>
                <a:gd name="connsiteY1359" fmla="*/ 348284 h 1328132"/>
                <a:gd name="connsiteX1360" fmla="*/ 1237540 w 1381764"/>
                <a:gd name="connsiteY1360" fmla="*/ 349447 h 1328132"/>
                <a:gd name="connsiteX1361" fmla="*/ 1236765 w 1381764"/>
                <a:gd name="connsiteY1361" fmla="*/ 347250 h 1328132"/>
                <a:gd name="connsiteX1362" fmla="*/ 1237282 w 1381764"/>
                <a:gd name="connsiteY1362" fmla="*/ 343761 h 1328132"/>
                <a:gd name="connsiteX1363" fmla="*/ 1236894 w 1381764"/>
                <a:gd name="connsiteY1363" fmla="*/ 342210 h 1328132"/>
                <a:gd name="connsiteX1364" fmla="*/ 1237411 w 1381764"/>
                <a:gd name="connsiteY1364" fmla="*/ 341823 h 1328132"/>
                <a:gd name="connsiteX1365" fmla="*/ 1237928 w 1381764"/>
                <a:gd name="connsiteY1365" fmla="*/ 340789 h 1328132"/>
                <a:gd name="connsiteX1366" fmla="*/ 1238445 w 1381764"/>
                <a:gd name="connsiteY1366" fmla="*/ 340013 h 1328132"/>
                <a:gd name="connsiteX1367" fmla="*/ 1236894 w 1381764"/>
                <a:gd name="connsiteY1367" fmla="*/ 338721 h 1328132"/>
                <a:gd name="connsiteX1368" fmla="*/ 1235214 w 1381764"/>
                <a:gd name="connsiteY1368" fmla="*/ 338592 h 1328132"/>
                <a:gd name="connsiteX1369" fmla="*/ 1233534 w 1381764"/>
                <a:gd name="connsiteY1369" fmla="*/ 339109 h 1328132"/>
                <a:gd name="connsiteX1370" fmla="*/ 1231854 w 1381764"/>
                <a:gd name="connsiteY1370" fmla="*/ 339884 h 1328132"/>
                <a:gd name="connsiteX1371" fmla="*/ 1233276 w 1381764"/>
                <a:gd name="connsiteY1371" fmla="*/ 341435 h 1328132"/>
                <a:gd name="connsiteX1372" fmla="*/ 1231596 w 1381764"/>
                <a:gd name="connsiteY1372" fmla="*/ 341693 h 1328132"/>
                <a:gd name="connsiteX1373" fmla="*/ 1230949 w 1381764"/>
                <a:gd name="connsiteY1373" fmla="*/ 343115 h 1328132"/>
                <a:gd name="connsiteX1374" fmla="*/ 1231079 w 1381764"/>
                <a:gd name="connsiteY1374" fmla="*/ 354746 h 1328132"/>
                <a:gd name="connsiteX1375" fmla="*/ 1231983 w 1381764"/>
                <a:gd name="connsiteY1375" fmla="*/ 354100 h 1328132"/>
                <a:gd name="connsiteX1376" fmla="*/ 1232630 w 1381764"/>
                <a:gd name="connsiteY1376" fmla="*/ 353195 h 1328132"/>
                <a:gd name="connsiteX1377" fmla="*/ 1233017 w 1381764"/>
                <a:gd name="connsiteY1377" fmla="*/ 352161 h 1328132"/>
                <a:gd name="connsiteX1378" fmla="*/ 1233276 w 1381764"/>
                <a:gd name="connsiteY1378" fmla="*/ 350998 h 1328132"/>
                <a:gd name="connsiteX1379" fmla="*/ 1234309 w 1381764"/>
                <a:gd name="connsiteY1379" fmla="*/ 351774 h 1328132"/>
                <a:gd name="connsiteX1380" fmla="*/ 1236894 w 1381764"/>
                <a:gd name="connsiteY1380" fmla="*/ 355392 h 1328132"/>
                <a:gd name="connsiteX1381" fmla="*/ 1239091 w 1381764"/>
                <a:gd name="connsiteY1381" fmla="*/ 356426 h 1328132"/>
                <a:gd name="connsiteX1382" fmla="*/ 1239220 w 1381764"/>
                <a:gd name="connsiteY1382" fmla="*/ 357460 h 1328132"/>
                <a:gd name="connsiteX1383" fmla="*/ 1239479 w 1381764"/>
                <a:gd name="connsiteY1383" fmla="*/ 358106 h 1328132"/>
                <a:gd name="connsiteX1384" fmla="*/ 1239996 w 1381764"/>
                <a:gd name="connsiteY1384" fmla="*/ 358623 h 1328132"/>
                <a:gd name="connsiteX1385" fmla="*/ 1240642 w 1381764"/>
                <a:gd name="connsiteY1385" fmla="*/ 359011 h 1328132"/>
                <a:gd name="connsiteX1386" fmla="*/ 1239867 w 1381764"/>
                <a:gd name="connsiteY1386" fmla="*/ 359915 h 1328132"/>
                <a:gd name="connsiteX1387" fmla="*/ 1239350 w 1381764"/>
                <a:gd name="connsiteY1387" fmla="*/ 360949 h 1328132"/>
                <a:gd name="connsiteX1388" fmla="*/ 1239091 w 1381764"/>
                <a:gd name="connsiteY1388" fmla="*/ 362112 h 1328132"/>
                <a:gd name="connsiteX1389" fmla="*/ 1239091 w 1381764"/>
                <a:gd name="connsiteY1389" fmla="*/ 363405 h 1328132"/>
                <a:gd name="connsiteX1390" fmla="*/ 1237670 w 1381764"/>
                <a:gd name="connsiteY1390" fmla="*/ 362242 h 1328132"/>
                <a:gd name="connsiteX1391" fmla="*/ 1237411 w 1381764"/>
                <a:gd name="connsiteY1391" fmla="*/ 359011 h 1328132"/>
                <a:gd name="connsiteX1392" fmla="*/ 1235731 w 1381764"/>
                <a:gd name="connsiteY1392" fmla="*/ 358365 h 1328132"/>
                <a:gd name="connsiteX1393" fmla="*/ 1227977 w 1381764"/>
                <a:gd name="connsiteY1393" fmla="*/ 358365 h 1328132"/>
                <a:gd name="connsiteX1394" fmla="*/ 1228882 w 1381764"/>
                <a:gd name="connsiteY1394" fmla="*/ 356297 h 1328132"/>
                <a:gd name="connsiteX1395" fmla="*/ 1228882 w 1381764"/>
                <a:gd name="connsiteY1395" fmla="*/ 354488 h 1328132"/>
                <a:gd name="connsiteX1396" fmla="*/ 1228235 w 1381764"/>
                <a:gd name="connsiteY1396" fmla="*/ 352807 h 1328132"/>
                <a:gd name="connsiteX1397" fmla="*/ 1226556 w 1381764"/>
                <a:gd name="connsiteY1397" fmla="*/ 350223 h 1328132"/>
                <a:gd name="connsiteX1398" fmla="*/ 1225392 w 1381764"/>
                <a:gd name="connsiteY1398" fmla="*/ 349060 h 1328132"/>
                <a:gd name="connsiteX1399" fmla="*/ 1224875 w 1381764"/>
                <a:gd name="connsiteY1399" fmla="*/ 348284 h 1328132"/>
                <a:gd name="connsiteX1400" fmla="*/ 1224488 w 1381764"/>
                <a:gd name="connsiteY1400" fmla="*/ 346992 h 1328132"/>
                <a:gd name="connsiteX1401" fmla="*/ 1224229 w 1381764"/>
                <a:gd name="connsiteY1401" fmla="*/ 345829 h 1328132"/>
                <a:gd name="connsiteX1402" fmla="*/ 1223712 w 1381764"/>
                <a:gd name="connsiteY1402" fmla="*/ 344924 h 1328132"/>
                <a:gd name="connsiteX1403" fmla="*/ 1222808 w 1381764"/>
                <a:gd name="connsiteY1403" fmla="*/ 343890 h 1328132"/>
                <a:gd name="connsiteX1404" fmla="*/ 1223325 w 1381764"/>
                <a:gd name="connsiteY1404" fmla="*/ 342210 h 1328132"/>
                <a:gd name="connsiteX1405" fmla="*/ 1221128 w 1381764"/>
                <a:gd name="connsiteY1405" fmla="*/ 340143 h 1328132"/>
                <a:gd name="connsiteX1406" fmla="*/ 1219577 w 1381764"/>
                <a:gd name="connsiteY1406" fmla="*/ 339238 h 1328132"/>
                <a:gd name="connsiteX1407" fmla="*/ 1218414 w 1381764"/>
                <a:gd name="connsiteY1407" fmla="*/ 338721 h 1328132"/>
                <a:gd name="connsiteX1408" fmla="*/ 1218155 w 1381764"/>
                <a:gd name="connsiteY1408" fmla="*/ 342469 h 1328132"/>
                <a:gd name="connsiteX1409" fmla="*/ 1219189 w 1381764"/>
                <a:gd name="connsiteY1409" fmla="*/ 344795 h 1328132"/>
                <a:gd name="connsiteX1410" fmla="*/ 1218155 w 1381764"/>
                <a:gd name="connsiteY1410" fmla="*/ 345441 h 1328132"/>
                <a:gd name="connsiteX1411" fmla="*/ 1217251 w 1381764"/>
                <a:gd name="connsiteY1411" fmla="*/ 349189 h 1328132"/>
                <a:gd name="connsiteX1412" fmla="*/ 1215829 w 1381764"/>
                <a:gd name="connsiteY1412" fmla="*/ 350998 h 1328132"/>
                <a:gd name="connsiteX1413" fmla="*/ 1214149 w 1381764"/>
                <a:gd name="connsiteY1413" fmla="*/ 352420 h 1328132"/>
                <a:gd name="connsiteX1414" fmla="*/ 1211306 w 1381764"/>
                <a:gd name="connsiteY1414" fmla="*/ 354229 h 1328132"/>
                <a:gd name="connsiteX1415" fmla="*/ 1203164 w 1381764"/>
                <a:gd name="connsiteY1415" fmla="*/ 357718 h 1328132"/>
                <a:gd name="connsiteX1416" fmla="*/ 1202389 w 1381764"/>
                <a:gd name="connsiteY1416" fmla="*/ 357848 h 1328132"/>
                <a:gd name="connsiteX1417" fmla="*/ 1201613 w 1381764"/>
                <a:gd name="connsiteY1417" fmla="*/ 356684 h 1328132"/>
                <a:gd name="connsiteX1418" fmla="*/ 1202518 w 1381764"/>
                <a:gd name="connsiteY1418" fmla="*/ 355521 h 1328132"/>
                <a:gd name="connsiteX1419" fmla="*/ 1203940 w 1381764"/>
                <a:gd name="connsiteY1419" fmla="*/ 354358 h 1328132"/>
                <a:gd name="connsiteX1420" fmla="*/ 1204715 w 1381764"/>
                <a:gd name="connsiteY1420" fmla="*/ 353195 h 1328132"/>
                <a:gd name="connsiteX1421" fmla="*/ 1204586 w 1381764"/>
                <a:gd name="connsiteY1421" fmla="*/ 348414 h 1328132"/>
                <a:gd name="connsiteX1422" fmla="*/ 1203681 w 1381764"/>
                <a:gd name="connsiteY1422" fmla="*/ 345958 h 1328132"/>
                <a:gd name="connsiteX1423" fmla="*/ 1201355 w 1381764"/>
                <a:gd name="connsiteY1423" fmla="*/ 344924 h 1328132"/>
                <a:gd name="connsiteX1424" fmla="*/ 1198900 w 1381764"/>
                <a:gd name="connsiteY1424" fmla="*/ 345312 h 1328132"/>
                <a:gd name="connsiteX1425" fmla="*/ 1199029 w 1381764"/>
                <a:gd name="connsiteY1425" fmla="*/ 343503 h 1328132"/>
                <a:gd name="connsiteX1426" fmla="*/ 1198383 w 1381764"/>
                <a:gd name="connsiteY1426" fmla="*/ 341306 h 1328132"/>
                <a:gd name="connsiteX1427" fmla="*/ 1196832 w 1381764"/>
                <a:gd name="connsiteY1427" fmla="*/ 339496 h 1328132"/>
                <a:gd name="connsiteX1428" fmla="*/ 1194764 w 1381764"/>
                <a:gd name="connsiteY1428" fmla="*/ 337687 h 1328132"/>
                <a:gd name="connsiteX1429" fmla="*/ 1194376 w 1381764"/>
                <a:gd name="connsiteY1429" fmla="*/ 338592 h 1328132"/>
                <a:gd name="connsiteX1430" fmla="*/ 1193989 w 1381764"/>
                <a:gd name="connsiteY1430" fmla="*/ 340143 h 1328132"/>
                <a:gd name="connsiteX1431" fmla="*/ 1193084 w 1381764"/>
                <a:gd name="connsiteY1431" fmla="*/ 342081 h 1328132"/>
                <a:gd name="connsiteX1432" fmla="*/ 1192955 w 1381764"/>
                <a:gd name="connsiteY1432" fmla="*/ 345570 h 1328132"/>
                <a:gd name="connsiteX1433" fmla="*/ 1193342 w 1381764"/>
                <a:gd name="connsiteY1433" fmla="*/ 348284 h 1328132"/>
                <a:gd name="connsiteX1434" fmla="*/ 1194893 w 1381764"/>
                <a:gd name="connsiteY1434" fmla="*/ 349577 h 1328132"/>
                <a:gd name="connsiteX1435" fmla="*/ 1195410 w 1381764"/>
                <a:gd name="connsiteY1435" fmla="*/ 350998 h 1328132"/>
                <a:gd name="connsiteX1436" fmla="*/ 1193342 w 1381764"/>
                <a:gd name="connsiteY1436" fmla="*/ 349835 h 1328132"/>
                <a:gd name="connsiteX1437" fmla="*/ 1190241 w 1381764"/>
                <a:gd name="connsiteY1437" fmla="*/ 348930 h 1328132"/>
                <a:gd name="connsiteX1438" fmla="*/ 1188561 w 1381764"/>
                <a:gd name="connsiteY1438" fmla="*/ 349189 h 1328132"/>
                <a:gd name="connsiteX1439" fmla="*/ 1187268 w 1381764"/>
                <a:gd name="connsiteY1439" fmla="*/ 351644 h 1328132"/>
                <a:gd name="connsiteX1440" fmla="*/ 1180031 w 1381764"/>
                <a:gd name="connsiteY1440" fmla="*/ 356297 h 1328132"/>
                <a:gd name="connsiteX1441" fmla="*/ 1178351 w 1381764"/>
                <a:gd name="connsiteY1441" fmla="*/ 360691 h 1328132"/>
                <a:gd name="connsiteX1442" fmla="*/ 1177576 w 1381764"/>
                <a:gd name="connsiteY1442" fmla="*/ 360432 h 1328132"/>
                <a:gd name="connsiteX1443" fmla="*/ 1174087 w 1381764"/>
                <a:gd name="connsiteY1443" fmla="*/ 356943 h 1328132"/>
                <a:gd name="connsiteX1444" fmla="*/ 1173311 w 1381764"/>
                <a:gd name="connsiteY1444" fmla="*/ 355521 h 1328132"/>
                <a:gd name="connsiteX1445" fmla="*/ 1173053 w 1381764"/>
                <a:gd name="connsiteY1445" fmla="*/ 355263 h 1328132"/>
                <a:gd name="connsiteX1446" fmla="*/ 1172019 w 1381764"/>
                <a:gd name="connsiteY1446" fmla="*/ 354617 h 1328132"/>
                <a:gd name="connsiteX1447" fmla="*/ 1171760 w 1381764"/>
                <a:gd name="connsiteY1447" fmla="*/ 354488 h 1328132"/>
                <a:gd name="connsiteX1448" fmla="*/ 1171760 w 1381764"/>
                <a:gd name="connsiteY1448" fmla="*/ 353712 h 1328132"/>
                <a:gd name="connsiteX1449" fmla="*/ 1172407 w 1381764"/>
                <a:gd name="connsiteY1449" fmla="*/ 352420 h 1328132"/>
                <a:gd name="connsiteX1450" fmla="*/ 1172407 w 1381764"/>
                <a:gd name="connsiteY1450" fmla="*/ 351644 h 1328132"/>
                <a:gd name="connsiteX1451" fmla="*/ 1172019 w 1381764"/>
                <a:gd name="connsiteY1451" fmla="*/ 350352 h 1328132"/>
                <a:gd name="connsiteX1452" fmla="*/ 1171631 w 1381764"/>
                <a:gd name="connsiteY1452" fmla="*/ 349577 h 1328132"/>
                <a:gd name="connsiteX1453" fmla="*/ 1170339 w 1381764"/>
                <a:gd name="connsiteY1453" fmla="*/ 348026 h 1328132"/>
                <a:gd name="connsiteX1454" fmla="*/ 1162456 w 1381764"/>
                <a:gd name="connsiteY1454" fmla="*/ 354746 h 1328132"/>
                <a:gd name="connsiteX1455" fmla="*/ 1157933 w 1381764"/>
                <a:gd name="connsiteY1455" fmla="*/ 360820 h 1328132"/>
                <a:gd name="connsiteX1456" fmla="*/ 1157416 w 1381764"/>
                <a:gd name="connsiteY1456" fmla="*/ 362371 h 1328132"/>
                <a:gd name="connsiteX1457" fmla="*/ 1157286 w 1381764"/>
                <a:gd name="connsiteY1457" fmla="*/ 364439 h 1328132"/>
                <a:gd name="connsiteX1458" fmla="*/ 1157674 w 1381764"/>
                <a:gd name="connsiteY1458" fmla="*/ 364955 h 1328132"/>
                <a:gd name="connsiteX1459" fmla="*/ 1158449 w 1381764"/>
                <a:gd name="connsiteY1459" fmla="*/ 365472 h 1328132"/>
                <a:gd name="connsiteX1460" fmla="*/ 1159225 w 1381764"/>
                <a:gd name="connsiteY1460" fmla="*/ 366119 h 1328132"/>
                <a:gd name="connsiteX1461" fmla="*/ 1159612 w 1381764"/>
                <a:gd name="connsiteY1461" fmla="*/ 367152 h 1328132"/>
                <a:gd name="connsiteX1462" fmla="*/ 1159483 w 1381764"/>
                <a:gd name="connsiteY1462" fmla="*/ 368445 h 1328132"/>
                <a:gd name="connsiteX1463" fmla="*/ 1158837 w 1381764"/>
                <a:gd name="connsiteY1463" fmla="*/ 371159 h 1328132"/>
                <a:gd name="connsiteX1464" fmla="*/ 1158966 w 1381764"/>
                <a:gd name="connsiteY1464" fmla="*/ 371676 h 1328132"/>
                <a:gd name="connsiteX1465" fmla="*/ 1159612 w 1381764"/>
                <a:gd name="connsiteY1465" fmla="*/ 373226 h 1328132"/>
                <a:gd name="connsiteX1466" fmla="*/ 1159354 w 1381764"/>
                <a:gd name="connsiteY1466" fmla="*/ 373743 h 1328132"/>
                <a:gd name="connsiteX1467" fmla="*/ 1158837 w 1381764"/>
                <a:gd name="connsiteY1467" fmla="*/ 374260 h 1328132"/>
                <a:gd name="connsiteX1468" fmla="*/ 1158320 w 1381764"/>
                <a:gd name="connsiteY1468" fmla="*/ 374648 h 1328132"/>
                <a:gd name="connsiteX1469" fmla="*/ 1158191 w 1381764"/>
                <a:gd name="connsiteY1469" fmla="*/ 374777 h 1328132"/>
                <a:gd name="connsiteX1470" fmla="*/ 1157674 w 1381764"/>
                <a:gd name="connsiteY1470" fmla="*/ 377103 h 1328132"/>
                <a:gd name="connsiteX1471" fmla="*/ 1157416 w 1381764"/>
                <a:gd name="connsiteY1471" fmla="*/ 379559 h 1328132"/>
                <a:gd name="connsiteX1472" fmla="*/ 1157157 w 1381764"/>
                <a:gd name="connsiteY1472" fmla="*/ 379817 h 1328132"/>
                <a:gd name="connsiteX1473" fmla="*/ 1155865 w 1381764"/>
                <a:gd name="connsiteY1473" fmla="*/ 381627 h 1328132"/>
                <a:gd name="connsiteX1474" fmla="*/ 1155735 w 1381764"/>
                <a:gd name="connsiteY1474" fmla="*/ 382014 h 1328132"/>
                <a:gd name="connsiteX1475" fmla="*/ 1155219 w 1381764"/>
                <a:gd name="connsiteY1475" fmla="*/ 382531 h 1328132"/>
                <a:gd name="connsiteX1476" fmla="*/ 1155089 w 1381764"/>
                <a:gd name="connsiteY1476" fmla="*/ 383565 h 1328132"/>
                <a:gd name="connsiteX1477" fmla="*/ 1154960 w 1381764"/>
                <a:gd name="connsiteY1477" fmla="*/ 384857 h 1328132"/>
                <a:gd name="connsiteX1478" fmla="*/ 1154702 w 1381764"/>
                <a:gd name="connsiteY1478" fmla="*/ 385762 h 1328132"/>
                <a:gd name="connsiteX1479" fmla="*/ 1153538 w 1381764"/>
                <a:gd name="connsiteY1479" fmla="*/ 387054 h 1328132"/>
                <a:gd name="connsiteX1480" fmla="*/ 1151988 w 1381764"/>
                <a:gd name="connsiteY1480" fmla="*/ 387701 h 1328132"/>
                <a:gd name="connsiteX1481" fmla="*/ 1150049 w 1381764"/>
                <a:gd name="connsiteY1481" fmla="*/ 387959 h 1328132"/>
                <a:gd name="connsiteX1482" fmla="*/ 1145009 w 1381764"/>
                <a:gd name="connsiteY1482" fmla="*/ 388088 h 1328132"/>
                <a:gd name="connsiteX1483" fmla="*/ 1143458 w 1381764"/>
                <a:gd name="connsiteY1483" fmla="*/ 388476 h 1328132"/>
                <a:gd name="connsiteX1484" fmla="*/ 1142941 w 1381764"/>
                <a:gd name="connsiteY1484" fmla="*/ 389768 h 1328132"/>
                <a:gd name="connsiteX1485" fmla="*/ 1143458 w 1381764"/>
                <a:gd name="connsiteY1485" fmla="*/ 392353 h 1328132"/>
                <a:gd name="connsiteX1486" fmla="*/ 1144880 w 1381764"/>
                <a:gd name="connsiteY1486" fmla="*/ 395455 h 1328132"/>
                <a:gd name="connsiteX1487" fmla="*/ 1145268 w 1381764"/>
                <a:gd name="connsiteY1487" fmla="*/ 395971 h 1328132"/>
                <a:gd name="connsiteX1488" fmla="*/ 1148240 w 1381764"/>
                <a:gd name="connsiteY1488" fmla="*/ 395584 h 1328132"/>
                <a:gd name="connsiteX1489" fmla="*/ 1149532 w 1381764"/>
                <a:gd name="connsiteY1489" fmla="*/ 395584 h 1328132"/>
                <a:gd name="connsiteX1490" fmla="*/ 1150825 w 1381764"/>
                <a:gd name="connsiteY1490" fmla="*/ 396101 h 1328132"/>
                <a:gd name="connsiteX1491" fmla="*/ 1149403 w 1381764"/>
                <a:gd name="connsiteY1491" fmla="*/ 396488 h 1328132"/>
                <a:gd name="connsiteX1492" fmla="*/ 1148111 w 1381764"/>
                <a:gd name="connsiteY1492" fmla="*/ 397135 h 1328132"/>
                <a:gd name="connsiteX1493" fmla="*/ 1146948 w 1381764"/>
                <a:gd name="connsiteY1493" fmla="*/ 397522 h 1328132"/>
                <a:gd name="connsiteX1494" fmla="*/ 1145655 w 1381764"/>
                <a:gd name="connsiteY1494" fmla="*/ 397005 h 1328132"/>
                <a:gd name="connsiteX1495" fmla="*/ 1144880 w 1381764"/>
                <a:gd name="connsiteY1495" fmla="*/ 397781 h 1328132"/>
                <a:gd name="connsiteX1496" fmla="*/ 1145655 w 1381764"/>
                <a:gd name="connsiteY1496" fmla="*/ 398427 h 1328132"/>
                <a:gd name="connsiteX1497" fmla="*/ 1145009 w 1381764"/>
                <a:gd name="connsiteY1497" fmla="*/ 400107 h 1328132"/>
                <a:gd name="connsiteX1498" fmla="*/ 1145785 w 1381764"/>
                <a:gd name="connsiteY1498" fmla="*/ 401399 h 1328132"/>
                <a:gd name="connsiteX1499" fmla="*/ 1147077 w 1381764"/>
                <a:gd name="connsiteY1499" fmla="*/ 402692 h 1328132"/>
                <a:gd name="connsiteX1500" fmla="*/ 1147852 w 1381764"/>
                <a:gd name="connsiteY1500" fmla="*/ 404372 h 1328132"/>
                <a:gd name="connsiteX1501" fmla="*/ 1144492 w 1381764"/>
                <a:gd name="connsiteY1501" fmla="*/ 402045 h 1328132"/>
                <a:gd name="connsiteX1502" fmla="*/ 1141908 w 1381764"/>
                <a:gd name="connsiteY1502" fmla="*/ 404242 h 1328132"/>
                <a:gd name="connsiteX1503" fmla="*/ 1140357 w 1381764"/>
                <a:gd name="connsiteY1503" fmla="*/ 408636 h 1328132"/>
                <a:gd name="connsiteX1504" fmla="*/ 1139711 w 1381764"/>
                <a:gd name="connsiteY1504" fmla="*/ 413935 h 1328132"/>
                <a:gd name="connsiteX1505" fmla="*/ 1139194 w 1381764"/>
                <a:gd name="connsiteY1505" fmla="*/ 415486 h 1328132"/>
                <a:gd name="connsiteX1506" fmla="*/ 1138935 w 1381764"/>
                <a:gd name="connsiteY1506" fmla="*/ 417554 h 1328132"/>
                <a:gd name="connsiteX1507" fmla="*/ 1138418 w 1381764"/>
                <a:gd name="connsiteY1507" fmla="*/ 417812 h 1328132"/>
                <a:gd name="connsiteX1508" fmla="*/ 1130923 w 1381764"/>
                <a:gd name="connsiteY1508" fmla="*/ 416390 h 1328132"/>
                <a:gd name="connsiteX1509" fmla="*/ 1129243 w 1381764"/>
                <a:gd name="connsiteY1509" fmla="*/ 415744 h 1328132"/>
                <a:gd name="connsiteX1510" fmla="*/ 1128855 w 1381764"/>
                <a:gd name="connsiteY1510" fmla="*/ 412384 h 1328132"/>
                <a:gd name="connsiteX1511" fmla="*/ 1129372 w 1381764"/>
                <a:gd name="connsiteY1511" fmla="*/ 408895 h 1328132"/>
                <a:gd name="connsiteX1512" fmla="*/ 1127950 w 1381764"/>
                <a:gd name="connsiteY1512" fmla="*/ 407473 h 1328132"/>
                <a:gd name="connsiteX1513" fmla="*/ 1126012 w 1381764"/>
                <a:gd name="connsiteY1513" fmla="*/ 410187 h 1328132"/>
                <a:gd name="connsiteX1514" fmla="*/ 1122910 w 1381764"/>
                <a:gd name="connsiteY1514" fmla="*/ 414193 h 1328132"/>
                <a:gd name="connsiteX1515" fmla="*/ 1122135 w 1381764"/>
                <a:gd name="connsiteY1515" fmla="*/ 419104 h 1328132"/>
                <a:gd name="connsiteX1516" fmla="*/ 1121359 w 1381764"/>
                <a:gd name="connsiteY1516" fmla="*/ 427763 h 1328132"/>
                <a:gd name="connsiteX1517" fmla="*/ 1120842 w 1381764"/>
                <a:gd name="connsiteY1517" fmla="*/ 430218 h 1328132"/>
                <a:gd name="connsiteX1518" fmla="*/ 1120713 w 1381764"/>
                <a:gd name="connsiteY1518" fmla="*/ 432028 h 1328132"/>
                <a:gd name="connsiteX1519" fmla="*/ 1121489 w 1381764"/>
                <a:gd name="connsiteY1519" fmla="*/ 433449 h 1328132"/>
                <a:gd name="connsiteX1520" fmla="*/ 1123686 w 1381764"/>
                <a:gd name="connsiteY1520" fmla="*/ 434483 h 1328132"/>
                <a:gd name="connsiteX1521" fmla="*/ 1125883 w 1381764"/>
                <a:gd name="connsiteY1521" fmla="*/ 434742 h 1328132"/>
                <a:gd name="connsiteX1522" fmla="*/ 1128079 w 1381764"/>
                <a:gd name="connsiteY1522" fmla="*/ 434483 h 1328132"/>
                <a:gd name="connsiteX1523" fmla="*/ 1129889 w 1381764"/>
                <a:gd name="connsiteY1523" fmla="*/ 433837 h 1328132"/>
                <a:gd name="connsiteX1524" fmla="*/ 1131052 w 1381764"/>
                <a:gd name="connsiteY1524" fmla="*/ 432932 h 1328132"/>
                <a:gd name="connsiteX1525" fmla="*/ 1132086 w 1381764"/>
                <a:gd name="connsiteY1525" fmla="*/ 433578 h 1328132"/>
                <a:gd name="connsiteX1526" fmla="*/ 1133120 w 1381764"/>
                <a:gd name="connsiteY1526" fmla="*/ 433966 h 1328132"/>
                <a:gd name="connsiteX1527" fmla="*/ 1134283 w 1381764"/>
                <a:gd name="connsiteY1527" fmla="*/ 434354 h 1328132"/>
                <a:gd name="connsiteX1528" fmla="*/ 1135446 w 1381764"/>
                <a:gd name="connsiteY1528" fmla="*/ 434483 h 1328132"/>
                <a:gd name="connsiteX1529" fmla="*/ 1138935 w 1381764"/>
                <a:gd name="connsiteY1529" fmla="*/ 434354 h 1328132"/>
                <a:gd name="connsiteX1530" fmla="*/ 1139840 w 1381764"/>
                <a:gd name="connsiteY1530" fmla="*/ 434483 h 1328132"/>
                <a:gd name="connsiteX1531" fmla="*/ 1138289 w 1381764"/>
                <a:gd name="connsiteY1531" fmla="*/ 436292 h 1328132"/>
                <a:gd name="connsiteX1532" fmla="*/ 1136609 w 1381764"/>
                <a:gd name="connsiteY1532" fmla="*/ 437714 h 1328132"/>
                <a:gd name="connsiteX1533" fmla="*/ 1134412 w 1381764"/>
                <a:gd name="connsiteY1533" fmla="*/ 438748 h 1328132"/>
                <a:gd name="connsiteX1534" fmla="*/ 1128855 w 1381764"/>
                <a:gd name="connsiteY1534" fmla="*/ 440169 h 1328132"/>
                <a:gd name="connsiteX1535" fmla="*/ 1126787 w 1381764"/>
                <a:gd name="connsiteY1535" fmla="*/ 440299 h 1328132"/>
                <a:gd name="connsiteX1536" fmla="*/ 1124978 w 1381764"/>
                <a:gd name="connsiteY1536" fmla="*/ 439911 h 1328132"/>
                <a:gd name="connsiteX1537" fmla="*/ 1123039 w 1381764"/>
                <a:gd name="connsiteY1537" fmla="*/ 438748 h 1328132"/>
                <a:gd name="connsiteX1538" fmla="*/ 1123556 w 1381764"/>
                <a:gd name="connsiteY1538" fmla="*/ 441203 h 1328132"/>
                <a:gd name="connsiteX1539" fmla="*/ 1127304 w 1381764"/>
                <a:gd name="connsiteY1539" fmla="*/ 444951 h 1328132"/>
                <a:gd name="connsiteX1540" fmla="*/ 1128209 w 1381764"/>
                <a:gd name="connsiteY1540" fmla="*/ 447148 h 1328132"/>
                <a:gd name="connsiteX1541" fmla="*/ 1128596 w 1381764"/>
                <a:gd name="connsiteY1541" fmla="*/ 448957 h 1328132"/>
                <a:gd name="connsiteX1542" fmla="*/ 1129243 w 1381764"/>
                <a:gd name="connsiteY1542" fmla="*/ 451025 h 1328132"/>
                <a:gd name="connsiteX1543" fmla="*/ 1129501 w 1381764"/>
                <a:gd name="connsiteY1543" fmla="*/ 453093 h 1328132"/>
                <a:gd name="connsiteX1544" fmla="*/ 1128726 w 1381764"/>
                <a:gd name="connsiteY1544" fmla="*/ 454902 h 1328132"/>
                <a:gd name="connsiteX1545" fmla="*/ 1128079 w 1381764"/>
                <a:gd name="connsiteY1545" fmla="*/ 453610 h 1328132"/>
                <a:gd name="connsiteX1546" fmla="*/ 1127175 w 1381764"/>
                <a:gd name="connsiteY1546" fmla="*/ 452188 h 1328132"/>
                <a:gd name="connsiteX1547" fmla="*/ 1126012 w 1381764"/>
                <a:gd name="connsiteY1547" fmla="*/ 451025 h 1328132"/>
                <a:gd name="connsiteX1548" fmla="*/ 1124590 w 1381764"/>
                <a:gd name="connsiteY1548" fmla="*/ 450508 h 1328132"/>
                <a:gd name="connsiteX1549" fmla="*/ 1122006 w 1381764"/>
                <a:gd name="connsiteY1549" fmla="*/ 450250 h 1328132"/>
                <a:gd name="connsiteX1550" fmla="*/ 1120713 w 1381764"/>
                <a:gd name="connsiteY1550" fmla="*/ 449474 h 1328132"/>
                <a:gd name="connsiteX1551" fmla="*/ 1118387 w 1381764"/>
                <a:gd name="connsiteY1551" fmla="*/ 446114 h 1328132"/>
                <a:gd name="connsiteX1552" fmla="*/ 1117224 w 1381764"/>
                <a:gd name="connsiteY1552" fmla="*/ 446243 h 1328132"/>
                <a:gd name="connsiteX1553" fmla="*/ 1116319 w 1381764"/>
                <a:gd name="connsiteY1553" fmla="*/ 444563 h 1328132"/>
                <a:gd name="connsiteX1554" fmla="*/ 1115415 w 1381764"/>
                <a:gd name="connsiteY1554" fmla="*/ 442366 h 1328132"/>
                <a:gd name="connsiteX1555" fmla="*/ 1114381 w 1381764"/>
                <a:gd name="connsiteY1555" fmla="*/ 440686 h 1328132"/>
                <a:gd name="connsiteX1556" fmla="*/ 1112830 w 1381764"/>
                <a:gd name="connsiteY1556" fmla="*/ 439006 h 1328132"/>
                <a:gd name="connsiteX1557" fmla="*/ 1109599 w 1381764"/>
                <a:gd name="connsiteY1557" fmla="*/ 433061 h 1328132"/>
                <a:gd name="connsiteX1558" fmla="*/ 1108307 w 1381764"/>
                <a:gd name="connsiteY1558" fmla="*/ 430089 h 1328132"/>
                <a:gd name="connsiteX1559" fmla="*/ 1107015 w 1381764"/>
                <a:gd name="connsiteY1559" fmla="*/ 427763 h 1328132"/>
                <a:gd name="connsiteX1560" fmla="*/ 1105851 w 1381764"/>
                <a:gd name="connsiteY1560" fmla="*/ 425566 h 1328132"/>
                <a:gd name="connsiteX1561" fmla="*/ 1104301 w 1381764"/>
                <a:gd name="connsiteY1561" fmla="*/ 425307 h 1328132"/>
                <a:gd name="connsiteX1562" fmla="*/ 1102233 w 1381764"/>
                <a:gd name="connsiteY1562" fmla="*/ 428926 h 1328132"/>
                <a:gd name="connsiteX1563" fmla="*/ 1100165 w 1381764"/>
                <a:gd name="connsiteY1563" fmla="*/ 433837 h 1328132"/>
                <a:gd name="connsiteX1564" fmla="*/ 1099777 w 1381764"/>
                <a:gd name="connsiteY1564" fmla="*/ 434871 h 1328132"/>
                <a:gd name="connsiteX1565" fmla="*/ 1099260 w 1381764"/>
                <a:gd name="connsiteY1565" fmla="*/ 435517 h 1328132"/>
                <a:gd name="connsiteX1566" fmla="*/ 1097968 w 1381764"/>
                <a:gd name="connsiteY1566" fmla="*/ 436809 h 1328132"/>
                <a:gd name="connsiteX1567" fmla="*/ 1097710 w 1381764"/>
                <a:gd name="connsiteY1567" fmla="*/ 436939 h 1328132"/>
                <a:gd name="connsiteX1568" fmla="*/ 1096547 w 1381764"/>
                <a:gd name="connsiteY1568" fmla="*/ 437068 h 1328132"/>
                <a:gd name="connsiteX1569" fmla="*/ 1096159 w 1381764"/>
                <a:gd name="connsiteY1569" fmla="*/ 437197 h 1328132"/>
                <a:gd name="connsiteX1570" fmla="*/ 1095900 w 1381764"/>
                <a:gd name="connsiteY1570" fmla="*/ 437714 h 1328132"/>
                <a:gd name="connsiteX1571" fmla="*/ 1095900 w 1381764"/>
                <a:gd name="connsiteY1571" fmla="*/ 438231 h 1328132"/>
                <a:gd name="connsiteX1572" fmla="*/ 1095900 w 1381764"/>
                <a:gd name="connsiteY1572" fmla="*/ 438748 h 1328132"/>
                <a:gd name="connsiteX1573" fmla="*/ 1095771 w 1381764"/>
                <a:gd name="connsiteY1573" fmla="*/ 439135 h 1328132"/>
                <a:gd name="connsiteX1574" fmla="*/ 1087759 w 1381764"/>
                <a:gd name="connsiteY1574" fmla="*/ 450767 h 1328132"/>
                <a:gd name="connsiteX1575" fmla="*/ 1087629 w 1381764"/>
                <a:gd name="connsiteY1575" fmla="*/ 451154 h 1328132"/>
                <a:gd name="connsiteX1576" fmla="*/ 1087629 w 1381764"/>
                <a:gd name="connsiteY1576" fmla="*/ 452059 h 1328132"/>
                <a:gd name="connsiteX1577" fmla="*/ 1087242 w 1381764"/>
                <a:gd name="connsiteY1577" fmla="*/ 451154 h 1328132"/>
                <a:gd name="connsiteX1578" fmla="*/ 1086725 w 1381764"/>
                <a:gd name="connsiteY1578" fmla="*/ 451413 h 1328132"/>
                <a:gd name="connsiteX1579" fmla="*/ 1085691 w 1381764"/>
                <a:gd name="connsiteY1579" fmla="*/ 451413 h 1328132"/>
                <a:gd name="connsiteX1580" fmla="*/ 1084916 w 1381764"/>
                <a:gd name="connsiteY1580" fmla="*/ 451671 h 1328132"/>
                <a:gd name="connsiteX1581" fmla="*/ 1084399 w 1381764"/>
                <a:gd name="connsiteY1581" fmla="*/ 451542 h 1328132"/>
                <a:gd name="connsiteX1582" fmla="*/ 1084011 w 1381764"/>
                <a:gd name="connsiteY1582" fmla="*/ 451542 h 1328132"/>
                <a:gd name="connsiteX1583" fmla="*/ 1083882 w 1381764"/>
                <a:gd name="connsiteY1583" fmla="*/ 451930 h 1328132"/>
                <a:gd name="connsiteX1584" fmla="*/ 1083752 w 1381764"/>
                <a:gd name="connsiteY1584" fmla="*/ 452447 h 1328132"/>
                <a:gd name="connsiteX1585" fmla="*/ 1083106 w 1381764"/>
                <a:gd name="connsiteY1585" fmla="*/ 453739 h 1328132"/>
                <a:gd name="connsiteX1586" fmla="*/ 1082848 w 1381764"/>
                <a:gd name="connsiteY1586" fmla="*/ 454127 h 1328132"/>
                <a:gd name="connsiteX1587" fmla="*/ 1082072 w 1381764"/>
                <a:gd name="connsiteY1587" fmla="*/ 454773 h 1328132"/>
                <a:gd name="connsiteX1588" fmla="*/ 1080134 w 1381764"/>
                <a:gd name="connsiteY1588" fmla="*/ 455677 h 1328132"/>
                <a:gd name="connsiteX1589" fmla="*/ 1079229 w 1381764"/>
                <a:gd name="connsiteY1589" fmla="*/ 456453 h 1328132"/>
                <a:gd name="connsiteX1590" fmla="*/ 1079229 w 1381764"/>
                <a:gd name="connsiteY1590" fmla="*/ 457228 h 1328132"/>
                <a:gd name="connsiteX1591" fmla="*/ 1080134 w 1381764"/>
                <a:gd name="connsiteY1591" fmla="*/ 459296 h 1328132"/>
                <a:gd name="connsiteX1592" fmla="*/ 1079875 w 1381764"/>
                <a:gd name="connsiteY1592" fmla="*/ 459684 h 1328132"/>
                <a:gd name="connsiteX1593" fmla="*/ 1078842 w 1381764"/>
                <a:gd name="connsiteY1593" fmla="*/ 460201 h 1328132"/>
                <a:gd name="connsiteX1594" fmla="*/ 1078066 w 1381764"/>
                <a:gd name="connsiteY1594" fmla="*/ 461493 h 1328132"/>
                <a:gd name="connsiteX1595" fmla="*/ 1076903 w 1381764"/>
                <a:gd name="connsiteY1595" fmla="*/ 462268 h 1328132"/>
                <a:gd name="connsiteX1596" fmla="*/ 1076257 w 1381764"/>
                <a:gd name="connsiteY1596" fmla="*/ 464465 h 1328132"/>
                <a:gd name="connsiteX1597" fmla="*/ 1074964 w 1381764"/>
                <a:gd name="connsiteY1597" fmla="*/ 467179 h 1328132"/>
                <a:gd name="connsiteX1598" fmla="*/ 1072122 w 1381764"/>
                <a:gd name="connsiteY1598" fmla="*/ 468859 h 1328132"/>
                <a:gd name="connsiteX1599" fmla="*/ 1069278 w 1381764"/>
                <a:gd name="connsiteY1599" fmla="*/ 469893 h 1328132"/>
                <a:gd name="connsiteX1600" fmla="*/ 1068244 w 1381764"/>
                <a:gd name="connsiteY1600" fmla="*/ 471832 h 1328132"/>
                <a:gd name="connsiteX1601" fmla="*/ 1067081 w 1381764"/>
                <a:gd name="connsiteY1601" fmla="*/ 472865 h 1328132"/>
                <a:gd name="connsiteX1602" fmla="*/ 1065530 w 1381764"/>
                <a:gd name="connsiteY1602" fmla="*/ 473382 h 1328132"/>
                <a:gd name="connsiteX1603" fmla="*/ 1063851 w 1381764"/>
                <a:gd name="connsiteY1603" fmla="*/ 473253 h 1328132"/>
                <a:gd name="connsiteX1604" fmla="*/ 1063980 w 1381764"/>
                <a:gd name="connsiteY1604" fmla="*/ 472478 h 1328132"/>
                <a:gd name="connsiteX1605" fmla="*/ 1065530 w 1381764"/>
                <a:gd name="connsiteY1605" fmla="*/ 471315 h 1328132"/>
                <a:gd name="connsiteX1606" fmla="*/ 1066177 w 1381764"/>
                <a:gd name="connsiteY1606" fmla="*/ 469118 h 1328132"/>
                <a:gd name="connsiteX1607" fmla="*/ 1067857 w 1381764"/>
                <a:gd name="connsiteY1607" fmla="*/ 467567 h 1328132"/>
                <a:gd name="connsiteX1608" fmla="*/ 1070700 w 1381764"/>
                <a:gd name="connsiteY1608" fmla="*/ 466791 h 1328132"/>
                <a:gd name="connsiteX1609" fmla="*/ 1072122 w 1381764"/>
                <a:gd name="connsiteY1609" fmla="*/ 464724 h 1328132"/>
                <a:gd name="connsiteX1610" fmla="*/ 1073414 w 1381764"/>
                <a:gd name="connsiteY1610" fmla="*/ 462268 h 1328132"/>
                <a:gd name="connsiteX1611" fmla="*/ 1073543 w 1381764"/>
                <a:gd name="connsiteY1611" fmla="*/ 459813 h 1328132"/>
                <a:gd name="connsiteX1612" fmla="*/ 1073155 w 1381764"/>
                <a:gd name="connsiteY1612" fmla="*/ 458262 h 1328132"/>
                <a:gd name="connsiteX1613" fmla="*/ 1073414 w 1381764"/>
                <a:gd name="connsiteY1613" fmla="*/ 457745 h 1328132"/>
                <a:gd name="connsiteX1614" fmla="*/ 1074060 w 1381764"/>
                <a:gd name="connsiteY1614" fmla="*/ 457099 h 1328132"/>
                <a:gd name="connsiteX1615" fmla="*/ 1074706 w 1381764"/>
                <a:gd name="connsiteY1615" fmla="*/ 456324 h 1328132"/>
                <a:gd name="connsiteX1616" fmla="*/ 1076645 w 1381764"/>
                <a:gd name="connsiteY1616" fmla="*/ 454902 h 1328132"/>
                <a:gd name="connsiteX1617" fmla="*/ 1077549 w 1381764"/>
                <a:gd name="connsiteY1617" fmla="*/ 451283 h 1328132"/>
                <a:gd name="connsiteX1618" fmla="*/ 1078325 w 1381764"/>
                <a:gd name="connsiteY1618" fmla="*/ 449603 h 1328132"/>
                <a:gd name="connsiteX1619" fmla="*/ 1078583 w 1381764"/>
                <a:gd name="connsiteY1619" fmla="*/ 447019 h 1328132"/>
                <a:gd name="connsiteX1620" fmla="*/ 1080522 w 1381764"/>
                <a:gd name="connsiteY1620" fmla="*/ 445726 h 1328132"/>
                <a:gd name="connsiteX1621" fmla="*/ 1082460 w 1381764"/>
                <a:gd name="connsiteY1621" fmla="*/ 443659 h 1328132"/>
                <a:gd name="connsiteX1622" fmla="*/ 1082589 w 1381764"/>
                <a:gd name="connsiteY1622" fmla="*/ 442883 h 1328132"/>
                <a:gd name="connsiteX1623" fmla="*/ 1081685 w 1381764"/>
                <a:gd name="connsiteY1623" fmla="*/ 443012 h 1328132"/>
                <a:gd name="connsiteX1624" fmla="*/ 1080263 w 1381764"/>
                <a:gd name="connsiteY1624" fmla="*/ 444176 h 1328132"/>
                <a:gd name="connsiteX1625" fmla="*/ 1077549 w 1381764"/>
                <a:gd name="connsiteY1625" fmla="*/ 445597 h 1328132"/>
                <a:gd name="connsiteX1626" fmla="*/ 1075094 w 1381764"/>
                <a:gd name="connsiteY1626" fmla="*/ 446631 h 1328132"/>
                <a:gd name="connsiteX1627" fmla="*/ 1070829 w 1381764"/>
                <a:gd name="connsiteY1627" fmla="*/ 447277 h 1328132"/>
                <a:gd name="connsiteX1628" fmla="*/ 1068115 w 1381764"/>
                <a:gd name="connsiteY1628" fmla="*/ 451025 h 1328132"/>
                <a:gd name="connsiteX1629" fmla="*/ 1066306 w 1381764"/>
                <a:gd name="connsiteY1629" fmla="*/ 455936 h 1328132"/>
                <a:gd name="connsiteX1630" fmla="*/ 1061912 w 1381764"/>
                <a:gd name="connsiteY1630" fmla="*/ 460201 h 1328132"/>
                <a:gd name="connsiteX1631" fmla="*/ 1057906 w 1381764"/>
                <a:gd name="connsiteY1631" fmla="*/ 463044 h 1328132"/>
                <a:gd name="connsiteX1632" fmla="*/ 1054029 w 1381764"/>
                <a:gd name="connsiteY1632" fmla="*/ 465111 h 1328132"/>
                <a:gd name="connsiteX1633" fmla="*/ 1053382 w 1381764"/>
                <a:gd name="connsiteY1633" fmla="*/ 468601 h 1328132"/>
                <a:gd name="connsiteX1634" fmla="*/ 1051832 w 1381764"/>
                <a:gd name="connsiteY1634" fmla="*/ 472736 h 1328132"/>
                <a:gd name="connsiteX1635" fmla="*/ 1051573 w 1381764"/>
                <a:gd name="connsiteY1635" fmla="*/ 474545 h 1328132"/>
                <a:gd name="connsiteX1636" fmla="*/ 1050022 w 1381764"/>
                <a:gd name="connsiteY1636" fmla="*/ 476613 h 1328132"/>
                <a:gd name="connsiteX1637" fmla="*/ 1049118 w 1381764"/>
                <a:gd name="connsiteY1637" fmla="*/ 476872 h 1328132"/>
                <a:gd name="connsiteX1638" fmla="*/ 1048342 w 1381764"/>
                <a:gd name="connsiteY1638" fmla="*/ 477259 h 1328132"/>
                <a:gd name="connsiteX1639" fmla="*/ 1045241 w 1381764"/>
                <a:gd name="connsiteY1639" fmla="*/ 479973 h 1328132"/>
                <a:gd name="connsiteX1640" fmla="*/ 1042268 w 1381764"/>
                <a:gd name="connsiteY1640" fmla="*/ 484367 h 1328132"/>
                <a:gd name="connsiteX1641" fmla="*/ 1034902 w 1381764"/>
                <a:gd name="connsiteY1641" fmla="*/ 499617 h 1328132"/>
                <a:gd name="connsiteX1642" fmla="*/ 1034385 w 1381764"/>
                <a:gd name="connsiteY1642" fmla="*/ 501038 h 1328132"/>
                <a:gd name="connsiteX1643" fmla="*/ 1034256 w 1381764"/>
                <a:gd name="connsiteY1643" fmla="*/ 503106 h 1328132"/>
                <a:gd name="connsiteX1644" fmla="*/ 1033351 w 1381764"/>
                <a:gd name="connsiteY1644" fmla="*/ 506983 h 1328132"/>
                <a:gd name="connsiteX1645" fmla="*/ 1031413 w 1381764"/>
                <a:gd name="connsiteY1645" fmla="*/ 511765 h 1328132"/>
                <a:gd name="connsiteX1646" fmla="*/ 1021203 w 1381764"/>
                <a:gd name="connsiteY1646" fmla="*/ 529082 h 1328132"/>
                <a:gd name="connsiteX1647" fmla="*/ 1020299 w 1381764"/>
                <a:gd name="connsiteY1647" fmla="*/ 532054 h 1328132"/>
                <a:gd name="connsiteX1648" fmla="*/ 1020170 w 1381764"/>
                <a:gd name="connsiteY1648" fmla="*/ 533993 h 1328132"/>
                <a:gd name="connsiteX1649" fmla="*/ 1020428 w 1381764"/>
                <a:gd name="connsiteY1649" fmla="*/ 537999 h 1328132"/>
                <a:gd name="connsiteX1650" fmla="*/ 1020299 w 1381764"/>
                <a:gd name="connsiteY1650" fmla="*/ 539938 h 1328132"/>
                <a:gd name="connsiteX1651" fmla="*/ 1019523 w 1381764"/>
                <a:gd name="connsiteY1651" fmla="*/ 542264 h 1328132"/>
                <a:gd name="connsiteX1652" fmla="*/ 1018489 w 1381764"/>
                <a:gd name="connsiteY1652" fmla="*/ 543815 h 1328132"/>
                <a:gd name="connsiteX1653" fmla="*/ 1015905 w 1381764"/>
                <a:gd name="connsiteY1653" fmla="*/ 546529 h 1328132"/>
                <a:gd name="connsiteX1654" fmla="*/ 1015646 w 1381764"/>
                <a:gd name="connsiteY1654" fmla="*/ 547175 h 1328132"/>
                <a:gd name="connsiteX1655" fmla="*/ 1015259 w 1381764"/>
                <a:gd name="connsiteY1655" fmla="*/ 549113 h 1328132"/>
                <a:gd name="connsiteX1656" fmla="*/ 1014871 w 1381764"/>
                <a:gd name="connsiteY1656" fmla="*/ 549501 h 1328132"/>
                <a:gd name="connsiteX1657" fmla="*/ 1014225 w 1381764"/>
                <a:gd name="connsiteY1657" fmla="*/ 549759 h 1328132"/>
                <a:gd name="connsiteX1658" fmla="*/ 1012028 w 1381764"/>
                <a:gd name="connsiteY1658" fmla="*/ 550922 h 1328132"/>
                <a:gd name="connsiteX1659" fmla="*/ 1011382 w 1381764"/>
                <a:gd name="connsiteY1659" fmla="*/ 551698 h 1328132"/>
                <a:gd name="connsiteX1660" fmla="*/ 1010736 w 1381764"/>
                <a:gd name="connsiteY1660" fmla="*/ 553895 h 1328132"/>
                <a:gd name="connsiteX1661" fmla="*/ 1010736 w 1381764"/>
                <a:gd name="connsiteY1661" fmla="*/ 555446 h 1328132"/>
                <a:gd name="connsiteX1662" fmla="*/ 1010348 w 1381764"/>
                <a:gd name="connsiteY1662" fmla="*/ 556738 h 1328132"/>
                <a:gd name="connsiteX1663" fmla="*/ 1008538 w 1381764"/>
                <a:gd name="connsiteY1663" fmla="*/ 558289 h 1328132"/>
                <a:gd name="connsiteX1664" fmla="*/ 1000526 w 1381764"/>
                <a:gd name="connsiteY1664" fmla="*/ 561261 h 1328132"/>
                <a:gd name="connsiteX1665" fmla="*/ 995874 w 1381764"/>
                <a:gd name="connsiteY1665" fmla="*/ 562037 h 1328132"/>
                <a:gd name="connsiteX1666" fmla="*/ 993160 w 1381764"/>
                <a:gd name="connsiteY1666" fmla="*/ 561132 h 1328132"/>
                <a:gd name="connsiteX1667" fmla="*/ 994452 w 1381764"/>
                <a:gd name="connsiteY1667" fmla="*/ 559064 h 1328132"/>
                <a:gd name="connsiteX1668" fmla="*/ 996132 w 1381764"/>
                <a:gd name="connsiteY1668" fmla="*/ 557255 h 1328132"/>
                <a:gd name="connsiteX1669" fmla="*/ 998329 w 1381764"/>
                <a:gd name="connsiteY1669" fmla="*/ 555963 h 1328132"/>
                <a:gd name="connsiteX1670" fmla="*/ 1000785 w 1381764"/>
                <a:gd name="connsiteY1670" fmla="*/ 555446 h 1328132"/>
                <a:gd name="connsiteX1671" fmla="*/ 1001818 w 1381764"/>
                <a:gd name="connsiteY1671" fmla="*/ 554412 h 1328132"/>
                <a:gd name="connsiteX1672" fmla="*/ 1008409 w 1381764"/>
                <a:gd name="connsiteY1672" fmla="*/ 544978 h 1328132"/>
                <a:gd name="connsiteX1673" fmla="*/ 1008797 w 1381764"/>
                <a:gd name="connsiteY1673" fmla="*/ 542910 h 1328132"/>
                <a:gd name="connsiteX1674" fmla="*/ 1008409 w 1381764"/>
                <a:gd name="connsiteY1674" fmla="*/ 537095 h 1328132"/>
                <a:gd name="connsiteX1675" fmla="*/ 1007892 w 1381764"/>
                <a:gd name="connsiteY1675" fmla="*/ 535156 h 1328132"/>
                <a:gd name="connsiteX1676" fmla="*/ 1007763 w 1381764"/>
                <a:gd name="connsiteY1676" fmla="*/ 533993 h 1328132"/>
                <a:gd name="connsiteX1677" fmla="*/ 1008022 w 1381764"/>
                <a:gd name="connsiteY1677" fmla="*/ 532959 h 1328132"/>
                <a:gd name="connsiteX1678" fmla="*/ 1009960 w 1381764"/>
                <a:gd name="connsiteY1678" fmla="*/ 530504 h 1328132"/>
                <a:gd name="connsiteX1679" fmla="*/ 1010219 w 1381764"/>
                <a:gd name="connsiteY1679" fmla="*/ 529470 h 1328132"/>
                <a:gd name="connsiteX1680" fmla="*/ 1010348 w 1381764"/>
                <a:gd name="connsiteY1680" fmla="*/ 527402 h 1328132"/>
                <a:gd name="connsiteX1681" fmla="*/ 1010606 w 1381764"/>
                <a:gd name="connsiteY1681" fmla="*/ 526368 h 1328132"/>
                <a:gd name="connsiteX1682" fmla="*/ 1011123 w 1381764"/>
                <a:gd name="connsiteY1682" fmla="*/ 525593 h 1328132"/>
                <a:gd name="connsiteX1683" fmla="*/ 1011899 w 1381764"/>
                <a:gd name="connsiteY1683" fmla="*/ 524817 h 1328132"/>
                <a:gd name="connsiteX1684" fmla="*/ 1012545 w 1381764"/>
                <a:gd name="connsiteY1684" fmla="*/ 524042 h 1328132"/>
                <a:gd name="connsiteX1685" fmla="*/ 1012803 w 1381764"/>
                <a:gd name="connsiteY1685" fmla="*/ 523008 h 1328132"/>
                <a:gd name="connsiteX1686" fmla="*/ 1012932 w 1381764"/>
                <a:gd name="connsiteY1686" fmla="*/ 517451 h 1328132"/>
                <a:gd name="connsiteX1687" fmla="*/ 1013191 w 1381764"/>
                <a:gd name="connsiteY1687" fmla="*/ 516805 h 1328132"/>
                <a:gd name="connsiteX1688" fmla="*/ 1013708 w 1381764"/>
                <a:gd name="connsiteY1688" fmla="*/ 516159 h 1328132"/>
                <a:gd name="connsiteX1689" fmla="*/ 1016551 w 1381764"/>
                <a:gd name="connsiteY1689" fmla="*/ 511506 h 1328132"/>
                <a:gd name="connsiteX1690" fmla="*/ 1017456 w 1381764"/>
                <a:gd name="connsiteY1690" fmla="*/ 510731 h 1328132"/>
                <a:gd name="connsiteX1691" fmla="*/ 1018360 w 1381764"/>
                <a:gd name="connsiteY1691" fmla="*/ 510085 h 1328132"/>
                <a:gd name="connsiteX1692" fmla="*/ 1019136 w 1381764"/>
                <a:gd name="connsiteY1692" fmla="*/ 509309 h 1328132"/>
                <a:gd name="connsiteX1693" fmla="*/ 1019652 w 1381764"/>
                <a:gd name="connsiteY1693" fmla="*/ 506854 h 1328132"/>
                <a:gd name="connsiteX1694" fmla="*/ 1020686 w 1381764"/>
                <a:gd name="connsiteY1694" fmla="*/ 504786 h 1328132"/>
                <a:gd name="connsiteX1695" fmla="*/ 1020945 w 1381764"/>
                <a:gd name="connsiteY1695" fmla="*/ 503752 h 1328132"/>
                <a:gd name="connsiteX1696" fmla="*/ 1021203 w 1381764"/>
                <a:gd name="connsiteY1696" fmla="*/ 495223 h 1328132"/>
                <a:gd name="connsiteX1697" fmla="*/ 1021591 w 1381764"/>
                <a:gd name="connsiteY1697" fmla="*/ 493931 h 1328132"/>
                <a:gd name="connsiteX1698" fmla="*/ 1022625 w 1381764"/>
                <a:gd name="connsiteY1698" fmla="*/ 492638 h 1328132"/>
                <a:gd name="connsiteX1699" fmla="*/ 1025210 w 1381764"/>
                <a:gd name="connsiteY1699" fmla="*/ 490312 h 1328132"/>
                <a:gd name="connsiteX1700" fmla="*/ 1026114 w 1381764"/>
                <a:gd name="connsiteY1700" fmla="*/ 488761 h 1328132"/>
                <a:gd name="connsiteX1701" fmla="*/ 1024693 w 1381764"/>
                <a:gd name="connsiteY1701" fmla="*/ 488761 h 1328132"/>
                <a:gd name="connsiteX1702" fmla="*/ 1024693 w 1381764"/>
                <a:gd name="connsiteY1702" fmla="*/ 487986 h 1328132"/>
                <a:gd name="connsiteX1703" fmla="*/ 1025726 w 1381764"/>
                <a:gd name="connsiteY1703" fmla="*/ 486823 h 1328132"/>
                <a:gd name="connsiteX1704" fmla="*/ 1026631 w 1381764"/>
                <a:gd name="connsiteY1704" fmla="*/ 485143 h 1328132"/>
                <a:gd name="connsiteX1705" fmla="*/ 1027277 w 1381764"/>
                <a:gd name="connsiteY1705" fmla="*/ 483333 h 1328132"/>
                <a:gd name="connsiteX1706" fmla="*/ 1027536 w 1381764"/>
                <a:gd name="connsiteY1706" fmla="*/ 481783 h 1328132"/>
                <a:gd name="connsiteX1707" fmla="*/ 1027148 w 1381764"/>
                <a:gd name="connsiteY1707" fmla="*/ 479586 h 1328132"/>
                <a:gd name="connsiteX1708" fmla="*/ 1026244 w 1381764"/>
                <a:gd name="connsiteY1708" fmla="*/ 478681 h 1328132"/>
                <a:gd name="connsiteX1709" fmla="*/ 1022496 w 1381764"/>
                <a:gd name="connsiteY1709" fmla="*/ 477776 h 1328132"/>
                <a:gd name="connsiteX1710" fmla="*/ 1020299 w 1381764"/>
                <a:gd name="connsiteY1710" fmla="*/ 476872 h 1328132"/>
                <a:gd name="connsiteX1711" fmla="*/ 1018877 w 1381764"/>
                <a:gd name="connsiteY1711" fmla="*/ 475838 h 1328132"/>
                <a:gd name="connsiteX1712" fmla="*/ 1018102 w 1381764"/>
                <a:gd name="connsiteY1712" fmla="*/ 474416 h 1328132"/>
                <a:gd name="connsiteX1713" fmla="*/ 1017843 w 1381764"/>
                <a:gd name="connsiteY1713" fmla="*/ 472348 h 1328132"/>
                <a:gd name="connsiteX1714" fmla="*/ 1018360 w 1381764"/>
                <a:gd name="connsiteY1714" fmla="*/ 471056 h 1328132"/>
                <a:gd name="connsiteX1715" fmla="*/ 1020816 w 1381764"/>
                <a:gd name="connsiteY1715" fmla="*/ 468342 h 1328132"/>
                <a:gd name="connsiteX1716" fmla="*/ 1021462 w 1381764"/>
                <a:gd name="connsiteY1716" fmla="*/ 466274 h 1328132"/>
                <a:gd name="connsiteX1717" fmla="*/ 1020040 w 1381764"/>
                <a:gd name="connsiteY1717" fmla="*/ 466921 h 1328132"/>
                <a:gd name="connsiteX1718" fmla="*/ 1018231 w 1381764"/>
                <a:gd name="connsiteY1718" fmla="*/ 468471 h 1328132"/>
                <a:gd name="connsiteX1719" fmla="*/ 1017197 w 1381764"/>
                <a:gd name="connsiteY1719" fmla="*/ 469118 h 1328132"/>
                <a:gd name="connsiteX1720" fmla="*/ 1017714 w 1381764"/>
                <a:gd name="connsiteY1720" fmla="*/ 466274 h 1328132"/>
                <a:gd name="connsiteX1721" fmla="*/ 1016809 w 1381764"/>
                <a:gd name="connsiteY1721" fmla="*/ 464724 h 1328132"/>
                <a:gd name="connsiteX1722" fmla="*/ 1014742 w 1381764"/>
                <a:gd name="connsiteY1722" fmla="*/ 464724 h 1328132"/>
                <a:gd name="connsiteX1723" fmla="*/ 1012028 w 1381764"/>
                <a:gd name="connsiteY1723" fmla="*/ 466274 h 1328132"/>
                <a:gd name="connsiteX1724" fmla="*/ 1010736 w 1381764"/>
                <a:gd name="connsiteY1724" fmla="*/ 468084 h 1328132"/>
                <a:gd name="connsiteX1725" fmla="*/ 1009055 w 1381764"/>
                <a:gd name="connsiteY1725" fmla="*/ 474933 h 1328132"/>
                <a:gd name="connsiteX1726" fmla="*/ 1006341 w 1381764"/>
                <a:gd name="connsiteY1726" fmla="*/ 472219 h 1328132"/>
                <a:gd name="connsiteX1727" fmla="*/ 1002594 w 1381764"/>
                <a:gd name="connsiteY1727" fmla="*/ 472995 h 1328132"/>
                <a:gd name="connsiteX1728" fmla="*/ 998975 w 1381764"/>
                <a:gd name="connsiteY1728" fmla="*/ 475709 h 1328132"/>
                <a:gd name="connsiteX1729" fmla="*/ 996520 w 1381764"/>
                <a:gd name="connsiteY1729" fmla="*/ 478552 h 1328132"/>
                <a:gd name="connsiteX1730" fmla="*/ 997166 w 1381764"/>
                <a:gd name="connsiteY1730" fmla="*/ 479973 h 1328132"/>
                <a:gd name="connsiteX1731" fmla="*/ 997424 w 1381764"/>
                <a:gd name="connsiteY1731" fmla="*/ 480749 h 1328132"/>
                <a:gd name="connsiteX1732" fmla="*/ 998846 w 1381764"/>
                <a:gd name="connsiteY1732" fmla="*/ 480103 h 1328132"/>
                <a:gd name="connsiteX1733" fmla="*/ 1003240 w 1381764"/>
                <a:gd name="connsiteY1733" fmla="*/ 485918 h 1328132"/>
                <a:gd name="connsiteX1734" fmla="*/ 1004662 w 1381764"/>
                <a:gd name="connsiteY1734" fmla="*/ 489149 h 1328132"/>
                <a:gd name="connsiteX1735" fmla="*/ 1003240 w 1381764"/>
                <a:gd name="connsiteY1735" fmla="*/ 490958 h 1328132"/>
                <a:gd name="connsiteX1736" fmla="*/ 1003111 w 1381764"/>
                <a:gd name="connsiteY1736" fmla="*/ 488503 h 1328132"/>
                <a:gd name="connsiteX1737" fmla="*/ 1001948 w 1381764"/>
                <a:gd name="connsiteY1737" fmla="*/ 486306 h 1328132"/>
                <a:gd name="connsiteX1738" fmla="*/ 1000397 w 1381764"/>
                <a:gd name="connsiteY1738" fmla="*/ 484496 h 1328132"/>
                <a:gd name="connsiteX1739" fmla="*/ 996649 w 1381764"/>
                <a:gd name="connsiteY1739" fmla="*/ 481266 h 1328132"/>
                <a:gd name="connsiteX1740" fmla="*/ 994323 w 1381764"/>
                <a:gd name="connsiteY1740" fmla="*/ 479973 h 1328132"/>
                <a:gd name="connsiteX1741" fmla="*/ 992384 w 1381764"/>
                <a:gd name="connsiteY1741" fmla="*/ 479844 h 1328132"/>
                <a:gd name="connsiteX1742" fmla="*/ 991480 w 1381764"/>
                <a:gd name="connsiteY1742" fmla="*/ 481395 h 1328132"/>
                <a:gd name="connsiteX1743" fmla="*/ 990575 w 1381764"/>
                <a:gd name="connsiteY1743" fmla="*/ 479844 h 1328132"/>
                <a:gd name="connsiteX1744" fmla="*/ 989412 w 1381764"/>
                <a:gd name="connsiteY1744" fmla="*/ 479456 h 1328132"/>
                <a:gd name="connsiteX1745" fmla="*/ 988766 w 1381764"/>
                <a:gd name="connsiteY1745" fmla="*/ 480232 h 1328132"/>
                <a:gd name="connsiteX1746" fmla="*/ 989153 w 1381764"/>
                <a:gd name="connsiteY1746" fmla="*/ 482170 h 1328132"/>
                <a:gd name="connsiteX1747" fmla="*/ 987732 w 1381764"/>
                <a:gd name="connsiteY1747" fmla="*/ 480749 h 1328132"/>
                <a:gd name="connsiteX1748" fmla="*/ 986698 w 1381764"/>
                <a:gd name="connsiteY1748" fmla="*/ 479456 h 1328132"/>
                <a:gd name="connsiteX1749" fmla="*/ 985277 w 1381764"/>
                <a:gd name="connsiteY1749" fmla="*/ 478552 h 1328132"/>
                <a:gd name="connsiteX1750" fmla="*/ 982692 w 1381764"/>
                <a:gd name="connsiteY1750" fmla="*/ 478422 h 1328132"/>
                <a:gd name="connsiteX1751" fmla="*/ 979978 w 1381764"/>
                <a:gd name="connsiteY1751" fmla="*/ 478939 h 1328132"/>
                <a:gd name="connsiteX1752" fmla="*/ 978944 w 1381764"/>
                <a:gd name="connsiteY1752" fmla="*/ 480103 h 1328132"/>
                <a:gd name="connsiteX1753" fmla="*/ 978556 w 1381764"/>
                <a:gd name="connsiteY1753" fmla="*/ 481783 h 1328132"/>
                <a:gd name="connsiteX1754" fmla="*/ 977652 w 1381764"/>
                <a:gd name="connsiteY1754" fmla="*/ 484109 h 1328132"/>
                <a:gd name="connsiteX1755" fmla="*/ 977781 w 1381764"/>
                <a:gd name="connsiteY1755" fmla="*/ 480749 h 1328132"/>
                <a:gd name="connsiteX1756" fmla="*/ 977393 w 1381764"/>
                <a:gd name="connsiteY1756" fmla="*/ 479456 h 1328132"/>
                <a:gd name="connsiteX1757" fmla="*/ 976101 w 1381764"/>
                <a:gd name="connsiteY1757" fmla="*/ 479069 h 1328132"/>
                <a:gd name="connsiteX1758" fmla="*/ 976101 w 1381764"/>
                <a:gd name="connsiteY1758" fmla="*/ 479844 h 1328132"/>
                <a:gd name="connsiteX1759" fmla="*/ 977006 w 1381764"/>
                <a:gd name="connsiteY1759" fmla="*/ 481653 h 1328132"/>
                <a:gd name="connsiteX1760" fmla="*/ 976876 w 1381764"/>
                <a:gd name="connsiteY1760" fmla="*/ 489924 h 1328132"/>
                <a:gd name="connsiteX1761" fmla="*/ 977910 w 1381764"/>
                <a:gd name="connsiteY1761" fmla="*/ 495481 h 1328132"/>
                <a:gd name="connsiteX1762" fmla="*/ 979719 w 1381764"/>
                <a:gd name="connsiteY1762" fmla="*/ 500780 h 1328132"/>
                <a:gd name="connsiteX1763" fmla="*/ 978427 w 1381764"/>
                <a:gd name="connsiteY1763" fmla="*/ 499746 h 1328132"/>
                <a:gd name="connsiteX1764" fmla="*/ 977135 w 1381764"/>
                <a:gd name="connsiteY1764" fmla="*/ 497937 h 1328132"/>
                <a:gd name="connsiteX1765" fmla="*/ 975972 w 1381764"/>
                <a:gd name="connsiteY1765" fmla="*/ 495998 h 1328132"/>
                <a:gd name="connsiteX1766" fmla="*/ 975325 w 1381764"/>
                <a:gd name="connsiteY1766" fmla="*/ 494189 h 1328132"/>
                <a:gd name="connsiteX1767" fmla="*/ 974550 w 1381764"/>
                <a:gd name="connsiteY1767" fmla="*/ 494189 h 1328132"/>
                <a:gd name="connsiteX1768" fmla="*/ 972353 w 1381764"/>
                <a:gd name="connsiteY1768" fmla="*/ 498583 h 1328132"/>
                <a:gd name="connsiteX1769" fmla="*/ 972482 w 1381764"/>
                <a:gd name="connsiteY1769" fmla="*/ 498583 h 1328132"/>
                <a:gd name="connsiteX1770" fmla="*/ 973129 w 1381764"/>
                <a:gd name="connsiteY1770" fmla="*/ 496386 h 1328132"/>
                <a:gd name="connsiteX1771" fmla="*/ 975325 w 1381764"/>
                <a:gd name="connsiteY1771" fmla="*/ 492121 h 1328132"/>
                <a:gd name="connsiteX1772" fmla="*/ 976101 w 1381764"/>
                <a:gd name="connsiteY1772" fmla="*/ 489795 h 1328132"/>
                <a:gd name="connsiteX1773" fmla="*/ 976489 w 1381764"/>
                <a:gd name="connsiteY1773" fmla="*/ 487469 h 1328132"/>
                <a:gd name="connsiteX1774" fmla="*/ 976489 w 1381764"/>
                <a:gd name="connsiteY1774" fmla="*/ 485272 h 1328132"/>
                <a:gd name="connsiteX1775" fmla="*/ 976101 w 1381764"/>
                <a:gd name="connsiteY1775" fmla="*/ 483204 h 1328132"/>
                <a:gd name="connsiteX1776" fmla="*/ 975455 w 1381764"/>
                <a:gd name="connsiteY1776" fmla="*/ 481007 h 1328132"/>
                <a:gd name="connsiteX1777" fmla="*/ 973904 w 1381764"/>
                <a:gd name="connsiteY1777" fmla="*/ 483204 h 1328132"/>
                <a:gd name="connsiteX1778" fmla="*/ 971836 w 1381764"/>
                <a:gd name="connsiteY1778" fmla="*/ 485401 h 1328132"/>
                <a:gd name="connsiteX1779" fmla="*/ 974421 w 1381764"/>
                <a:gd name="connsiteY1779" fmla="*/ 480749 h 1328132"/>
                <a:gd name="connsiteX1780" fmla="*/ 974808 w 1381764"/>
                <a:gd name="connsiteY1780" fmla="*/ 479327 h 1328132"/>
                <a:gd name="connsiteX1781" fmla="*/ 974550 w 1381764"/>
                <a:gd name="connsiteY1781" fmla="*/ 477518 h 1328132"/>
                <a:gd name="connsiteX1782" fmla="*/ 973904 w 1381764"/>
                <a:gd name="connsiteY1782" fmla="*/ 476484 h 1328132"/>
                <a:gd name="connsiteX1783" fmla="*/ 967830 w 1381764"/>
                <a:gd name="connsiteY1783" fmla="*/ 472607 h 1328132"/>
                <a:gd name="connsiteX1784" fmla="*/ 965633 w 1381764"/>
                <a:gd name="connsiteY1784" fmla="*/ 471573 h 1328132"/>
                <a:gd name="connsiteX1785" fmla="*/ 963048 w 1381764"/>
                <a:gd name="connsiteY1785" fmla="*/ 470798 h 1328132"/>
                <a:gd name="connsiteX1786" fmla="*/ 960464 w 1381764"/>
                <a:gd name="connsiteY1786" fmla="*/ 470539 h 1328132"/>
                <a:gd name="connsiteX1787" fmla="*/ 957879 w 1381764"/>
                <a:gd name="connsiteY1787" fmla="*/ 470798 h 1328132"/>
                <a:gd name="connsiteX1788" fmla="*/ 948703 w 1381764"/>
                <a:gd name="connsiteY1788" fmla="*/ 473253 h 1328132"/>
                <a:gd name="connsiteX1789" fmla="*/ 945860 w 1381764"/>
                <a:gd name="connsiteY1789" fmla="*/ 474675 h 1328132"/>
                <a:gd name="connsiteX1790" fmla="*/ 943922 w 1381764"/>
                <a:gd name="connsiteY1790" fmla="*/ 476872 h 1328132"/>
                <a:gd name="connsiteX1791" fmla="*/ 943146 w 1381764"/>
                <a:gd name="connsiteY1791" fmla="*/ 480361 h 1328132"/>
                <a:gd name="connsiteX1792" fmla="*/ 940949 w 1381764"/>
                <a:gd name="connsiteY1792" fmla="*/ 479198 h 1328132"/>
                <a:gd name="connsiteX1793" fmla="*/ 938365 w 1381764"/>
                <a:gd name="connsiteY1793" fmla="*/ 478422 h 1328132"/>
                <a:gd name="connsiteX1794" fmla="*/ 935780 w 1381764"/>
                <a:gd name="connsiteY1794" fmla="*/ 478293 h 1328132"/>
                <a:gd name="connsiteX1795" fmla="*/ 933712 w 1381764"/>
                <a:gd name="connsiteY1795" fmla="*/ 478939 h 1328132"/>
                <a:gd name="connsiteX1796" fmla="*/ 930611 w 1381764"/>
                <a:gd name="connsiteY1796" fmla="*/ 478035 h 1328132"/>
                <a:gd name="connsiteX1797" fmla="*/ 927251 w 1381764"/>
                <a:gd name="connsiteY1797" fmla="*/ 479586 h 1328132"/>
                <a:gd name="connsiteX1798" fmla="*/ 924149 w 1381764"/>
                <a:gd name="connsiteY1798" fmla="*/ 482558 h 1328132"/>
                <a:gd name="connsiteX1799" fmla="*/ 921694 w 1381764"/>
                <a:gd name="connsiteY1799" fmla="*/ 485272 h 1328132"/>
                <a:gd name="connsiteX1800" fmla="*/ 920789 w 1381764"/>
                <a:gd name="connsiteY1800" fmla="*/ 486564 h 1328132"/>
                <a:gd name="connsiteX1801" fmla="*/ 920660 w 1381764"/>
                <a:gd name="connsiteY1801" fmla="*/ 487986 h 1328132"/>
                <a:gd name="connsiteX1802" fmla="*/ 920272 w 1381764"/>
                <a:gd name="connsiteY1802" fmla="*/ 489278 h 1328132"/>
                <a:gd name="connsiteX1803" fmla="*/ 920143 w 1381764"/>
                <a:gd name="connsiteY1803" fmla="*/ 490053 h 1328132"/>
                <a:gd name="connsiteX1804" fmla="*/ 919755 w 1381764"/>
                <a:gd name="connsiteY1804" fmla="*/ 491346 h 1328132"/>
                <a:gd name="connsiteX1805" fmla="*/ 918463 w 1381764"/>
                <a:gd name="connsiteY1805" fmla="*/ 492250 h 1328132"/>
                <a:gd name="connsiteX1806" fmla="*/ 917429 w 1381764"/>
                <a:gd name="connsiteY1806" fmla="*/ 493414 h 1328132"/>
                <a:gd name="connsiteX1807" fmla="*/ 916783 w 1381764"/>
                <a:gd name="connsiteY1807" fmla="*/ 494706 h 1328132"/>
                <a:gd name="connsiteX1808" fmla="*/ 916137 w 1381764"/>
                <a:gd name="connsiteY1808" fmla="*/ 497420 h 1328132"/>
                <a:gd name="connsiteX1809" fmla="*/ 914715 w 1381764"/>
                <a:gd name="connsiteY1809" fmla="*/ 496386 h 1328132"/>
                <a:gd name="connsiteX1810" fmla="*/ 913940 w 1381764"/>
                <a:gd name="connsiteY1810" fmla="*/ 494447 h 1328132"/>
                <a:gd name="connsiteX1811" fmla="*/ 913164 w 1381764"/>
                <a:gd name="connsiteY1811" fmla="*/ 490829 h 1328132"/>
                <a:gd name="connsiteX1812" fmla="*/ 912001 w 1381764"/>
                <a:gd name="connsiteY1812" fmla="*/ 488890 h 1328132"/>
                <a:gd name="connsiteX1813" fmla="*/ 911613 w 1381764"/>
                <a:gd name="connsiteY1813" fmla="*/ 487857 h 1328132"/>
                <a:gd name="connsiteX1814" fmla="*/ 912001 w 1381764"/>
                <a:gd name="connsiteY1814" fmla="*/ 486823 h 1328132"/>
                <a:gd name="connsiteX1815" fmla="*/ 912647 w 1381764"/>
                <a:gd name="connsiteY1815" fmla="*/ 485918 h 1328132"/>
                <a:gd name="connsiteX1816" fmla="*/ 913035 w 1381764"/>
                <a:gd name="connsiteY1816" fmla="*/ 485013 h 1328132"/>
                <a:gd name="connsiteX1817" fmla="*/ 913164 w 1381764"/>
                <a:gd name="connsiteY1817" fmla="*/ 483980 h 1328132"/>
                <a:gd name="connsiteX1818" fmla="*/ 913035 w 1381764"/>
                <a:gd name="connsiteY1818" fmla="*/ 482816 h 1328132"/>
                <a:gd name="connsiteX1819" fmla="*/ 911613 w 1381764"/>
                <a:gd name="connsiteY1819" fmla="*/ 483721 h 1328132"/>
                <a:gd name="connsiteX1820" fmla="*/ 910192 w 1381764"/>
                <a:gd name="connsiteY1820" fmla="*/ 486435 h 1328132"/>
                <a:gd name="connsiteX1821" fmla="*/ 908641 w 1381764"/>
                <a:gd name="connsiteY1821" fmla="*/ 487210 h 1328132"/>
                <a:gd name="connsiteX1822" fmla="*/ 909029 w 1381764"/>
                <a:gd name="connsiteY1822" fmla="*/ 486047 h 1328132"/>
                <a:gd name="connsiteX1823" fmla="*/ 910580 w 1381764"/>
                <a:gd name="connsiteY1823" fmla="*/ 483980 h 1328132"/>
                <a:gd name="connsiteX1824" fmla="*/ 910838 w 1381764"/>
                <a:gd name="connsiteY1824" fmla="*/ 483204 h 1328132"/>
                <a:gd name="connsiteX1825" fmla="*/ 910450 w 1381764"/>
                <a:gd name="connsiteY1825" fmla="*/ 481912 h 1328132"/>
                <a:gd name="connsiteX1826" fmla="*/ 909416 w 1381764"/>
                <a:gd name="connsiteY1826" fmla="*/ 481783 h 1328132"/>
                <a:gd name="connsiteX1827" fmla="*/ 907995 w 1381764"/>
                <a:gd name="connsiteY1827" fmla="*/ 482041 h 1328132"/>
                <a:gd name="connsiteX1828" fmla="*/ 906444 w 1381764"/>
                <a:gd name="connsiteY1828" fmla="*/ 482170 h 1328132"/>
                <a:gd name="connsiteX1829" fmla="*/ 904247 w 1381764"/>
                <a:gd name="connsiteY1829" fmla="*/ 481395 h 1328132"/>
                <a:gd name="connsiteX1830" fmla="*/ 901792 w 1381764"/>
                <a:gd name="connsiteY1830" fmla="*/ 479844 h 1328132"/>
                <a:gd name="connsiteX1831" fmla="*/ 899853 w 1381764"/>
                <a:gd name="connsiteY1831" fmla="*/ 478164 h 1328132"/>
                <a:gd name="connsiteX1832" fmla="*/ 897010 w 1381764"/>
                <a:gd name="connsiteY1832" fmla="*/ 473124 h 1328132"/>
                <a:gd name="connsiteX1833" fmla="*/ 894942 w 1381764"/>
                <a:gd name="connsiteY1833" fmla="*/ 470022 h 1328132"/>
                <a:gd name="connsiteX1834" fmla="*/ 892487 w 1381764"/>
                <a:gd name="connsiteY1834" fmla="*/ 469764 h 1328132"/>
                <a:gd name="connsiteX1835" fmla="*/ 889644 w 1381764"/>
                <a:gd name="connsiteY1835" fmla="*/ 468859 h 1328132"/>
                <a:gd name="connsiteX1836" fmla="*/ 888868 w 1381764"/>
                <a:gd name="connsiteY1836" fmla="*/ 469376 h 1328132"/>
                <a:gd name="connsiteX1837" fmla="*/ 887964 w 1381764"/>
                <a:gd name="connsiteY1837" fmla="*/ 471702 h 1328132"/>
                <a:gd name="connsiteX1838" fmla="*/ 886542 w 1381764"/>
                <a:gd name="connsiteY1838" fmla="*/ 472995 h 1328132"/>
                <a:gd name="connsiteX1839" fmla="*/ 885637 w 1381764"/>
                <a:gd name="connsiteY1839" fmla="*/ 474158 h 1328132"/>
                <a:gd name="connsiteX1840" fmla="*/ 885508 w 1381764"/>
                <a:gd name="connsiteY1840" fmla="*/ 476096 h 1328132"/>
                <a:gd name="connsiteX1841" fmla="*/ 885767 w 1381764"/>
                <a:gd name="connsiteY1841" fmla="*/ 477776 h 1328132"/>
                <a:gd name="connsiteX1842" fmla="*/ 885250 w 1381764"/>
                <a:gd name="connsiteY1842" fmla="*/ 480103 h 1328132"/>
                <a:gd name="connsiteX1843" fmla="*/ 884087 w 1381764"/>
                <a:gd name="connsiteY1843" fmla="*/ 480619 h 1328132"/>
                <a:gd name="connsiteX1844" fmla="*/ 881502 w 1381764"/>
                <a:gd name="connsiteY1844" fmla="*/ 481395 h 1328132"/>
                <a:gd name="connsiteX1845" fmla="*/ 875686 w 1381764"/>
                <a:gd name="connsiteY1845" fmla="*/ 482041 h 1328132"/>
                <a:gd name="connsiteX1846" fmla="*/ 872843 w 1381764"/>
                <a:gd name="connsiteY1846" fmla="*/ 481783 h 1328132"/>
                <a:gd name="connsiteX1847" fmla="*/ 872068 w 1381764"/>
                <a:gd name="connsiteY1847" fmla="*/ 482429 h 1328132"/>
                <a:gd name="connsiteX1848" fmla="*/ 872456 w 1381764"/>
                <a:gd name="connsiteY1848" fmla="*/ 484109 h 1328132"/>
                <a:gd name="connsiteX1849" fmla="*/ 872843 w 1381764"/>
                <a:gd name="connsiteY1849" fmla="*/ 486564 h 1328132"/>
                <a:gd name="connsiteX1850" fmla="*/ 871422 w 1381764"/>
                <a:gd name="connsiteY1850" fmla="*/ 485918 h 1328132"/>
                <a:gd name="connsiteX1851" fmla="*/ 870000 w 1381764"/>
                <a:gd name="connsiteY1851" fmla="*/ 485143 h 1328132"/>
                <a:gd name="connsiteX1852" fmla="*/ 868966 w 1381764"/>
                <a:gd name="connsiteY1852" fmla="*/ 482816 h 1328132"/>
                <a:gd name="connsiteX1853" fmla="*/ 869096 w 1381764"/>
                <a:gd name="connsiteY1853" fmla="*/ 480232 h 1328132"/>
                <a:gd name="connsiteX1854" fmla="*/ 867286 w 1381764"/>
                <a:gd name="connsiteY1854" fmla="*/ 479456 h 1328132"/>
                <a:gd name="connsiteX1855" fmla="*/ 866252 w 1381764"/>
                <a:gd name="connsiteY1855" fmla="*/ 477518 h 1328132"/>
                <a:gd name="connsiteX1856" fmla="*/ 864831 w 1381764"/>
                <a:gd name="connsiteY1856" fmla="*/ 477130 h 1328132"/>
                <a:gd name="connsiteX1857" fmla="*/ 865348 w 1381764"/>
                <a:gd name="connsiteY1857" fmla="*/ 475967 h 1328132"/>
                <a:gd name="connsiteX1858" fmla="*/ 866252 w 1381764"/>
                <a:gd name="connsiteY1858" fmla="*/ 474287 h 1328132"/>
                <a:gd name="connsiteX1859" fmla="*/ 868579 w 1381764"/>
                <a:gd name="connsiteY1859" fmla="*/ 475709 h 1328132"/>
                <a:gd name="connsiteX1860" fmla="*/ 870905 w 1381764"/>
                <a:gd name="connsiteY1860" fmla="*/ 477518 h 1328132"/>
                <a:gd name="connsiteX1861" fmla="*/ 873231 w 1381764"/>
                <a:gd name="connsiteY1861" fmla="*/ 478939 h 1328132"/>
                <a:gd name="connsiteX1862" fmla="*/ 876203 w 1381764"/>
                <a:gd name="connsiteY1862" fmla="*/ 479069 h 1328132"/>
                <a:gd name="connsiteX1863" fmla="*/ 878400 w 1381764"/>
                <a:gd name="connsiteY1863" fmla="*/ 477389 h 1328132"/>
                <a:gd name="connsiteX1864" fmla="*/ 878400 w 1381764"/>
                <a:gd name="connsiteY1864" fmla="*/ 475450 h 1328132"/>
                <a:gd name="connsiteX1865" fmla="*/ 879305 w 1381764"/>
                <a:gd name="connsiteY1865" fmla="*/ 473512 h 1328132"/>
                <a:gd name="connsiteX1866" fmla="*/ 881373 w 1381764"/>
                <a:gd name="connsiteY1866" fmla="*/ 472219 h 1328132"/>
                <a:gd name="connsiteX1867" fmla="*/ 883699 w 1381764"/>
                <a:gd name="connsiteY1867" fmla="*/ 471185 h 1328132"/>
                <a:gd name="connsiteX1868" fmla="*/ 884474 w 1381764"/>
                <a:gd name="connsiteY1868" fmla="*/ 467825 h 1328132"/>
                <a:gd name="connsiteX1869" fmla="*/ 883570 w 1381764"/>
                <a:gd name="connsiteY1869" fmla="*/ 465499 h 1328132"/>
                <a:gd name="connsiteX1870" fmla="*/ 882665 w 1381764"/>
                <a:gd name="connsiteY1870" fmla="*/ 464724 h 1328132"/>
                <a:gd name="connsiteX1871" fmla="*/ 881502 w 1381764"/>
                <a:gd name="connsiteY1871" fmla="*/ 462268 h 1328132"/>
                <a:gd name="connsiteX1872" fmla="*/ 886413 w 1381764"/>
                <a:gd name="connsiteY1872" fmla="*/ 465241 h 1328132"/>
                <a:gd name="connsiteX1873" fmla="*/ 888222 w 1381764"/>
                <a:gd name="connsiteY1873" fmla="*/ 465111 h 1328132"/>
                <a:gd name="connsiteX1874" fmla="*/ 890290 w 1381764"/>
                <a:gd name="connsiteY1874" fmla="*/ 462268 h 1328132"/>
                <a:gd name="connsiteX1875" fmla="*/ 889256 w 1381764"/>
                <a:gd name="connsiteY1875" fmla="*/ 460330 h 1328132"/>
                <a:gd name="connsiteX1876" fmla="*/ 888481 w 1381764"/>
                <a:gd name="connsiteY1876" fmla="*/ 457874 h 1328132"/>
                <a:gd name="connsiteX1877" fmla="*/ 887447 w 1381764"/>
                <a:gd name="connsiteY1877" fmla="*/ 450637 h 1328132"/>
                <a:gd name="connsiteX1878" fmla="*/ 886413 w 1381764"/>
                <a:gd name="connsiteY1878" fmla="*/ 448828 h 1328132"/>
                <a:gd name="connsiteX1879" fmla="*/ 879563 w 1381764"/>
                <a:gd name="connsiteY1879" fmla="*/ 443012 h 1328132"/>
                <a:gd name="connsiteX1880" fmla="*/ 878142 w 1381764"/>
                <a:gd name="connsiteY1880" fmla="*/ 441332 h 1328132"/>
                <a:gd name="connsiteX1881" fmla="*/ 876850 w 1381764"/>
                <a:gd name="connsiteY1881" fmla="*/ 436809 h 1328132"/>
                <a:gd name="connsiteX1882" fmla="*/ 873489 w 1381764"/>
                <a:gd name="connsiteY1882" fmla="*/ 432415 h 1328132"/>
                <a:gd name="connsiteX1883" fmla="*/ 872456 w 1381764"/>
                <a:gd name="connsiteY1883" fmla="*/ 430089 h 1328132"/>
                <a:gd name="connsiteX1884" fmla="*/ 872585 w 1381764"/>
                <a:gd name="connsiteY1884" fmla="*/ 428926 h 1328132"/>
                <a:gd name="connsiteX1885" fmla="*/ 873102 w 1381764"/>
                <a:gd name="connsiteY1885" fmla="*/ 427763 h 1328132"/>
                <a:gd name="connsiteX1886" fmla="*/ 873877 w 1381764"/>
                <a:gd name="connsiteY1886" fmla="*/ 426471 h 1328132"/>
                <a:gd name="connsiteX1887" fmla="*/ 873489 w 1381764"/>
                <a:gd name="connsiteY1887" fmla="*/ 425307 h 1328132"/>
                <a:gd name="connsiteX1888" fmla="*/ 872714 w 1381764"/>
                <a:gd name="connsiteY1888" fmla="*/ 424403 h 1328132"/>
                <a:gd name="connsiteX1889" fmla="*/ 871939 w 1381764"/>
                <a:gd name="connsiteY1889" fmla="*/ 423757 h 1328132"/>
                <a:gd name="connsiteX1890" fmla="*/ 871551 w 1381764"/>
                <a:gd name="connsiteY1890" fmla="*/ 423111 h 1328132"/>
                <a:gd name="connsiteX1891" fmla="*/ 871292 w 1381764"/>
                <a:gd name="connsiteY1891" fmla="*/ 416907 h 1328132"/>
                <a:gd name="connsiteX1892" fmla="*/ 872456 w 1381764"/>
                <a:gd name="connsiteY1892" fmla="*/ 410575 h 1328132"/>
                <a:gd name="connsiteX1893" fmla="*/ 872326 w 1381764"/>
                <a:gd name="connsiteY1893" fmla="*/ 408378 h 1328132"/>
                <a:gd name="connsiteX1894" fmla="*/ 871292 w 1381764"/>
                <a:gd name="connsiteY1894" fmla="*/ 406439 h 1328132"/>
                <a:gd name="connsiteX1895" fmla="*/ 869483 w 1381764"/>
                <a:gd name="connsiteY1895" fmla="*/ 404759 h 1328132"/>
                <a:gd name="connsiteX1896" fmla="*/ 857852 w 1381764"/>
                <a:gd name="connsiteY1896" fmla="*/ 397393 h 1328132"/>
                <a:gd name="connsiteX1897" fmla="*/ 861212 w 1381764"/>
                <a:gd name="connsiteY1897" fmla="*/ 397264 h 1328132"/>
                <a:gd name="connsiteX1898" fmla="*/ 862634 w 1381764"/>
                <a:gd name="connsiteY1898" fmla="*/ 397005 h 1328132"/>
                <a:gd name="connsiteX1899" fmla="*/ 863797 w 1381764"/>
                <a:gd name="connsiteY1899" fmla="*/ 396488 h 1328132"/>
                <a:gd name="connsiteX1900" fmla="*/ 864831 w 1381764"/>
                <a:gd name="connsiteY1900" fmla="*/ 395584 h 1328132"/>
                <a:gd name="connsiteX1901" fmla="*/ 867415 w 1381764"/>
                <a:gd name="connsiteY1901" fmla="*/ 392094 h 1328132"/>
                <a:gd name="connsiteX1902" fmla="*/ 868708 w 1381764"/>
                <a:gd name="connsiteY1902" fmla="*/ 391190 h 1328132"/>
                <a:gd name="connsiteX1903" fmla="*/ 870000 w 1381764"/>
                <a:gd name="connsiteY1903" fmla="*/ 390544 h 1328132"/>
                <a:gd name="connsiteX1904" fmla="*/ 871034 w 1381764"/>
                <a:gd name="connsiteY1904" fmla="*/ 389768 h 1328132"/>
                <a:gd name="connsiteX1905" fmla="*/ 871810 w 1381764"/>
                <a:gd name="connsiteY1905" fmla="*/ 388347 h 1328132"/>
                <a:gd name="connsiteX1906" fmla="*/ 872068 w 1381764"/>
                <a:gd name="connsiteY1906" fmla="*/ 386796 h 1328132"/>
                <a:gd name="connsiteX1907" fmla="*/ 871810 w 1381764"/>
                <a:gd name="connsiteY1907" fmla="*/ 381756 h 1328132"/>
                <a:gd name="connsiteX1908" fmla="*/ 872326 w 1381764"/>
                <a:gd name="connsiteY1908" fmla="*/ 378267 h 1328132"/>
                <a:gd name="connsiteX1909" fmla="*/ 872326 w 1381764"/>
                <a:gd name="connsiteY1909" fmla="*/ 376586 h 1328132"/>
                <a:gd name="connsiteX1910" fmla="*/ 871810 w 1381764"/>
                <a:gd name="connsiteY1910" fmla="*/ 375165 h 1328132"/>
                <a:gd name="connsiteX1911" fmla="*/ 870388 w 1381764"/>
                <a:gd name="connsiteY1911" fmla="*/ 374131 h 1328132"/>
                <a:gd name="connsiteX1912" fmla="*/ 868837 w 1381764"/>
                <a:gd name="connsiteY1912" fmla="*/ 374002 h 1328132"/>
                <a:gd name="connsiteX1913" fmla="*/ 865994 w 1381764"/>
                <a:gd name="connsiteY1913" fmla="*/ 374390 h 1328132"/>
                <a:gd name="connsiteX1914" fmla="*/ 860954 w 1381764"/>
                <a:gd name="connsiteY1914" fmla="*/ 373356 h 1328132"/>
                <a:gd name="connsiteX1915" fmla="*/ 859532 w 1381764"/>
                <a:gd name="connsiteY1915" fmla="*/ 373614 h 1328132"/>
                <a:gd name="connsiteX1916" fmla="*/ 858498 w 1381764"/>
                <a:gd name="connsiteY1916" fmla="*/ 374648 h 1328132"/>
                <a:gd name="connsiteX1917" fmla="*/ 858369 w 1381764"/>
                <a:gd name="connsiteY1917" fmla="*/ 375940 h 1328132"/>
                <a:gd name="connsiteX1918" fmla="*/ 859015 w 1381764"/>
                <a:gd name="connsiteY1918" fmla="*/ 377103 h 1328132"/>
                <a:gd name="connsiteX1919" fmla="*/ 860308 w 1381764"/>
                <a:gd name="connsiteY1919" fmla="*/ 377750 h 1328132"/>
                <a:gd name="connsiteX1920" fmla="*/ 860308 w 1381764"/>
                <a:gd name="connsiteY1920" fmla="*/ 378525 h 1328132"/>
                <a:gd name="connsiteX1921" fmla="*/ 857981 w 1381764"/>
                <a:gd name="connsiteY1921" fmla="*/ 377750 h 1328132"/>
                <a:gd name="connsiteX1922" fmla="*/ 855914 w 1381764"/>
                <a:gd name="connsiteY1922" fmla="*/ 374648 h 1328132"/>
                <a:gd name="connsiteX1923" fmla="*/ 853717 w 1381764"/>
                <a:gd name="connsiteY1923" fmla="*/ 374906 h 1328132"/>
                <a:gd name="connsiteX1924" fmla="*/ 852424 w 1381764"/>
                <a:gd name="connsiteY1924" fmla="*/ 376328 h 1328132"/>
                <a:gd name="connsiteX1925" fmla="*/ 852812 w 1381764"/>
                <a:gd name="connsiteY1925" fmla="*/ 378137 h 1328132"/>
                <a:gd name="connsiteX1926" fmla="*/ 853846 w 1381764"/>
                <a:gd name="connsiteY1926" fmla="*/ 380076 h 1328132"/>
                <a:gd name="connsiteX1927" fmla="*/ 854492 w 1381764"/>
                <a:gd name="connsiteY1927" fmla="*/ 381885 h 1328132"/>
                <a:gd name="connsiteX1928" fmla="*/ 853200 w 1381764"/>
                <a:gd name="connsiteY1928" fmla="*/ 384728 h 1328132"/>
                <a:gd name="connsiteX1929" fmla="*/ 850098 w 1381764"/>
                <a:gd name="connsiteY1929" fmla="*/ 387313 h 1328132"/>
                <a:gd name="connsiteX1930" fmla="*/ 836399 w 1381764"/>
                <a:gd name="connsiteY1930" fmla="*/ 394291 h 1328132"/>
                <a:gd name="connsiteX1931" fmla="*/ 833556 w 1381764"/>
                <a:gd name="connsiteY1931" fmla="*/ 396230 h 1328132"/>
                <a:gd name="connsiteX1932" fmla="*/ 830713 w 1381764"/>
                <a:gd name="connsiteY1932" fmla="*/ 398685 h 1328132"/>
                <a:gd name="connsiteX1933" fmla="*/ 829162 w 1381764"/>
                <a:gd name="connsiteY1933" fmla="*/ 400624 h 1328132"/>
                <a:gd name="connsiteX1934" fmla="*/ 826578 w 1381764"/>
                <a:gd name="connsiteY1934" fmla="*/ 404759 h 1328132"/>
                <a:gd name="connsiteX1935" fmla="*/ 824898 w 1381764"/>
                <a:gd name="connsiteY1935" fmla="*/ 406698 h 1328132"/>
                <a:gd name="connsiteX1936" fmla="*/ 823218 w 1381764"/>
                <a:gd name="connsiteY1936" fmla="*/ 407861 h 1328132"/>
                <a:gd name="connsiteX1937" fmla="*/ 820891 w 1381764"/>
                <a:gd name="connsiteY1937" fmla="*/ 409153 h 1328132"/>
                <a:gd name="connsiteX1938" fmla="*/ 818436 w 1381764"/>
                <a:gd name="connsiteY1938" fmla="*/ 410187 h 1328132"/>
                <a:gd name="connsiteX1939" fmla="*/ 816368 w 1381764"/>
                <a:gd name="connsiteY1939" fmla="*/ 410575 h 1328132"/>
                <a:gd name="connsiteX1940" fmla="*/ 816756 w 1381764"/>
                <a:gd name="connsiteY1940" fmla="*/ 409799 h 1328132"/>
                <a:gd name="connsiteX1941" fmla="*/ 817144 w 1381764"/>
                <a:gd name="connsiteY1941" fmla="*/ 409283 h 1328132"/>
                <a:gd name="connsiteX1942" fmla="*/ 817661 w 1381764"/>
                <a:gd name="connsiteY1942" fmla="*/ 408895 h 1328132"/>
                <a:gd name="connsiteX1943" fmla="*/ 818565 w 1381764"/>
                <a:gd name="connsiteY1943" fmla="*/ 408507 h 1328132"/>
                <a:gd name="connsiteX1944" fmla="*/ 818565 w 1381764"/>
                <a:gd name="connsiteY1944" fmla="*/ 407861 h 1328132"/>
                <a:gd name="connsiteX1945" fmla="*/ 813267 w 1381764"/>
                <a:gd name="connsiteY1945" fmla="*/ 408895 h 1328132"/>
                <a:gd name="connsiteX1946" fmla="*/ 810811 w 1381764"/>
                <a:gd name="connsiteY1946" fmla="*/ 410058 h 1328132"/>
                <a:gd name="connsiteX1947" fmla="*/ 809777 w 1381764"/>
                <a:gd name="connsiteY1947" fmla="*/ 411867 h 1328132"/>
                <a:gd name="connsiteX1948" fmla="*/ 808873 w 1381764"/>
                <a:gd name="connsiteY1948" fmla="*/ 414323 h 1328132"/>
                <a:gd name="connsiteX1949" fmla="*/ 806805 w 1381764"/>
                <a:gd name="connsiteY1949" fmla="*/ 416520 h 1328132"/>
                <a:gd name="connsiteX1950" fmla="*/ 804220 w 1381764"/>
                <a:gd name="connsiteY1950" fmla="*/ 418329 h 1328132"/>
                <a:gd name="connsiteX1951" fmla="*/ 801894 w 1381764"/>
                <a:gd name="connsiteY1951" fmla="*/ 419492 h 1328132"/>
                <a:gd name="connsiteX1952" fmla="*/ 794011 w 1381764"/>
                <a:gd name="connsiteY1952" fmla="*/ 422206 h 1328132"/>
                <a:gd name="connsiteX1953" fmla="*/ 791943 w 1381764"/>
                <a:gd name="connsiteY1953" fmla="*/ 423498 h 1328132"/>
                <a:gd name="connsiteX1954" fmla="*/ 790005 w 1381764"/>
                <a:gd name="connsiteY1954" fmla="*/ 424532 h 1328132"/>
                <a:gd name="connsiteX1955" fmla="*/ 781992 w 1381764"/>
                <a:gd name="connsiteY1955" fmla="*/ 426083 h 1328132"/>
                <a:gd name="connsiteX1956" fmla="*/ 755758 w 1381764"/>
                <a:gd name="connsiteY1956" fmla="*/ 444046 h 1328132"/>
                <a:gd name="connsiteX1957" fmla="*/ 751105 w 1381764"/>
                <a:gd name="connsiteY1957" fmla="*/ 446373 h 1328132"/>
                <a:gd name="connsiteX1958" fmla="*/ 746195 w 1381764"/>
                <a:gd name="connsiteY1958" fmla="*/ 447923 h 1328132"/>
                <a:gd name="connsiteX1959" fmla="*/ 745031 w 1381764"/>
                <a:gd name="connsiteY1959" fmla="*/ 448053 h 1328132"/>
                <a:gd name="connsiteX1960" fmla="*/ 742834 w 1381764"/>
                <a:gd name="connsiteY1960" fmla="*/ 447923 h 1328132"/>
                <a:gd name="connsiteX1961" fmla="*/ 741800 w 1381764"/>
                <a:gd name="connsiteY1961" fmla="*/ 447923 h 1328132"/>
                <a:gd name="connsiteX1962" fmla="*/ 740637 w 1381764"/>
                <a:gd name="connsiteY1962" fmla="*/ 448311 h 1328132"/>
                <a:gd name="connsiteX1963" fmla="*/ 738957 w 1381764"/>
                <a:gd name="connsiteY1963" fmla="*/ 449216 h 1328132"/>
                <a:gd name="connsiteX1964" fmla="*/ 738440 w 1381764"/>
                <a:gd name="connsiteY1964" fmla="*/ 449345 h 1328132"/>
                <a:gd name="connsiteX1965" fmla="*/ 733529 w 1381764"/>
                <a:gd name="connsiteY1965" fmla="*/ 449086 h 1328132"/>
                <a:gd name="connsiteX1966" fmla="*/ 731591 w 1381764"/>
                <a:gd name="connsiteY1966" fmla="*/ 449474 h 1328132"/>
                <a:gd name="connsiteX1967" fmla="*/ 729394 w 1381764"/>
                <a:gd name="connsiteY1967" fmla="*/ 450767 h 1328132"/>
                <a:gd name="connsiteX1968" fmla="*/ 725776 w 1381764"/>
                <a:gd name="connsiteY1968" fmla="*/ 454514 h 1328132"/>
                <a:gd name="connsiteX1969" fmla="*/ 725517 w 1381764"/>
                <a:gd name="connsiteY1969" fmla="*/ 454902 h 1328132"/>
                <a:gd name="connsiteX1970" fmla="*/ 725388 w 1381764"/>
                <a:gd name="connsiteY1970" fmla="*/ 456065 h 1328132"/>
                <a:gd name="connsiteX1971" fmla="*/ 725000 w 1381764"/>
                <a:gd name="connsiteY1971" fmla="*/ 456582 h 1328132"/>
                <a:gd name="connsiteX1972" fmla="*/ 724483 w 1381764"/>
                <a:gd name="connsiteY1972" fmla="*/ 456711 h 1328132"/>
                <a:gd name="connsiteX1973" fmla="*/ 723062 w 1381764"/>
                <a:gd name="connsiteY1973" fmla="*/ 456582 h 1328132"/>
                <a:gd name="connsiteX1974" fmla="*/ 720218 w 1381764"/>
                <a:gd name="connsiteY1974" fmla="*/ 457874 h 1328132"/>
                <a:gd name="connsiteX1975" fmla="*/ 718926 w 1381764"/>
                <a:gd name="connsiteY1975" fmla="*/ 457099 h 1328132"/>
                <a:gd name="connsiteX1976" fmla="*/ 718539 w 1381764"/>
                <a:gd name="connsiteY1976" fmla="*/ 455160 h 1328132"/>
                <a:gd name="connsiteX1977" fmla="*/ 719055 w 1381764"/>
                <a:gd name="connsiteY1977" fmla="*/ 452834 h 1328132"/>
                <a:gd name="connsiteX1978" fmla="*/ 719702 w 1381764"/>
                <a:gd name="connsiteY1978" fmla="*/ 451671 h 1328132"/>
                <a:gd name="connsiteX1979" fmla="*/ 721382 w 1381764"/>
                <a:gd name="connsiteY1979" fmla="*/ 449603 h 1328132"/>
                <a:gd name="connsiteX1980" fmla="*/ 721899 w 1381764"/>
                <a:gd name="connsiteY1980" fmla="*/ 448440 h 1328132"/>
                <a:gd name="connsiteX1981" fmla="*/ 722028 w 1381764"/>
                <a:gd name="connsiteY1981" fmla="*/ 447148 h 1328132"/>
                <a:gd name="connsiteX1982" fmla="*/ 721769 w 1381764"/>
                <a:gd name="connsiteY1982" fmla="*/ 446114 h 1328132"/>
                <a:gd name="connsiteX1983" fmla="*/ 721382 w 1381764"/>
                <a:gd name="connsiteY1983" fmla="*/ 445209 h 1328132"/>
                <a:gd name="connsiteX1984" fmla="*/ 720865 w 1381764"/>
                <a:gd name="connsiteY1984" fmla="*/ 442754 h 1328132"/>
                <a:gd name="connsiteX1985" fmla="*/ 719960 w 1381764"/>
                <a:gd name="connsiteY1985" fmla="*/ 440686 h 1328132"/>
                <a:gd name="connsiteX1986" fmla="*/ 718539 w 1381764"/>
                <a:gd name="connsiteY1986" fmla="*/ 438877 h 1328132"/>
                <a:gd name="connsiteX1987" fmla="*/ 716858 w 1381764"/>
                <a:gd name="connsiteY1987" fmla="*/ 438102 h 1328132"/>
                <a:gd name="connsiteX1988" fmla="*/ 715566 w 1381764"/>
                <a:gd name="connsiteY1988" fmla="*/ 438619 h 1328132"/>
                <a:gd name="connsiteX1989" fmla="*/ 711818 w 1381764"/>
                <a:gd name="connsiteY1989" fmla="*/ 441074 h 1328132"/>
                <a:gd name="connsiteX1990" fmla="*/ 710009 w 1381764"/>
                <a:gd name="connsiteY1990" fmla="*/ 441591 h 1328132"/>
                <a:gd name="connsiteX1991" fmla="*/ 701092 w 1381764"/>
                <a:gd name="connsiteY1991" fmla="*/ 443529 h 1328132"/>
                <a:gd name="connsiteX1992" fmla="*/ 682741 w 1381764"/>
                <a:gd name="connsiteY1992" fmla="*/ 444305 h 1328132"/>
                <a:gd name="connsiteX1993" fmla="*/ 676021 w 1381764"/>
                <a:gd name="connsiteY1993" fmla="*/ 446243 h 1328132"/>
                <a:gd name="connsiteX1994" fmla="*/ 673694 w 1381764"/>
                <a:gd name="connsiteY1994" fmla="*/ 446502 h 1328132"/>
                <a:gd name="connsiteX1995" fmla="*/ 672531 w 1381764"/>
                <a:gd name="connsiteY1995" fmla="*/ 446760 h 1328132"/>
                <a:gd name="connsiteX1996" fmla="*/ 671498 w 1381764"/>
                <a:gd name="connsiteY1996" fmla="*/ 447148 h 1328132"/>
                <a:gd name="connsiteX1997" fmla="*/ 670722 w 1381764"/>
                <a:gd name="connsiteY1997" fmla="*/ 447148 h 1328132"/>
                <a:gd name="connsiteX1998" fmla="*/ 670464 w 1381764"/>
                <a:gd name="connsiteY1998" fmla="*/ 446114 h 1328132"/>
                <a:gd name="connsiteX1999" fmla="*/ 670464 w 1381764"/>
                <a:gd name="connsiteY1999" fmla="*/ 444693 h 1328132"/>
                <a:gd name="connsiteX2000" fmla="*/ 670593 w 1381764"/>
                <a:gd name="connsiteY2000" fmla="*/ 443788 h 1328132"/>
                <a:gd name="connsiteX2001" fmla="*/ 670980 w 1381764"/>
                <a:gd name="connsiteY2001" fmla="*/ 443012 h 1328132"/>
                <a:gd name="connsiteX2002" fmla="*/ 671885 w 1381764"/>
                <a:gd name="connsiteY2002" fmla="*/ 442108 h 1328132"/>
                <a:gd name="connsiteX2003" fmla="*/ 673565 w 1381764"/>
                <a:gd name="connsiteY2003" fmla="*/ 441332 h 1328132"/>
                <a:gd name="connsiteX2004" fmla="*/ 680414 w 1381764"/>
                <a:gd name="connsiteY2004" fmla="*/ 439265 h 1328132"/>
                <a:gd name="connsiteX2005" fmla="*/ 685067 w 1381764"/>
                <a:gd name="connsiteY2005" fmla="*/ 439006 h 1328132"/>
                <a:gd name="connsiteX2006" fmla="*/ 686876 w 1381764"/>
                <a:gd name="connsiteY2006" fmla="*/ 438489 h 1328132"/>
                <a:gd name="connsiteX2007" fmla="*/ 695793 w 1381764"/>
                <a:gd name="connsiteY2007" fmla="*/ 434742 h 1328132"/>
                <a:gd name="connsiteX2008" fmla="*/ 696956 w 1381764"/>
                <a:gd name="connsiteY2008" fmla="*/ 433578 h 1328132"/>
                <a:gd name="connsiteX2009" fmla="*/ 697603 w 1381764"/>
                <a:gd name="connsiteY2009" fmla="*/ 431898 h 1328132"/>
                <a:gd name="connsiteX2010" fmla="*/ 699283 w 1381764"/>
                <a:gd name="connsiteY2010" fmla="*/ 430348 h 1328132"/>
                <a:gd name="connsiteX2011" fmla="*/ 701480 w 1381764"/>
                <a:gd name="connsiteY2011" fmla="*/ 428926 h 1328132"/>
                <a:gd name="connsiteX2012" fmla="*/ 703677 w 1381764"/>
                <a:gd name="connsiteY2012" fmla="*/ 428021 h 1328132"/>
                <a:gd name="connsiteX2013" fmla="*/ 711043 w 1381764"/>
                <a:gd name="connsiteY2013" fmla="*/ 426471 h 1328132"/>
                <a:gd name="connsiteX2014" fmla="*/ 713757 w 1381764"/>
                <a:gd name="connsiteY2014" fmla="*/ 424920 h 1328132"/>
                <a:gd name="connsiteX2015" fmla="*/ 716212 w 1381764"/>
                <a:gd name="connsiteY2015" fmla="*/ 424532 h 1328132"/>
                <a:gd name="connsiteX2016" fmla="*/ 717246 w 1381764"/>
                <a:gd name="connsiteY2016" fmla="*/ 423886 h 1328132"/>
                <a:gd name="connsiteX2017" fmla="*/ 720089 w 1381764"/>
                <a:gd name="connsiteY2017" fmla="*/ 420655 h 1328132"/>
                <a:gd name="connsiteX2018" fmla="*/ 721252 w 1381764"/>
                <a:gd name="connsiteY2018" fmla="*/ 419880 h 1328132"/>
                <a:gd name="connsiteX2019" fmla="*/ 723708 w 1381764"/>
                <a:gd name="connsiteY2019" fmla="*/ 419234 h 1328132"/>
                <a:gd name="connsiteX2020" fmla="*/ 725776 w 1381764"/>
                <a:gd name="connsiteY2020" fmla="*/ 419750 h 1328132"/>
                <a:gd name="connsiteX2021" fmla="*/ 727455 w 1381764"/>
                <a:gd name="connsiteY2021" fmla="*/ 421043 h 1328132"/>
                <a:gd name="connsiteX2022" fmla="*/ 728877 w 1381764"/>
                <a:gd name="connsiteY2022" fmla="*/ 422594 h 1328132"/>
                <a:gd name="connsiteX2023" fmla="*/ 730428 w 1381764"/>
                <a:gd name="connsiteY2023" fmla="*/ 423627 h 1328132"/>
                <a:gd name="connsiteX2024" fmla="*/ 737277 w 1381764"/>
                <a:gd name="connsiteY2024" fmla="*/ 425824 h 1328132"/>
                <a:gd name="connsiteX2025" fmla="*/ 739603 w 1381764"/>
                <a:gd name="connsiteY2025" fmla="*/ 426212 h 1328132"/>
                <a:gd name="connsiteX2026" fmla="*/ 745677 w 1381764"/>
                <a:gd name="connsiteY2026" fmla="*/ 425824 h 1328132"/>
                <a:gd name="connsiteX2027" fmla="*/ 747099 w 1381764"/>
                <a:gd name="connsiteY2027" fmla="*/ 425307 h 1328132"/>
                <a:gd name="connsiteX2028" fmla="*/ 750459 w 1381764"/>
                <a:gd name="connsiteY2028" fmla="*/ 421560 h 1328132"/>
                <a:gd name="connsiteX2029" fmla="*/ 753690 w 1381764"/>
                <a:gd name="connsiteY2029" fmla="*/ 419363 h 1328132"/>
                <a:gd name="connsiteX2030" fmla="*/ 755111 w 1381764"/>
                <a:gd name="connsiteY2030" fmla="*/ 417941 h 1328132"/>
                <a:gd name="connsiteX2031" fmla="*/ 755758 w 1381764"/>
                <a:gd name="connsiteY2031" fmla="*/ 416132 h 1328132"/>
                <a:gd name="connsiteX2032" fmla="*/ 754207 w 1381764"/>
                <a:gd name="connsiteY2032" fmla="*/ 406956 h 1328132"/>
                <a:gd name="connsiteX2033" fmla="*/ 754336 w 1381764"/>
                <a:gd name="connsiteY2033" fmla="*/ 402175 h 1328132"/>
                <a:gd name="connsiteX2034" fmla="*/ 756533 w 1381764"/>
                <a:gd name="connsiteY2034" fmla="*/ 399978 h 1328132"/>
                <a:gd name="connsiteX2035" fmla="*/ 756792 w 1381764"/>
                <a:gd name="connsiteY2035" fmla="*/ 399848 h 1328132"/>
                <a:gd name="connsiteX2036" fmla="*/ 756404 w 1381764"/>
                <a:gd name="connsiteY2036" fmla="*/ 399719 h 1328132"/>
                <a:gd name="connsiteX2037" fmla="*/ 754336 w 1381764"/>
                <a:gd name="connsiteY2037" fmla="*/ 398685 h 1328132"/>
                <a:gd name="connsiteX2038" fmla="*/ 753173 w 1381764"/>
                <a:gd name="connsiteY2038" fmla="*/ 398685 h 1328132"/>
                <a:gd name="connsiteX2039" fmla="*/ 752915 w 1381764"/>
                <a:gd name="connsiteY2039" fmla="*/ 398815 h 1328132"/>
                <a:gd name="connsiteX2040" fmla="*/ 752656 w 1381764"/>
                <a:gd name="connsiteY2040" fmla="*/ 399073 h 1328132"/>
                <a:gd name="connsiteX2041" fmla="*/ 752268 w 1381764"/>
                <a:gd name="connsiteY2041" fmla="*/ 399332 h 1328132"/>
                <a:gd name="connsiteX2042" fmla="*/ 751881 w 1381764"/>
                <a:gd name="connsiteY2042" fmla="*/ 399461 h 1328132"/>
                <a:gd name="connsiteX2043" fmla="*/ 751235 w 1381764"/>
                <a:gd name="connsiteY2043" fmla="*/ 399332 h 1328132"/>
                <a:gd name="connsiteX2044" fmla="*/ 750588 w 1381764"/>
                <a:gd name="connsiteY2044" fmla="*/ 398944 h 1328132"/>
                <a:gd name="connsiteX2045" fmla="*/ 749555 w 1381764"/>
                <a:gd name="connsiteY2045" fmla="*/ 398168 h 1328132"/>
                <a:gd name="connsiteX2046" fmla="*/ 748908 w 1381764"/>
                <a:gd name="connsiteY2046" fmla="*/ 398039 h 1328132"/>
                <a:gd name="connsiteX2047" fmla="*/ 748521 w 1381764"/>
                <a:gd name="connsiteY2047" fmla="*/ 398298 h 1328132"/>
                <a:gd name="connsiteX2048" fmla="*/ 747874 w 1381764"/>
                <a:gd name="connsiteY2048" fmla="*/ 399848 h 1328132"/>
                <a:gd name="connsiteX2049" fmla="*/ 747616 w 1381764"/>
                <a:gd name="connsiteY2049" fmla="*/ 400236 h 1328132"/>
                <a:gd name="connsiteX2050" fmla="*/ 747228 w 1381764"/>
                <a:gd name="connsiteY2050" fmla="*/ 400624 h 1328132"/>
                <a:gd name="connsiteX2051" fmla="*/ 746841 w 1381764"/>
                <a:gd name="connsiteY2051" fmla="*/ 400753 h 1328132"/>
                <a:gd name="connsiteX2052" fmla="*/ 746065 w 1381764"/>
                <a:gd name="connsiteY2052" fmla="*/ 401012 h 1328132"/>
                <a:gd name="connsiteX2053" fmla="*/ 745548 w 1381764"/>
                <a:gd name="connsiteY2053" fmla="*/ 401012 h 1328132"/>
                <a:gd name="connsiteX2054" fmla="*/ 744385 w 1381764"/>
                <a:gd name="connsiteY2054" fmla="*/ 400753 h 1328132"/>
                <a:gd name="connsiteX2055" fmla="*/ 743739 w 1381764"/>
                <a:gd name="connsiteY2055" fmla="*/ 400753 h 1328132"/>
                <a:gd name="connsiteX2056" fmla="*/ 743093 w 1381764"/>
                <a:gd name="connsiteY2056" fmla="*/ 400882 h 1328132"/>
                <a:gd name="connsiteX2057" fmla="*/ 742576 w 1381764"/>
                <a:gd name="connsiteY2057" fmla="*/ 401012 h 1328132"/>
                <a:gd name="connsiteX2058" fmla="*/ 742059 w 1381764"/>
                <a:gd name="connsiteY2058" fmla="*/ 401270 h 1328132"/>
                <a:gd name="connsiteX2059" fmla="*/ 741542 w 1381764"/>
                <a:gd name="connsiteY2059" fmla="*/ 401529 h 1328132"/>
                <a:gd name="connsiteX2060" fmla="*/ 741154 w 1381764"/>
                <a:gd name="connsiteY2060" fmla="*/ 401916 h 1328132"/>
                <a:gd name="connsiteX2061" fmla="*/ 740896 w 1381764"/>
                <a:gd name="connsiteY2061" fmla="*/ 402304 h 1328132"/>
                <a:gd name="connsiteX2062" fmla="*/ 740767 w 1381764"/>
                <a:gd name="connsiteY2062" fmla="*/ 402821 h 1328132"/>
                <a:gd name="connsiteX2063" fmla="*/ 740896 w 1381764"/>
                <a:gd name="connsiteY2063" fmla="*/ 404759 h 1328132"/>
                <a:gd name="connsiteX2064" fmla="*/ 740767 w 1381764"/>
                <a:gd name="connsiteY2064" fmla="*/ 405406 h 1328132"/>
                <a:gd name="connsiteX2065" fmla="*/ 740508 w 1381764"/>
                <a:gd name="connsiteY2065" fmla="*/ 405922 h 1328132"/>
                <a:gd name="connsiteX2066" fmla="*/ 740121 w 1381764"/>
                <a:gd name="connsiteY2066" fmla="*/ 406310 h 1328132"/>
                <a:gd name="connsiteX2067" fmla="*/ 739733 w 1381764"/>
                <a:gd name="connsiteY2067" fmla="*/ 406569 h 1328132"/>
                <a:gd name="connsiteX2068" fmla="*/ 739216 w 1381764"/>
                <a:gd name="connsiteY2068" fmla="*/ 406569 h 1328132"/>
                <a:gd name="connsiteX2069" fmla="*/ 738699 w 1381764"/>
                <a:gd name="connsiteY2069" fmla="*/ 406181 h 1328132"/>
                <a:gd name="connsiteX2070" fmla="*/ 738182 w 1381764"/>
                <a:gd name="connsiteY2070" fmla="*/ 405535 h 1328132"/>
                <a:gd name="connsiteX2071" fmla="*/ 736631 w 1381764"/>
                <a:gd name="connsiteY2071" fmla="*/ 402045 h 1328132"/>
                <a:gd name="connsiteX2072" fmla="*/ 736243 w 1381764"/>
                <a:gd name="connsiteY2072" fmla="*/ 401529 h 1328132"/>
                <a:gd name="connsiteX2073" fmla="*/ 735597 w 1381764"/>
                <a:gd name="connsiteY2073" fmla="*/ 400882 h 1328132"/>
                <a:gd name="connsiteX2074" fmla="*/ 734305 w 1381764"/>
                <a:gd name="connsiteY2074" fmla="*/ 399978 h 1328132"/>
                <a:gd name="connsiteX2075" fmla="*/ 733529 w 1381764"/>
                <a:gd name="connsiteY2075" fmla="*/ 399590 h 1328132"/>
                <a:gd name="connsiteX2076" fmla="*/ 732366 w 1381764"/>
                <a:gd name="connsiteY2076" fmla="*/ 399461 h 1328132"/>
                <a:gd name="connsiteX2077" fmla="*/ 720606 w 1381764"/>
                <a:gd name="connsiteY2077" fmla="*/ 398685 h 1328132"/>
                <a:gd name="connsiteX2078" fmla="*/ 719960 w 1381764"/>
                <a:gd name="connsiteY2078" fmla="*/ 398556 h 1328132"/>
                <a:gd name="connsiteX2079" fmla="*/ 717892 w 1381764"/>
                <a:gd name="connsiteY2079" fmla="*/ 397781 h 1328132"/>
                <a:gd name="connsiteX2080" fmla="*/ 717375 w 1381764"/>
                <a:gd name="connsiteY2080" fmla="*/ 397522 h 1328132"/>
                <a:gd name="connsiteX2081" fmla="*/ 716600 w 1381764"/>
                <a:gd name="connsiteY2081" fmla="*/ 396876 h 1328132"/>
                <a:gd name="connsiteX2082" fmla="*/ 713240 w 1381764"/>
                <a:gd name="connsiteY2082" fmla="*/ 393258 h 1328132"/>
                <a:gd name="connsiteX2083" fmla="*/ 712206 w 1381764"/>
                <a:gd name="connsiteY2083" fmla="*/ 392353 h 1328132"/>
                <a:gd name="connsiteX2084" fmla="*/ 711689 w 1381764"/>
                <a:gd name="connsiteY2084" fmla="*/ 392094 h 1328132"/>
                <a:gd name="connsiteX2085" fmla="*/ 709621 w 1381764"/>
                <a:gd name="connsiteY2085" fmla="*/ 391190 h 1328132"/>
                <a:gd name="connsiteX2086" fmla="*/ 707812 w 1381764"/>
                <a:gd name="connsiteY2086" fmla="*/ 390802 h 1328132"/>
                <a:gd name="connsiteX2087" fmla="*/ 707295 w 1381764"/>
                <a:gd name="connsiteY2087" fmla="*/ 390414 h 1328132"/>
                <a:gd name="connsiteX2088" fmla="*/ 706907 w 1381764"/>
                <a:gd name="connsiteY2088" fmla="*/ 389897 h 1328132"/>
                <a:gd name="connsiteX2089" fmla="*/ 706132 w 1381764"/>
                <a:gd name="connsiteY2089" fmla="*/ 386796 h 1328132"/>
                <a:gd name="connsiteX2090" fmla="*/ 706003 w 1381764"/>
                <a:gd name="connsiteY2090" fmla="*/ 386150 h 1328132"/>
                <a:gd name="connsiteX2091" fmla="*/ 706003 w 1381764"/>
                <a:gd name="connsiteY2091" fmla="*/ 383694 h 1328132"/>
                <a:gd name="connsiteX2092" fmla="*/ 705874 w 1381764"/>
                <a:gd name="connsiteY2092" fmla="*/ 383436 h 1328132"/>
                <a:gd name="connsiteX2093" fmla="*/ 704452 w 1381764"/>
                <a:gd name="connsiteY2093" fmla="*/ 380463 h 1328132"/>
                <a:gd name="connsiteX2094" fmla="*/ 704323 w 1381764"/>
                <a:gd name="connsiteY2094" fmla="*/ 379430 h 1328132"/>
                <a:gd name="connsiteX2095" fmla="*/ 704323 w 1381764"/>
                <a:gd name="connsiteY2095" fmla="*/ 378654 h 1328132"/>
                <a:gd name="connsiteX2096" fmla="*/ 704581 w 1381764"/>
                <a:gd name="connsiteY2096" fmla="*/ 378137 h 1328132"/>
                <a:gd name="connsiteX2097" fmla="*/ 706261 w 1381764"/>
                <a:gd name="connsiteY2097" fmla="*/ 376070 h 1328132"/>
                <a:gd name="connsiteX2098" fmla="*/ 706520 w 1381764"/>
                <a:gd name="connsiteY2098" fmla="*/ 375553 h 1328132"/>
                <a:gd name="connsiteX2099" fmla="*/ 706649 w 1381764"/>
                <a:gd name="connsiteY2099" fmla="*/ 375036 h 1328132"/>
                <a:gd name="connsiteX2100" fmla="*/ 706649 w 1381764"/>
                <a:gd name="connsiteY2100" fmla="*/ 374390 h 1328132"/>
                <a:gd name="connsiteX2101" fmla="*/ 706520 w 1381764"/>
                <a:gd name="connsiteY2101" fmla="*/ 373743 h 1328132"/>
                <a:gd name="connsiteX2102" fmla="*/ 706261 w 1381764"/>
                <a:gd name="connsiteY2102" fmla="*/ 372580 h 1328132"/>
                <a:gd name="connsiteX2103" fmla="*/ 705874 w 1381764"/>
                <a:gd name="connsiteY2103" fmla="*/ 371934 h 1328132"/>
                <a:gd name="connsiteX2104" fmla="*/ 705357 w 1381764"/>
                <a:gd name="connsiteY2104" fmla="*/ 371159 h 1328132"/>
                <a:gd name="connsiteX2105" fmla="*/ 703418 w 1381764"/>
                <a:gd name="connsiteY2105" fmla="*/ 369220 h 1328132"/>
                <a:gd name="connsiteX2106" fmla="*/ 702772 w 1381764"/>
                <a:gd name="connsiteY2106" fmla="*/ 368832 h 1328132"/>
                <a:gd name="connsiteX2107" fmla="*/ 702255 w 1381764"/>
                <a:gd name="connsiteY2107" fmla="*/ 368574 h 1328132"/>
                <a:gd name="connsiteX2108" fmla="*/ 701609 w 1381764"/>
                <a:gd name="connsiteY2108" fmla="*/ 368445 h 1328132"/>
                <a:gd name="connsiteX2109" fmla="*/ 700963 w 1381764"/>
                <a:gd name="connsiteY2109" fmla="*/ 368316 h 1328132"/>
                <a:gd name="connsiteX2110" fmla="*/ 700317 w 1381764"/>
                <a:gd name="connsiteY2110" fmla="*/ 368316 h 1328132"/>
                <a:gd name="connsiteX2111" fmla="*/ 699670 w 1381764"/>
                <a:gd name="connsiteY2111" fmla="*/ 368316 h 1328132"/>
                <a:gd name="connsiteX2112" fmla="*/ 699024 w 1381764"/>
                <a:gd name="connsiteY2112" fmla="*/ 368445 h 1328132"/>
                <a:gd name="connsiteX2113" fmla="*/ 692562 w 1381764"/>
                <a:gd name="connsiteY2113" fmla="*/ 370512 h 1328132"/>
                <a:gd name="connsiteX2114" fmla="*/ 692175 w 1381764"/>
                <a:gd name="connsiteY2114" fmla="*/ 370512 h 1328132"/>
                <a:gd name="connsiteX2115" fmla="*/ 691658 w 1381764"/>
                <a:gd name="connsiteY2115" fmla="*/ 370512 h 1328132"/>
                <a:gd name="connsiteX2116" fmla="*/ 691141 w 1381764"/>
                <a:gd name="connsiteY2116" fmla="*/ 370254 h 1328132"/>
                <a:gd name="connsiteX2117" fmla="*/ 690753 w 1381764"/>
                <a:gd name="connsiteY2117" fmla="*/ 369866 h 1328132"/>
                <a:gd name="connsiteX2118" fmla="*/ 690495 w 1381764"/>
                <a:gd name="connsiteY2118" fmla="*/ 368962 h 1328132"/>
                <a:gd name="connsiteX2119" fmla="*/ 690495 w 1381764"/>
                <a:gd name="connsiteY2119" fmla="*/ 368186 h 1328132"/>
                <a:gd name="connsiteX2120" fmla="*/ 690624 w 1381764"/>
                <a:gd name="connsiteY2120" fmla="*/ 367540 h 1328132"/>
                <a:gd name="connsiteX2121" fmla="*/ 690753 w 1381764"/>
                <a:gd name="connsiteY2121" fmla="*/ 367023 h 1328132"/>
                <a:gd name="connsiteX2122" fmla="*/ 691270 w 1381764"/>
                <a:gd name="connsiteY2122" fmla="*/ 365989 h 1328132"/>
                <a:gd name="connsiteX2123" fmla="*/ 691399 w 1381764"/>
                <a:gd name="connsiteY2123" fmla="*/ 365472 h 1328132"/>
                <a:gd name="connsiteX2124" fmla="*/ 691399 w 1381764"/>
                <a:gd name="connsiteY2124" fmla="*/ 364955 h 1328132"/>
                <a:gd name="connsiteX2125" fmla="*/ 691270 w 1381764"/>
                <a:gd name="connsiteY2125" fmla="*/ 364439 h 1328132"/>
                <a:gd name="connsiteX2126" fmla="*/ 690495 w 1381764"/>
                <a:gd name="connsiteY2126" fmla="*/ 362500 h 1328132"/>
                <a:gd name="connsiteX2127" fmla="*/ 690366 w 1381764"/>
                <a:gd name="connsiteY2127" fmla="*/ 361854 h 1328132"/>
                <a:gd name="connsiteX2128" fmla="*/ 690366 w 1381764"/>
                <a:gd name="connsiteY2128" fmla="*/ 361208 h 1328132"/>
                <a:gd name="connsiteX2129" fmla="*/ 690495 w 1381764"/>
                <a:gd name="connsiteY2129" fmla="*/ 360691 h 1328132"/>
                <a:gd name="connsiteX2130" fmla="*/ 691012 w 1381764"/>
                <a:gd name="connsiteY2130" fmla="*/ 359657 h 1328132"/>
                <a:gd name="connsiteX2131" fmla="*/ 691399 w 1381764"/>
                <a:gd name="connsiteY2131" fmla="*/ 358623 h 1328132"/>
                <a:gd name="connsiteX2132" fmla="*/ 691658 w 1381764"/>
                <a:gd name="connsiteY2132" fmla="*/ 357331 h 1328132"/>
                <a:gd name="connsiteX2133" fmla="*/ 691658 w 1381764"/>
                <a:gd name="connsiteY2133" fmla="*/ 356038 h 1328132"/>
                <a:gd name="connsiteX2134" fmla="*/ 691529 w 1381764"/>
                <a:gd name="connsiteY2134" fmla="*/ 355263 h 1328132"/>
                <a:gd name="connsiteX2135" fmla="*/ 691399 w 1381764"/>
                <a:gd name="connsiteY2135" fmla="*/ 354488 h 1328132"/>
                <a:gd name="connsiteX2136" fmla="*/ 690107 w 1381764"/>
                <a:gd name="connsiteY2136" fmla="*/ 350869 h 1328132"/>
                <a:gd name="connsiteX2137" fmla="*/ 689978 w 1381764"/>
                <a:gd name="connsiteY2137" fmla="*/ 350223 h 1328132"/>
                <a:gd name="connsiteX2138" fmla="*/ 689849 w 1381764"/>
                <a:gd name="connsiteY2138" fmla="*/ 346733 h 1328132"/>
                <a:gd name="connsiteX2139" fmla="*/ 689590 w 1381764"/>
                <a:gd name="connsiteY2139" fmla="*/ 345570 h 1328132"/>
                <a:gd name="connsiteX2140" fmla="*/ 689202 w 1381764"/>
                <a:gd name="connsiteY2140" fmla="*/ 344795 h 1328132"/>
                <a:gd name="connsiteX2141" fmla="*/ 688556 w 1381764"/>
                <a:gd name="connsiteY2141" fmla="*/ 344020 h 1328132"/>
                <a:gd name="connsiteX2142" fmla="*/ 686876 w 1381764"/>
                <a:gd name="connsiteY2142" fmla="*/ 342857 h 1328132"/>
                <a:gd name="connsiteX2143" fmla="*/ 685713 w 1381764"/>
                <a:gd name="connsiteY2143" fmla="*/ 342469 h 1328132"/>
                <a:gd name="connsiteX2144" fmla="*/ 684550 w 1381764"/>
                <a:gd name="connsiteY2144" fmla="*/ 342340 h 1328132"/>
                <a:gd name="connsiteX2145" fmla="*/ 682999 w 1381764"/>
                <a:gd name="connsiteY2145" fmla="*/ 342340 h 1328132"/>
                <a:gd name="connsiteX2146" fmla="*/ 682353 w 1381764"/>
                <a:gd name="connsiteY2146" fmla="*/ 342210 h 1328132"/>
                <a:gd name="connsiteX2147" fmla="*/ 681836 w 1381764"/>
                <a:gd name="connsiteY2147" fmla="*/ 342081 h 1328132"/>
                <a:gd name="connsiteX2148" fmla="*/ 681319 w 1381764"/>
                <a:gd name="connsiteY2148" fmla="*/ 341823 h 1328132"/>
                <a:gd name="connsiteX2149" fmla="*/ 680802 w 1381764"/>
                <a:gd name="connsiteY2149" fmla="*/ 341177 h 1328132"/>
                <a:gd name="connsiteX2150" fmla="*/ 680156 w 1381764"/>
                <a:gd name="connsiteY2150" fmla="*/ 340143 h 1328132"/>
                <a:gd name="connsiteX2151" fmla="*/ 678347 w 1381764"/>
                <a:gd name="connsiteY2151" fmla="*/ 336007 h 1328132"/>
                <a:gd name="connsiteX2152" fmla="*/ 678088 w 1381764"/>
                <a:gd name="connsiteY2152" fmla="*/ 334844 h 1328132"/>
                <a:gd name="connsiteX2153" fmla="*/ 677959 w 1381764"/>
                <a:gd name="connsiteY2153" fmla="*/ 333552 h 1328132"/>
                <a:gd name="connsiteX2154" fmla="*/ 677959 w 1381764"/>
                <a:gd name="connsiteY2154" fmla="*/ 332259 h 1328132"/>
                <a:gd name="connsiteX2155" fmla="*/ 678088 w 1381764"/>
                <a:gd name="connsiteY2155" fmla="*/ 330967 h 1328132"/>
                <a:gd name="connsiteX2156" fmla="*/ 678864 w 1381764"/>
                <a:gd name="connsiteY2156" fmla="*/ 328641 h 1328132"/>
                <a:gd name="connsiteX2157" fmla="*/ 678993 w 1381764"/>
                <a:gd name="connsiteY2157" fmla="*/ 327478 h 1328132"/>
                <a:gd name="connsiteX2158" fmla="*/ 678993 w 1381764"/>
                <a:gd name="connsiteY2158" fmla="*/ 319078 h 1328132"/>
                <a:gd name="connsiteX2159" fmla="*/ 678605 w 1381764"/>
                <a:gd name="connsiteY2159" fmla="*/ 318302 h 1328132"/>
                <a:gd name="connsiteX2160" fmla="*/ 677830 w 1381764"/>
                <a:gd name="connsiteY2160" fmla="*/ 317398 h 1328132"/>
                <a:gd name="connsiteX2161" fmla="*/ 673953 w 1381764"/>
                <a:gd name="connsiteY2161" fmla="*/ 314554 h 1328132"/>
                <a:gd name="connsiteX2162" fmla="*/ 673436 w 1381764"/>
                <a:gd name="connsiteY2162" fmla="*/ 313908 h 1328132"/>
                <a:gd name="connsiteX2163" fmla="*/ 672790 w 1381764"/>
                <a:gd name="connsiteY2163" fmla="*/ 312745 h 1328132"/>
                <a:gd name="connsiteX2164" fmla="*/ 671627 w 1381764"/>
                <a:gd name="connsiteY2164" fmla="*/ 309643 h 1328132"/>
                <a:gd name="connsiteX2165" fmla="*/ 671368 w 1381764"/>
                <a:gd name="connsiteY2165" fmla="*/ 309127 h 1328132"/>
                <a:gd name="connsiteX2166" fmla="*/ 662193 w 1381764"/>
                <a:gd name="connsiteY2166" fmla="*/ 299951 h 1328132"/>
                <a:gd name="connsiteX2167" fmla="*/ 661676 w 1381764"/>
                <a:gd name="connsiteY2167" fmla="*/ 298529 h 1328132"/>
                <a:gd name="connsiteX2168" fmla="*/ 661417 w 1381764"/>
                <a:gd name="connsiteY2168" fmla="*/ 298013 h 1328132"/>
                <a:gd name="connsiteX2169" fmla="*/ 661029 w 1381764"/>
                <a:gd name="connsiteY2169" fmla="*/ 297496 h 1328132"/>
                <a:gd name="connsiteX2170" fmla="*/ 659866 w 1381764"/>
                <a:gd name="connsiteY2170" fmla="*/ 296203 h 1328132"/>
                <a:gd name="connsiteX2171" fmla="*/ 659220 w 1381764"/>
                <a:gd name="connsiteY2171" fmla="*/ 295816 h 1328132"/>
                <a:gd name="connsiteX2172" fmla="*/ 658445 w 1381764"/>
                <a:gd name="connsiteY2172" fmla="*/ 295686 h 1328132"/>
                <a:gd name="connsiteX2173" fmla="*/ 657928 w 1381764"/>
                <a:gd name="connsiteY2173" fmla="*/ 296074 h 1328132"/>
                <a:gd name="connsiteX2174" fmla="*/ 654051 w 1381764"/>
                <a:gd name="connsiteY2174" fmla="*/ 298142 h 1328132"/>
                <a:gd name="connsiteX2175" fmla="*/ 653534 w 1381764"/>
                <a:gd name="connsiteY2175" fmla="*/ 298400 h 1328132"/>
                <a:gd name="connsiteX2176" fmla="*/ 653017 w 1381764"/>
                <a:gd name="connsiteY2176" fmla="*/ 298529 h 1328132"/>
                <a:gd name="connsiteX2177" fmla="*/ 652371 w 1381764"/>
                <a:gd name="connsiteY2177" fmla="*/ 298529 h 1328132"/>
                <a:gd name="connsiteX2178" fmla="*/ 651725 w 1381764"/>
                <a:gd name="connsiteY2178" fmla="*/ 298529 h 1328132"/>
                <a:gd name="connsiteX2179" fmla="*/ 650562 w 1381764"/>
                <a:gd name="connsiteY2179" fmla="*/ 298271 h 1328132"/>
                <a:gd name="connsiteX2180" fmla="*/ 648494 w 1381764"/>
                <a:gd name="connsiteY2180" fmla="*/ 297496 h 1328132"/>
                <a:gd name="connsiteX2181" fmla="*/ 647589 w 1381764"/>
                <a:gd name="connsiteY2181" fmla="*/ 295816 h 1328132"/>
                <a:gd name="connsiteX2182" fmla="*/ 642161 w 1381764"/>
                <a:gd name="connsiteY2182" fmla="*/ 278757 h 1328132"/>
                <a:gd name="connsiteX2183" fmla="*/ 640352 w 1381764"/>
                <a:gd name="connsiteY2183" fmla="*/ 277077 h 1328132"/>
                <a:gd name="connsiteX2184" fmla="*/ 638026 w 1381764"/>
                <a:gd name="connsiteY2184" fmla="*/ 272683 h 1328132"/>
                <a:gd name="connsiteX2185" fmla="*/ 637768 w 1381764"/>
                <a:gd name="connsiteY2185" fmla="*/ 272166 h 1328132"/>
                <a:gd name="connsiteX2186" fmla="*/ 637509 w 1381764"/>
                <a:gd name="connsiteY2186" fmla="*/ 271132 h 1328132"/>
                <a:gd name="connsiteX2187" fmla="*/ 638414 w 1381764"/>
                <a:gd name="connsiteY2187" fmla="*/ 266996 h 1328132"/>
                <a:gd name="connsiteX2188" fmla="*/ 638672 w 1381764"/>
                <a:gd name="connsiteY2188" fmla="*/ 265058 h 1328132"/>
                <a:gd name="connsiteX2189" fmla="*/ 638672 w 1381764"/>
                <a:gd name="connsiteY2189" fmla="*/ 263766 h 1328132"/>
                <a:gd name="connsiteX2190" fmla="*/ 638543 w 1381764"/>
                <a:gd name="connsiteY2190" fmla="*/ 262473 h 1328132"/>
                <a:gd name="connsiteX2191" fmla="*/ 637768 w 1381764"/>
                <a:gd name="connsiteY2191" fmla="*/ 260276 h 1328132"/>
                <a:gd name="connsiteX2192" fmla="*/ 635958 w 1381764"/>
                <a:gd name="connsiteY2192" fmla="*/ 256141 h 1328132"/>
                <a:gd name="connsiteX2193" fmla="*/ 635312 w 1381764"/>
                <a:gd name="connsiteY2193" fmla="*/ 253815 h 1328132"/>
                <a:gd name="connsiteX2194" fmla="*/ 634924 w 1381764"/>
                <a:gd name="connsiteY2194" fmla="*/ 251230 h 1328132"/>
                <a:gd name="connsiteX2195" fmla="*/ 634795 w 1381764"/>
                <a:gd name="connsiteY2195" fmla="*/ 250584 h 1328132"/>
                <a:gd name="connsiteX2196" fmla="*/ 634407 w 1381764"/>
                <a:gd name="connsiteY2196" fmla="*/ 249938 h 1328132"/>
                <a:gd name="connsiteX2197" fmla="*/ 633891 w 1381764"/>
                <a:gd name="connsiteY2197" fmla="*/ 249291 h 1328132"/>
                <a:gd name="connsiteX2198" fmla="*/ 631306 w 1381764"/>
                <a:gd name="connsiteY2198" fmla="*/ 247353 h 1328132"/>
                <a:gd name="connsiteX2199" fmla="*/ 630789 w 1381764"/>
                <a:gd name="connsiteY2199" fmla="*/ 246707 h 1328132"/>
                <a:gd name="connsiteX2200" fmla="*/ 630272 w 1381764"/>
                <a:gd name="connsiteY2200" fmla="*/ 245931 h 1328132"/>
                <a:gd name="connsiteX2201" fmla="*/ 625361 w 1381764"/>
                <a:gd name="connsiteY2201" fmla="*/ 235722 h 1328132"/>
                <a:gd name="connsiteX2202" fmla="*/ 625103 w 1381764"/>
                <a:gd name="connsiteY2202" fmla="*/ 234430 h 1328132"/>
                <a:gd name="connsiteX2203" fmla="*/ 625232 w 1381764"/>
                <a:gd name="connsiteY2203" fmla="*/ 228226 h 1328132"/>
                <a:gd name="connsiteX2204" fmla="*/ 624973 w 1381764"/>
                <a:gd name="connsiteY2204" fmla="*/ 225512 h 1328132"/>
                <a:gd name="connsiteX2205" fmla="*/ 624715 w 1381764"/>
                <a:gd name="connsiteY2205" fmla="*/ 224349 h 1328132"/>
                <a:gd name="connsiteX2206" fmla="*/ 624069 w 1381764"/>
                <a:gd name="connsiteY2206" fmla="*/ 222152 h 1328132"/>
                <a:gd name="connsiteX2207" fmla="*/ 623939 w 1381764"/>
                <a:gd name="connsiteY2207" fmla="*/ 220860 h 1328132"/>
                <a:gd name="connsiteX2208" fmla="*/ 623939 w 1381764"/>
                <a:gd name="connsiteY2208" fmla="*/ 220214 h 1328132"/>
                <a:gd name="connsiteX2209" fmla="*/ 624069 w 1381764"/>
                <a:gd name="connsiteY2209" fmla="*/ 219568 h 1328132"/>
                <a:gd name="connsiteX2210" fmla="*/ 624973 w 1381764"/>
                <a:gd name="connsiteY2210" fmla="*/ 216078 h 1328132"/>
                <a:gd name="connsiteX2211" fmla="*/ 625103 w 1381764"/>
                <a:gd name="connsiteY2211" fmla="*/ 215432 h 1328132"/>
                <a:gd name="connsiteX2212" fmla="*/ 625103 w 1381764"/>
                <a:gd name="connsiteY2212" fmla="*/ 213365 h 1328132"/>
                <a:gd name="connsiteX2213" fmla="*/ 625361 w 1381764"/>
                <a:gd name="connsiteY2213" fmla="*/ 210780 h 1328132"/>
                <a:gd name="connsiteX2214" fmla="*/ 627041 w 1381764"/>
                <a:gd name="connsiteY2214" fmla="*/ 204447 h 1328132"/>
                <a:gd name="connsiteX2215" fmla="*/ 627170 w 1381764"/>
                <a:gd name="connsiteY2215" fmla="*/ 203155 h 1328132"/>
                <a:gd name="connsiteX2216" fmla="*/ 627041 w 1381764"/>
                <a:gd name="connsiteY2216" fmla="*/ 200441 h 1328132"/>
                <a:gd name="connsiteX2217" fmla="*/ 626783 w 1381764"/>
                <a:gd name="connsiteY2217" fmla="*/ 199149 h 1328132"/>
                <a:gd name="connsiteX2218" fmla="*/ 626653 w 1381764"/>
                <a:gd name="connsiteY2218" fmla="*/ 198632 h 1328132"/>
                <a:gd name="connsiteX2219" fmla="*/ 626395 w 1381764"/>
                <a:gd name="connsiteY2219" fmla="*/ 198115 h 1328132"/>
                <a:gd name="connsiteX2220" fmla="*/ 625878 w 1381764"/>
                <a:gd name="connsiteY2220" fmla="*/ 197598 h 1328132"/>
                <a:gd name="connsiteX2221" fmla="*/ 624973 w 1381764"/>
                <a:gd name="connsiteY2221" fmla="*/ 197081 h 1328132"/>
                <a:gd name="connsiteX2222" fmla="*/ 615281 w 1381764"/>
                <a:gd name="connsiteY2222" fmla="*/ 195272 h 1328132"/>
                <a:gd name="connsiteX2223" fmla="*/ 610758 w 1381764"/>
                <a:gd name="connsiteY2223" fmla="*/ 193850 h 1328132"/>
                <a:gd name="connsiteX2224" fmla="*/ 608819 w 1381764"/>
                <a:gd name="connsiteY2224" fmla="*/ 192816 h 1328132"/>
                <a:gd name="connsiteX2225" fmla="*/ 607010 w 1381764"/>
                <a:gd name="connsiteY2225" fmla="*/ 191395 h 1328132"/>
                <a:gd name="connsiteX2226" fmla="*/ 605330 w 1381764"/>
                <a:gd name="connsiteY2226" fmla="*/ 189456 h 1328132"/>
                <a:gd name="connsiteX2227" fmla="*/ 603908 w 1381764"/>
                <a:gd name="connsiteY2227" fmla="*/ 187130 h 1328132"/>
                <a:gd name="connsiteX2228" fmla="*/ 603262 w 1381764"/>
                <a:gd name="connsiteY2228" fmla="*/ 185321 h 1328132"/>
                <a:gd name="connsiteX2229" fmla="*/ 602228 w 1381764"/>
                <a:gd name="connsiteY2229" fmla="*/ 183382 h 1328132"/>
                <a:gd name="connsiteX2230" fmla="*/ 601711 w 1381764"/>
                <a:gd name="connsiteY2230" fmla="*/ 182865 h 1328132"/>
                <a:gd name="connsiteX2231" fmla="*/ 601065 w 1381764"/>
                <a:gd name="connsiteY2231" fmla="*/ 182219 h 1328132"/>
                <a:gd name="connsiteX2232" fmla="*/ 596930 w 1381764"/>
                <a:gd name="connsiteY2232" fmla="*/ 179247 h 1328132"/>
                <a:gd name="connsiteX2233" fmla="*/ 595120 w 1381764"/>
                <a:gd name="connsiteY2233" fmla="*/ 177438 h 1328132"/>
                <a:gd name="connsiteX2234" fmla="*/ 594603 w 1381764"/>
                <a:gd name="connsiteY2234" fmla="*/ 176662 h 1328132"/>
                <a:gd name="connsiteX2235" fmla="*/ 594216 w 1381764"/>
                <a:gd name="connsiteY2235" fmla="*/ 175628 h 1328132"/>
                <a:gd name="connsiteX2236" fmla="*/ 593828 w 1381764"/>
                <a:gd name="connsiteY2236" fmla="*/ 174078 h 1328132"/>
                <a:gd name="connsiteX2237" fmla="*/ 593699 w 1381764"/>
                <a:gd name="connsiteY2237" fmla="*/ 170847 h 1328132"/>
                <a:gd name="connsiteX2238" fmla="*/ 593570 w 1381764"/>
                <a:gd name="connsiteY2238" fmla="*/ 170459 h 1328132"/>
                <a:gd name="connsiteX2239" fmla="*/ 592536 w 1381764"/>
                <a:gd name="connsiteY2239" fmla="*/ 168779 h 1328132"/>
                <a:gd name="connsiteX2240" fmla="*/ 592406 w 1381764"/>
                <a:gd name="connsiteY2240" fmla="*/ 168133 h 1328132"/>
                <a:gd name="connsiteX2241" fmla="*/ 592536 w 1381764"/>
                <a:gd name="connsiteY2241" fmla="*/ 167487 h 1328132"/>
                <a:gd name="connsiteX2242" fmla="*/ 592924 w 1381764"/>
                <a:gd name="connsiteY2242" fmla="*/ 166453 h 1328132"/>
                <a:gd name="connsiteX2243" fmla="*/ 592924 w 1381764"/>
                <a:gd name="connsiteY2243" fmla="*/ 165936 h 1328132"/>
                <a:gd name="connsiteX2244" fmla="*/ 592794 w 1381764"/>
                <a:gd name="connsiteY2244" fmla="*/ 165419 h 1328132"/>
                <a:gd name="connsiteX2245" fmla="*/ 589822 w 1381764"/>
                <a:gd name="connsiteY2245" fmla="*/ 159733 h 1328132"/>
                <a:gd name="connsiteX2246" fmla="*/ 589693 w 1381764"/>
                <a:gd name="connsiteY2246" fmla="*/ 159216 h 1328132"/>
                <a:gd name="connsiteX2247" fmla="*/ 589305 w 1381764"/>
                <a:gd name="connsiteY2247" fmla="*/ 156760 h 1328132"/>
                <a:gd name="connsiteX2248" fmla="*/ 589305 w 1381764"/>
                <a:gd name="connsiteY2248" fmla="*/ 155339 h 1328132"/>
                <a:gd name="connsiteX2249" fmla="*/ 589434 w 1381764"/>
                <a:gd name="connsiteY2249" fmla="*/ 154046 h 1328132"/>
                <a:gd name="connsiteX2250" fmla="*/ 589563 w 1381764"/>
                <a:gd name="connsiteY2250" fmla="*/ 153529 h 1328132"/>
                <a:gd name="connsiteX2251" fmla="*/ 589822 w 1381764"/>
                <a:gd name="connsiteY2251" fmla="*/ 153012 h 1328132"/>
                <a:gd name="connsiteX2252" fmla="*/ 590210 w 1381764"/>
                <a:gd name="connsiteY2252" fmla="*/ 152625 h 1328132"/>
                <a:gd name="connsiteX2253" fmla="*/ 590727 w 1381764"/>
                <a:gd name="connsiteY2253" fmla="*/ 152366 h 1328132"/>
                <a:gd name="connsiteX2254" fmla="*/ 592665 w 1381764"/>
                <a:gd name="connsiteY2254" fmla="*/ 152237 h 1328132"/>
                <a:gd name="connsiteX2255" fmla="*/ 594862 w 1381764"/>
                <a:gd name="connsiteY2255" fmla="*/ 151591 h 1328132"/>
                <a:gd name="connsiteX2256" fmla="*/ 595379 w 1381764"/>
                <a:gd name="connsiteY2256" fmla="*/ 151332 h 1328132"/>
                <a:gd name="connsiteX2257" fmla="*/ 595767 w 1381764"/>
                <a:gd name="connsiteY2257" fmla="*/ 150945 h 1328132"/>
                <a:gd name="connsiteX2258" fmla="*/ 595896 w 1381764"/>
                <a:gd name="connsiteY2258" fmla="*/ 150428 h 1328132"/>
                <a:gd name="connsiteX2259" fmla="*/ 595896 w 1381764"/>
                <a:gd name="connsiteY2259" fmla="*/ 149911 h 1328132"/>
                <a:gd name="connsiteX2260" fmla="*/ 595637 w 1381764"/>
                <a:gd name="connsiteY2260" fmla="*/ 149265 h 1328132"/>
                <a:gd name="connsiteX2261" fmla="*/ 594345 w 1381764"/>
                <a:gd name="connsiteY2261" fmla="*/ 147197 h 1328132"/>
                <a:gd name="connsiteX2262" fmla="*/ 593957 w 1381764"/>
                <a:gd name="connsiteY2262" fmla="*/ 146292 h 1328132"/>
                <a:gd name="connsiteX2263" fmla="*/ 593699 w 1381764"/>
                <a:gd name="connsiteY2263" fmla="*/ 145517 h 1328132"/>
                <a:gd name="connsiteX2264" fmla="*/ 593440 w 1381764"/>
                <a:gd name="connsiteY2264" fmla="*/ 144354 h 1328132"/>
                <a:gd name="connsiteX2265" fmla="*/ 593311 w 1381764"/>
                <a:gd name="connsiteY2265" fmla="*/ 143837 h 1328132"/>
                <a:gd name="connsiteX2266" fmla="*/ 592924 w 1381764"/>
                <a:gd name="connsiteY2266" fmla="*/ 143320 h 1328132"/>
                <a:gd name="connsiteX2267" fmla="*/ 592406 w 1381764"/>
                <a:gd name="connsiteY2267" fmla="*/ 142932 h 1328132"/>
                <a:gd name="connsiteX2268" fmla="*/ 591373 w 1381764"/>
                <a:gd name="connsiteY2268" fmla="*/ 142674 h 1328132"/>
                <a:gd name="connsiteX2269" fmla="*/ 590597 w 1381764"/>
                <a:gd name="connsiteY2269" fmla="*/ 142674 h 1328132"/>
                <a:gd name="connsiteX2270" fmla="*/ 589822 w 1381764"/>
                <a:gd name="connsiteY2270" fmla="*/ 142674 h 1328132"/>
                <a:gd name="connsiteX2271" fmla="*/ 586850 w 1381764"/>
                <a:gd name="connsiteY2271" fmla="*/ 143320 h 1328132"/>
                <a:gd name="connsiteX2272" fmla="*/ 582972 w 1381764"/>
                <a:gd name="connsiteY2272" fmla="*/ 144612 h 1328132"/>
                <a:gd name="connsiteX2273" fmla="*/ 581809 w 1381764"/>
                <a:gd name="connsiteY2273" fmla="*/ 144871 h 1328132"/>
                <a:gd name="connsiteX2274" fmla="*/ 581163 w 1381764"/>
                <a:gd name="connsiteY2274" fmla="*/ 144742 h 1328132"/>
                <a:gd name="connsiteX2275" fmla="*/ 580776 w 1381764"/>
                <a:gd name="connsiteY2275" fmla="*/ 144354 h 1328132"/>
                <a:gd name="connsiteX2276" fmla="*/ 580646 w 1381764"/>
                <a:gd name="connsiteY2276" fmla="*/ 143449 h 1328132"/>
                <a:gd name="connsiteX2277" fmla="*/ 580776 w 1381764"/>
                <a:gd name="connsiteY2277" fmla="*/ 142803 h 1328132"/>
                <a:gd name="connsiteX2278" fmla="*/ 581034 w 1381764"/>
                <a:gd name="connsiteY2278" fmla="*/ 142286 h 1328132"/>
                <a:gd name="connsiteX2279" fmla="*/ 581292 w 1381764"/>
                <a:gd name="connsiteY2279" fmla="*/ 141898 h 1328132"/>
                <a:gd name="connsiteX2280" fmla="*/ 581422 w 1381764"/>
                <a:gd name="connsiteY2280" fmla="*/ 141511 h 1328132"/>
                <a:gd name="connsiteX2281" fmla="*/ 581551 w 1381764"/>
                <a:gd name="connsiteY2281" fmla="*/ 140735 h 1328132"/>
                <a:gd name="connsiteX2282" fmla="*/ 581422 w 1381764"/>
                <a:gd name="connsiteY2282" fmla="*/ 140218 h 1328132"/>
                <a:gd name="connsiteX2283" fmla="*/ 581163 w 1381764"/>
                <a:gd name="connsiteY2283" fmla="*/ 139701 h 1328132"/>
                <a:gd name="connsiteX2284" fmla="*/ 579354 w 1381764"/>
                <a:gd name="connsiteY2284" fmla="*/ 137634 h 1328132"/>
                <a:gd name="connsiteX2285" fmla="*/ 578966 w 1381764"/>
                <a:gd name="connsiteY2285" fmla="*/ 136988 h 1328132"/>
                <a:gd name="connsiteX2286" fmla="*/ 578708 w 1381764"/>
                <a:gd name="connsiteY2286" fmla="*/ 136341 h 1328132"/>
                <a:gd name="connsiteX2287" fmla="*/ 578837 w 1381764"/>
                <a:gd name="connsiteY2287" fmla="*/ 135824 h 1328132"/>
                <a:gd name="connsiteX2288" fmla="*/ 579095 w 1381764"/>
                <a:gd name="connsiteY2288" fmla="*/ 135308 h 1328132"/>
                <a:gd name="connsiteX2289" fmla="*/ 579483 w 1381764"/>
                <a:gd name="connsiteY2289" fmla="*/ 134920 h 1328132"/>
                <a:gd name="connsiteX2290" fmla="*/ 580258 w 1381764"/>
                <a:gd name="connsiteY2290" fmla="*/ 134274 h 1328132"/>
                <a:gd name="connsiteX2291" fmla="*/ 580517 w 1381764"/>
                <a:gd name="connsiteY2291" fmla="*/ 133886 h 1328132"/>
                <a:gd name="connsiteX2292" fmla="*/ 580646 w 1381764"/>
                <a:gd name="connsiteY2292" fmla="*/ 133369 h 1328132"/>
                <a:gd name="connsiteX2293" fmla="*/ 580517 w 1381764"/>
                <a:gd name="connsiteY2293" fmla="*/ 132852 h 1328132"/>
                <a:gd name="connsiteX2294" fmla="*/ 580258 w 1381764"/>
                <a:gd name="connsiteY2294" fmla="*/ 132335 h 1328132"/>
                <a:gd name="connsiteX2295" fmla="*/ 579871 w 1381764"/>
                <a:gd name="connsiteY2295" fmla="*/ 131947 h 1328132"/>
                <a:gd name="connsiteX2296" fmla="*/ 579095 w 1381764"/>
                <a:gd name="connsiteY2296" fmla="*/ 131947 h 1328132"/>
                <a:gd name="connsiteX2297" fmla="*/ 577803 w 1381764"/>
                <a:gd name="connsiteY2297" fmla="*/ 132077 h 1328132"/>
                <a:gd name="connsiteX2298" fmla="*/ 577286 w 1381764"/>
                <a:gd name="connsiteY2298" fmla="*/ 132077 h 1328132"/>
                <a:gd name="connsiteX2299" fmla="*/ 575735 w 1381764"/>
                <a:gd name="connsiteY2299" fmla="*/ 131430 h 1328132"/>
                <a:gd name="connsiteX2300" fmla="*/ 575218 w 1381764"/>
                <a:gd name="connsiteY2300" fmla="*/ 131301 h 1328132"/>
                <a:gd name="connsiteX2301" fmla="*/ 574572 w 1381764"/>
                <a:gd name="connsiteY2301" fmla="*/ 131172 h 1328132"/>
                <a:gd name="connsiteX2302" fmla="*/ 573926 w 1381764"/>
                <a:gd name="connsiteY2302" fmla="*/ 131172 h 1328132"/>
                <a:gd name="connsiteX2303" fmla="*/ 573280 w 1381764"/>
                <a:gd name="connsiteY2303" fmla="*/ 131301 h 1328132"/>
                <a:gd name="connsiteX2304" fmla="*/ 572634 w 1381764"/>
                <a:gd name="connsiteY2304" fmla="*/ 131430 h 1328132"/>
                <a:gd name="connsiteX2305" fmla="*/ 571471 w 1381764"/>
                <a:gd name="connsiteY2305" fmla="*/ 131818 h 1328132"/>
                <a:gd name="connsiteX2306" fmla="*/ 570437 w 1381764"/>
                <a:gd name="connsiteY2306" fmla="*/ 132335 h 1328132"/>
                <a:gd name="connsiteX2307" fmla="*/ 569920 w 1381764"/>
                <a:gd name="connsiteY2307" fmla="*/ 132464 h 1328132"/>
                <a:gd name="connsiteX2308" fmla="*/ 569403 w 1381764"/>
                <a:gd name="connsiteY2308" fmla="*/ 132464 h 1328132"/>
                <a:gd name="connsiteX2309" fmla="*/ 568886 w 1381764"/>
                <a:gd name="connsiteY2309" fmla="*/ 132206 h 1328132"/>
                <a:gd name="connsiteX2310" fmla="*/ 568498 w 1381764"/>
                <a:gd name="connsiteY2310" fmla="*/ 131689 h 1328132"/>
                <a:gd name="connsiteX2311" fmla="*/ 568240 w 1381764"/>
                <a:gd name="connsiteY2311" fmla="*/ 130526 h 1328132"/>
                <a:gd name="connsiteX2312" fmla="*/ 568111 w 1381764"/>
                <a:gd name="connsiteY2312" fmla="*/ 129621 h 1328132"/>
                <a:gd name="connsiteX2313" fmla="*/ 568111 w 1381764"/>
                <a:gd name="connsiteY2313" fmla="*/ 128846 h 1328132"/>
                <a:gd name="connsiteX2314" fmla="*/ 568369 w 1381764"/>
                <a:gd name="connsiteY2314" fmla="*/ 127553 h 1328132"/>
                <a:gd name="connsiteX2315" fmla="*/ 568369 w 1381764"/>
                <a:gd name="connsiteY2315" fmla="*/ 126907 h 1328132"/>
                <a:gd name="connsiteX2316" fmla="*/ 568369 w 1381764"/>
                <a:gd name="connsiteY2316" fmla="*/ 126261 h 1328132"/>
                <a:gd name="connsiteX2317" fmla="*/ 568111 w 1381764"/>
                <a:gd name="connsiteY2317" fmla="*/ 125744 h 1328132"/>
                <a:gd name="connsiteX2318" fmla="*/ 567723 w 1381764"/>
                <a:gd name="connsiteY2318" fmla="*/ 125357 h 1328132"/>
                <a:gd name="connsiteX2319" fmla="*/ 567077 w 1381764"/>
                <a:gd name="connsiteY2319" fmla="*/ 125357 h 1328132"/>
                <a:gd name="connsiteX2320" fmla="*/ 566560 w 1381764"/>
                <a:gd name="connsiteY2320" fmla="*/ 125615 h 1328132"/>
                <a:gd name="connsiteX2321" fmla="*/ 566172 w 1381764"/>
                <a:gd name="connsiteY2321" fmla="*/ 126003 h 1328132"/>
                <a:gd name="connsiteX2322" fmla="*/ 565914 w 1381764"/>
                <a:gd name="connsiteY2322" fmla="*/ 126390 h 1328132"/>
                <a:gd name="connsiteX2323" fmla="*/ 565526 w 1381764"/>
                <a:gd name="connsiteY2323" fmla="*/ 126778 h 1328132"/>
                <a:gd name="connsiteX2324" fmla="*/ 565009 w 1381764"/>
                <a:gd name="connsiteY2324" fmla="*/ 127037 h 1328132"/>
                <a:gd name="connsiteX2325" fmla="*/ 564492 w 1381764"/>
                <a:gd name="connsiteY2325" fmla="*/ 127166 h 1328132"/>
                <a:gd name="connsiteX2326" fmla="*/ 563846 w 1381764"/>
                <a:gd name="connsiteY2326" fmla="*/ 127037 h 1328132"/>
                <a:gd name="connsiteX2327" fmla="*/ 563200 w 1381764"/>
                <a:gd name="connsiteY2327" fmla="*/ 126907 h 1328132"/>
                <a:gd name="connsiteX2328" fmla="*/ 562166 w 1381764"/>
                <a:gd name="connsiteY2328" fmla="*/ 126520 h 1328132"/>
                <a:gd name="connsiteX2329" fmla="*/ 561778 w 1381764"/>
                <a:gd name="connsiteY2329" fmla="*/ 126261 h 1328132"/>
                <a:gd name="connsiteX2330" fmla="*/ 561649 w 1381764"/>
                <a:gd name="connsiteY2330" fmla="*/ 126003 h 1328132"/>
                <a:gd name="connsiteX2331" fmla="*/ 562295 w 1381764"/>
                <a:gd name="connsiteY2331" fmla="*/ 125357 h 1328132"/>
                <a:gd name="connsiteX2332" fmla="*/ 562424 w 1381764"/>
                <a:gd name="connsiteY2332" fmla="*/ 124969 h 1328132"/>
                <a:gd name="connsiteX2333" fmla="*/ 562166 w 1381764"/>
                <a:gd name="connsiteY2333" fmla="*/ 124581 h 1328132"/>
                <a:gd name="connsiteX2334" fmla="*/ 561391 w 1381764"/>
                <a:gd name="connsiteY2334" fmla="*/ 124323 h 1328132"/>
                <a:gd name="connsiteX2335" fmla="*/ 560744 w 1381764"/>
                <a:gd name="connsiteY2335" fmla="*/ 124193 h 1328132"/>
                <a:gd name="connsiteX2336" fmla="*/ 560227 w 1381764"/>
                <a:gd name="connsiteY2336" fmla="*/ 124323 h 1328132"/>
                <a:gd name="connsiteX2337" fmla="*/ 559840 w 1381764"/>
                <a:gd name="connsiteY2337" fmla="*/ 124581 h 1328132"/>
                <a:gd name="connsiteX2338" fmla="*/ 559581 w 1381764"/>
                <a:gd name="connsiteY2338" fmla="*/ 124969 h 1328132"/>
                <a:gd name="connsiteX2339" fmla="*/ 559581 w 1381764"/>
                <a:gd name="connsiteY2339" fmla="*/ 125486 h 1328132"/>
                <a:gd name="connsiteX2340" fmla="*/ 559710 w 1381764"/>
                <a:gd name="connsiteY2340" fmla="*/ 126520 h 1328132"/>
                <a:gd name="connsiteX2341" fmla="*/ 559710 w 1381764"/>
                <a:gd name="connsiteY2341" fmla="*/ 126778 h 1328132"/>
                <a:gd name="connsiteX2342" fmla="*/ 559581 w 1381764"/>
                <a:gd name="connsiteY2342" fmla="*/ 127166 h 1328132"/>
                <a:gd name="connsiteX2343" fmla="*/ 558806 w 1381764"/>
                <a:gd name="connsiteY2343" fmla="*/ 128458 h 1328132"/>
                <a:gd name="connsiteX2344" fmla="*/ 558418 w 1381764"/>
                <a:gd name="connsiteY2344" fmla="*/ 128717 h 1328132"/>
                <a:gd name="connsiteX2345" fmla="*/ 557901 w 1381764"/>
                <a:gd name="connsiteY2345" fmla="*/ 128717 h 1328132"/>
                <a:gd name="connsiteX2346" fmla="*/ 557255 w 1381764"/>
                <a:gd name="connsiteY2346" fmla="*/ 128458 h 1328132"/>
                <a:gd name="connsiteX2347" fmla="*/ 556480 w 1381764"/>
                <a:gd name="connsiteY2347" fmla="*/ 128070 h 1328132"/>
                <a:gd name="connsiteX2348" fmla="*/ 555317 w 1381764"/>
                <a:gd name="connsiteY2348" fmla="*/ 127424 h 1328132"/>
                <a:gd name="connsiteX2349" fmla="*/ 553249 w 1381764"/>
                <a:gd name="connsiteY2349" fmla="*/ 127166 h 1328132"/>
                <a:gd name="connsiteX2350" fmla="*/ 552473 w 1381764"/>
                <a:gd name="connsiteY2350" fmla="*/ 126907 h 1328132"/>
                <a:gd name="connsiteX2351" fmla="*/ 551439 w 1381764"/>
                <a:gd name="connsiteY2351" fmla="*/ 126390 h 1328132"/>
                <a:gd name="connsiteX2352" fmla="*/ 550793 w 1381764"/>
                <a:gd name="connsiteY2352" fmla="*/ 126390 h 1328132"/>
                <a:gd name="connsiteX2353" fmla="*/ 550406 w 1381764"/>
                <a:gd name="connsiteY2353" fmla="*/ 126649 h 1328132"/>
                <a:gd name="connsiteX2354" fmla="*/ 550406 w 1381764"/>
                <a:gd name="connsiteY2354" fmla="*/ 127166 h 1328132"/>
                <a:gd name="connsiteX2355" fmla="*/ 550535 w 1381764"/>
                <a:gd name="connsiteY2355" fmla="*/ 127683 h 1328132"/>
                <a:gd name="connsiteX2356" fmla="*/ 550793 w 1381764"/>
                <a:gd name="connsiteY2356" fmla="*/ 128200 h 1328132"/>
                <a:gd name="connsiteX2357" fmla="*/ 550923 w 1381764"/>
                <a:gd name="connsiteY2357" fmla="*/ 128717 h 1328132"/>
                <a:gd name="connsiteX2358" fmla="*/ 550793 w 1381764"/>
                <a:gd name="connsiteY2358" fmla="*/ 129234 h 1328132"/>
                <a:gd name="connsiteX2359" fmla="*/ 550406 w 1381764"/>
                <a:gd name="connsiteY2359" fmla="*/ 129492 h 1328132"/>
                <a:gd name="connsiteX2360" fmla="*/ 549759 w 1381764"/>
                <a:gd name="connsiteY2360" fmla="*/ 129621 h 1328132"/>
                <a:gd name="connsiteX2361" fmla="*/ 547821 w 1381764"/>
                <a:gd name="connsiteY2361" fmla="*/ 129621 h 1328132"/>
                <a:gd name="connsiteX2362" fmla="*/ 547304 w 1381764"/>
                <a:gd name="connsiteY2362" fmla="*/ 129621 h 1328132"/>
                <a:gd name="connsiteX2363" fmla="*/ 547046 w 1381764"/>
                <a:gd name="connsiteY2363" fmla="*/ 129363 h 1328132"/>
                <a:gd name="connsiteX2364" fmla="*/ 547304 w 1381764"/>
                <a:gd name="connsiteY2364" fmla="*/ 128846 h 1328132"/>
                <a:gd name="connsiteX2365" fmla="*/ 547304 w 1381764"/>
                <a:gd name="connsiteY2365" fmla="*/ 128329 h 1328132"/>
                <a:gd name="connsiteX2366" fmla="*/ 547562 w 1381764"/>
                <a:gd name="connsiteY2366" fmla="*/ 128070 h 1328132"/>
                <a:gd name="connsiteX2367" fmla="*/ 547046 w 1381764"/>
                <a:gd name="connsiteY2367" fmla="*/ 127941 h 1328132"/>
                <a:gd name="connsiteX2368" fmla="*/ 544978 w 1381764"/>
                <a:gd name="connsiteY2368" fmla="*/ 127941 h 1328132"/>
                <a:gd name="connsiteX2369" fmla="*/ 544461 w 1381764"/>
                <a:gd name="connsiteY2369" fmla="*/ 127812 h 1328132"/>
                <a:gd name="connsiteX2370" fmla="*/ 544202 w 1381764"/>
                <a:gd name="connsiteY2370" fmla="*/ 127553 h 1328132"/>
                <a:gd name="connsiteX2371" fmla="*/ 544332 w 1381764"/>
                <a:gd name="connsiteY2371" fmla="*/ 126261 h 1328132"/>
                <a:gd name="connsiteX2372" fmla="*/ 544073 w 1381764"/>
                <a:gd name="connsiteY2372" fmla="*/ 125615 h 1328132"/>
                <a:gd name="connsiteX2373" fmla="*/ 543427 w 1381764"/>
                <a:gd name="connsiteY2373" fmla="*/ 124969 h 1328132"/>
                <a:gd name="connsiteX2374" fmla="*/ 542005 w 1381764"/>
                <a:gd name="connsiteY2374" fmla="*/ 124193 h 1328132"/>
                <a:gd name="connsiteX2375" fmla="*/ 541230 w 1381764"/>
                <a:gd name="connsiteY2375" fmla="*/ 123935 h 1328132"/>
                <a:gd name="connsiteX2376" fmla="*/ 540713 w 1381764"/>
                <a:gd name="connsiteY2376" fmla="*/ 123547 h 1328132"/>
                <a:gd name="connsiteX2377" fmla="*/ 540584 w 1381764"/>
                <a:gd name="connsiteY2377" fmla="*/ 122772 h 1328132"/>
                <a:gd name="connsiteX2378" fmla="*/ 540584 w 1381764"/>
                <a:gd name="connsiteY2378" fmla="*/ 122126 h 1328132"/>
                <a:gd name="connsiteX2379" fmla="*/ 540455 w 1381764"/>
                <a:gd name="connsiteY2379" fmla="*/ 121609 h 1328132"/>
                <a:gd name="connsiteX2380" fmla="*/ 540196 w 1381764"/>
                <a:gd name="connsiteY2380" fmla="*/ 121350 h 1328132"/>
                <a:gd name="connsiteX2381" fmla="*/ 539679 w 1381764"/>
                <a:gd name="connsiteY2381" fmla="*/ 121350 h 1328132"/>
                <a:gd name="connsiteX2382" fmla="*/ 539162 w 1381764"/>
                <a:gd name="connsiteY2382" fmla="*/ 121221 h 1328132"/>
                <a:gd name="connsiteX2383" fmla="*/ 538645 w 1381764"/>
                <a:gd name="connsiteY2383" fmla="*/ 120833 h 1328132"/>
                <a:gd name="connsiteX2384" fmla="*/ 537999 w 1381764"/>
                <a:gd name="connsiteY2384" fmla="*/ 119929 h 1328132"/>
                <a:gd name="connsiteX2385" fmla="*/ 537353 w 1381764"/>
                <a:gd name="connsiteY2385" fmla="*/ 119283 h 1328132"/>
                <a:gd name="connsiteX2386" fmla="*/ 535673 w 1381764"/>
                <a:gd name="connsiteY2386" fmla="*/ 118507 h 1328132"/>
                <a:gd name="connsiteX2387" fmla="*/ 535027 w 1381764"/>
                <a:gd name="connsiteY2387" fmla="*/ 117990 h 1328132"/>
                <a:gd name="connsiteX2388" fmla="*/ 534510 w 1381764"/>
                <a:gd name="connsiteY2388" fmla="*/ 117086 h 1328132"/>
                <a:gd name="connsiteX2389" fmla="*/ 534122 w 1381764"/>
                <a:gd name="connsiteY2389" fmla="*/ 116439 h 1328132"/>
                <a:gd name="connsiteX2390" fmla="*/ 533605 w 1381764"/>
                <a:gd name="connsiteY2390" fmla="*/ 115922 h 1328132"/>
                <a:gd name="connsiteX2391" fmla="*/ 532701 w 1381764"/>
                <a:gd name="connsiteY2391" fmla="*/ 115147 h 1328132"/>
                <a:gd name="connsiteX2392" fmla="*/ 532184 w 1381764"/>
                <a:gd name="connsiteY2392" fmla="*/ 115018 h 1328132"/>
                <a:gd name="connsiteX2393" fmla="*/ 531667 w 1381764"/>
                <a:gd name="connsiteY2393" fmla="*/ 115018 h 1328132"/>
                <a:gd name="connsiteX2394" fmla="*/ 531150 w 1381764"/>
                <a:gd name="connsiteY2394" fmla="*/ 115147 h 1328132"/>
                <a:gd name="connsiteX2395" fmla="*/ 530633 w 1381764"/>
                <a:gd name="connsiteY2395" fmla="*/ 115406 h 1328132"/>
                <a:gd name="connsiteX2396" fmla="*/ 528953 w 1381764"/>
                <a:gd name="connsiteY2396" fmla="*/ 116698 h 1328132"/>
                <a:gd name="connsiteX2397" fmla="*/ 528436 w 1381764"/>
                <a:gd name="connsiteY2397" fmla="*/ 116956 h 1328132"/>
                <a:gd name="connsiteX2398" fmla="*/ 527790 w 1381764"/>
                <a:gd name="connsiteY2398" fmla="*/ 117086 h 1328132"/>
                <a:gd name="connsiteX2399" fmla="*/ 525722 w 1381764"/>
                <a:gd name="connsiteY2399" fmla="*/ 117086 h 1328132"/>
                <a:gd name="connsiteX2400" fmla="*/ 524430 w 1381764"/>
                <a:gd name="connsiteY2400" fmla="*/ 117215 h 1328132"/>
                <a:gd name="connsiteX2401" fmla="*/ 523783 w 1381764"/>
                <a:gd name="connsiteY2401" fmla="*/ 117215 h 1328132"/>
                <a:gd name="connsiteX2402" fmla="*/ 523267 w 1381764"/>
                <a:gd name="connsiteY2402" fmla="*/ 116956 h 1328132"/>
                <a:gd name="connsiteX2403" fmla="*/ 522879 w 1381764"/>
                <a:gd name="connsiteY2403" fmla="*/ 116439 h 1328132"/>
                <a:gd name="connsiteX2404" fmla="*/ 522620 w 1381764"/>
                <a:gd name="connsiteY2404" fmla="*/ 115276 h 1328132"/>
                <a:gd name="connsiteX2405" fmla="*/ 522750 w 1381764"/>
                <a:gd name="connsiteY2405" fmla="*/ 114630 h 1328132"/>
                <a:gd name="connsiteX2406" fmla="*/ 522879 w 1381764"/>
                <a:gd name="connsiteY2406" fmla="*/ 113984 h 1328132"/>
                <a:gd name="connsiteX2407" fmla="*/ 523008 w 1381764"/>
                <a:gd name="connsiteY2407" fmla="*/ 113467 h 1328132"/>
                <a:gd name="connsiteX2408" fmla="*/ 522750 w 1381764"/>
                <a:gd name="connsiteY2408" fmla="*/ 112821 h 1328132"/>
                <a:gd name="connsiteX2409" fmla="*/ 522233 w 1381764"/>
                <a:gd name="connsiteY2409" fmla="*/ 112045 h 1328132"/>
                <a:gd name="connsiteX2410" fmla="*/ 520940 w 1381764"/>
                <a:gd name="connsiteY2410" fmla="*/ 110753 h 1328132"/>
                <a:gd name="connsiteX2411" fmla="*/ 520294 w 1381764"/>
                <a:gd name="connsiteY2411" fmla="*/ 109848 h 1328132"/>
                <a:gd name="connsiteX2412" fmla="*/ 520165 w 1381764"/>
                <a:gd name="connsiteY2412" fmla="*/ 108298 h 1328132"/>
                <a:gd name="connsiteX2413" fmla="*/ 520294 w 1381764"/>
                <a:gd name="connsiteY2413" fmla="*/ 107652 h 1328132"/>
                <a:gd name="connsiteX2414" fmla="*/ 520553 w 1381764"/>
                <a:gd name="connsiteY2414" fmla="*/ 107135 h 1328132"/>
                <a:gd name="connsiteX2415" fmla="*/ 520940 w 1381764"/>
                <a:gd name="connsiteY2415" fmla="*/ 106747 h 1328132"/>
                <a:gd name="connsiteX2416" fmla="*/ 521199 w 1381764"/>
                <a:gd name="connsiteY2416" fmla="*/ 106359 h 1328132"/>
                <a:gd name="connsiteX2417" fmla="*/ 521328 w 1381764"/>
                <a:gd name="connsiteY2417" fmla="*/ 105971 h 1328132"/>
                <a:gd name="connsiteX2418" fmla="*/ 521070 w 1381764"/>
                <a:gd name="connsiteY2418" fmla="*/ 105584 h 1328132"/>
                <a:gd name="connsiteX2419" fmla="*/ 520423 w 1381764"/>
                <a:gd name="connsiteY2419" fmla="*/ 105455 h 1328132"/>
                <a:gd name="connsiteX2420" fmla="*/ 519131 w 1381764"/>
                <a:gd name="connsiteY2420" fmla="*/ 105584 h 1328132"/>
                <a:gd name="connsiteX2421" fmla="*/ 518485 w 1381764"/>
                <a:gd name="connsiteY2421" fmla="*/ 105584 h 1328132"/>
                <a:gd name="connsiteX2422" fmla="*/ 517968 w 1381764"/>
                <a:gd name="connsiteY2422" fmla="*/ 105325 h 1328132"/>
                <a:gd name="connsiteX2423" fmla="*/ 517580 w 1381764"/>
                <a:gd name="connsiteY2423" fmla="*/ 104808 h 1328132"/>
                <a:gd name="connsiteX2424" fmla="*/ 517193 w 1381764"/>
                <a:gd name="connsiteY2424" fmla="*/ 103775 h 1328132"/>
                <a:gd name="connsiteX2425" fmla="*/ 516546 w 1381764"/>
                <a:gd name="connsiteY2425" fmla="*/ 102870 h 1328132"/>
                <a:gd name="connsiteX2426" fmla="*/ 515642 w 1381764"/>
                <a:gd name="connsiteY2426" fmla="*/ 101965 h 1328132"/>
                <a:gd name="connsiteX2427" fmla="*/ 513832 w 1381764"/>
                <a:gd name="connsiteY2427" fmla="*/ 100544 h 1328132"/>
                <a:gd name="connsiteX2428" fmla="*/ 512928 w 1381764"/>
                <a:gd name="connsiteY2428" fmla="*/ 100285 h 1328132"/>
                <a:gd name="connsiteX2429" fmla="*/ 512282 w 1381764"/>
                <a:gd name="connsiteY2429" fmla="*/ 100414 h 1328132"/>
                <a:gd name="connsiteX2430" fmla="*/ 511894 w 1381764"/>
                <a:gd name="connsiteY2430" fmla="*/ 101448 h 1328132"/>
                <a:gd name="connsiteX2431" fmla="*/ 511377 w 1381764"/>
                <a:gd name="connsiteY2431" fmla="*/ 101448 h 1328132"/>
                <a:gd name="connsiteX2432" fmla="*/ 510602 w 1381764"/>
                <a:gd name="connsiteY2432" fmla="*/ 100931 h 1328132"/>
                <a:gd name="connsiteX2433" fmla="*/ 509051 w 1381764"/>
                <a:gd name="connsiteY2433" fmla="*/ 99381 h 1328132"/>
                <a:gd name="connsiteX2434" fmla="*/ 507500 w 1381764"/>
                <a:gd name="connsiteY2434" fmla="*/ 98088 h 1328132"/>
                <a:gd name="connsiteX2435" fmla="*/ 506595 w 1381764"/>
                <a:gd name="connsiteY2435" fmla="*/ 97571 h 1328132"/>
                <a:gd name="connsiteX2436" fmla="*/ 506208 w 1381764"/>
                <a:gd name="connsiteY2436" fmla="*/ 97442 h 1328132"/>
                <a:gd name="connsiteX2437" fmla="*/ 505562 w 1381764"/>
                <a:gd name="connsiteY2437" fmla="*/ 97313 h 1328132"/>
                <a:gd name="connsiteX2438" fmla="*/ 505174 w 1381764"/>
                <a:gd name="connsiteY2438" fmla="*/ 97054 h 1328132"/>
                <a:gd name="connsiteX2439" fmla="*/ 504786 w 1381764"/>
                <a:gd name="connsiteY2439" fmla="*/ 96537 h 1328132"/>
                <a:gd name="connsiteX2440" fmla="*/ 504398 w 1381764"/>
                <a:gd name="connsiteY2440" fmla="*/ 95762 h 1328132"/>
                <a:gd name="connsiteX2441" fmla="*/ 503623 w 1381764"/>
                <a:gd name="connsiteY2441" fmla="*/ 95374 h 1328132"/>
                <a:gd name="connsiteX2442" fmla="*/ 502977 w 1381764"/>
                <a:gd name="connsiteY2442" fmla="*/ 95245 h 1328132"/>
                <a:gd name="connsiteX2443" fmla="*/ 502331 w 1381764"/>
                <a:gd name="connsiteY2443" fmla="*/ 94857 h 1328132"/>
                <a:gd name="connsiteX2444" fmla="*/ 501685 w 1381764"/>
                <a:gd name="connsiteY2444" fmla="*/ 94340 h 1328132"/>
                <a:gd name="connsiteX2445" fmla="*/ 500651 w 1381764"/>
                <a:gd name="connsiteY2445" fmla="*/ 93307 h 1328132"/>
                <a:gd name="connsiteX2446" fmla="*/ 499875 w 1381764"/>
                <a:gd name="connsiteY2446" fmla="*/ 92790 h 1328132"/>
                <a:gd name="connsiteX2447" fmla="*/ 499229 w 1381764"/>
                <a:gd name="connsiteY2447" fmla="*/ 92402 h 1328132"/>
                <a:gd name="connsiteX2448" fmla="*/ 498712 w 1381764"/>
                <a:gd name="connsiteY2448" fmla="*/ 92273 h 1328132"/>
                <a:gd name="connsiteX2449" fmla="*/ 498195 w 1381764"/>
                <a:gd name="connsiteY2449" fmla="*/ 92014 h 1328132"/>
                <a:gd name="connsiteX2450" fmla="*/ 496903 w 1381764"/>
                <a:gd name="connsiteY2450" fmla="*/ 91110 h 1328132"/>
                <a:gd name="connsiteX2451" fmla="*/ 495869 w 1381764"/>
                <a:gd name="connsiteY2451" fmla="*/ 90722 h 1328132"/>
                <a:gd name="connsiteX2452" fmla="*/ 495352 w 1381764"/>
                <a:gd name="connsiteY2452" fmla="*/ 90463 h 1328132"/>
                <a:gd name="connsiteX2453" fmla="*/ 494060 w 1381764"/>
                <a:gd name="connsiteY2453" fmla="*/ 89559 h 1328132"/>
                <a:gd name="connsiteX2454" fmla="*/ 493543 w 1381764"/>
                <a:gd name="connsiteY2454" fmla="*/ 89300 h 1328132"/>
                <a:gd name="connsiteX2455" fmla="*/ 493026 w 1381764"/>
                <a:gd name="connsiteY2455" fmla="*/ 89300 h 1328132"/>
                <a:gd name="connsiteX2456" fmla="*/ 492638 w 1381764"/>
                <a:gd name="connsiteY2456" fmla="*/ 89559 h 1328132"/>
                <a:gd name="connsiteX2457" fmla="*/ 491992 w 1381764"/>
                <a:gd name="connsiteY2457" fmla="*/ 90205 h 1328132"/>
                <a:gd name="connsiteX2458" fmla="*/ 491604 w 1381764"/>
                <a:gd name="connsiteY2458" fmla="*/ 90463 h 1328132"/>
                <a:gd name="connsiteX2459" fmla="*/ 491087 w 1381764"/>
                <a:gd name="connsiteY2459" fmla="*/ 90463 h 1328132"/>
                <a:gd name="connsiteX2460" fmla="*/ 490571 w 1381764"/>
                <a:gd name="connsiteY2460" fmla="*/ 90334 h 1328132"/>
                <a:gd name="connsiteX2461" fmla="*/ 488244 w 1381764"/>
                <a:gd name="connsiteY2461" fmla="*/ 89300 h 1328132"/>
                <a:gd name="connsiteX2462" fmla="*/ 487598 w 1381764"/>
                <a:gd name="connsiteY2462" fmla="*/ 89171 h 1328132"/>
                <a:gd name="connsiteX2463" fmla="*/ 487081 w 1381764"/>
                <a:gd name="connsiteY2463" fmla="*/ 89300 h 1328132"/>
                <a:gd name="connsiteX2464" fmla="*/ 486176 w 1381764"/>
                <a:gd name="connsiteY2464" fmla="*/ 89817 h 1328132"/>
                <a:gd name="connsiteX2465" fmla="*/ 485660 w 1381764"/>
                <a:gd name="connsiteY2465" fmla="*/ 89947 h 1328132"/>
                <a:gd name="connsiteX2466" fmla="*/ 485013 w 1381764"/>
                <a:gd name="connsiteY2466" fmla="*/ 89947 h 1328132"/>
                <a:gd name="connsiteX2467" fmla="*/ 484497 w 1381764"/>
                <a:gd name="connsiteY2467" fmla="*/ 89817 h 1328132"/>
                <a:gd name="connsiteX2468" fmla="*/ 483850 w 1381764"/>
                <a:gd name="connsiteY2468" fmla="*/ 89817 h 1328132"/>
                <a:gd name="connsiteX2469" fmla="*/ 483333 w 1381764"/>
                <a:gd name="connsiteY2469" fmla="*/ 89947 h 1328132"/>
                <a:gd name="connsiteX2470" fmla="*/ 482300 w 1381764"/>
                <a:gd name="connsiteY2470" fmla="*/ 90334 h 1328132"/>
                <a:gd name="connsiteX2471" fmla="*/ 480490 w 1381764"/>
                <a:gd name="connsiteY2471" fmla="*/ 90593 h 1328132"/>
                <a:gd name="connsiteX2472" fmla="*/ 479456 w 1381764"/>
                <a:gd name="connsiteY2472" fmla="*/ 90980 h 1328132"/>
                <a:gd name="connsiteX2473" fmla="*/ 479069 w 1381764"/>
                <a:gd name="connsiteY2473" fmla="*/ 91110 h 1328132"/>
                <a:gd name="connsiteX2474" fmla="*/ 478681 w 1381764"/>
                <a:gd name="connsiteY2474" fmla="*/ 90980 h 1328132"/>
                <a:gd name="connsiteX2475" fmla="*/ 478293 w 1381764"/>
                <a:gd name="connsiteY2475" fmla="*/ 90722 h 1328132"/>
                <a:gd name="connsiteX2476" fmla="*/ 477647 w 1381764"/>
                <a:gd name="connsiteY2476" fmla="*/ 90076 h 1328132"/>
                <a:gd name="connsiteX2477" fmla="*/ 477001 w 1381764"/>
                <a:gd name="connsiteY2477" fmla="*/ 89817 h 1328132"/>
                <a:gd name="connsiteX2478" fmla="*/ 476355 w 1381764"/>
                <a:gd name="connsiteY2478" fmla="*/ 89559 h 1328132"/>
                <a:gd name="connsiteX2479" fmla="*/ 473382 w 1381764"/>
                <a:gd name="connsiteY2479" fmla="*/ 88913 h 1328132"/>
                <a:gd name="connsiteX2480" fmla="*/ 472349 w 1381764"/>
                <a:gd name="connsiteY2480" fmla="*/ 88525 h 1328132"/>
                <a:gd name="connsiteX2481" fmla="*/ 470410 w 1381764"/>
                <a:gd name="connsiteY2481" fmla="*/ 87491 h 1328132"/>
                <a:gd name="connsiteX2482" fmla="*/ 469893 w 1381764"/>
                <a:gd name="connsiteY2482" fmla="*/ 87362 h 1328132"/>
                <a:gd name="connsiteX2483" fmla="*/ 469247 w 1381764"/>
                <a:gd name="connsiteY2483" fmla="*/ 87233 h 1328132"/>
                <a:gd name="connsiteX2484" fmla="*/ 468601 w 1381764"/>
                <a:gd name="connsiteY2484" fmla="*/ 87233 h 1328132"/>
                <a:gd name="connsiteX2485" fmla="*/ 464853 w 1381764"/>
                <a:gd name="connsiteY2485" fmla="*/ 87750 h 1328132"/>
                <a:gd name="connsiteX2486" fmla="*/ 463690 w 1381764"/>
                <a:gd name="connsiteY2486" fmla="*/ 88137 h 1328132"/>
                <a:gd name="connsiteX2487" fmla="*/ 462268 w 1381764"/>
                <a:gd name="connsiteY2487" fmla="*/ 88913 h 1328132"/>
                <a:gd name="connsiteX2488" fmla="*/ 461751 w 1381764"/>
                <a:gd name="connsiteY2488" fmla="*/ 89042 h 1328132"/>
                <a:gd name="connsiteX2489" fmla="*/ 458521 w 1381764"/>
                <a:gd name="connsiteY2489" fmla="*/ 89430 h 1328132"/>
                <a:gd name="connsiteX2490" fmla="*/ 457874 w 1381764"/>
                <a:gd name="connsiteY2490" fmla="*/ 89430 h 1328132"/>
                <a:gd name="connsiteX2491" fmla="*/ 457357 w 1381764"/>
                <a:gd name="connsiteY2491" fmla="*/ 89171 h 1328132"/>
                <a:gd name="connsiteX2492" fmla="*/ 456711 w 1381764"/>
                <a:gd name="connsiteY2492" fmla="*/ 88783 h 1328132"/>
                <a:gd name="connsiteX2493" fmla="*/ 456065 w 1381764"/>
                <a:gd name="connsiteY2493" fmla="*/ 88654 h 1328132"/>
                <a:gd name="connsiteX2494" fmla="*/ 455548 w 1381764"/>
                <a:gd name="connsiteY2494" fmla="*/ 88654 h 1328132"/>
                <a:gd name="connsiteX2495" fmla="*/ 454514 w 1381764"/>
                <a:gd name="connsiteY2495" fmla="*/ 89042 h 1328132"/>
                <a:gd name="connsiteX2496" fmla="*/ 453997 w 1381764"/>
                <a:gd name="connsiteY2496" fmla="*/ 89042 h 1328132"/>
                <a:gd name="connsiteX2497" fmla="*/ 453480 w 1381764"/>
                <a:gd name="connsiteY2497" fmla="*/ 88654 h 1328132"/>
                <a:gd name="connsiteX2498" fmla="*/ 452447 w 1381764"/>
                <a:gd name="connsiteY2498" fmla="*/ 87233 h 1328132"/>
                <a:gd name="connsiteX2499" fmla="*/ 451930 w 1381764"/>
                <a:gd name="connsiteY2499" fmla="*/ 86199 h 1328132"/>
                <a:gd name="connsiteX2500" fmla="*/ 451542 w 1381764"/>
                <a:gd name="connsiteY2500" fmla="*/ 85165 h 1328132"/>
                <a:gd name="connsiteX2501" fmla="*/ 450637 w 1381764"/>
                <a:gd name="connsiteY2501" fmla="*/ 77411 h 1328132"/>
                <a:gd name="connsiteX2502" fmla="*/ 450250 w 1381764"/>
                <a:gd name="connsiteY2502" fmla="*/ 76248 h 1328132"/>
                <a:gd name="connsiteX2503" fmla="*/ 450120 w 1381764"/>
                <a:gd name="connsiteY2503" fmla="*/ 75214 h 1328132"/>
                <a:gd name="connsiteX2504" fmla="*/ 450508 w 1381764"/>
                <a:gd name="connsiteY2504" fmla="*/ 67589 h 1328132"/>
                <a:gd name="connsiteX2505" fmla="*/ 450379 w 1381764"/>
                <a:gd name="connsiteY2505" fmla="*/ 66684 h 1328132"/>
                <a:gd name="connsiteX2506" fmla="*/ 449991 w 1381764"/>
                <a:gd name="connsiteY2506" fmla="*/ 65392 h 1328132"/>
                <a:gd name="connsiteX2507" fmla="*/ 449474 w 1381764"/>
                <a:gd name="connsiteY2507" fmla="*/ 64358 h 1328132"/>
                <a:gd name="connsiteX2508" fmla="*/ 449087 w 1381764"/>
                <a:gd name="connsiteY2508" fmla="*/ 63971 h 1328132"/>
                <a:gd name="connsiteX2509" fmla="*/ 448699 w 1381764"/>
                <a:gd name="connsiteY2509" fmla="*/ 63712 h 1328132"/>
                <a:gd name="connsiteX2510" fmla="*/ 447019 w 1381764"/>
                <a:gd name="connsiteY2510" fmla="*/ 63195 h 1328132"/>
                <a:gd name="connsiteX2511" fmla="*/ 446760 w 1381764"/>
                <a:gd name="connsiteY2511" fmla="*/ 62807 h 1328132"/>
                <a:gd name="connsiteX2512" fmla="*/ 446760 w 1381764"/>
                <a:gd name="connsiteY2512" fmla="*/ 62161 h 1328132"/>
                <a:gd name="connsiteX2513" fmla="*/ 447148 w 1381764"/>
                <a:gd name="connsiteY2513" fmla="*/ 61257 h 1328132"/>
                <a:gd name="connsiteX2514" fmla="*/ 447536 w 1381764"/>
                <a:gd name="connsiteY2514" fmla="*/ 60740 h 1328132"/>
                <a:gd name="connsiteX2515" fmla="*/ 447923 w 1381764"/>
                <a:gd name="connsiteY2515" fmla="*/ 60352 h 1328132"/>
                <a:gd name="connsiteX2516" fmla="*/ 450508 w 1381764"/>
                <a:gd name="connsiteY2516" fmla="*/ 58543 h 1328132"/>
                <a:gd name="connsiteX2517" fmla="*/ 450896 w 1381764"/>
                <a:gd name="connsiteY2517" fmla="*/ 58155 h 1328132"/>
                <a:gd name="connsiteX2518" fmla="*/ 451154 w 1381764"/>
                <a:gd name="connsiteY2518" fmla="*/ 57767 h 1328132"/>
                <a:gd name="connsiteX2519" fmla="*/ 451413 w 1381764"/>
                <a:gd name="connsiteY2519" fmla="*/ 57250 h 1328132"/>
                <a:gd name="connsiteX2520" fmla="*/ 451542 w 1381764"/>
                <a:gd name="connsiteY2520" fmla="*/ 56475 h 1328132"/>
                <a:gd name="connsiteX2521" fmla="*/ 451542 w 1381764"/>
                <a:gd name="connsiteY2521" fmla="*/ 55570 h 1328132"/>
                <a:gd name="connsiteX2522" fmla="*/ 451025 w 1381764"/>
                <a:gd name="connsiteY2522" fmla="*/ 54020 h 1328132"/>
                <a:gd name="connsiteX2523" fmla="*/ 450637 w 1381764"/>
                <a:gd name="connsiteY2523" fmla="*/ 53244 h 1328132"/>
                <a:gd name="connsiteX2524" fmla="*/ 450250 w 1381764"/>
                <a:gd name="connsiteY2524" fmla="*/ 52727 h 1328132"/>
                <a:gd name="connsiteX2525" fmla="*/ 448957 w 1381764"/>
                <a:gd name="connsiteY2525" fmla="*/ 51823 h 1328132"/>
                <a:gd name="connsiteX2526" fmla="*/ 448570 w 1381764"/>
                <a:gd name="connsiteY2526" fmla="*/ 51435 h 1328132"/>
                <a:gd name="connsiteX2527" fmla="*/ 448182 w 1381764"/>
                <a:gd name="connsiteY2527" fmla="*/ 51047 h 1328132"/>
                <a:gd name="connsiteX2528" fmla="*/ 447923 w 1381764"/>
                <a:gd name="connsiteY2528" fmla="*/ 50660 h 1328132"/>
                <a:gd name="connsiteX2529" fmla="*/ 447794 w 1381764"/>
                <a:gd name="connsiteY2529" fmla="*/ 49755 h 1328132"/>
                <a:gd name="connsiteX2530" fmla="*/ 447794 w 1381764"/>
                <a:gd name="connsiteY2530" fmla="*/ 48592 h 1328132"/>
                <a:gd name="connsiteX2531" fmla="*/ 448311 w 1381764"/>
                <a:gd name="connsiteY2531" fmla="*/ 46395 h 1328132"/>
                <a:gd name="connsiteX2532" fmla="*/ 448828 w 1381764"/>
                <a:gd name="connsiteY2532" fmla="*/ 45490 h 1328132"/>
                <a:gd name="connsiteX2533" fmla="*/ 449345 w 1381764"/>
                <a:gd name="connsiteY2533" fmla="*/ 44973 h 1328132"/>
                <a:gd name="connsiteX2534" fmla="*/ 450767 w 1381764"/>
                <a:gd name="connsiteY2534" fmla="*/ 44973 h 1328132"/>
                <a:gd name="connsiteX2535" fmla="*/ 451283 w 1381764"/>
                <a:gd name="connsiteY2535" fmla="*/ 44844 h 1328132"/>
                <a:gd name="connsiteX2536" fmla="*/ 451671 w 1381764"/>
                <a:gd name="connsiteY2536" fmla="*/ 44586 h 1328132"/>
                <a:gd name="connsiteX2537" fmla="*/ 452059 w 1381764"/>
                <a:gd name="connsiteY2537" fmla="*/ 44198 h 1328132"/>
                <a:gd name="connsiteX2538" fmla="*/ 452576 w 1381764"/>
                <a:gd name="connsiteY2538" fmla="*/ 43293 h 1328132"/>
                <a:gd name="connsiteX2539" fmla="*/ 453997 w 1381764"/>
                <a:gd name="connsiteY2539" fmla="*/ 38899 h 1328132"/>
                <a:gd name="connsiteX2540" fmla="*/ 454514 w 1381764"/>
                <a:gd name="connsiteY2540" fmla="*/ 37995 h 1328132"/>
                <a:gd name="connsiteX2541" fmla="*/ 455677 w 1381764"/>
                <a:gd name="connsiteY2541" fmla="*/ 36315 h 1328132"/>
                <a:gd name="connsiteX2542" fmla="*/ 455677 w 1381764"/>
                <a:gd name="connsiteY2542" fmla="*/ 35152 h 1328132"/>
                <a:gd name="connsiteX2543" fmla="*/ 455419 w 1381764"/>
                <a:gd name="connsiteY2543" fmla="*/ 33213 h 1328132"/>
                <a:gd name="connsiteX2544" fmla="*/ 453739 w 1381764"/>
                <a:gd name="connsiteY2544" fmla="*/ 25330 h 1328132"/>
                <a:gd name="connsiteX2545" fmla="*/ 453739 w 1381764"/>
                <a:gd name="connsiteY2545" fmla="*/ 23262 h 1328132"/>
                <a:gd name="connsiteX2546" fmla="*/ 453610 w 1381764"/>
                <a:gd name="connsiteY2546" fmla="*/ 20548 h 1328132"/>
                <a:gd name="connsiteX2547" fmla="*/ 452705 w 1381764"/>
                <a:gd name="connsiteY2547" fmla="*/ 18997 h 1328132"/>
                <a:gd name="connsiteX2548" fmla="*/ 449216 w 1381764"/>
                <a:gd name="connsiteY2548" fmla="*/ 16025 h 1328132"/>
                <a:gd name="connsiteX2549" fmla="*/ 449216 w 1381764"/>
                <a:gd name="connsiteY2549" fmla="*/ 16025 h 1328132"/>
                <a:gd name="connsiteX2550" fmla="*/ 447406 w 1381764"/>
                <a:gd name="connsiteY2550" fmla="*/ 17059 h 1328132"/>
                <a:gd name="connsiteX2551" fmla="*/ 442108 w 1381764"/>
                <a:gd name="connsiteY2551" fmla="*/ 18610 h 1328132"/>
                <a:gd name="connsiteX2552" fmla="*/ 437972 w 1381764"/>
                <a:gd name="connsiteY2552" fmla="*/ 17188 h 1328132"/>
                <a:gd name="connsiteX2553" fmla="*/ 427505 w 1381764"/>
                <a:gd name="connsiteY2553" fmla="*/ 6979 h 1328132"/>
                <a:gd name="connsiteX2554" fmla="*/ 426988 w 1381764"/>
                <a:gd name="connsiteY2554" fmla="*/ 5945 h 1328132"/>
                <a:gd name="connsiteX2555" fmla="*/ 427375 w 1381764"/>
                <a:gd name="connsiteY2555" fmla="*/ 4523 h 1328132"/>
                <a:gd name="connsiteX2556" fmla="*/ 429443 w 1381764"/>
                <a:gd name="connsiteY2556" fmla="*/ 2455 h 1328132"/>
                <a:gd name="connsiteX2557" fmla="*/ 430089 w 1381764"/>
                <a:gd name="connsiteY2557" fmla="*/ 1034 h 1328132"/>
                <a:gd name="connsiteX2558" fmla="*/ 429572 w 1381764"/>
                <a:gd name="connsiteY2558" fmla="*/ 0 h 1328132"/>
                <a:gd name="connsiteX2559" fmla="*/ 427634 w 1381764"/>
                <a:gd name="connsiteY2559" fmla="*/ 258 h 1328132"/>
                <a:gd name="connsiteX2560" fmla="*/ 423240 w 1381764"/>
                <a:gd name="connsiteY2560" fmla="*/ 1938 h 1328132"/>
                <a:gd name="connsiteX2561" fmla="*/ 421043 w 1381764"/>
                <a:gd name="connsiteY2561" fmla="*/ 3231 h 1328132"/>
                <a:gd name="connsiteX2562" fmla="*/ 416907 w 1381764"/>
                <a:gd name="connsiteY2562" fmla="*/ 6720 h 1328132"/>
                <a:gd name="connsiteX2563" fmla="*/ 413030 w 1381764"/>
                <a:gd name="connsiteY2563" fmla="*/ 8529 h 1328132"/>
                <a:gd name="connsiteX2564" fmla="*/ 412126 w 1381764"/>
                <a:gd name="connsiteY2564" fmla="*/ 8788 h 1328132"/>
                <a:gd name="connsiteX2565" fmla="*/ 411221 w 1381764"/>
                <a:gd name="connsiteY2565" fmla="*/ 8659 h 1328132"/>
                <a:gd name="connsiteX2566" fmla="*/ 410446 w 1381764"/>
                <a:gd name="connsiteY2566" fmla="*/ 7754 h 1328132"/>
                <a:gd name="connsiteX2567" fmla="*/ 410833 w 1381764"/>
                <a:gd name="connsiteY2567" fmla="*/ 5686 h 1328132"/>
                <a:gd name="connsiteX2568" fmla="*/ 410316 w 1381764"/>
                <a:gd name="connsiteY2568" fmla="*/ 4652 h 1328132"/>
                <a:gd name="connsiteX2569" fmla="*/ 406698 w 1381764"/>
                <a:gd name="connsiteY2569" fmla="*/ 4911 h 1328132"/>
                <a:gd name="connsiteX2570" fmla="*/ 398168 w 1381764"/>
                <a:gd name="connsiteY2570" fmla="*/ 11502 h 1328132"/>
                <a:gd name="connsiteX2571" fmla="*/ 395713 w 1381764"/>
                <a:gd name="connsiteY2571" fmla="*/ 11373 h 1328132"/>
                <a:gd name="connsiteX2572" fmla="*/ 394421 w 1381764"/>
                <a:gd name="connsiteY2572" fmla="*/ 9822 h 1328132"/>
                <a:gd name="connsiteX2573" fmla="*/ 392741 w 1381764"/>
                <a:gd name="connsiteY2573" fmla="*/ 9176 h 1328132"/>
                <a:gd name="connsiteX2574" fmla="*/ 390931 w 1381764"/>
                <a:gd name="connsiteY2574" fmla="*/ 9176 h 1328132"/>
                <a:gd name="connsiteX2575" fmla="*/ 389122 w 1381764"/>
                <a:gd name="connsiteY2575" fmla="*/ 9951 h 1328132"/>
                <a:gd name="connsiteX2576" fmla="*/ 387313 w 1381764"/>
                <a:gd name="connsiteY2576" fmla="*/ 11631 h 1328132"/>
                <a:gd name="connsiteX2577" fmla="*/ 386667 w 1381764"/>
                <a:gd name="connsiteY2577" fmla="*/ 13570 h 1328132"/>
                <a:gd name="connsiteX2578" fmla="*/ 386408 w 1381764"/>
                <a:gd name="connsiteY2578" fmla="*/ 15508 h 1328132"/>
                <a:gd name="connsiteX2579" fmla="*/ 385504 w 1381764"/>
                <a:gd name="connsiteY2579" fmla="*/ 17188 h 1328132"/>
                <a:gd name="connsiteX2580" fmla="*/ 382402 w 1381764"/>
                <a:gd name="connsiteY2580" fmla="*/ 18480 h 1328132"/>
                <a:gd name="connsiteX2581" fmla="*/ 378525 w 1381764"/>
                <a:gd name="connsiteY2581" fmla="*/ 18351 h 1328132"/>
                <a:gd name="connsiteX2582" fmla="*/ 374390 w 1381764"/>
                <a:gd name="connsiteY2582" fmla="*/ 17834 h 1328132"/>
                <a:gd name="connsiteX2583" fmla="*/ 370383 w 1381764"/>
                <a:gd name="connsiteY2583" fmla="*/ 17834 h 1328132"/>
                <a:gd name="connsiteX2584" fmla="*/ 364309 w 1381764"/>
                <a:gd name="connsiteY2584" fmla="*/ 18351 h 1328132"/>
                <a:gd name="connsiteX2585" fmla="*/ 362242 w 1381764"/>
                <a:gd name="connsiteY2585" fmla="*/ 18093 h 1328132"/>
                <a:gd name="connsiteX2586" fmla="*/ 360045 w 1381764"/>
                <a:gd name="connsiteY2586" fmla="*/ 18093 h 1328132"/>
                <a:gd name="connsiteX2587" fmla="*/ 356038 w 1381764"/>
                <a:gd name="connsiteY2587" fmla="*/ 19902 h 1328132"/>
                <a:gd name="connsiteX2588" fmla="*/ 347638 w 1381764"/>
                <a:gd name="connsiteY2588" fmla="*/ 21970 h 1328132"/>
                <a:gd name="connsiteX2589" fmla="*/ 345571 w 1381764"/>
                <a:gd name="connsiteY2589" fmla="*/ 21582 h 1328132"/>
                <a:gd name="connsiteX2590" fmla="*/ 344407 w 1381764"/>
                <a:gd name="connsiteY2590" fmla="*/ 20677 h 1328132"/>
                <a:gd name="connsiteX2591" fmla="*/ 343115 w 1381764"/>
                <a:gd name="connsiteY2591" fmla="*/ 18351 h 1328132"/>
                <a:gd name="connsiteX2592" fmla="*/ 342340 w 1381764"/>
                <a:gd name="connsiteY2592" fmla="*/ 17447 h 1328132"/>
                <a:gd name="connsiteX2593" fmla="*/ 341306 w 1381764"/>
                <a:gd name="connsiteY2593" fmla="*/ 16930 h 1328132"/>
                <a:gd name="connsiteX2594" fmla="*/ 333681 w 1381764"/>
                <a:gd name="connsiteY2594" fmla="*/ 15120 h 1328132"/>
                <a:gd name="connsiteX2595" fmla="*/ 331872 w 1381764"/>
                <a:gd name="connsiteY2595" fmla="*/ 14216 h 1328132"/>
                <a:gd name="connsiteX2596" fmla="*/ 326056 w 1381764"/>
                <a:gd name="connsiteY2596" fmla="*/ 9434 h 1328132"/>
                <a:gd name="connsiteX2597" fmla="*/ 323730 w 1381764"/>
                <a:gd name="connsiteY2597" fmla="*/ 8142 h 1328132"/>
                <a:gd name="connsiteX2598" fmla="*/ 321145 w 1381764"/>
                <a:gd name="connsiteY2598" fmla="*/ 7883 h 1328132"/>
                <a:gd name="connsiteX2599" fmla="*/ 319853 w 1381764"/>
                <a:gd name="connsiteY2599" fmla="*/ 8271 h 1328132"/>
                <a:gd name="connsiteX2600" fmla="*/ 319207 w 1381764"/>
                <a:gd name="connsiteY2600" fmla="*/ 8917 h 1328132"/>
                <a:gd name="connsiteX2601" fmla="*/ 318431 w 1381764"/>
                <a:gd name="connsiteY2601" fmla="*/ 10726 h 1328132"/>
                <a:gd name="connsiteX2602" fmla="*/ 317268 w 1381764"/>
                <a:gd name="connsiteY2602" fmla="*/ 15250 h 1328132"/>
                <a:gd name="connsiteX2603" fmla="*/ 317139 w 1381764"/>
                <a:gd name="connsiteY2603" fmla="*/ 20031 h 1328132"/>
                <a:gd name="connsiteX2604" fmla="*/ 316622 w 1381764"/>
                <a:gd name="connsiteY2604" fmla="*/ 21840 h 1328132"/>
                <a:gd name="connsiteX2605" fmla="*/ 313520 w 1381764"/>
                <a:gd name="connsiteY2605" fmla="*/ 26493 h 1328132"/>
                <a:gd name="connsiteX2606" fmla="*/ 312745 w 1381764"/>
                <a:gd name="connsiteY2606" fmla="*/ 27397 h 1328132"/>
                <a:gd name="connsiteX2607" fmla="*/ 311453 w 1381764"/>
                <a:gd name="connsiteY2607" fmla="*/ 28044 h 1328132"/>
                <a:gd name="connsiteX2608" fmla="*/ 310290 w 1381764"/>
                <a:gd name="connsiteY2608" fmla="*/ 27914 h 1328132"/>
                <a:gd name="connsiteX2609" fmla="*/ 309385 w 1381764"/>
                <a:gd name="connsiteY2609" fmla="*/ 27397 h 1328132"/>
                <a:gd name="connsiteX2610" fmla="*/ 308351 w 1381764"/>
                <a:gd name="connsiteY2610" fmla="*/ 27010 h 1328132"/>
                <a:gd name="connsiteX2611" fmla="*/ 307059 w 1381764"/>
                <a:gd name="connsiteY2611" fmla="*/ 27268 h 1328132"/>
                <a:gd name="connsiteX2612" fmla="*/ 305637 w 1381764"/>
                <a:gd name="connsiteY2612" fmla="*/ 28948 h 1328132"/>
                <a:gd name="connsiteX2613" fmla="*/ 303957 w 1381764"/>
                <a:gd name="connsiteY2613" fmla="*/ 32050 h 1328132"/>
                <a:gd name="connsiteX2614" fmla="*/ 302665 w 1381764"/>
                <a:gd name="connsiteY2614" fmla="*/ 35152 h 1328132"/>
                <a:gd name="connsiteX2615" fmla="*/ 302406 w 1381764"/>
                <a:gd name="connsiteY2615" fmla="*/ 37090 h 1328132"/>
                <a:gd name="connsiteX2616" fmla="*/ 303699 w 1381764"/>
                <a:gd name="connsiteY2616" fmla="*/ 37865 h 1328132"/>
                <a:gd name="connsiteX2617" fmla="*/ 308351 w 1381764"/>
                <a:gd name="connsiteY2617" fmla="*/ 38124 h 1328132"/>
                <a:gd name="connsiteX2618" fmla="*/ 310290 w 1381764"/>
                <a:gd name="connsiteY2618" fmla="*/ 38641 h 1328132"/>
                <a:gd name="connsiteX2619" fmla="*/ 312357 w 1381764"/>
                <a:gd name="connsiteY2619" fmla="*/ 40450 h 1328132"/>
                <a:gd name="connsiteX2620" fmla="*/ 313391 w 1381764"/>
                <a:gd name="connsiteY2620" fmla="*/ 44586 h 1328132"/>
                <a:gd name="connsiteX2621" fmla="*/ 314813 w 1381764"/>
                <a:gd name="connsiteY2621" fmla="*/ 46783 h 1328132"/>
                <a:gd name="connsiteX2622" fmla="*/ 317656 w 1381764"/>
                <a:gd name="connsiteY2622" fmla="*/ 48721 h 1328132"/>
                <a:gd name="connsiteX2623" fmla="*/ 318561 w 1381764"/>
                <a:gd name="connsiteY2623" fmla="*/ 49496 h 1328132"/>
                <a:gd name="connsiteX2624" fmla="*/ 322438 w 1381764"/>
                <a:gd name="connsiteY2624" fmla="*/ 54407 h 1328132"/>
                <a:gd name="connsiteX2625" fmla="*/ 326056 w 1381764"/>
                <a:gd name="connsiteY2625" fmla="*/ 57509 h 1328132"/>
                <a:gd name="connsiteX2626" fmla="*/ 326832 w 1381764"/>
                <a:gd name="connsiteY2626" fmla="*/ 58672 h 1328132"/>
                <a:gd name="connsiteX2627" fmla="*/ 327219 w 1381764"/>
                <a:gd name="connsiteY2627" fmla="*/ 59964 h 1328132"/>
                <a:gd name="connsiteX2628" fmla="*/ 327090 w 1381764"/>
                <a:gd name="connsiteY2628" fmla="*/ 60998 h 1328132"/>
                <a:gd name="connsiteX2629" fmla="*/ 326702 w 1381764"/>
                <a:gd name="connsiteY2629" fmla="*/ 62032 h 1328132"/>
                <a:gd name="connsiteX2630" fmla="*/ 326315 w 1381764"/>
                <a:gd name="connsiteY2630" fmla="*/ 63583 h 1328132"/>
                <a:gd name="connsiteX2631" fmla="*/ 326444 w 1381764"/>
                <a:gd name="connsiteY2631" fmla="*/ 68365 h 1328132"/>
                <a:gd name="connsiteX2632" fmla="*/ 327090 w 1381764"/>
                <a:gd name="connsiteY2632" fmla="*/ 72629 h 1328132"/>
                <a:gd name="connsiteX2633" fmla="*/ 326573 w 1381764"/>
                <a:gd name="connsiteY2633" fmla="*/ 76506 h 1328132"/>
                <a:gd name="connsiteX2634" fmla="*/ 323213 w 1381764"/>
                <a:gd name="connsiteY2634" fmla="*/ 79996 h 1328132"/>
                <a:gd name="connsiteX2635" fmla="*/ 316105 w 1381764"/>
                <a:gd name="connsiteY2635" fmla="*/ 82063 h 1328132"/>
                <a:gd name="connsiteX2636" fmla="*/ 309385 w 1381764"/>
                <a:gd name="connsiteY2636" fmla="*/ 80642 h 1328132"/>
                <a:gd name="connsiteX2637" fmla="*/ 302665 w 1381764"/>
                <a:gd name="connsiteY2637" fmla="*/ 77928 h 1328132"/>
                <a:gd name="connsiteX2638" fmla="*/ 295816 w 1381764"/>
                <a:gd name="connsiteY2638" fmla="*/ 76119 h 1328132"/>
                <a:gd name="connsiteX2639" fmla="*/ 290646 w 1381764"/>
                <a:gd name="connsiteY2639" fmla="*/ 76377 h 1328132"/>
                <a:gd name="connsiteX2640" fmla="*/ 288966 w 1381764"/>
                <a:gd name="connsiteY2640" fmla="*/ 76119 h 1328132"/>
                <a:gd name="connsiteX2641" fmla="*/ 286898 w 1381764"/>
                <a:gd name="connsiteY2641" fmla="*/ 75214 h 1328132"/>
                <a:gd name="connsiteX2642" fmla="*/ 283021 w 1381764"/>
                <a:gd name="connsiteY2642" fmla="*/ 72758 h 1328132"/>
                <a:gd name="connsiteX2643" fmla="*/ 280954 w 1381764"/>
                <a:gd name="connsiteY2643" fmla="*/ 71854 h 1328132"/>
                <a:gd name="connsiteX2644" fmla="*/ 278886 w 1381764"/>
                <a:gd name="connsiteY2644" fmla="*/ 71595 h 1328132"/>
                <a:gd name="connsiteX2645" fmla="*/ 275784 w 1381764"/>
                <a:gd name="connsiteY2645" fmla="*/ 72371 h 1328132"/>
                <a:gd name="connsiteX2646" fmla="*/ 273846 w 1381764"/>
                <a:gd name="connsiteY2646" fmla="*/ 72629 h 1328132"/>
                <a:gd name="connsiteX2647" fmla="*/ 272295 w 1381764"/>
                <a:gd name="connsiteY2647" fmla="*/ 72371 h 1328132"/>
                <a:gd name="connsiteX2648" fmla="*/ 266738 w 1381764"/>
                <a:gd name="connsiteY2648" fmla="*/ 70303 h 1328132"/>
                <a:gd name="connsiteX2649" fmla="*/ 261698 w 1381764"/>
                <a:gd name="connsiteY2649" fmla="*/ 72112 h 1328132"/>
                <a:gd name="connsiteX2650" fmla="*/ 258467 w 1381764"/>
                <a:gd name="connsiteY2650" fmla="*/ 73922 h 1328132"/>
                <a:gd name="connsiteX2651" fmla="*/ 256787 w 1381764"/>
                <a:gd name="connsiteY2651" fmla="*/ 74051 h 1328132"/>
                <a:gd name="connsiteX2652" fmla="*/ 255107 w 1381764"/>
                <a:gd name="connsiteY2652" fmla="*/ 73275 h 1328132"/>
                <a:gd name="connsiteX2653" fmla="*/ 253556 w 1381764"/>
                <a:gd name="connsiteY2653" fmla="*/ 71983 h 1328132"/>
                <a:gd name="connsiteX2654" fmla="*/ 251876 w 1381764"/>
                <a:gd name="connsiteY2654" fmla="*/ 70949 h 1328132"/>
                <a:gd name="connsiteX2655" fmla="*/ 249808 w 1381764"/>
                <a:gd name="connsiteY2655" fmla="*/ 70691 h 1328132"/>
                <a:gd name="connsiteX2656" fmla="*/ 247999 w 1381764"/>
                <a:gd name="connsiteY2656" fmla="*/ 71466 h 1328132"/>
                <a:gd name="connsiteX2657" fmla="*/ 246578 w 1381764"/>
                <a:gd name="connsiteY2657" fmla="*/ 72500 h 1328132"/>
                <a:gd name="connsiteX2658" fmla="*/ 245027 w 1381764"/>
                <a:gd name="connsiteY2658" fmla="*/ 73275 h 1328132"/>
                <a:gd name="connsiteX2659" fmla="*/ 242830 w 1381764"/>
                <a:gd name="connsiteY2659" fmla="*/ 73146 h 1328132"/>
                <a:gd name="connsiteX2660" fmla="*/ 240633 w 1381764"/>
                <a:gd name="connsiteY2660" fmla="*/ 72758 h 1328132"/>
                <a:gd name="connsiteX2661" fmla="*/ 239211 w 1381764"/>
                <a:gd name="connsiteY2661" fmla="*/ 73146 h 1328132"/>
                <a:gd name="connsiteX2662" fmla="*/ 234559 w 1381764"/>
                <a:gd name="connsiteY2662" fmla="*/ 76765 h 1328132"/>
                <a:gd name="connsiteX2663" fmla="*/ 233267 w 1381764"/>
                <a:gd name="connsiteY2663" fmla="*/ 77411 h 1328132"/>
                <a:gd name="connsiteX2664" fmla="*/ 231845 w 1381764"/>
                <a:gd name="connsiteY2664" fmla="*/ 77411 h 1328132"/>
                <a:gd name="connsiteX2665" fmla="*/ 224220 w 1381764"/>
                <a:gd name="connsiteY2665" fmla="*/ 76119 h 1328132"/>
                <a:gd name="connsiteX2666" fmla="*/ 222799 w 1381764"/>
                <a:gd name="connsiteY2666" fmla="*/ 75602 h 1328132"/>
                <a:gd name="connsiteX2667" fmla="*/ 221119 w 1381764"/>
                <a:gd name="connsiteY2667" fmla="*/ 74180 h 1328132"/>
                <a:gd name="connsiteX2668" fmla="*/ 220472 w 1381764"/>
                <a:gd name="connsiteY2668" fmla="*/ 73146 h 1328132"/>
                <a:gd name="connsiteX2669" fmla="*/ 219568 w 1381764"/>
                <a:gd name="connsiteY2669" fmla="*/ 72629 h 1328132"/>
                <a:gd name="connsiteX2670" fmla="*/ 217242 w 1381764"/>
                <a:gd name="connsiteY2670" fmla="*/ 72629 h 1328132"/>
                <a:gd name="connsiteX2671" fmla="*/ 213623 w 1381764"/>
                <a:gd name="connsiteY2671" fmla="*/ 73017 h 1328132"/>
                <a:gd name="connsiteX2672" fmla="*/ 211814 w 1381764"/>
                <a:gd name="connsiteY2672" fmla="*/ 73017 h 1328132"/>
                <a:gd name="connsiteX2673" fmla="*/ 210004 w 1381764"/>
                <a:gd name="connsiteY2673" fmla="*/ 73017 h 1328132"/>
                <a:gd name="connsiteX2674" fmla="*/ 207161 w 1381764"/>
                <a:gd name="connsiteY2674" fmla="*/ 71595 h 1328132"/>
                <a:gd name="connsiteX2675" fmla="*/ 205223 w 1381764"/>
                <a:gd name="connsiteY2675" fmla="*/ 69915 h 1328132"/>
                <a:gd name="connsiteX2676" fmla="*/ 203931 w 1381764"/>
                <a:gd name="connsiteY2676" fmla="*/ 67718 h 1328132"/>
                <a:gd name="connsiteX2677" fmla="*/ 203284 w 1381764"/>
                <a:gd name="connsiteY2677" fmla="*/ 64746 h 1328132"/>
                <a:gd name="connsiteX2678" fmla="*/ 200053 w 1381764"/>
                <a:gd name="connsiteY2678" fmla="*/ 62161 h 1328132"/>
                <a:gd name="connsiteX2679" fmla="*/ 194884 w 1381764"/>
                <a:gd name="connsiteY2679" fmla="*/ 64229 h 1328132"/>
                <a:gd name="connsiteX2680" fmla="*/ 185709 w 1381764"/>
                <a:gd name="connsiteY2680" fmla="*/ 69915 h 1328132"/>
                <a:gd name="connsiteX2681" fmla="*/ 183512 w 1381764"/>
                <a:gd name="connsiteY2681" fmla="*/ 69528 h 1328132"/>
                <a:gd name="connsiteX2682" fmla="*/ 179635 w 1381764"/>
                <a:gd name="connsiteY2682" fmla="*/ 67072 h 1328132"/>
                <a:gd name="connsiteX2683" fmla="*/ 177050 w 1381764"/>
                <a:gd name="connsiteY2683" fmla="*/ 66814 h 1328132"/>
                <a:gd name="connsiteX2684" fmla="*/ 174724 w 1381764"/>
                <a:gd name="connsiteY2684" fmla="*/ 67718 h 1328132"/>
                <a:gd name="connsiteX2685" fmla="*/ 173173 w 1381764"/>
                <a:gd name="connsiteY2685" fmla="*/ 69140 h 1328132"/>
                <a:gd name="connsiteX2686" fmla="*/ 171881 w 1381764"/>
                <a:gd name="connsiteY2686" fmla="*/ 70820 h 1328132"/>
                <a:gd name="connsiteX2687" fmla="*/ 170201 w 1381764"/>
                <a:gd name="connsiteY2687" fmla="*/ 72371 h 1328132"/>
                <a:gd name="connsiteX2688" fmla="*/ 168004 w 1381764"/>
                <a:gd name="connsiteY2688" fmla="*/ 73534 h 1328132"/>
                <a:gd name="connsiteX2689" fmla="*/ 166453 w 1381764"/>
                <a:gd name="connsiteY2689" fmla="*/ 74051 h 1328132"/>
                <a:gd name="connsiteX2690" fmla="*/ 165419 w 1381764"/>
                <a:gd name="connsiteY2690" fmla="*/ 74955 h 1328132"/>
                <a:gd name="connsiteX2691" fmla="*/ 162705 w 1381764"/>
                <a:gd name="connsiteY2691" fmla="*/ 82063 h 1328132"/>
                <a:gd name="connsiteX2692" fmla="*/ 161542 w 1381764"/>
                <a:gd name="connsiteY2692" fmla="*/ 84002 h 1328132"/>
                <a:gd name="connsiteX2693" fmla="*/ 154434 w 1381764"/>
                <a:gd name="connsiteY2693" fmla="*/ 92919 h 1328132"/>
                <a:gd name="connsiteX2694" fmla="*/ 151203 w 1381764"/>
                <a:gd name="connsiteY2694" fmla="*/ 95374 h 1328132"/>
                <a:gd name="connsiteX2695" fmla="*/ 146163 w 1381764"/>
                <a:gd name="connsiteY2695" fmla="*/ 96667 h 1328132"/>
                <a:gd name="connsiteX2696" fmla="*/ 142932 w 1381764"/>
                <a:gd name="connsiteY2696" fmla="*/ 96796 h 1328132"/>
                <a:gd name="connsiteX2697" fmla="*/ 133886 w 1381764"/>
                <a:gd name="connsiteY2697" fmla="*/ 95116 h 1328132"/>
                <a:gd name="connsiteX2698" fmla="*/ 130009 w 1381764"/>
                <a:gd name="connsiteY2698" fmla="*/ 94987 h 1328132"/>
                <a:gd name="connsiteX2699" fmla="*/ 126649 w 1381764"/>
                <a:gd name="connsiteY2699" fmla="*/ 95891 h 1328132"/>
                <a:gd name="connsiteX2700" fmla="*/ 117990 w 1381764"/>
                <a:gd name="connsiteY2700" fmla="*/ 99639 h 1328132"/>
                <a:gd name="connsiteX2701" fmla="*/ 114372 w 1381764"/>
                <a:gd name="connsiteY2701" fmla="*/ 101836 h 1328132"/>
                <a:gd name="connsiteX2702" fmla="*/ 112562 w 1381764"/>
                <a:gd name="connsiteY2702" fmla="*/ 102482 h 1328132"/>
                <a:gd name="connsiteX2703" fmla="*/ 110624 w 1381764"/>
                <a:gd name="connsiteY2703" fmla="*/ 102224 h 1328132"/>
                <a:gd name="connsiteX2704" fmla="*/ 107393 w 1381764"/>
                <a:gd name="connsiteY2704" fmla="*/ 100931 h 1328132"/>
                <a:gd name="connsiteX2705" fmla="*/ 105713 w 1381764"/>
                <a:gd name="connsiteY2705" fmla="*/ 100673 h 1328132"/>
                <a:gd name="connsiteX2706" fmla="*/ 105067 w 1381764"/>
                <a:gd name="connsiteY2706" fmla="*/ 101448 h 1328132"/>
                <a:gd name="connsiteX2707" fmla="*/ 105196 w 1381764"/>
                <a:gd name="connsiteY2707" fmla="*/ 103128 h 1328132"/>
                <a:gd name="connsiteX2708" fmla="*/ 105842 w 1381764"/>
                <a:gd name="connsiteY2708" fmla="*/ 106359 h 1328132"/>
                <a:gd name="connsiteX2709" fmla="*/ 105455 w 1381764"/>
                <a:gd name="connsiteY2709" fmla="*/ 108168 h 1328132"/>
                <a:gd name="connsiteX2710" fmla="*/ 104808 w 1381764"/>
                <a:gd name="connsiteY2710" fmla="*/ 110107 h 1328132"/>
                <a:gd name="connsiteX2711" fmla="*/ 102870 w 1381764"/>
                <a:gd name="connsiteY2711" fmla="*/ 113596 h 1328132"/>
                <a:gd name="connsiteX2712" fmla="*/ 101190 w 1381764"/>
                <a:gd name="connsiteY2712" fmla="*/ 115664 h 1328132"/>
                <a:gd name="connsiteX2713" fmla="*/ 96667 w 1381764"/>
                <a:gd name="connsiteY2713" fmla="*/ 116439 h 1328132"/>
                <a:gd name="connsiteX2714" fmla="*/ 91627 w 1381764"/>
                <a:gd name="connsiteY2714" fmla="*/ 116310 h 1328132"/>
                <a:gd name="connsiteX2715" fmla="*/ 88137 w 1381764"/>
                <a:gd name="connsiteY2715" fmla="*/ 115406 h 1328132"/>
                <a:gd name="connsiteX2716" fmla="*/ 87362 w 1381764"/>
                <a:gd name="connsiteY2716" fmla="*/ 114501 h 1328132"/>
                <a:gd name="connsiteX2717" fmla="*/ 86586 w 1381764"/>
                <a:gd name="connsiteY2717" fmla="*/ 112175 h 1328132"/>
                <a:gd name="connsiteX2718" fmla="*/ 85811 w 1381764"/>
                <a:gd name="connsiteY2718" fmla="*/ 111141 h 1328132"/>
                <a:gd name="connsiteX2719" fmla="*/ 84002 w 1381764"/>
                <a:gd name="connsiteY2719" fmla="*/ 110236 h 1328132"/>
                <a:gd name="connsiteX2720" fmla="*/ 82839 w 1381764"/>
                <a:gd name="connsiteY2720" fmla="*/ 110365 h 1328132"/>
                <a:gd name="connsiteX2721" fmla="*/ 81805 w 1381764"/>
                <a:gd name="connsiteY2721" fmla="*/ 111012 h 1328132"/>
                <a:gd name="connsiteX2722" fmla="*/ 80383 w 1381764"/>
                <a:gd name="connsiteY2722" fmla="*/ 111399 h 1328132"/>
                <a:gd name="connsiteX2723" fmla="*/ 78315 w 1381764"/>
                <a:gd name="connsiteY2723" fmla="*/ 111270 h 1328132"/>
                <a:gd name="connsiteX2724" fmla="*/ 75989 w 1381764"/>
                <a:gd name="connsiteY2724" fmla="*/ 110882 h 1328132"/>
                <a:gd name="connsiteX2725" fmla="*/ 73663 w 1381764"/>
                <a:gd name="connsiteY2725" fmla="*/ 110236 h 1328132"/>
                <a:gd name="connsiteX2726" fmla="*/ 71854 w 1381764"/>
                <a:gd name="connsiteY2726" fmla="*/ 109332 h 1328132"/>
                <a:gd name="connsiteX2727" fmla="*/ 71078 w 1381764"/>
                <a:gd name="connsiteY2727" fmla="*/ 108556 h 1328132"/>
                <a:gd name="connsiteX2728" fmla="*/ 70045 w 1381764"/>
                <a:gd name="connsiteY2728" fmla="*/ 106876 h 1328132"/>
                <a:gd name="connsiteX2729" fmla="*/ 69528 w 1381764"/>
                <a:gd name="connsiteY2729" fmla="*/ 106618 h 1328132"/>
                <a:gd name="connsiteX2730" fmla="*/ 68364 w 1381764"/>
                <a:gd name="connsiteY2730" fmla="*/ 107393 h 1328132"/>
                <a:gd name="connsiteX2731" fmla="*/ 67848 w 1381764"/>
                <a:gd name="connsiteY2731" fmla="*/ 108944 h 1328132"/>
                <a:gd name="connsiteX2732" fmla="*/ 67201 w 1381764"/>
                <a:gd name="connsiteY2732" fmla="*/ 110495 h 1328132"/>
                <a:gd name="connsiteX2733" fmla="*/ 66426 w 1381764"/>
                <a:gd name="connsiteY2733" fmla="*/ 111787 h 1328132"/>
                <a:gd name="connsiteX2734" fmla="*/ 65521 w 1381764"/>
                <a:gd name="connsiteY2734" fmla="*/ 112433 h 1328132"/>
                <a:gd name="connsiteX2735" fmla="*/ 63066 w 1381764"/>
                <a:gd name="connsiteY2735" fmla="*/ 113467 h 1328132"/>
                <a:gd name="connsiteX2736" fmla="*/ 62291 w 1381764"/>
                <a:gd name="connsiteY2736" fmla="*/ 114113 h 1328132"/>
                <a:gd name="connsiteX2737" fmla="*/ 62161 w 1381764"/>
                <a:gd name="connsiteY2737" fmla="*/ 115147 h 1328132"/>
                <a:gd name="connsiteX2738" fmla="*/ 62808 w 1381764"/>
                <a:gd name="connsiteY2738" fmla="*/ 117344 h 1328132"/>
                <a:gd name="connsiteX2739" fmla="*/ 62808 w 1381764"/>
                <a:gd name="connsiteY2739" fmla="*/ 118378 h 1328132"/>
                <a:gd name="connsiteX2740" fmla="*/ 59964 w 1381764"/>
                <a:gd name="connsiteY2740" fmla="*/ 120316 h 1328132"/>
                <a:gd name="connsiteX2741" fmla="*/ 58543 w 1381764"/>
                <a:gd name="connsiteY2741" fmla="*/ 120575 h 1328132"/>
                <a:gd name="connsiteX2742" fmla="*/ 50789 w 1381764"/>
                <a:gd name="connsiteY2742" fmla="*/ 121867 h 1328132"/>
                <a:gd name="connsiteX2743" fmla="*/ 50530 w 1381764"/>
                <a:gd name="connsiteY2743" fmla="*/ 122255 h 1328132"/>
                <a:gd name="connsiteX2744" fmla="*/ 49238 w 1381764"/>
                <a:gd name="connsiteY2744" fmla="*/ 123806 h 1328132"/>
                <a:gd name="connsiteX2745" fmla="*/ 50013 w 1381764"/>
                <a:gd name="connsiteY2745" fmla="*/ 126003 h 1328132"/>
                <a:gd name="connsiteX2746" fmla="*/ 52081 w 1381764"/>
                <a:gd name="connsiteY2746" fmla="*/ 130138 h 1328132"/>
                <a:gd name="connsiteX2747" fmla="*/ 52727 w 1381764"/>
                <a:gd name="connsiteY2747" fmla="*/ 132335 h 1328132"/>
                <a:gd name="connsiteX2748" fmla="*/ 52856 w 1381764"/>
                <a:gd name="connsiteY2748" fmla="*/ 134920 h 1328132"/>
                <a:gd name="connsiteX2749" fmla="*/ 52210 w 1381764"/>
                <a:gd name="connsiteY2749" fmla="*/ 136729 h 1328132"/>
                <a:gd name="connsiteX2750" fmla="*/ 48850 w 1381764"/>
                <a:gd name="connsiteY2750" fmla="*/ 141898 h 1328132"/>
                <a:gd name="connsiteX2751" fmla="*/ 47946 w 1381764"/>
                <a:gd name="connsiteY2751" fmla="*/ 141898 h 1328132"/>
                <a:gd name="connsiteX2752" fmla="*/ 47041 w 1381764"/>
                <a:gd name="connsiteY2752" fmla="*/ 141381 h 1328132"/>
                <a:gd name="connsiteX2753" fmla="*/ 46136 w 1381764"/>
                <a:gd name="connsiteY2753" fmla="*/ 141123 h 1328132"/>
                <a:gd name="connsiteX2754" fmla="*/ 46136 w 1381764"/>
                <a:gd name="connsiteY2754" fmla="*/ 140865 h 1328132"/>
                <a:gd name="connsiteX2755" fmla="*/ 45749 w 1381764"/>
                <a:gd name="connsiteY2755" fmla="*/ 140477 h 1328132"/>
                <a:gd name="connsiteX2756" fmla="*/ 45103 w 1381764"/>
                <a:gd name="connsiteY2756" fmla="*/ 140089 h 1328132"/>
                <a:gd name="connsiteX2757" fmla="*/ 44586 w 1381764"/>
                <a:gd name="connsiteY2757" fmla="*/ 139831 h 1328132"/>
                <a:gd name="connsiteX2758" fmla="*/ 44069 w 1381764"/>
                <a:gd name="connsiteY2758" fmla="*/ 139960 h 1328132"/>
                <a:gd name="connsiteX2759" fmla="*/ 42647 w 1381764"/>
                <a:gd name="connsiteY2759" fmla="*/ 140994 h 1328132"/>
                <a:gd name="connsiteX2760" fmla="*/ 42001 w 1381764"/>
                <a:gd name="connsiteY2760" fmla="*/ 141640 h 1328132"/>
                <a:gd name="connsiteX2761" fmla="*/ 31016 w 1381764"/>
                <a:gd name="connsiteY2761" fmla="*/ 140606 h 1328132"/>
                <a:gd name="connsiteX2762" fmla="*/ 29336 w 1381764"/>
                <a:gd name="connsiteY2762" fmla="*/ 140735 h 1328132"/>
                <a:gd name="connsiteX2763" fmla="*/ 28173 w 1381764"/>
                <a:gd name="connsiteY2763" fmla="*/ 141640 h 1328132"/>
                <a:gd name="connsiteX2764" fmla="*/ 25200 w 1381764"/>
                <a:gd name="connsiteY2764" fmla="*/ 145905 h 1328132"/>
                <a:gd name="connsiteX2765" fmla="*/ 23520 w 1381764"/>
                <a:gd name="connsiteY2765" fmla="*/ 147714 h 1328132"/>
                <a:gd name="connsiteX2766" fmla="*/ 21453 w 1381764"/>
                <a:gd name="connsiteY2766" fmla="*/ 149135 h 1328132"/>
                <a:gd name="connsiteX2767" fmla="*/ 18868 w 1381764"/>
                <a:gd name="connsiteY2767" fmla="*/ 150169 h 1328132"/>
                <a:gd name="connsiteX2768" fmla="*/ 16671 w 1381764"/>
                <a:gd name="connsiteY2768" fmla="*/ 150686 h 1328132"/>
                <a:gd name="connsiteX2769" fmla="*/ 14733 w 1381764"/>
                <a:gd name="connsiteY2769" fmla="*/ 150815 h 1328132"/>
                <a:gd name="connsiteX2770" fmla="*/ 12794 w 1381764"/>
                <a:gd name="connsiteY2770" fmla="*/ 150557 h 1328132"/>
                <a:gd name="connsiteX2771" fmla="*/ 10597 w 1381764"/>
                <a:gd name="connsiteY2771" fmla="*/ 149652 h 1328132"/>
                <a:gd name="connsiteX2772" fmla="*/ 7883 w 1381764"/>
                <a:gd name="connsiteY2772" fmla="*/ 147455 h 1328132"/>
                <a:gd name="connsiteX2773" fmla="*/ 6979 w 1381764"/>
                <a:gd name="connsiteY2773" fmla="*/ 145258 h 1328132"/>
                <a:gd name="connsiteX2774" fmla="*/ 6462 w 1381764"/>
                <a:gd name="connsiteY2774" fmla="*/ 142932 h 1328132"/>
                <a:gd name="connsiteX2775" fmla="*/ 4782 w 1381764"/>
                <a:gd name="connsiteY2775" fmla="*/ 140348 h 1328132"/>
                <a:gd name="connsiteX2776" fmla="*/ 2843 w 1381764"/>
                <a:gd name="connsiteY2776" fmla="*/ 138797 h 1328132"/>
                <a:gd name="connsiteX2777" fmla="*/ 646 w 1381764"/>
                <a:gd name="connsiteY2777" fmla="*/ 137634 h 1328132"/>
                <a:gd name="connsiteX2778" fmla="*/ 0 w 1381764"/>
                <a:gd name="connsiteY2778" fmla="*/ 137375 h 1328132"/>
                <a:gd name="connsiteX2779" fmla="*/ 10856 w 1381764"/>
                <a:gd name="connsiteY2779" fmla="*/ 252910 h 1328132"/>
                <a:gd name="connsiteX2780" fmla="*/ 13182 w 1381764"/>
                <a:gd name="connsiteY2780" fmla="*/ 285735 h 1328132"/>
                <a:gd name="connsiteX2781" fmla="*/ 12923 w 1381764"/>
                <a:gd name="connsiteY2781" fmla="*/ 288191 h 1328132"/>
                <a:gd name="connsiteX2782" fmla="*/ 12406 w 1381764"/>
                <a:gd name="connsiteY2782" fmla="*/ 289483 h 1328132"/>
                <a:gd name="connsiteX2783" fmla="*/ 11631 w 1381764"/>
                <a:gd name="connsiteY2783" fmla="*/ 295428 h 1328132"/>
                <a:gd name="connsiteX2784" fmla="*/ 11502 w 1381764"/>
                <a:gd name="connsiteY2784" fmla="*/ 307447 h 1328132"/>
                <a:gd name="connsiteX2785" fmla="*/ 11889 w 1381764"/>
                <a:gd name="connsiteY2785" fmla="*/ 311065 h 1328132"/>
                <a:gd name="connsiteX2786" fmla="*/ 12665 w 1381764"/>
                <a:gd name="connsiteY2786" fmla="*/ 314296 h 1328132"/>
                <a:gd name="connsiteX2787" fmla="*/ 13182 w 1381764"/>
                <a:gd name="connsiteY2787" fmla="*/ 315330 h 1328132"/>
                <a:gd name="connsiteX2788" fmla="*/ 13828 w 1381764"/>
                <a:gd name="connsiteY2788" fmla="*/ 316364 h 1328132"/>
                <a:gd name="connsiteX2789" fmla="*/ 14733 w 1381764"/>
                <a:gd name="connsiteY2789" fmla="*/ 317268 h 1328132"/>
                <a:gd name="connsiteX2790" fmla="*/ 15767 w 1381764"/>
                <a:gd name="connsiteY2790" fmla="*/ 318044 h 1328132"/>
                <a:gd name="connsiteX2791" fmla="*/ 16930 w 1381764"/>
                <a:gd name="connsiteY2791" fmla="*/ 318690 h 1328132"/>
                <a:gd name="connsiteX2792" fmla="*/ 22487 w 1381764"/>
                <a:gd name="connsiteY2792" fmla="*/ 320887 h 1328132"/>
                <a:gd name="connsiteX2793" fmla="*/ 23779 w 1381764"/>
                <a:gd name="connsiteY2793" fmla="*/ 321662 h 1328132"/>
                <a:gd name="connsiteX2794" fmla="*/ 24942 w 1381764"/>
                <a:gd name="connsiteY2794" fmla="*/ 322567 h 1328132"/>
                <a:gd name="connsiteX2795" fmla="*/ 26105 w 1381764"/>
                <a:gd name="connsiteY2795" fmla="*/ 324247 h 1328132"/>
                <a:gd name="connsiteX2796" fmla="*/ 26105 w 1381764"/>
                <a:gd name="connsiteY2796" fmla="*/ 325668 h 1328132"/>
                <a:gd name="connsiteX2797" fmla="*/ 25717 w 1381764"/>
                <a:gd name="connsiteY2797" fmla="*/ 326961 h 1328132"/>
                <a:gd name="connsiteX2798" fmla="*/ 25071 w 1381764"/>
                <a:gd name="connsiteY2798" fmla="*/ 328512 h 1328132"/>
                <a:gd name="connsiteX2799" fmla="*/ 24684 w 1381764"/>
                <a:gd name="connsiteY2799" fmla="*/ 330321 h 1328132"/>
                <a:gd name="connsiteX2800" fmla="*/ 24684 w 1381764"/>
                <a:gd name="connsiteY2800" fmla="*/ 334973 h 1328132"/>
                <a:gd name="connsiteX2801" fmla="*/ 23908 w 1381764"/>
                <a:gd name="connsiteY2801" fmla="*/ 339884 h 1328132"/>
                <a:gd name="connsiteX2802" fmla="*/ 24037 w 1381764"/>
                <a:gd name="connsiteY2802" fmla="*/ 342857 h 1328132"/>
                <a:gd name="connsiteX2803" fmla="*/ 24554 w 1381764"/>
                <a:gd name="connsiteY2803" fmla="*/ 344666 h 1328132"/>
                <a:gd name="connsiteX2804" fmla="*/ 25330 w 1381764"/>
                <a:gd name="connsiteY2804" fmla="*/ 346087 h 1328132"/>
                <a:gd name="connsiteX2805" fmla="*/ 29078 w 1381764"/>
                <a:gd name="connsiteY2805" fmla="*/ 350611 h 1328132"/>
                <a:gd name="connsiteX2806" fmla="*/ 37090 w 1381764"/>
                <a:gd name="connsiteY2806" fmla="*/ 358106 h 1328132"/>
                <a:gd name="connsiteX2807" fmla="*/ 38382 w 1381764"/>
                <a:gd name="connsiteY2807" fmla="*/ 358752 h 1328132"/>
                <a:gd name="connsiteX2808" fmla="*/ 39545 w 1381764"/>
                <a:gd name="connsiteY2808" fmla="*/ 358881 h 1328132"/>
                <a:gd name="connsiteX2809" fmla="*/ 42001 w 1381764"/>
                <a:gd name="connsiteY2809" fmla="*/ 358235 h 1328132"/>
                <a:gd name="connsiteX2810" fmla="*/ 43164 w 1381764"/>
                <a:gd name="connsiteY2810" fmla="*/ 357977 h 1328132"/>
                <a:gd name="connsiteX2811" fmla="*/ 44456 w 1381764"/>
                <a:gd name="connsiteY2811" fmla="*/ 358235 h 1328132"/>
                <a:gd name="connsiteX2812" fmla="*/ 45749 w 1381764"/>
                <a:gd name="connsiteY2812" fmla="*/ 359011 h 1328132"/>
                <a:gd name="connsiteX2813" fmla="*/ 50789 w 1381764"/>
                <a:gd name="connsiteY2813" fmla="*/ 363663 h 1328132"/>
                <a:gd name="connsiteX2814" fmla="*/ 51435 w 1381764"/>
                <a:gd name="connsiteY2814" fmla="*/ 364051 h 1328132"/>
                <a:gd name="connsiteX2815" fmla="*/ 53632 w 1381764"/>
                <a:gd name="connsiteY2815" fmla="*/ 364697 h 1328132"/>
                <a:gd name="connsiteX2816" fmla="*/ 54924 w 1381764"/>
                <a:gd name="connsiteY2816" fmla="*/ 365343 h 1328132"/>
                <a:gd name="connsiteX2817" fmla="*/ 56346 w 1381764"/>
                <a:gd name="connsiteY2817" fmla="*/ 366765 h 1328132"/>
                <a:gd name="connsiteX2818" fmla="*/ 57121 w 1381764"/>
                <a:gd name="connsiteY2818" fmla="*/ 368316 h 1328132"/>
                <a:gd name="connsiteX2819" fmla="*/ 58284 w 1381764"/>
                <a:gd name="connsiteY2819" fmla="*/ 372193 h 1328132"/>
                <a:gd name="connsiteX2820" fmla="*/ 58672 w 1381764"/>
                <a:gd name="connsiteY2820" fmla="*/ 374390 h 1328132"/>
                <a:gd name="connsiteX2821" fmla="*/ 59577 w 1381764"/>
                <a:gd name="connsiteY2821" fmla="*/ 376457 h 1328132"/>
                <a:gd name="connsiteX2822" fmla="*/ 59964 w 1381764"/>
                <a:gd name="connsiteY2822" fmla="*/ 378008 h 1328132"/>
                <a:gd name="connsiteX2823" fmla="*/ 60223 w 1381764"/>
                <a:gd name="connsiteY2823" fmla="*/ 379300 h 1328132"/>
                <a:gd name="connsiteX2824" fmla="*/ 60223 w 1381764"/>
                <a:gd name="connsiteY2824" fmla="*/ 382144 h 1328132"/>
                <a:gd name="connsiteX2825" fmla="*/ 60481 w 1381764"/>
                <a:gd name="connsiteY2825" fmla="*/ 384340 h 1328132"/>
                <a:gd name="connsiteX2826" fmla="*/ 60998 w 1381764"/>
                <a:gd name="connsiteY2826" fmla="*/ 385762 h 1328132"/>
                <a:gd name="connsiteX2827" fmla="*/ 61774 w 1381764"/>
                <a:gd name="connsiteY2827" fmla="*/ 387054 h 1328132"/>
                <a:gd name="connsiteX2828" fmla="*/ 62678 w 1381764"/>
                <a:gd name="connsiteY2828" fmla="*/ 388088 h 1328132"/>
                <a:gd name="connsiteX2829" fmla="*/ 70432 w 1381764"/>
                <a:gd name="connsiteY2829" fmla="*/ 395325 h 1328132"/>
                <a:gd name="connsiteX2830" fmla="*/ 71466 w 1381764"/>
                <a:gd name="connsiteY2830" fmla="*/ 396101 h 1328132"/>
                <a:gd name="connsiteX2831" fmla="*/ 72500 w 1381764"/>
                <a:gd name="connsiteY2831" fmla="*/ 396618 h 1328132"/>
                <a:gd name="connsiteX2832" fmla="*/ 73534 w 1381764"/>
                <a:gd name="connsiteY2832" fmla="*/ 396747 h 1328132"/>
                <a:gd name="connsiteX2833" fmla="*/ 75860 w 1381764"/>
                <a:gd name="connsiteY2833" fmla="*/ 396618 h 1328132"/>
                <a:gd name="connsiteX2834" fmla="*/ 77023 w 1381764"/>
                <a:gd name="connsiteY2834" fmla="*/ 396747 h 1328132"/>
                <a:gd name="connsiteX2835" fmla="*/ 78186 w 1381764"/>
                <a:gd name="connsiteY2835" fmla="*/ 397264 h 1328132"/>
                <a:gd name="connsiteX2836" fmla="*/ 79220 w 1381764"/>
                <a:gd name="connsiteY2836" fmla="*/ 398427 h 1328132"/>
                <a:gd name="connsiteX2837" fmla="*/ 83097 w 1381764"/>
                <a:gd name="connsiteY2837" fmla="*/ 404501 h 1328132"/>
                <a:gd name="connsiteX2838" fmla="*/ 84648 w 1381764"/>
                <a:gd name="connsiteY2838" fmla="*/ 406181 h 1328132"/>
                <a:gd name="connsiteX2839" fmla="*/ 85940 w 1381764"/>
                <a:gd name="connsiteY2839" fmla="*/ 407215 h 1328132"/>
                <a:gd name="connsiteX2840" fmla="*/ 87103 w 1381764"/>
                <a:gd name="connsiteY2840" fmla="*/ 407861 h 1328132"/>
                <a:gd name="connsiteX2841" fmla="*/ 88137 w 1381764"/>
                <a:gd name="connsiteY2841" fmla="*/ 407990 h 1328132"/>
                <a:gd name="connsiteX2842" fmla="*/ 90205 w 1381764"/>
                <a:gd name="connsiteY2842" fmla="*/ 407861 h 1328132"/>
                <a:gd name="connsiteX2843" fmla="*/ 91239 w 1381764"/>
                <a:gd name="connsiteY2843" fmla="*/ 408636 h 1328132"/>
                <a:gd name="connsiteX2844" fmla="*/ 92014 w 1381764"/>
                <a:gd name="connsiteY2844" fmla="*/ 409929 h 1328132"/>
                <a:gd name="connsiteX2845" fmla="*/ 93048 w 1381764"/>
                <a:gd name="connsiteY2845" fmla="*/ 412126 h 1328132"/>
                <a:gd name="connsiteX2846" fmla="*/ 94211 w 1381764"/>
                <a:gd name="connsiteY2846" fmla="*/ 413418 h 1328132"/>
                <a:gd name="connsiteX2847" fmla="*/ 95504 w 1381764"/>
                <a:gd name="connsiteY2847" fmla="*/ 414452 h 1328132"/>
                <a:gd name="connsiteX2848" fmla="*/ 103645 w 1381764"/>
                <a:gd name="connsiteY2848" fmla="*/ 418717 h 1328132"/>
                <a:gd name="connsiteX2849" fmla="*/ 106359 w 1381764"/>
                <a:gd name="connsiteY2849" fmla="*/ 419750 h 1328132"/>
                <a:gd name="connsiteX2850" fmla="*/ 107652 w 1381764"/>
                <a:gd name="connsiteY2850" fmla="*/ 420784 h 1328132"/>
                <a:gd name="connsiteX2851" fmla="*/ 109202 w 1381764"/>
                <a:gd name="connsiteY2851" fmla="*/ 422335 h 1328132"/>
                <a:gd name="connsiteX2852" fmla="*/ 111658 w 1381764"/>
                <a:gd name="connsiteY2852" fmla="*/ 425307 h 1328132"/>
                <a:gd name="connsiteX2853" fmla="*/ 113209 w 1381764"/>
                <a:gd name="connsiteY2853" fmla="*/ 426858 h 1328132"/>
                <a:gd name="connsiteX2854" fmla="*/ 114630 w 1381764"/>
                <a:gd name="connsiteY2854" fmla="*/ 427763 h 1328132"/>
                <a:gd name="connsiteX2855" fmla="*/ 122513 w 1381764"/>
                <a:gd name="connsiteY2855" fmla="*/ 429960 h 1328132"/>
                <a:gd name="connsiteX2856" fmla="*/ 124193 w 1381764"/>
                <a:gd name="connsiteY2856" fmla="*/ 430994 h 1328132"/>
                <a:gd name="connsiteX2857" fmla="*/ 126132 w 1381764"/>
                <a:gd name="connsiteY2857" fmla="*/ 432674 h 1328132"/>
                <a:gd name="connsiteX2858" fmla="*/ 129234 w 1381764"/>
                <a:gd name="connsiteY2858" fmla="*/ 436422 h 1328132"/>
                <a:gd name="connsiteX2859" fmla="*/ 131043 w 1381764"/>
                <a:gd name="connsiteY2859" fmla="*/ 438231 h 1328132"/>
                <a:gd name="connsiteX2860" fmla="*/ 132464 w 1381764"/>
                <a:gd name="connsiteY2860" fmla="*/ 439265 h 1328132"/>
                <a:gd name="connsiteX2861" fmla="*/ 134532 w 1381764"/>
                <a:gd name="connsiteY2861" fmla="*/ 439523 h 1328132"/>
                <a:gd name="connsiteX2862" fmla="*/ 135566 w 1381764"/>
                <a:gd name="connsiteY2862" fmla="*/ 439782 h 1328132"/>
                <a:gd name="connsiteX2863" fmla="*/ 136600 w 1381764"/>
                <a:gd name="connsiteY2863" fmla="*/ 440557 h 1328132"/>
                <a:gd name="connsiteX2864" fmla="*/ 137504 w 1381764"/>
                <a:gd name="connsiteY2864" fmla="*/ 441849 h 1328132"/>
                <a:gd name="connsiteX2865" fmla="*/ 138668 w 1381764"/>
                <a:gd name="connsiteY2865" fmla="*/ 443917 h 1328132"/>
                <a:gd name="connsiteX2866" fmla="*/ 139831 w 1381764"/>
                <a:gd name="connsiteY2866" fmla="*/ 444951 h 1328132"/>
                <a:gd name="connsiteX2867" fmla="*/ 140994 w 1381764"/>
                <a:gd name="connsiteY2867" fmla="*/ 445597 h 1328132"/>
                <a:gd name="connsiteX2868" fmla="*/ 150945 w 1381764"/>
                <a:gd name="connsiteY2868" fmla="*/ 449086 h 1328132"/>
                <a:gd name="connsiteX2869" fmla="*/ 153271 w 1381764"/>
                <a:gd name="connsiteY2869" fmla="*/ 450250 h 1328132"/>
                <a:gd name="connsiteX2870" fmla="*/ 156502 w 1381764"/>
                <a:gd name="connsiteY2870" fmla="*/ 452317 h 1328132"/>
                <a:gd name="connsiteX2871" fmla="*/ 159216 w 1381764"/>
                <a:gd name="connsiteY2871" fmla="*/ 453610 h 1328132"/>
                <a:gd name="connsiteX2872" fmla="*/ 162059 w 1381764"/>
                <a:gd name="connsiteY2872" fmla="*/ 455419 h 1328132"/>
                <a:gd name="connsiteX2873" fmla="*/ 163351 w 1381764"/>
                <a:gd name="connsiteY2873" fmla="*/ 456065 h 1328132"/>
                <a:gd name="connsiteX2874" fmla="*/ 167874 w 1381764"/>
                <a:gd name="connsiteY2874" fmla="*/ 458004 h 1328132"/>
                <a:gd name="connsiteX2875" fmla="*/ 168908 w 1381764"/>
                <a:gd name="connsiteY2875" fmla="*/ 458262 h 1328132"/>
                <a:gd name="connsiteX2876" fmla="*/ 171105 w 1381764"/>
                <a:gd name="connsiteY2876" fmla="*/ 458521 h 1328132"/>
                <a:gd name="connsiteX2877" fmla="*/ 172139 w 1381764"/>
                <a:gd name="connsiteY2877" fmla="*/ 458908 h 1328132"/>
                <a:gd name="connsiteX2878" fmla="*/ 174078 w 1381764"/>
                <a:gd name="connsiteY2878" fmla="*/ 459942 h 1328132"/>
                <a:gd name="connsiteX2879" fmla="*/ 175241 w 1381764"/>
                <a:gd name="connsiteY2879" fmla="*/ 460201 h 1328132"/>
                <a:gd name="connsiteX2880" fmla="*/ 176533 w 1381764"/>
                <a:gd name="connsiteY2880" fmla="*/ 460201 h 1328132"/>
                <a:gd name="connsiteX2881" fmla="*/ 177825 w 1381764"/>
                <a:gd name="connsiteY2881" fmla="*/ 460071 h 1328132"/>
                <a:gd name="connsiteX2882" fmla="*/ 180152 w 1381764"/>
                <a:gd name="connsiteY2882" fmla="*/ 459425 h 1328132"/>
                <a:gd name="connsiteX2883" fmla="*/ 182219 w 1381764"/>
                <a:gd name="connsiteY2883" fmla="*/ 458650 h 1328132"/>
                <a:gd name="connsiteX2884" fmla="*/ 183253 w 1381764"/>
                <a:gd name="connsiteY2884" fmla="*/ 458521 h 1328132"/>
                <a:gd name="connsiteX2885" fmla="*/ 184158 w 1381764"/>
                <a:gd name="connsiteY2885" fmla="*/ 458779 h 1328132"/>
                <a:gd name="connsiteX2886" fmla="*/ 184675 w 1381764"/>
                <a:gd name="connsiteY2886" fmla="*/ 459554 h 1328132"/>
                <a:gd name="connsiteX2887" fmla="*/ 184545 w 1381764"/>
                <a:gd name="connsiteY2887" fmla="*/ 461881 h 1328132"/>
                <a:gd name="connsiteX2888" fmla="*/ 184804 w 1381764"/>
                <a:gd name="connsiteY2888" fmla="*/ 463302 h 1328132"/>
                <a:gd name="connsiteX2889" fmla="*/ 185579 w 1381764"/>
                <a:gd name="connsiteY2889" fmla="*/ 463948 h 1328132"/>
                <a:gd name="connsiteX2890" fmla="*/ 186742 w 1381764"/>
                <a:gd name="connsiteY2890" fmla="*/ 464207 h 1328132"/>
                <a:gd name="connsiteX2891" fmla="*/ 190490 w 1381764"/>
                <a:gd name="connsiteY2891" fmla="*/ 463690 h 1328132"/>
                <a:gd name="connsiteX2892" fmla="*/ 192041 w 1381764"/>
                <a:gd name="connsiteY2892" fmla="*/ 463819 h 1328132"/>
                <a:gd name="connsiteX2893" fmla="*/ 193721 w 1381764"/>
                <a:gd name="connsiteY2893" fmla="*/ 464336 h 1328132"/>
                <a:gd name="connsiteX2894" fmla="*/ 197081 w 1381764"/>
                <a:gd name="connsiteY2894" fmla="*/ 466662 h 1328132"/>
                <a:gd name="connsiteX2895" fmla="*/ 198374 w 1381764"/>
                <a:gd name="connsiteY2895" fmla="*/ 467308 h 1328132"/>
                <a:gd name="connsiteX2896" fmla="*/ 200958 w 1381764"/>
                <a:gd name="connsiteY2896" fmla="*/ 467955 h 1328132"/>
                <a:gd name="connsiteX2897" fmla="*/ 202250 w 1381764"/>
                <a:gd name="connsiteY2897" fmla="*/ 468730 h 1328132"/>
                <a:gd name="connsiteX2898" fmla="*/ 202767 w 1381764"/>
                <a:gd name="connsiteY2898" fmla="*/ 469764 h 1328132"/>
                <a:gd name="connsiteX2899" fmla="*/ 203931 w 1381764"/>
                <a:gd name="connsiteY2899" fmla="*/ 473253 h 1328132"/>
                <a:gd name="connsiteX2900" fmla="*/ 206127 w 1381764"/>
                <a:gd name="connsiteY2900" fmla="*/ 476613 h 1328132"/>
                <a:gd name="connsiteX2901" fmla="*/ 211038 w 1381764"/>
                <a:gd name="connsiteY2901" fmla="*/ 481912 h 1328132"/>
                <a:gd name="connsiteX2902" fmla="*/ 212460 w 1381764"/>
                <a:gd name="connsiteY2902" fmla="*/ 483075 h 1328132"/>
                <a:gd name="connsiteX2903" fmla="*/ 214269 w 1381764"/>
                <a:gd name="connsiteY2903" fmla="*/ 483980 h 1328132"/>
                <a:gd name="connsiteX2904" fmla="*/ 218534 w 1381764"/>
                <a:gd name="connsiteY2904" fmla="*/ 485530 h 1328132"/>
                <a:gd name="connsiteX2905" fmla="*/ 220472 w 1381764"/>
                <a:gd name="connsiteY2905" fmla="*/ 486564 h 1328132"/>
                <a:gd name="connsiteX2906" fmla="*/ 227322 w 1381764"/>
                <a:gd name="connsiteY2906" fmla="*/ 491475 h 1328132"/>
                <a:gd name="connsiteX2907" fmla="*/ 228226 w 1381764"/>
                <a:gd name="connsiteY2907" fmla="*/ 491992 h 1328132"/>
                <a:gd name="connsiteX2908" fmla="*/ 229260 w 1381764"/>
                <a:gd name="connsiteY2908" fmla="*/ 492380 h 1328132"/>
                <a:gd name="connsiteX2909" fmla="*/ 230423 w 1381764"/>
                <a:gd name="connsiteY2909" fmla="*/ 492638 h 1328132"/>
                <a:gd name="connsiteX2910" fmla="*/ 231586 w 1381764"/>
                <a:gd name="connsiteY2910" fmla="*/ 492767 h 1328132"/>
                <a:gd name="connsiteX2911" fmla="*/ 232879 w 1381764"/>
                <a:gd name="connsiteY2911" fmla="*/ 492767 h 1328132"/>
                <a:gd name="connsiteX2912" fmla="*/ 235334 w 1381764"/>
                <a:gd name="connsiteY2912" fmla="*/ 492380 h 1328132"/>
                <a:gd name="connsiteX2913" fmla="*/ 236497 w 1381764"/>
                <a:gd name="connsiteY2913" fmla="*/ 492250 h 1328132"/>
                <a:gd name="connsiteX2914" fmla="*/ 237790 w 1381764"/>
                <a:gd name="connsiteY2914" fmla="*/ 492767 h 1328132"/>
                <a:gd name="connsiteX2915" fmla="*/ 238565 w 1381764"/>
                <a:gd name="connsiteY2915" fmla="*/ 493543 h 1328132"/>
                <a:gd name="connsiteX2916" fmla="*/ 238953 w 1381764"/>
                <a:gd name="connsiteY2916" fmla="*/ 494577 h 1328132"/>
                <a:gd name="connsiteX2917" fmla="*/ 238953 w 1381764"/>
                <a:gd name="connsiteY2917" fmla="*/ 495740 h 1328132"/>
                <a:gd name="connsiteX2918" fmla="*/ 238694 w 1381764"/>
                <a:gd name="connsiteY2918" fmla="*/ 496903 h 1328132"/>
                <a:gd name="connsiteX2919" fmla="*/ 237144 w 1381764"/>
                <a:gd name="connsiteY2919" fmla="*/ 502460 h 1328132"/>
                <a:gd name="connsiteX2920" fmla="*/ 237014 w 1381764"/>
                <a:gd name="connsiteY2920" fmla="*/ 503752 h 1328132"/>
                <a:gd name="connsiteX2921" fmla="*/ 237014 w 1381764"/>
                <a:gd name="connsiteY2921" fmla="*/ 505045 h 1328132"/>
                <a:gd name="connsiteX2922" fmla="*/ 237531 w 1381764"/>
                <a:gd name="connsiteY2922" fmla="*/ 506595 h 1328132"/>
                <a:gd name="connsiteX2923" fmla="*/ 238307 w 1381764"/>
                <a:gd name="connsiteY2923" fmla="*/ 507500 h 1328132"/>
                <a:gd name="connsiteX2924" fmla="*/ 239341 w 1381764"/>
                <a:gd name="connsiteY2924" fmla="*/ 508146 h 1328132"/>
                <a:gd name="connsiteX2925" fmla="*/ 240374 w 1381764"/>
                <a:gd name="connsiteY2925" fmla="*/ 508534 h 1328132"/>
                <a:gd name="connsiteX2926" fmla="*/ 241408 w 1381764"/>
                <a:gd name="connsiteY2926" fmla="*/ 509051 h 1328132"/>
                <a:gd name="connsiteX2927" fmla="*/ 243218 w 1381764"/>
                <a:gd name="connsiteY2927" fmla="*/ 510214 h 1328132"/>
                <a:gd name="connsiteX2928" fmla="*/ 244122 w 1381764"/>
                <a:gd name="connsiteY2928" fmla="*/ 510731 h 1328132"/>
                <a:gd name="connsiteX2929" fmla="*/ 245156 w 1381764"/>
                <a:gd name="connsiteY2929" fmla="*/ 511119 h 1328132"/>
                <a:gd name="connsiteX2930" fmla="*/ 247482 w 1381764"/>
                <a:gd name="connsiteY2930" fmla="*/ 511635 h 1328132"/>
                <a:gd name="connsiteX2931" fmla="*/ 249550 w 1381764"/>
                <a:gd name="connsiteY2931" fmla="*/ 512411 h 1328132"/>
                <a:gd name="connsiteX2932" fmla="*/ 250455 w 1381764"/>
                <a:gd name="connsiteY2932" fmla="*/ 512669 h 1328132"/>
                <a:gd name="connsiteX2933" fmla="*/ 251230 w 1381764"/>
                <a:gd name="connsiteY2933" fmla="*/ 512411 h 1328132"/>
                <a:gd name="connsiteX2934" fmla="*/ 251747 w 1381764"/>
                <a:gd name="connsiteY2934" fmla="*/ 512152 h 1328132"/>
                <a:gd name="connsiteX2935" fmla="*/ 256529 w 1381764"/>
                <a:gd name="connsiteY2935" fmla="*/ 508792 h 1328132"/>
                <a:gd name="connsiteX2936" fmla="*/ 257045 w 1381764"/>
                <a:gd name="connsiteY2936" fmla="*/ 508534 h 1328132"/>
                <a:gd name="connsiteX2937" fmla="*/ 262603 w 1381764"/>
                <a:gd name="connsiteY2937" fmla="*/ 506595 h 1328132"/>
                <a:gd name="connsiteX2938" fmla="*/ 263766 w 1381764"/>
                <a:gd name="connsiteY2938" fmla="*/ 506337 h 1328132"/>
                <a:gd name="connsiteX2939" fmla="*/ 264412 w 1381764"/>
                <a:gd name="connsiteY2939" fmla="*/ 506208 h 1328132"/>
                <a:gd name="connsiteX2940" fmla="*/ 265058 w 1381764"/>
                <a:gd name="connsiteY2940" fmla="*/ 506208 h 1328132"/>
                <a:gd name="connsiteX2941" fmla="*/ 265833 w 1381764"/>
                <a:gd name="connsiteY2941" fmla="*/ 506466 h 1328132"/>
                <a:gd name="connsiteX2942" fmla="*/ 266221 w 1381764"/>
                <a:gd name="connsiteY2942" fmla="*/ 506854 h 1328132"/>
                <a:gd name="connsiteX2943" fmla="*/ 266479 w 1381764"/>
                <a:gd name="connsiteY2943" fmla="*/ 507371 h 1328132"/>
                <a:gd name="connsiteX2944" fmla="*/ 266867 w 1381764"/>
                <a:gd name="connsiteY2944" fmla="*/ 508534 h 1328132"/>
                <a:gd name="connsiteX2945" fmla="*/ 266997 w 1381764"/>
                <a:gd name="connsiteY2945" fmla="*/ 509180 h 1328132"/>
                <a:gd name="connsiteX2946" fmla="*/ 266997 w 1381764"/>
                <a:gd name="connsiteY2946" fmla="*/ 509826 h 1328132"/>
                <a:gd name="connsiteX2947" fmla="*/ 266997 w 1381764"/>
                <a:gd name="connsiteY2947" fmla="*/ 510472 h 1328132"/>
                <a:gd name="connsiteX2948" fmla="*/ 266350 w 1381764"/>
                <a:gd name="connsiteY2948" fmla="*/ 513445 h 1328132"/>
                <a:gd name="connsiteX2949" fmla="*/ 266221 w 1381764"/>
                <a:gd name="connsiteY2949" fmla="*/ 514091 h 1328132"/>
                <a:gd name="connsiteX2950" fmla="*/ 266221 w 1381764"/>
                <a:gd name="connsiteY2950" fmla="*/ 514737 h 1328132"/>
                <a:gd name="connsiteX2951" fmla="*/ 266479 w 1381764"/>
                <a:gd name="connsiteY2951" fmla="*/ 515512 h 1328132"/>
                <a:gd name="connsiteX2952" fmla="*/ 266867 w 1381764"/>
                <a:gd name="connsiteY2952" fmla="*/ 516029 h 1328132"/>
                <a:gd name="connsiteX2953" fmla="*/ 267255 w 1381764"/>
                <a:gd name="connsiteY2953" fmla="*/ 516417 h 1328132"/>
                <a:gd name="connsiteX2954" fmla="*/ 268289 w 1381764"/>
                <a:gd name="connsiteY2954" fmla="*/ 516805 h 1328132"/>
                <a:gd name="connsiteX2955" fmla="*/ 270744 w 1381764"/>
                <a:gd name="connsiteY2955" fmla="*/ 517193 h 1328132"/>
                <a:gd name="connsiteX2956" fmla="*/ 272683 w 1381764"/>
                <a:gd name="connsiteY2956" fmla="*/ 517322 h 1328132"/>
                <a:gd name="connsiteX2957" fmla="*/ 275009 w 1381764"/>
                <a:gd name="connsiteY2957" fmla="*/ 517839 h 1328132"/>
                <a:gd name="connsiteX2958" fmla="*/ 275397 w 1381764"/>
                <a:gd name="connsiteY2958" fmla="*/ 517968 h 1328132"/>
                <a:gd name="connsiteX2959" fmla="*/ 275784 w 1381764"/>
                <a:gd name="connsiteY2959" fmla="*/ 517968 h 1328132"/>
                <a:gd name="connsiteX2960" fmla="*/ 276172 w 1381764"/>
                <a:gd name="connsiteY2960" fmla="*/ 517839 h 1328132"/>
                <a:gd name="connsiteX2961" fmla="*/ 276818 w 1381764"/>
                <a:gd name="connsiteY2961" fmla="*/ 517193 h 1328132"/>
                <a:gd name="connsiteX2962" fmla="*/ 277723 w 1381764"/>
                <a:gd name="connsiteY2962" fmla="*/ 516546 h 1328132"/>
                <a:gd name="connsiteX2963" fmla="*/ 278757 w 1381764"/>
                <a:gd name="connsiteY2963" fmla="*/ 515900 h 1328132"/>
                <a:gd name="connsiteX2964" fmla="*/ 284960 w 1381764"/>
                <a:gd name="connsiteY2964" fmla="*/ 514091 h 1328132"/>
                <a:gd name="connsiteX2965" fmla="*/ 284960 w 1381764"/>
                <a:gd name="connsiteY2965" fmla="*/ 514479 h 1328132"/>
                <a:gd name="connsiteX2966" fmla="*/ 284701 w 1381764"/>
                <a:gd name="connsiteY2966" fmla="*/ 514866 h 1328132"/>
                <a:gd name="connsiteX2967" fmla="*/ 283926 w 1381764"/>
                <a:gd name="connsiteY2967" fmla="*/ 515642 h 1328132"/>
                <a:gd name="connsiteX2968" fmla="*/ 281729 w 1381764"/>
                <a:gd name="connsiteY2968" fmla="*/ 517063 h 1328132"/>
                <a:gd name="connsiteX2969" fmla="*/ 277852 w 1381764"/>
                <a:gd name="connsiteY2969" fmla="*/ 519131 h 1328132"/>
                <a:gd name="connsiteX2970" fmla="*/ 276947 w 1381764"/>
                <a:gd name="connsiteY2970" fmla="*/ 519777 h 1328132"/>
                <a:gd name="connsiteX2971" fmla="*/ 276172 w 1381764"/>
                <a:gd name="connsiteY2971" fmla="*/ 520553 h 1328132"/>
                <a:gd name="connsiteX2972" fmla="*/ 275914 w 1381764"/>
                <a:gd name="connsiteY2972" fmla="*/ 520940 h 1328132"/>
                <a:gd name="connsiteX2973" fmla="*/ 275655 w 1381764"/>
                <a:gd name="connsiteY2973" fmla="*/ 521457 h 1328132"/>
                <a:gd name="connsiteX2974" fmla="*/ 275526 w 1381764"/>
                <a:gd name="connsiteY2974" fmla="*/ 521974 h 1328132"/>
                <a:gd name="connsiteX2975" fmla="*/ 275784 w 1381764"/>
                <a:gd name="connsiteY2975" fmla="*/ 522750 h 1328132"/>
                <a:gd name="connsiteX2976" fmla="*/ 276431 w 1381764"/>
                <a:gd name="connsiteY2976" fmla="*/ 523783 h 1328132"/>
                <a:gd name="connsiteX2977" fmla="*/ 277723 w 1381764"/>
                <a:gd name="connsiteY2977" fmla="*/ 525076 h 1328132"/>
                <a:gd name="connsiteX2978" fmla="*/ 277594 w 1381764"/>
                <a:gd name="connsiteY2978" fmla="*/ 527402 h 1328132"/>
                <a:gd name="connsiteX2979" fmla="*/ 276689 w 1381764"/>
                <a:gd name="connsiteY2979" fmla="*/ 530633 h 1328132"/>
                <a:gd name="connsiteX2980" fmla="*/ 237402 w 1381764"/>
                <a:gd name="connsiteY2980" fmla="*/ 615281 h 1328132"/>
                <a:gd name="connsiteX2981" fmla="*/ 72759 w 1381764"/>
                <a:gd name="connsiteY2981" fmla="*/ 968605 h 1328132"/>
                <a:gd name="connsiteX2982" fmla="*/ 68623 w 1381764"/>
                <a:gd name="connsiteY2982" fmla="*/ 975325 h 1328132"/>
                <a:gd name="connsiteX2983" fmla="*/ 67589 w 1381764"/>
                <a:gd name="connsiteY2983" fmla="*/ 976618 h 1328132"/>
                <a:gd name="connsiteX2984" fmla="*/ 59318 w 1381764"/>
                <a:gd name="connsiteY2984" fmla="*/ 983338 h 1328132"/>
                <a:gd name="connsiteX2985" fmla="*/ 57897 w 1381764"/>
                <a:gd name="connsiteY2985" fmla="*/ 984889 h 1328132"/>
                <a:gd name="connsiteX2986" fmla="*/ 55958 w 1381764"/>
                <a:gd name="connsiteY2986" fmla="*/ 987473 h 1328132"/>
                <a:gd name="connsiteX2987" fmla="*/ 54407 w 1381764"/>
                <a:gd name="connsiteY2987" fmla="*/ 990575 h 1328132"/>
                <a:gd name="connsiteX2988" fmla="*/ 53890 w 1381764"/>
                <a:gd name="connsiteY2988" fmla="*/ 992901 h 1328132"/>
                <a:gd name="connsiteX2989" fmla="*/ 53761 w 1381764"/>
                <a:gd name="connsiteY2989" fmla="*/ 995098 h 1328132"/>
                <a:gd name="connsiteX2990" fmla="*/ 53890 w 1381764"/>
                <a:gd name="connsiteY2990" fmla="*/ 997295 h 1328132"/>
                <a:gd name="connsiteX2991" fmla="*/ 54278 w 1381764"/>
                <a:gd name="connsiteY2991" fmla="*/ 999492 h 1328132"/>
                <a:gd name="connsiteX2992" fmla="*/ 58026 w 1381764"/>
                <a:gd name="connsiteY2992" fmla="*/ 1010735 h 1328132"/>
                <a:gd name="connsiteX2993" fmla="*/ 59189 w 1381764"/>
                <a:gd name="connsiteY2993" fmla="*/ 1013449 h 1328132"/>
                <a:gd name="connsiteX2994" fmla="*/ 60352 w 1381764"/>
                <a:gd name="connsiteY2994" fmla="*/ 1015388 h 1328132"/>
                <a:gd name="connsiteX2995" fmla="*/ 62291 w 1381764"/>
                <a:gd name="connsiteY2995" fmla="*/ 1017972 h 1328132"/>
                <a:gd name="connsiteX2996" fmla="*/ 63971 w 1381764"/>
                <a:gd name="connsiteY2996" fmla="*/ 1019394 h 1328132"/>
                <a:gd name="connsiteX2997" fmla="*/ 67977 w 1381764"/>
                <a:gd name="connsiteY2997" fmla="*/ 1021979 h 1328132"/>
                <a:gd name="connsiteX2998" fmla="*/ 70174 w 1381764"/>
                <a:gd name="connsiteY2998" fmla="*/ 1023917 h 1328132"/>
                <a:gd name="connsiteX2999" fmla="*/ 76119 w 1381764"/>
                <a:gd name="connsiteY2999" fmla="*/ 1030120 h 1328132"/>
                <a:gd name="connsiteX3000" fmla="*/ 79349 w 1381764"/>
                <a:gd name="connsiteY3000" fmla="*/ 1032705 h 1328132"/>
                <a:gd name="connsiteX3001" fmla="*/ 81029 w 1381764"/>
                <a:gd name="connsiteY3001" fmla="*/ 1034385 h 1328132"/>
                <a:gd name="connsiteX3002" fmla="*/ 83743 w 1381764"/>
                <a:gd name="connsiteY3002" fmla="*/ 1039037 h 1328132"/>
                <a:gd name="connsiteX3003" fmla="*/ 84389 w 1381764"/>
                <a:gd name="connsiteY3003" fmla="*/ 1040459 h 1328132"/>
                <a:gd name="connsiteX3004" fmla="*/ 85553 w 1381764"/>
                <a:gd name="connsiteY3004" fmla="*/ 1046275 h 1328132"/>
                <a:gd name="connsiteX3005" fmla="*/ 85553 w 1381764"/>
                <a:gd name="connsiteY3005" fmla="*/ 1048472 h 1328132"/>
                <a:gd name="connsiteX3006" fmla="*/ 85165 w 1381764"/>
                <a:gd name="connsiteY3006" fmla="*/ 1050539 h 1328132"/>
                <a:gd name="connsiteX3007" fmla="*/ 85165 w 1381764"/>
                <a:gd name="connsiteY3007" fmla="*/ 1051702 h 1328132"/>
                <a:gd name="connsiteX3008" fmla="*/ 85423 w 1381764"/>
                <a:gd name="connsiteY3008" fmla="*/ 1052995 h 1328132"/>
                <a:gd name="connsiteX3009" fmla="*/ 85940 w 1381764"/>
                <a:gd name="connsiteY3009" fmla="*/ 1054675 h 1328132"/>
                <a:gd name="connsiteX3010" fmla="*/ 87620 w 1381764"/>
                <a:gd name="connsiteY3010" fmla="*/ 1057130 h 1328132"/>
                <a:gd name="connsiteX3011" fmla="*/ 89688 w 1381764"/>
                <a:gd name="connsiteY3011" fmla="*/ 1058939 h 1328132"/>
                <a:gd name="connsiteX3012" fmla="*/ 97830 w 1381764"/>
                <a:gd name="connsiteY3012" fmla="*/ 1066693 h 1328132"/>
                <a:gd name="connsiteX3013" fmla="*/ 106359 w 1381764"/>
                <a:gd name="connsiteY3013" fmla="*/ 1079488 h 1328132"/>
                <a:gd name="connsiteX3014" fmla="*/ 108556 w 1381764"/>
                <a:gd name="connsiteY3014" fmla="*/ 1084140 h 1328132"/>
                <a:gd name="connsiteX3015" fmla="*/ 109849 w 1381764"/>
                <a:gd name="connsiteY3015" fmla="*/ 1088922 h 1328132"/>
                <a:gd name="connsiteX3016" fmla="*/ 110495 w 1381764"/>
                <a:gd name="connsiteY3016" fmla="*/ 1090214 h 1328132"/>
                <a:gd name="connsiteX3017" fmla="*/ 111529 w 1381764"/>
                <a:gd name="connsiteY3017" fmla="*/ 1091635 h 1328132"/>
                <a:gd name="connsiteX3018" fmla="*/ 113596 w 1381764"/>
                <a:gd name="connsiteY3018" fmla="*/ 1093703 h 1328132"/>
                <a:gd name="connsiteX3019" fmla="*/ 114759 w 1381764"/>
                <a:gd name="connsiteY3019" fmla="*/ 1095254 h 1328132"/>
                <a:gd name="connsiteX3020" fmla="*/ 115535 w 1381764"/>
                <a:gd name="connsiteY3020" fmla="*/ 1096805 h 1328132"/>
                <a:gd name="connsiteX3021" fmla="*/ 116956 w 1381764"/>
                <a:gd name="connsiteY3021" fmla="*/ 1105076 h 1328132"/>
                <a:gd name="connsiteX3022" fmla="*/ 118895 w 1381764"/>
                <a:gd name="connsiteY3022" fmla="*/ 1110245 h 1328132"/>
                <a:gd name="connsiteX3023" fmla="*/ 121479 w 1381764"/>
                <a:gd name="connsiteY3023" fmla="*/ 1115415 h 1328132"/>
                <a:gd name="connsiteX3024" fmla="*/ 121867 w 1381764"/>
                <a:gd name="connsiteY3024" fmla="*/ 1116707 h 1328132"/>
                <a:gd name="connsiteX3025" fmla="*/ 122255 w 1381764"/>
                <a:gd name="connsiteY3025" fmla="*/ 1120325 h 1328132"/>
                <a:gd name="connsiteX3026" fmla="*/ 122772 w 1381764"/>
                <a:gd name="connsiteY3026" fmla="*/ 1122522 h 1328132"/>
                <a:gd name="connsiteX3027" fmla="*/ 123677 w 1381764"/>
                <a:gd name="connsiteY3027" fmla="*/ 1124848 h 1328132"/>
                <a:gd name="connsiteX3028" fmla="*/ 125486 w 1381764"/>
                <a:gd name="connsiteY3028" fmla="*/ 1128079 h 1328132"/>
                <a:gd name="connsiteX3029" fmla="*/ 126132 w 1381764"/>
                <a:gd name="connsiteY3029" fmla="*/ 1131439 h 1328132"/>
                <a:gd name="connsiteX3030" fmla="*/ 126390 w 1381764"/>
                <a:gd name="connsiteY3030" fmla="*/ 1132473 h 1328132"/>
                <a:gd name="connsiteX3031" fmla="*/ 126907 w 1381764"/>
                <a:gd name="connsiteY3031" fmla="*/ 1133636 h 1328132"/>
                <a:gd name="connsiteX3032" fmla="*/ 127683 w 1381764"/>
                <a:gd name="connsiteY3032" fmla="*/ 1134800 h 1328132"/>
                <a:gd name="connsiteX3033" fmla="*/ 132723 w 1381764"/>
                <a:gd name="connsiteY3033" fmla="*/ 1139969 h 1328132"/>
                <a:gd name="connsiteX3034" fmla="*/ 133627 w 1381764"/>
                <a:gd name="connsiteY3034" fmla="*/ 1141132 h 1328132"/>
                <a:gd name="connsiteX3035" fmla="*/ 134274 w 1381764"/>
                <a:gd name="connsiteY3035" fmla="*/ 1142295 h 1328132"/>
                <a:gd name="connsiteX3036" fmla="*/ 134920 w 1381764"/>
                <a:gd name="connsiteY3036" fmla="*/ 1144363 h 1328132"/>
                <a:gd name="connsiteX3037" fmla="*/ 135437 w 1381764"/>
                <a:gd name="connsiteY3037" fmla="*/ 1145397 h 1328132"/>
                <a:gd name="connsiteX3038" fmla="*/ 136600 w 1381764"/>
                <a:gd name="connsiteY3038" fmla="*/ 1146818 h 1328132"/>
                <a:gd name="connsiteX3039" fmla="*/ 141382 w 1381764"/>
                <a:gd name="connsiteY3039" fmla="*/ 1151212 h 1328132"/>
                <a:gd name="connsiteX3040" fmla="*/ 142545 w 1381764"/>
                <a:gd name="connsiteY3040" fmla="*/ 1153021 h 1328132"/>
                <a:gd name="connsiteX3041" fmla="*/ 142932 w 1381764"/>
                <a:gd name="connsiteY3041" fmla="*/ 1154572 h 1328132"/>
                <a:gd name="connsiteX3042" fmla="*/ 141511 w 1381764"/>
                <a:gd name="connsiteY3042" fmla="*/ 1157803 h 1328132"/>
                <a:gd name="connsiteX3043" fmla="*/ 141252 w 1381764"/>
                <a:gd name="connsiteY3043" fmla="*/ 1160905 h 1328132"/>
                <a:gd name="connsiteX3044" fmla="*/ 140994 w 1381764"/>
                <a:gd name="connsiteY3044" fmla="*/ 1161939 h 1328132"/>
                <a:gd name="connsiteX3045" fmla="*/ 140089 w 1381764"/>
                <a:gd name="connsiteY3045" fmla="*/ 1164006 h 1328132"/>
                <a:gd name="connsiteX3046" fmla="*/ 139831 w 1381764"/>
                <a:gd name="connsiteY3046" fmla="*/ 1165040 h 1328132"/>
                <a:gd name="connsiteX3047" fmla="*/ 139701 w 1381764"/>
                <a:gd name="connsiteY3047" fmla="*/ 1167237 h 1328132"/>
                <a:gd name="connsiteX3048" fmla="*/ 139960 w 1381764"/>
                <a:gd name="connsiteY3048" fmla="*/ 1172019 h 1328132"/>
                <a:gd name="connsiteX3049" fmla="*/ 139831 w 1381764"/>
                <a:gd name="connsiteY3049" fmla="*/ 1173311 h 1328132"/>
                <a:gd name="connsiteX3050" fmla="*/ 139443 w 1381764"/>
                <a:gd name="connsiteY3050" fmla="*/ 1174474 h 1328132"/>
                <a:gd name="connsiteX3051" fmla="*/ 138926 w 1381764"/>
                <a:gd name="connsiteY3051" fmla="*/ 1175637 h 1328132"/>
                <a:gd name="connsiteX3052" fmla="*/ 138538 w 1381764"/>
                <a:gd name="connsiteY3052" fmla="*/ 1176671 h 1328132"/>
                <a:gd name="connsiteX3053" fmla="*/ 138538 w 1381764"/>
                <a:gd name="connsiteY3053" fmla="*/ 1177705 h 1328132"/>
                <a:gd name="connsiteX3054" fmla="*/ 139055 w 1381764"/>
                <a:gd name="connsiteY3054" fmla="*/ 1178739 h 1328132"/>
                <a:gd name="connsiteX3055" fmla="*/ 141123 w 1381764"/>
                <a:gd name="connsiteY3055" fmla="*/ 1181841 h 1328132"/>
                <a:gd name="connsiteX3056" fmla="*/ 141511 w 1381764"/>
                <a:gd name="connsiteY3056" fmla="*/ 1182745 h 1328132"/>
                <a:gd name="connsiteX3057" fmla="*/ 141640 w 1381764"/>
                <a:gd name="connsiteY3057" fmla="*/ 1183391 h 1328132"/>
                <a:gd name="connsiteX3058" fmla="*/ 141640 w 1381764"/>
                <a:gd name="connsiteY3058" fmla="*/ 1184554 h 1328132"/>
                <a:gd name="connsiteX3059" fmla="*/ 141511 w 1381764"/>
                <a:gd name="connsiteY3059" fmla="*/ 1185459 h 1328132"/>
                <a:gd name="connsiteX3060" fmla="*/ 141640 w 1381764"/>
                <a:gd name="connsiteY3060" fmla="*/ 1186493 h 1328132"/>
                <a:gd name="connsiteX3061" fmla="*/ 142674 w 1381764"/>
                <a:gd name="connsiteY3061" fmla="*/ 1189853 h 1328132"/>
                <a:gd name="connsiteX3062" fmla="*/ 142674 w 1381764"/>
                <a:gd name="connsiteY3062" fmla="*/ 1190887 h 1328132"/>
                <a:gd name="connsiteX3063" fmla="*/ 142286 w 1381764"/>
                <a:gd name="connsiteY3063" fmla="*/ 1193213 h 1328132"/>
                <a:gd name="connsiteX3064" fmla="*/ 142545 w 1381764"/>
                <a:gd name="connsiteY3064" fmla="*/ 1194505 h 1328132"/>
                <a:gd name="connsiteX3065" fmla="*/ 143062 w 1381764"/>
                <a:gd name="connsiteY3065" fmla="*/ 1195669 h 1328132"/>
                <a:gd name="connsiteX3066" fmla="*/ 143837 w 1381764"/>
                <a:gd name="connsiteY3066" fmla="*/ 1196702 h 1328132"/>
                <a:gd name="connsiteX3067" fmla="*/ 144742 w 1381764"/>
                <a:gd name="connsiteY3067" fmla="*/ 1197736 h 1328132"/>
                <a:gd name="connsiteX3068" fmla="*/ 145517 w 1381764"/>
                <a:gd name="connsiteY3068" fmla="*/ 1198899 h 1328132"/>
                <a:gd name="connsiteX3069" fmla="*/ 146163 w 1381764"/>
                <a:gd name="connsiteY3069" fmla="*/ 1200062 h 1328132"/>
                <a:gd name="connsiteX3070" fmla="*/ 146938 w 1381764"/>
                <a:gd name="connsiteY3070" fmla="*/ 1202389 h 1328132"/>
                <a:gd name="connsiteX3071" fmla="*/ 147456 w 1381764"/>
                <a:gd name="connsiteY3071" fmla="*/ 1204973 h 1328132"/>
                <a:gd name="connsiteX3072" fmla="*/ 147585 w 1381764"/>
                <a:gd name="connsiteY3072" fmla="*/ 1206136 h 1328132"/>
                <a:gd name="connsiteX3073" fmla="*/ 147456 w 1381764"/>
                <a:gd name="connsiteY3073" fmla="*/ 1208721 h 1328132"/>
                <a:gd name="connsiteX3074" fmla="*/ 147972 w 1381764"/>
                <a:gd name="connsiteY3074" fmla="*/ 1210013 h 1328132"/>
                <a:gd name="connsiteX3075" fmla="*/ 149265 w 1381764"/>
                <a:gd name="connsiteY3075" fmla="*/ 1211176 h 1328132"/>
                <a:gd name="connsiteX3076" fmla="*/ 156502 w 1381764"/>
                <a:gd name="connsiteY3076" fmla="*/ 1213244 h 1328132"/>
                <a:gd name="connsiteX3077" fmla="*/ 157923 w 1381764"/>
                <a:gd name="connsiteY3077" fmla="*/ 1213890 h 1328132"/>
                <a:gd name="connsiteX3078" fmla="*/ 159733 w 1381764"/>
                <a:gd name="connsiteY3078" fmla="*/ 1215054 h 1328132"/>
                <a:gd name="connsiteX3079" fmla="*/ 163480 w 1381764"/>
                <a:gd name="connsiteY3079" fmla="*/ 1218543 h 1328132"/>
                <a:gd name="connsiteX3080" fmla="*/ 165677 w 1381764"/>
                <a:gd name="connsiteY3080" fmla="*/ 1220223 h 1328132"/>
                <a:gd name="connsiteX3081" fmla="*/ 170201 w 1381764"/>
                <a:gd name="connsiteY3081" fmla="*/ 1222937 h 1328132"/>
                <a:gd name="connsiteX3082" fmla="*/ 171234 w 1381764"/>
                <a:gd name="connsiteY3082" fmla="*/ 1223712 h 1328132"/>
                <a:gd name="connsiteX3083" fmla="*/ 172010 w 1381764"/>
                <a:gd name="connsiteY3083" fmla="*/ 1224746 h 1328132"/>
                <a:gd name="connsiteX3084" fmla="*/ 172527 w 1381764"/>
                <a:gd name="connsiteY3084" fmla="*/ 1226943 h 1328132"/>
                <a:gd name="connsiteX3085" fmla="*/ 173044 w 1381764"/>
                <a:gd name="connsiteY3085" fmla="*/ 1227977 h 1328132"/>
                <a:gd name="connsiteX3086" fmla="*/ 178342 w 1381764"/>
                <a:gd name="connsiteY3086" fmla="*/ 1231983 h 1328132"/>
                <a:gd name="connsiteX3087" fmla="*/ 179505 w 1381764"/>
                <a:gd name="connsiteY3087" fmla="*/ 1232759 h 1328132"/>
                <a:gd name="connsiteX3088" fmla="*/ 187259 w 1381764"/>
                <a:gd name="connsiteY3088" fmla="*/ 1235989 h 1328132"/>
                <a:gd name="connsiteX3089" fmla="*/ 189973 w 1381764"/>
                <a:gd name="connsiteY3089" fmla="*/ 1237540 h 1328132"/>
                <a:gd name="connsiteX3090" fmla="*/ 191395 w 1381764"/>
                <a:gd name="connsiteY3090" fmla="*/ 1238832 h 1328132"/>
                <a:gd name="connsiteX3091" fmla="*/ 192429 w 1381764"/>
                <a:gd name="connsiteY3091" fmla="*/ 1239479 h 1328132"/>
                <a:gd name="connsiteX3092" fmla="*/ 200312 w 1381764"/>
                <a:gd name="connsiteY3092" fmla="*/ 1242968 h 1328132"/>
                <a:gd name="connsiteX3093" fmla="*/ 201346 w 1381764"/>
                <a:gd name="connsiteY3093" fmla="*/ 1243614 h 1328132"/>
                <a:gd name="connsiteX3094" fmla="*/ 202121 w 1381764"/>
                <a:gd name="connsiteY3094" fmla="*/ 1244519 h 1328132"/>
                <a:gd name="connsiteX3095" fmla="*/ 202638 w 1381764"/>
                <a:gd name="connsiteY3095" fmla="*/ 1245682 h 1328132"/>
                <a:gd name="connsiteX3096" fmla="*/ 203543 w 1381764"/>
                <a:gd name="connsiteY3096" fmla="*/ 1250593 h 1328132"/>
                <a:gd name="connsiteX3097" fmla="*/ 203414 w 1381764"/>
                <a:gd name="connsiteY3097" fmla="*/ 1257571 h 1328132"/>
                <a:gd name="connsiteX3098" fmla="*/ 203672 w 1381764"/>
                <a:gd name="connsiteY3098" fmla="*/ 1258605 h 1328132"/>
                <a:gd name="connsiteX3099" fmla="*/ 204060 w 1381764"/>
                <a:gd name="connsiteY3099" fmla="*/ 1259639 h 1328132"/>
                <a:gd name="connsiteX3100" fmla="*/ 205094 w 1381764"/>
                <a:gd name="connsiteY3100" fmla="*/ 1260802 h 1328132"/>
                <a:gd name="connsiteX3101" fmla="*/ 206644 w 1381764"/>
                <a:gd name="connsiteY3101" fmla="*/ 1262095 h 1328132"/>
                <a:gd name="connsiteX3102" fmla="*/ 209875 w 1381764"/>
                <a:gd name="connsiteY3102" fmla="*/ 1263387 h 1328132"/>
                <a:gd name="connsiteX3103" fmla="*/ 211426 w 1381764"/>
                <a:gd name="connsiteY3103" fmla="*/ 1263775 h 1328132"/>
                <a:gd name="connsiteX3104" fmla="*/ 212977 w 1381764"/>
                <a:gd name="connsiteY3104" fmla="*/ 1263645 h 1328132"/>
                <a:gd name="connsiteX3105" fmla="*/ 214011 w 1381764"/>
                <a:gd name="connsiteY3105" fmla="*/ 1263258 h 1328132"/>
                <a:gd name="connsiteX3106" fmla="*/ 215174 w 1381764"/>
                <a:gd name="connsiteY3106" fmla="*/ 1262999 h 1328132"/>
                <a:gd name="connsiteX3107" fmla="*/ 217112 w 1381764"/>
                <a:gd name="connsiteY3107" fmla="*/ 1263128 h 1328132"/>
                <a:gd name="connsiteX3108" fmla="*/ 219568 w 1381764"/>
                <a:gd name="connsiteY3108" fmla="*/ 1263516 h 1328132"/>
                <a:gd name="connsiteX3109" fmla="*/ 227063 w 1381764"/>
                <a:gd name="connsiteY3109" fmla="*/ 1265584 h 1328132"/>
                <a:gd name="connsiteX3110" fmla="*/ 229002 w 1381764"/>
                <a:gd name="connsiteY3110" fmla="*/ 1266618 h 1328132"/>
                <a:gd name="connsiteX3111" fmla="*/ 230036 w 1381764"/>
                <a:gd name="connsiteY3111" fmla="*/ 1267652 h 1328132"/>
                <a:gd name="connsiteX3112" fmla="*/ 230811 w 1381764"/>
                <a:gd name="connsiteY3112" fmla="*/ 1268685 h 1328132"/>
                <a:gd name="connsiteX3113" fmla="*/ 231457 w 1381764"/>
                <a:gd name="connsiteY3113" fmla="*/ 1269849 h 1328132"/>
                <a:gd name="connsiteX3114" fmla="*/ 231974 w 1381764"/>
                <a:gd name="connsiteY3114" fmla="*/ 1271012 h 1328132"/>
                <a:gd name="connsiteX3115" fmla="*/ 232233 w 1381764"/>
                <a:gd name="connsiteY3115" fmla="*/ 1274501 h 1328132"/>
                <a:gd name="connsiteX3116" fmla="*/ 233267 w 1381764"/>
                <a:gd name="connsiteY3116" fmla="*/ 1277732 h 1328132"/>
                <a:gd name="connsiteX3117" fmla="*/ 233783 w 1381764"/>
                <a:gd name="connsiteY3117" fmla="*/ 1278766 h 1328132"/>
                <a:gd name="connsiteX3118" fmla="*/ 234817 w 1381764"/>
                <a:gd name="connsiteY3118" fmla="*/ 1279670 h 1328132"/>
                <a:gd name="connsiteX3119" fmla="*/ 236239 w 1381764"/>
                <a:gd name="connsiteY3119" fmla="*/ 1280187 h 1328132"/>
                <a:gd name="connsiteX3120" fmla="*/ 238565 w 1381764"/>
                <a:gd name="connsiteY3120" fmla="*/ 1280058 h 1328132"/>
                <a:gd name="connsiteX3121" fmla="*/ 240116 w 1381764"/>
                <a:gd name="connsiteY3121" fmla="*/ 1279541 h 1328132"/>
                <a:gd name="connsiteX3122" fmla="*/ 242701 w 1381764"/>
                <a:gd name="connsiteY3122" fmla="*/ 1278249 h 1328132"/>
                <a:gd name="connsiteX3123" fmla="*/ 243864 w 1381764"/>
                <a:gd name="connsiteY3123" fmla="*/ 1277861 h 1328132"/>
                <a:gd name="connsiteX3124" fmla="*/ 245027 w 1381764"/>
                <a:gd name="connsiteY3124" fmla="*/ 1277732 h 1328132"/>
                <a:gd name="connsiteX3125" fmla="*/ 246190 w 1381764"/>
                <a:gd name="connsiteY3125" fmla="*/ 1277861 h 1328132"/>
                <a:gd name="connsiteX3126" fmla="*/ 247353 w 1381764"/>
                <a:gd name="connsiteY3126" fmla="*/ 1278507 h 1328132"/>
                <a:gd name="connsiteX3127" fmla="*/ 248645 w 1381764"/>
                <a:gd name="connsiteY3127" fmla="*/ 1279283 h 1328132"/>
                <a:gd name="connsiteX3128" fmla="*/ 249808 w 1381764"/>
                <a:gd name="connsiteY3128" fmla="*/ 1279929 h 1328132"/>
                <a:gd name="connsiteX3129" fmla="*/ 255107 w 1381764"/>
                <a:gd name="connsiteY3129" fmla="*/ 1281221 h 1328132"/>
                <a:gd name="connsiteX3130" fmla="*/ 256658 w 1381764"/>
                <a:gd name="connsiteY3130" fmla="*/ 1281996 h 1328132"/>
                <a:gd name="connsiteX3131" fmla="*/ 260018 w 1381764"/>
                <a:gd name="connsiteY3131" fmla="*/ 1284840 h 1328132"/>
                <a:gd name="connsiteX3132" fmla="*/ 266479 w 1381764"/>
                <a:gd name="connsiteY3132" fmla="*/ 1287812 h 1328132"/>
                <a:gd name="connsiteX3133" fmla="*/ 268806 w 1381764"/>
                <a:gd name="connsiteY3133" fmla="*/ 1288458 h 1328132"/>
                <a:gd name="connsiteX3134" fmla="*/ 269452 w 1381764"/>
                <a:gd name="connsiteY3134" fmla="*/ 1287554 h 1328132"/>
                <a:gd name="connsiteX3135" fmla="*/ 416003 w 1381764"/>
                <a:gd name="connsiteY3135" fmla="*/ 1298151 h 1328132"/>
                <a:gd name="connsiteX3136" fmla="*/ 822184 w 1381764"/>
                <a:gd name="connsiteY3136" fmla="*/ 1322317 h 1328132"/>
                <a:gd name="connsiteX3137" fmla="*/ 835882 w 1381764"/>
                <a:gd name="connsiteY3137" fmla="*/ 1322963 h 1328132"/>
                <a:gd name="connsiteX3138" fmla="*/ 935909 w 1381764"/>
                <a:gd name="connsiteY3138" fmla="*/ 1328133 h 1328132"/>
                <a:gd name="connsiteX3139" fmla="*/ 937589 w 1381764"/>
                <a:gd name="connsiteY3139" fmla="*/ 1325548 h 1328132"/>
                <a:gd name="connsiteX3140" fmla="*/ 939399 w 1381764"/>
                <a:gd name="connsiteY3140" fmla="*/ 1321542 h 1328132"/>
                <a:gd name="connsiteX3141" fmla="*/ 940303 w 1381764"/>
                <a:gd name="connsiteY3141" fmla="*/ 1318053 h 1328132"/>
                <a:gd name="connsiteX3142" fmla="*/ 940820 w 1381764"/>
                <a:gd name="connsiteY3142" fmla="*/ 1317019 h 1328132"/>
                <a:gd name="connsiteX3143" fmla="*/ 941596 w 1381764"/>
                <a:gd name="connsiteY3143" fmla="*/ 1316373 h 1328132"/>
                <a:gd name="connsiteX3144" fmla="*/ 943405 w 1381764"/>
                <a:gd name="connsiteY3144" fmla="*/ 1315210 h 1328132"/>
                <a:gd name="connsiteX3145" fmla="*/ 943922 w 1381764"/>
                <a:gd name="connsiteY3145" fmla="*/ 1313917 h 1328132"/>
                <a:gd name="connsiteX3146" fmla="*/ 944439 w 1381764"/>
                <a:gd name="connsiteY3146" fmla="*/ 1313400 h 1328132"/>
                <a:gd name="connsiteX3147" fmla="*/ 944956 w 1381764"/>
                <a:gd name="connsiteY3147" fmla="*/ 1312625 h 1328132"/>
                <a:gd name="connsiteX3148" fmla="*/ 945214 w 1381764"/>
                <a:gd name="connsiteY3148" fmla="*/ 1311462 h 1328132"/>
                <a:gd name="connsiteX3149" fmla="*/ 945343 w 1381764"/>
                <a:gd name="connsiteY3149" fmla="*/ 1310169 h 1328132"/>
                <a:gd name="connsiteX3150" fmla="*/ 945860 w 1381764"/>
                <a:gd name="connsiteY3150" fmla="*/ 1307972 h 1328132"/>
                <a:gd name="connsiteX3151" fmla="*/ 946894 w 1381764"/>
                <a:gd name="connsiteY3151" fmla="*/ 1305000 h 1328132"/>
                <a:gd name="connsiteX3152" fmla="*/ 949220 w 1381764"/>
                <a:gd name="connsiteY3152" fmla="*/ 1300218 h 1328132"/>
                <a:gd name="connsiteX3153" fmla="*/ 949737 w 1381764"/>
                <a:gd name="connsiteY3153" fmla="*/ 1298021 h 1328132"/>
                <a:gd name="connsiteX3154" fmla="*/ 950513 w 1381764"/>
                <a:gd name="connsiteY3154" fmla="*/ 1288846 h 1328132"/>
                <a:gd name="connsiteX3155" fmla="*/ 952968 w 1381764"/>
                <a:gd name="connsiteY3155" fmla="*/ 1280446 h 1328132"/>
                <a:gd name="connsiteX3156" fmla="*/ 954002 w 1381764"/>
                <a:gd name="connsiteY3156" fmla="*/ 1278507 h 1328132"/>
                <a:gd name="connsiteX3157" fmla="*/ 954260 w 1381764"/>
                <a:gd name="connsiteY3157" fmla="*/ 1277344 h 1328132"/>
                <a:gd name="connsiteX3158" fmla="*/ 954390 w 1381764"/>
                <a:gd name="connsiteY3158" fmla="*/ 1274759 h 1328132"/>
                <a:gd name="connsiteX3159" fmla="*/ 955036 w 1381764"/>
                <a:gd name="connsiteY3159" fmla="*/ 1272433 h 1328132"/>
                <a:gd name="connsiteX3160" fmla="*/ 955553 w 1381764"/>
                <a:gd name="connsiteY3160" fmla="*/ 1271270 h 1328132"/>
                <a:gd name="connsiteX3161" fmla="*/ 957879 w 1381764"/>
                <a:gd name="connsiteY3161" fmla="*/ 1268039 h 1328132"/>
                <a:gd name="connsiteX3162" fmla="*/ 960981 w 1381764"/>
                <a:gd name="connsiteY3162" fmla="*/ 1264938 h 1328132"/>
                <a:gd name="connsiteX3163" fmla="*/ 961497 w 1381764"/>
                <a:gd name="connsiteY3163" fmla="*/ 1263904 h 1328132"/>
                <a:gd name="connsiteX3164" fmla="*/ 962014 w 1381764"/>
                <a:gd name="connsiteY3164" fmla="*/ 1261836 h 1328132"/>
                <a:gd name="connsiteX3165" fmla="*/ 963436 w 1381764"/>
                <a:gd name="connsiteY3165" fmla="*/ 1260156 h 1328132"/>
                <a:gd name="connsiteX3166" fmla="*/ 966538 w 1381764"/>
                <a:gd name="connsiteY3166" fmla="*/ 1257571 h 1328132"/>
                <a:gd name="connsiteX3167" fmla="*/ 968864 w 1381764"/>
                <a:gd name="connsiteY3167" fmla="*/ 1255116 h 1328132"/>
                <a:gd name="connsiteX3168" fmla="*/ 975325 w 1381764"/>
                <a:gd name="connsiteY3168" fmla="*/ 1245811 h 1328132"/>
                <a:gd name="connsiteX3169" fmla="*/ 979073 w 1381764"/>
                <a:gd name="connsiteY3169" fmla="*/ 1241934 h 1328132"/>
                <a:gd name="connsiteX3170" fmla="*/ 980624 w 1381764"/>
                <a:gd name="connsiteY3170" fmla="*/ 1239866 h 1328132"/>
                <a:gd name="connsiteX3171" fmla="*/ 981270 w 1381764"/>
                <a:gd name="connsiteY3171" fmla="*/ 1237411 h 1328132"/>
                <a:gd name="connsiteX3172" fmla="*/ 981787 w 1381764"/>
                <a:gd name="connsiteY3172" fmla="*/ 1236377 h 1328132"/>
                <a:gd name="connsiteX3173" fmla="*/ 983855 w 1381764"/>
                <a:gd name="connsiteY3173" fmla="*/ 1234439 h 1328132"/>
                <a:gd name="connsiteX3174" fmla="*/ 984372 w 1381764"/>
                <a:gd name="connsiteY3174" fmla="*/ 1233663 h 1328132"/>
                <a:gd name="connsiteX3175" fmla="*/ 984501 w 1381764"/>
                <a:gd name="connsiteY3175" fmla="*/ 1232759 h 1328132"/>
                <a:gd name="connsiteX3176" fmla="*/ 984889 w 1381764"/>
                <a:gd name="connsiteY3176" fmla="*/ 1231854 h 1328132"/>
                <a:gd name="connsiteX3177" fmla="*/ 985793 w 1381764"/>
                <a:gd name="connsiteY3177" fmla="*/ 1230303 h 1328132"/>
                <a:gd name="connsiteX3178" fmla="*/ 987473 w 1381764"/>
                <a:gd name="connsiteY3178" fmla="*/ 1228365 h 1328132"/>
                <a:gd name="connsiteX3179" fmla="*/ 993418 w 1381764"/>
                <a:gd name="connsiteY3179" fmla="*/ 1223841 h 1328132"/>
                <a:gd name="connsiteX3180" fmla="*/ 995227 w 1381764"/>
                <a:gd name="connsiteY3180" fmla="*/ 1222808 h 1328132"/>
                <a:gd name="connsiteX3181" fmla="*/ 1001818 w 1381764"/>
                <a:gd name="connsiteY3181" fmla="*/ 1221386 h 1328132"/>
                <a:gd name="connsiteX3182" fmla="*/ 1003886 w 1381764"/>
                <a:gd name="connsiteY3182" fmla="*/ 1220223 h 1328132"/>
                <a:gd name="connsiteX3183" fmla="*/ 1006083 w 1381764"/>
                <a:gd name="connsiteY3183" fmla="*/ 1218414 h 1328132"/>
                <a:gd name="connsiteX3184" fmla="*/ 1007763 w 1381764"/>
                <a:gd name="connsiteY3184" fmla="*/ 1216346 h 1328132"/>
                <a:gd name="connsiteX3185" fmla="*/ 1008668 w 1381764"/>
                <a:gd name="connsiteY3185" fmla="*/ 1213632 h 1328132"/>
                <a:gd name="connsiteX3186" fmla="*/ 1009055 w 1381764"/>
                <a:gd name="connsiteY3186" fmla="*/ 1212469 h 1328132"/>
                <a:gd name="connsiteX3187" fmla="*/ 1014483 w 1381764"/>
                <a:gd name="connsiteY3187" fmla="*/ 1205361 h 1328132"/>
                <a:gd name="connsiteX3188" fmla="*/ 1015129 w 1381764"/>
                <a:gd name="connsiteY3188" fmla="*/ 1204069 h 1328132"/>
                <a:gd name="connsiteX3189" fmla="*/ 1015259 w 1381764"/>
                <a:gd name="connsiteY3189" fmla="*/ 1202776 h 1328132"/>
                <a:gd name="connsiteX3190" fmla="*/ 1014483 w 1381764"/>
                <a:gd name="connsiteY3190" fmla="*/ 1201484 h 1328132"/>
                <a:gd name="connsiteX3191" fmla="*/ 1017326 w 1381764"/>
                <a:gd name="connsiteY3191" fmla="*/ 1195669 h 1328132"/>
                <a:gd name="connsiteX3192" fmla="*/ 1018489 w 1381764"/>
                <a:gd name="connsiteY3192" fmla="*/ 1194893 h 1328132"/>
                <a:gd name="connsiteX3193" fmla="*/ 1022625 w 1381764"/>
                <a:gd name="connsiteY3193" fmla="*/ 1188173 h 1328132"/>
                <a:gd name="connsiteX3194" fmla="*/ 1025726 w 1381764"/>
                <a:gd name="connsiteY3194" fmla="*/ 1179514 h 1328132"/>
                <a:gd name="connsiteX3195" fmla="*/ 1027665 w 1381764"/>
                <a:gd name="connsiteY3195" fmla="*/ 1176154 h 1328132"/>
                <a:gd name="connsiteX3196" fmla="*/ 1030637 w 1381764"/>
                <a:gd name="connsiteY3196" fmla="*/ 1173570 h 1328132"/>
                <a:gd name="connsiteX3197" fmla="*/ 1033739 w 1381764"/>
                <a:gd name="connsiteY3197" fmla="*/ 1171631 h 1328132"/>
                <a:gd name="connsiteX3198" fmla="*/ 1035290 w 1381764"/>
                <a:gd name="connsiteY3198" fmla="*/ 1170209 h 1328132"/>
                <a:gd name="connsiteX3199" fmla="*/ 1035936 w 1381764"/>
                <a:gd name="connsiteY3199" fmla="*/ 1168659 h 1328132"/>
                <a:gd name="connsiteX3200" fmla="*/ 1036194 w 1381764"/>
                <a:gd name="connsiteY3200" fmla="*/ 1166332 h 1328132"/>
                <a:gd name="connsiteX3201" fmla="*/ 1043948 w 1381764"/>
                <a:gd name="connsiteY3201" fmla="*/ 1142554 h 1328132"/>
                <a:gd name="connsiteX3202" fmla="*/ 1044336 w 1381764"/>
                <a:gd name="connsiteY3202" fmla="*/ 1139193 h 1328132"/>
                <a:gd name="connsiteX3203" fmla="*/ 1044724 w 1381764"/>
                <a:gd name="connsiteY3203" fmla="*/ 1138160 h 1328132"/>
                <a:gd name="connsiteX3204" fmla="*/ 1045499 w 1381764"/>
                <a:gd name="connsiteY3204" fmla="*/ 1137255 h 1328132"/>
                <a:gd name="connsiteX3205" fmla="*/ 1046533 w 1381764"/>
                <a:gd name="connsiteY3205" fmla="*/ 1136480 h 1328132"/>
                <a:gd name="connsiteX3206" fmla="*/ 1047308 w 1381764"/>
                <a:gd name="connsiteY3206" fmla="*/ 1135575 h 1328132"/>
                <a:gd name="connsiteX3207" fmla="*/ 1047696 w 1381764"/>
                <a:gd name="connsiteY3207" fmla="*/ 1134153 h 1328132"/>
                <a:gd name="connsiteX3208" fmla="*/ 1047826 w 1381764"/>
                <a:gd name="connsiteY3208" fmla="*/ 1127175 h 1328132"/>
                <a:gd name="connsiteX3209" fmla="*/ 1048342 w 1381764"/>
                <a:gd name="connsiteY3209" fmla="*/ 1124978 h 1328132"/>
                <a:gd name="connsiteX3210" fmla="*/ 1049893 w 1381764"/>
                <a:gd name="connsiteY3210" fmla="*/ 1120713 h 1328132"/>
                <a:gd name="connsiteX3211" fmla="*/ 1050410 w 1381764"/>
                <a:gd name="connsiteY3211" fmla="*/ 1118516 h 1328132"/>
                <a:gd name="connsiteX3212" fmla="*/ 1050539 w 1381764"/>
                <a:gd name="connsiteY3212" fmla="*/ 1115802 h 1328132"/>
                <a:gd name="connsiteX3213" fmla="*/ 1050281 w 1381764"/>
                <a:gd name="connsiteY3213" fmla="*/ 1111925 h 1328132"/>
                <a:gd name="connsiteX3214" fmla="*/ 1050410 w 1381764"/>
                <a:gd name="connsiteY3214" fmla="*/ 1110633 h 1328132"/>
                <a:gd name="connsiteX3215" fmla="*/ 1050927 w 1381764"/>
                <a:gd name="connsiteY3215" fmla="*/ 1108953 h 1328132"/>
                <a:gd name="connsiteX3216" fmla="*/ 1051056 w 1381764"/>
                <a:gd name="connsiteY3216" fmla="*/ 1108177 h 1328132"/>
                <a:gd name="connsiteX3217" fmla="*/ 1050669 w 1381764"/>
                <a:gd name="connsiteY3217" fmla="*/ 1107402 h 1328132"/>
                <a:gd name="connsiteX3218" fmla="*/ 1049118 w 1381764"/>
                <a:gd name="connsiteY3218" fmla="*/ 1106368 h 1328132"/>
                <a:gd name="connsiteX3219" fmla="*/ 1044595 w 1381764"/>
                <a:gd name="connsiteY3219" fmla="*/ 1104947 h 1328132"/>
                <a:gd name="connsiteX3220" fmla="*/ 1035419 w 1381764"/>
                <a:gd name="connsiteY3220" fmla="*/ 1098485 h 1328132"/>
                <a:gd name="connsiteX3221" fmla="*/ 1031284 w 1381764"/>
                <a:gd name="connsiteY3221" fmla="*/ 1094866 h 1328132"/>
                <a:gd name="connsiteX3222" fmla="*/ 1028311 w 1381764"/>
                <a:gd name="connsiteY3222" fmla="*/ 1090731 h 1328132"/>
                <a:gd name="connsiteX3223" fmla="*/ 1026760 w 1381764"/>
                <a:gd name="connsiteY3223" fmla="*/ 1086078 h 1328132"/>
                <a:gd name="connsiteX3224" fmla="*/ 1026760 w 1381764"/>
                <a:gd name="connsiteY3224" fmla="*/ 1080651 h 1328132"/>
                <a:gd name="connsiteX3225" fmla="*/ 1027407 w 1381764"/>
                <a:gd name="connsiteY3225" fmla="*/ 1077937 h 1328132"/>
                <a:gd name="connsiteX3226" fmla="*/ 1028440 w 1381764"/>
                <a:gd name="connsiteY3226" fmla="*/ 1075611 h 1328132"/>
                <a:gd name="connsiteX3227" fmla="*/ 1045241 w 1381764"/>
                <a:gd name="connsiteY3227" fmla="*/ 1055192 h 1328132"/>
                <a:gd name="connsiteX3228" fmla="*/ 1048342 w 1381764"/>
                <a:gd name="connsiteY3228" fmla="*/ 1048601 h 1328132"/>
                <a:gd name="connsiteX3229" fmla="*/ 1048730 w 1381764"/>
                <a:gd name="connsiteY3229" fmla="*/ 1046275 h 1328132"/>
                <a:gd name="connsiteX3230" fmla="*/ 1048342 w 1381764"/>
                <a:gd name="connsiteY3230" fmla="*/ 1031025 h 1328132"/>
                <a:gd name="connsiteX3231" fmla="*/ 1044982 w 1381764"/>
                <a:gd name="connsiteY3231" fmla="*/ 1018360 h 1328132"/>
                <a:gd name="connsiteX3232" fmla="*/ 1045499 w 1381764"/>
                <a:gd name="connsiteY3232" fmla="*/ 1014225 h 1328132"/>
                <a:gd name="connsiteX3233" fmla="*/ 1047438 w 1381764"/>
                <a:gd name="connsiteY3233" fmla="*/ 1011769 h 1328132"/>
                <a:gd name="connsiteX3234" fmla="*/ 1063592 w 1381764"/>
                <a:gd name="connsiteY3234" fmla="*/ 1001818 h 1328132"/>
                <a:gd name="connsiteX3235" fmla="*/ 1065789 w 1381764"/>
                <a:gd name="connsiteY3235" fmla="*/ 999880 h 1328132"/>
                <a:gd name="connsiteX3236" fmla="*/ 1067598 w 1381764"/>
                <a:gd name="connsiteY3236" fmla="*/ 998717 h 1328132"/>
                <a:gd name="connsiteX3237" fmla="*/ 1080134 w 1381764"/>
                <a:gd name="connsiteY3237" fmla="*/ 994710 h 1328132"/>
                <a:gd name="connsiteX3238" fmla="*/ 1082848 w 1381764"/>
                <a:gd name="connsiteY3238" fmla="*/ 994193 h 1328132"/>
                <a:gd name="connsiteX3239" fmla="*/ 1085174 w 1381764"/>
                <a:gd name="connsiteY3239" fmla="*/ 994323 h 1328132"/>
                <a:gd name="connsiteX3240" fmla="*/ 1088146 w 1381764"/>
                <a:gd name="connsiteY3240" fmla="*/ 992126 h 1328132"/>
                <a:gd name="connsiteX3241" fmla="*/ 1102621 w 1381764"/>
                <a:gd name="connsiteY3241" fmla="*/ 986052 h 1328132"/>
                <a:gd name="connsiteX3242" fmla="*/ 1104301 w 1381764"/>
                <a:gd name="connsiteY3242" fmla="*/ 984630 h 1328132"/>
                <a:gd name="connsiteX3243" fmla="*/ 1105464 w 1381764"/>
                <a:gd name="connsiteY3243" fmla="*/ 982692 h 1328132"/>
                <a:gd name="connsiteX3244" fmla="*/ 1105851 w 1381764"/>
                <a:gd name="connsiteY3244" fmla="*/ 980107 h 1328132"/>
                <a:gd name="connsiteX3245" fmla="*/ 1105722 w 1381764"/>
                <a:gd name="connsiteY3245" fmla="*/ 975455 h 1328132"/>
                <a:gd name="connsiteX3246" fmla="*/ 1105334 w 1381764"/>
                <a:gd name="connsiteY3246" fmla="*/ 973645 h 1328132"/>
                <a:gd name="connsiteX3247" fmla="*/ 1104430 w 1381764"/>
                <a:gd name="connsiteY3247" fmla="*/ 973258 h 1328132"/>
                <a:gd name="connsiteX3248" fmla="*/ 1105205 w 1381764"/>
                <a:gd name="connsiteY3248" fmla="*/ 971190 h 1328132"/>
                <a:gd name="connsiteX3249" fmla="*/ 1106368 w 1381764"/>
                <a:gd name="connsiteY3249" fmla="*/ 969122 h 1328132"/>
                <a:gd name="connsiteX3250" fmla="*/ 1109728 w 1381764"/>
                <a:gd name="connsiteY3250" fmla="*/ 964857 h 1328132"/>
                <a:gd name="connsiteX3251" fmla="*/ 1110375 w 1381764"/>
                <a:gd name="connsiteY3251" fmla="*/ 963824 h 1328132"/>
                <a:gd name="connsiteX3252" fmla="*/ 1110762 w 1381764"/>
                <a:gd name="connsiteY3252" fmla="*/ 962790 h 1328132"/>
                <a:gd name="connsiteX3253" fmla="*/ 1110892 w 1381764"/>
                <a:gd name="connsiteY3253" fmla="*/ 962014 h 1328132"/>
                <a:gd name="connsiteX3254" fmla="*/ 1113864 w 1381764"/>
                <a:gd name="connsiteY3254" fmla="*/ 960205 h 1328132"/>
                <a:gd name="connsiteX3255" fmla="*/ 1119292 w 1381764"/>
                <a:gd name="connsiteY3255" fmla="*/ 955165 h 1328132"/>
                <a:gd name="connsiteX3256" fmla="*/ 1122135 w 1381764"/>
                <a:gd name="connsiteY3256" fmla="*/ 953097 h 1328132"/>
                <a:gd name="connsiteX3257" fmla="*/ 1126270 w 1381764"/>
                <a:gd name="connsiteY3257" fmla="*/ 952192 h 1328132"/>
                <a:gd name="connsiteX3258" fmla="*/ 1134024 w 1381764"/>
                <a:gd name="connsiteY3258" fmla="*/ 954390 h 1328132"/>
                <a:gd name="connsiteX3259" fmla="*/ 1135058 w 1381764"/>
                <a:gd name="connsiteY3259" fmla="*/ 954131 h 1328132"/>
                <a:gd name="connsiteX3260" fmla="*/ 1135317 w 1381764"/>
                <a:gd name="connsiteY3260" fmla="*/ 951805 h 1328132"/>
                <a:gd name="connsiteX3261" fmla="*/ 1135187 w 1381764"/>
                <a:gd name="connsiteY3261" fmla="*/ 950642 h 1328132"/>
                <a:gd name="connsiteX3262" fmla="*/ 1134541 w 1381764"/>
                <a:gd name="connsiteY3262" fmla="*/ 949608 h 1328132"/>
                <a:gd name="connsiteX3263" fmla="*/ 1132732 w 1381764"/>
                <a:gd name="connsiteY3263" fmla="*/ 948316 h 1328132"/>
                <a:gd name="connsiteX3264" fmla="*/ 1131956 w 1381764"/>
                <a:gd name="connsiteY3264" fmla="*/ 947540 h 1328132"/>
                <a:gd name="connsiteX3265" fmla="*/ 1131310 w 1381764"/>
                <a:gd name="connsiteY3265" fmla="*/ 946377 h 1328132"/>
                <a:gd name="connsiteX3266" fmla="*/ 1129113 w 1381764"/>
                <a:gd name="connsiteY3266" fmla="*/ 942242 h 1328132"/>
                <a:gd name="connsiteX3267" fmla="*/ 1128596 w 1381764"/>
                <a:gd name="connsiteY3267" fmla="*/ 934358 h 1328132"/>
                <a:gd name="connsiteX3268" fmla="*/ 1128984 w 1381764"/>
                <a:gd name="connsiteY3268" fmla="*/ 932807 h 1328132"/>
                <a:gd name="connsiteX3269" fmla="*/ 1130147 w 1381764"/>
                <a:gd name="connsiteY3269" fmla="*/ 931515 h 1328132"/>
                <a:gd name="connsiteX3270" fmla="*/ 1139711 w 1381764"/>
                <a:gd name="connsiteY3270" fmla="*/ 928931 h 1328132"/>
                <a:gd name="connsiteX3271" fmla="*/ 1143975 w 1381764"/>
                <a:gd name="connsiteY3271" fmla="*/ 926475 h 1328132"/>
                <a:gd name="connsiteX3272" fmla="*/ 1143975 w 1381764"/>
                <a:gd name="connsiteY3272" fmla="*/ 921952 h 1328132"/>
                <a:gd name="connsiteX3273" fmla="*/ 1142037 w 1381764"/>
                <a:gd name="connsiteY3273" fmla="*/ 920013 h 1328132"/>
                <a:gd name="connsiteX3274" fmla="*/ 1140098 w 1381764"/>
                <a:gd name="connsiteY3274" fmla="*/ 919496 h 1328132"/>
                <a:gd name="connsiteX3275" fmla="*/ 1138677 w 1381764"/>
                <a:gd name="connsiteY3275" fmla="*/ 918592 h 1328132"/>
                <a:gd name="connsiteX3276" fmla="*/ 1138030 w 1381764"/>
                <a:gd name="connsiteY3276" fmla="*/ 915749 h 1328132"/>
                <a:gd name="connsiteX3277" fmla="*/ 1138548 w 1381764"/>
                <a:gd name="connsiteY3277" fmla="*/ 913552 h 1328132"/>
                <a:gd name="connsiteX3278" fmla="*/ 1139969 w 1381764"/>
                <a:gd name="connsiteY3278" fmla="*/ 912130 h 1328132"/>
                <a:gd name="connsiteX3279" fmla="*/ 1141908 w 1381764"/>
                <a:gd name="connsiteY3279" fmla="*/ 911355 h 1328132"/>
                <a:gd name="connsiteX3280" fmla="*/ 1148369 w 1381764"/>
                <a:gd name="connsiteY3280" fmla="*/ 910192 h 1328132"/>
                <a:gd name="connsiteX3281" fmla="*/ 1149791 w 1381764"/>
                <a:gd name="connsiteY3281" fmla="*/ 909158 h 1328132"/>
                <a:gd name="connsiteX3282" fmla="*/ 1150308 w 1381764"/>
                <a:gd name="connsiteY3282" fmla="*/ 906961 h 1328132"/>
                <a:gd name="connsiteX3283" fmla="*/ 1149403 w 1381764"/>
                <a:gd name="connsiteY3283" fmla="*/ 904635 h 1328132"/>
                <a:gd name="connsiteX3284" fmla="*/ 1144751 w 1381764"/>
                <a:gd name="connsiteY3284" fmla="*/ 899982 h 1328132"/>
                <a:gd name="connsiteX3285" fmla="*/ 1143071 w 1381764"/>
                <a:gd name="connsiteY3285" fmla="*/ 897785 h 1328132"/>
                <a:gd name="connsiteX3286" fmla="*/ 1142424 w 1381764"/>
                <a:gd name="connsiteY3286" fmla="*/ 895459 h 1328132"/>
                <a:gd name="connsiteX3287" fmla="*/ 1142424 w 1381764"/>
                <a:gd name="connsiteY3287" fmla="*/ 889256 h 1328132"/>
                <a:gd name="connsiteX3288" fmla="*/ 1143329 w 1381764"/>
                <a:gd name="connsiteY3288" fmla="*/ 886930 h 1328132"/>
                <a:gd name="connsiteX3289" fmla="*/ 1145526 w 1381764"/>
                <a:gd name="connsiteY3289" fmla="*/ 886025 h 1328132"/>
                <a:gd name="connsiteX3290" fmla="*/ 1149662 w 1381764"/>
                <a:gd name="connsiteY3290" fmla="*/ 886025 h 1328132"/>
                <a:gd name="connsiteX3291" fmla="*/ 1152505 w 1381764"/>
                <a:gd name="connsiteY3291" fmla="*/ 885250 h 1328132"/>
                <a:gd name="connsiteX3292" fmla="*/ 1154314 w 1381764"/>
                <a:gd name="connsiteY3292" fmla="*/ 884086 h 1328132"/>
                <a:gd name="connsiteX3293" fmla="*/ 1157416 w 1381764"/>
                <a:gd name="connsiteY3293" fmla="*/ 880597 h 1328132"/>
                <a:gd name="connsiteX3294" fmla="*/ 1158966 w 1381764"/>
                <a:gd name="connsiteY3294" fmla="*/ 878271 h 1328132"/>
                <a:gd name="connsiteX3295" fmla="*/ 1159096 w 1381764"/>
                <a:gd name="connsiteY3295" fmla="*/ 876203 h 1328132"/>
                <a:gd name="connsiteX3296" fmla="*/ 1158320 w 1381764"/>
                <a:gd name="connsiteY3296" fmla="*/ 874394 h 1328132"/>
                <a:gd name="connsiteX3297" fmla="*/ 1157028 w 1381764"/>
                <a:gd name="connsiteY3297" fmla="*/ 872843 h 1328132"/>
                <a:gd name="connsiteX3298" fmla="*/ 1154443 w 1381764"/>
                <a:gd name="connsiteY3298" fmla="*/ 870775 h 1328132"/>
                <a:gd name="connsiteX3299" fmla="*/ 1153151 w 1381764"/>
                <a:gd name="connsiteY3299" fmla="*/ 869612 h 1328132"/>
                <a:gd name="connsiteX3300" fmla="*/ 1152634 w 1381764"/>
                <a:gd name="connsiteY3300" fmla="*/ 868062 h 1328132"/>
                <a:gd name="connsiteX3301" fmla="*/ 1151859 w 1381764"/>
                <a:gd name="connsiteY3301" fmla="*/ 866769 h 1328132"/>
                <a:gd name="connsiteX3302" fmla="*/ 1149920 w 1381764"/>
                <a:gd name="connsiteY3302" fmla="*/ 866381 h 1328132"/>
                <a:gd name="connsiteX3303" fmla="*/ 1147464 w 1381764"/>
                <a:gd name="connsiteY3303" fmla="*/ 866381 h 1328132"/>
                <a:gd name="connsiteX3304" fmla="*/ 1145268 w 1381764"/>
                <a:gd name="connsiteY3304" fmla="*/ 866252 h 1328132"/>
                <a:gd name="connsiteX3305" fmla="*/ 1142424 w 1381764"/>
                <a:gd name="connsiteY3305" fmla="*/ 864443 h 1328132"/>
                <a:gd name="connsiteX3306" fmla="*/ 1140098 w 1381764"/>
                <a:gd name="connsiteY3306" fmla="*/ 861341 h 1328132"/>
                <a:gd name="connsiteX3307" fmla="*/ 1135058 w 1381764"/>
                <a:gd name="connsiteY3307" fmla="*/ 852166 h 1328132"/>
                <a:gd name="connsiteX3308" fmla="*/ 1134024 w 1381764"/>
                <a:gd name="connsiteY3308" fmla="*/ 851132 h 1328132"/>
                <a:gd name="connsiteX3309" fmla="*/ 1131827 w 1381764"/>
                <a:gd name="connsiteY3309" fmla="*/ 850744 h 1328132"/>
                <a:gd name="connsiteX3310" fmla="*/ 1117612 w 1381764"/>
                <a:gd name="connsiteY3310" fmla="*/ 852037 h 1328132"/>
                <a:gd name="connsiteX3311" fmla="*/ 1114898 w 1381764"/>
                <a:gd name="connsiteY3311" fmla="*/ 853070 h 1328132"/>
                <a:gd name="connsiteX3312" fmla="*/ 1113089 w 1381764"/>
                <a:gd name="connsiteY3312" fmla="*/ 852553 h 1328132"/>
                <a:gd name="connsiteX3313" fmla="*/ 1111279 w 1381764"/>
                <a:gd name="connsiteY3313" fmla="*/ 851778 h 1328132"/>
                <a:gd name="connsiteX3314" fmla="*/ 1106368 w 1381764"/>
                <a:gd name="connsiteY3314" fmla="*/ 850486 h 1328132"/>
                <a:gd name="connsiteX3315" fmla="*/ 1100682 w 1381764"/>
                <a:gd name="connsiteY3315" fmla="*/ 847126 h 1328132"/>
                <a:gd name="connsiteX3316" fmla="*/ 1096805 w 1381764"/>
                <a:gd name="connsiteY3316" fmla="*/ 846867 h 1328132"/>
                <a:gd name="connsiteX3317" fmla="*/ 1094608 w 1381764"/>
                <a:gd name="connsiteY3317" fmla="*/ 846609 h 1328132"/>
                <a:gd name="connsiteX3318" fmla="*/ 1094867 w 1381764"/>
                <a:gd name="connsiteY3318" fmla="*/ 846221 h 1328132"/>
                <a:gd name="connsiteX3319" fmla="*/ 1095771 w 1381764"/>
                <a:gd name="connsiteY3319" fmla="*/ 845187 h 1328132"/>
                <a:gd name="connsiteX3320" fmla="*/ 1147077 w 1381764"/>
                <a:gd name="connsiteY3320" fmla="*/ 803962 h 1328132"/>
                <a:gd name="connsiteX3321" fmla="*/ 1195539 w 1381764"/>
                <a:gd name="connsiteY3321" fmla="*/ 765838 h 1328132"/>
                <a:gd name="connsiteX3322" fmla="*/ 1197090 w 1381764"/>
                <a:gd name="connsiteY3322" fmla="*/ 766355 h 1328132"/>
                <a:gd name="connsiteX3323" fmla="*/ 1197607 w 1381764"/>
                <a:gd name="connsiteY3323" fmla="*/ 766355 h 1328132"/>
                <a:gd name="connsiteX3324" fmla="*/ 1198124 w 1381764"/>
                <a:gd name="connsiteY3324" fmla="*/ 766355 h 1328132"/>
                <a:gd name="connsiteX3325" fmla="*/ 1199675 w 1381764"/>
                <a:gd name="connsiteY3325" fmla="*/ 765967 h 1328132"/>
                <a:gd name="connsiteX3326" fmla="*/ 1201097 w 1381764"/>
                <a:gd name="connsiteY3326" fmla="*/ 765321 h 1328132"/>
                <a:gd name="connsiteX3327" fmla="*/ 1202001 w 1381764"/>
                <a:gd name="connsiteY3327" fmla="*/ 765192 h 1328132"/>
                <a:gd name="connsiteX3328" fmla="*/ 1202647 w 1381764"/>
                <a:gd name="connsiteY3328" fmla="*/ 765192 h 1328132"/>
                <a:gd name="connsiteX3329" fmla="*/ 1203035 w 1381764"/>
                <a:gd name="connsiteY3329" fmla="*/ 765450 h 1328132"/>
                <a:gd name="connsiteX3330" fmla="*/ 1203293 w 1381764"/>
                <a:gd name="connsiteY3330" fmla="*/ 765838 h 1328132"/>
                <a:gd name="connsiteX3331" fmla="*/ 1203681 w 1381764"/>
                <a:gd name="connsiteY3331" fmla="*/ 766225 h 1328132"/>
                <a:gd name="connsiteX3332" fmla="*/ 1204198 w 1381764"/>
                <a:gd name="connsiteY3332" fmla="*/ 766484 h 1328132"/>
                <a:gd name="connsiteX3333" fmla="*/ 1205749 w 1381764"/>
                <a:gd name="connsiteY3333" fmla="*/ 767130 h 1328132"/>
                <a:gd name="connsiteX3334" fmla="*/ 1206266 w 1381764"/>
                <a:gd name="connsiteY3334" fmla="*/ 767259 h 1328132"/>
                <a:gd name="connsiteX3335" fmla="*/ 1209238 w 1381764"/>
                <a:gd name="connsiteY3335" fmla="*/ 767130 h 1328132"/>
                <a:gd name="connsiteX3336" fmla="*/ 1210401 w 1381764"/>
                <a:gd name="connsiteY3336" fmla="*/ 767001 h 1328132"/>
                <a:gd name="connsiteX3337" fmla="*/ 1211048 w 1381764"/>
                <a:gd name="connsiteY3337" fmla="*/ 766742 h 1328132"/>
                <a:gd name="connsiteX3338" fmla="*/ 1218931 w 1381764"/>
                <a:gd name="connsiteY3338" fmla="*/ 760539 h 1328132"/>
                <a:gd name="connsiteX3339" fmla="*/ 1221257 w 1381764"/>
                <a:gd name="connsiteY3339" fmla="*/ 757696 h 1328132"/>
                <a:gd name="connsiteX3340" fmla="*/ 1221515 w 1381764"/>
                <a:gd name="connsiteY3340" fmla="*/ 757308 h 1328132"/>
                <a:gd name="connsiteX3341" fmla="*/ 1222291 w 1381764"/>
                <a:gd name="connsiteY3341" fmla="*/ 755628 h 1328132"/>
                <a:gd name="connsiteX3342" fmla="*/ 1222420 w 1381764"/>
                <a:gd name="connsiteY3342" fmla="*/ 755370 h 1328132"/>
                <a:gd name="connsiteX3343" fmla="*/ 1222549 w 1381764"/>
                <a:gd name="connsiteY3343" fmla="*/ 754982 h 1328132"/>
                <a:gd name="connsiteX3344" fmla="*/ 1222808 w 1381764"/>
                <a:gd name="connsiteY3344" fmla="*/ 754595 h 1328132"/>
                <a:gd name="connsiteX3345" fmla="*/ 1224488 w 1381764"/>
                <a:gd name="connsiteY3345" fmla="*/ 752785 h 1328132"/>
                <a:gd name="connsiteX3346" fmla="*/ 1224746 w 1381764"/>
                <a:gd name="connsiteY3346" fmla="*/ 752397 h 1328132"/>
                <a:gd name="connsiteX3347" fmla="*/ 1225522 w 1381764"/>
                <a:gd name="connsiteY3347" fmla="*/ 750847 h 1328132"/>
                <a:gd name="connsiteX3348" fmla="*/ 1226038 w 1381764"/>
                <a:gd name="connsiteY3348" fmla="*/ 750071 h 1328132"/>
                <a:gd name="connsiteX3349" fmla="*/ 1228623 w 1381764"/>
                <a:gd name="connsiteY3349" fmla="*/ 747357 h 1328132"/>
                <a:gd name="connsiteX3350" fmla="*/ 1228882 w 1381764"/>
                <a:gd name="connsiteY3350" fmla="*/ 746970 h 1328132"/>
                <a:gd name="connsiteX3351" fmla="*/ 1229140 w 1381764"/>
                <a:gd name="connsiteY3351" fmla="*/ 746453 h 1328132"/>
                <a:gd name="connsiteX3352" fmla="*/ 1229657 w 1381764"/>
                <a:gd name="connsiteY3352" fmla="*/ 744773 h 1328132"/>
                <a:gd name="connsiteX3353" fmla="*/ 1231337 w 1381764"/>
                <a:gd name="connsiteY3353" fmla="*/ 742059 h 1328132"/>
                <a:gd name="connsiteX3354" fmla="*/ 1231596 w 1381764"/>
                <a:gd name="connsiteY3354" fmla="*/ 741542 h 1328132"/>
                <a:gd name="connsiteX3355" fmla="*/ 1231725 w 1381764"/>
                <a:gd name="connsiteY3355" fmla="*/ 740896 h 1328132"/>
                <a:gd name="connsiteX3356" fmla="*/ 1231854 w 1381764"/>
                <a:gd name="connsiteY3356" fmla="*/ 739603 h 1328132"/>
                <a:gd name="connsiteX3357" fmla="*/ 1232112 w 1381764"/>
                <a:gd name="connsiteY3357" fmla="*/ 738440 h 1328132"/>
                <a:gd name="connsiteX3358" fmla="*/ 1232500 w 1381764"/>
                <a:gd name="connsiteY3358" fmla="*/ 737794 h 1328132"/>
                <a:gd name="connsiteX3359" fmla="*/ 1234956 w 1381764"/>
                <a:gd name="connsiteY3359" fmla="*/ 735080 h 1328132"/>
                <a:gd name="connsiteX3360" fmla="*/ 1236636 w 1381764"/>
                <a:gd name="connsiteY3360" fmla="*/ 733659 h 1328132"/>
                <a:gd name="connsiteX3361" fmla="*/ 1240125 w 1381764"/>
                <a:gd name="connsiteY3361" fmla="*/ 731591 h 1328132"/>
                <a:gd name="connsiteX3362" fmla="*/ 1241030 w 1381764"/>
                <a:gd name="connsiteY3362" fmla="*/ 730686 h 1328132"/>
                <a:gd name="connsiteX3363" fmla="*/ 1241805 w 1381764"/>
                <a:gd name="connsiteY3363" fmla="*/ 729394 h 1328132"/>
                <a:gd name="connsiteX3364" fmla="*/ 1241805 w 1381764"/>
                <a:gd name="connsiteY3364" fmla="*/ 728619 h 1328132"/>
                <a:gd name="connsiteX3365" fmla="*/ 1241547 w 1381764"/>
                <a:gd name="connsiteY3365" fmla="*/ 727843 h 1328132"/>
                <a:gd name="connsiteX3366" fmla="*/ 1241676 w 1381764"/>
                <a:gd name="connsiteY3366" fmla="*/ 726422 h 1328132"/>
                <a:gd name="connsiteX3367" fmla="*/ 1242839 w 1381764"/>
                <a:gd name="connsiteY3367" fmla="*/ 723966 h 1328132"/>
                <a:gd name="connsiteX3368" fmla="*/ 1244390 w 1381764"/>
                <a:gd name="connsiteY3368" fmla="*/ 722028 h 1328132"/>
                <a:gd name="connsiteX3369" fmla="*/ 1245036 w 1381764"/>
                <a:gd name="connsiteY3369" fmla="*/ 720089 h 1328132"/>
                <a:gd name="connsiteX3370" fmla="*/ 1243873 w 1381764"/>
                <a:gd name="connsiteY3370" fmla="*/ 717763 h 1328132"/>
                <a:gd name="connsiteX3371" fmla="*/ 1245294 w 1381764"/>
                <a:gd name="connsiteY3371" fmla="*/ 717763 h 1328132"/>
                <a:gd name="connsiteX3372" fmla="*/ 1245165 w 1381764"/>
                <a:gd name="connsiteY3372" fmla="*/ 716083 h 1328132"/>
                <a:gd name="connsiteX3373" fmla="*/ 1245553 w 1381764"/>
                <a:gd name="connsiteY3373" fmla="*/ 713627 h 1328132"/>
                <a:gd name="connsiteX3374" fmla="*/ 1246328 w 1381764"/>
                <a:gd name="connsiteY3374" fmla="*/ 711172 h 1328132"/>
                <a:gd name="connsiteX3375" fmla="*/ 1247491 w 1381764"/>
                <a:gd name="connsiteY3375" fmla="*/ 709492 h 1328132"/>
                <a:gd name="connsiteX3376" fmla="*/ 1248008 w 1381764"/>
                <a:gd name="connsiteY3376" fmla="*/ 710009 h 1328132"/>
                <a:gd name="connsiteX3377" fmla="*/ 1249688 w 1381764"/>
                <a:gd name="connsiteY3377" fmla="*/ 711043 h 1328132"/>
                <a:gd name="connsiteX3378" fmla="*/ 1249947 w 1381764"/>
                <a:gd name="connsiteY3378" fmla="*/ 709492 h 1328132"/>
                <a:gd name="connsiteX3379" fmla="*/ 1250593 w 1381764"/>
                <a:gd name="connsiteY3379" fmla="*/ 708200 h 1328132"/>
                <a:gd name="connsiteX3380" fmla="*/ 1251498 w 1381764"/>
                <a:gd name="connsiteY3380" fmla="*/ 707553 h 1328132"/>
                <a:gd name="connsiteX3381" fmla="*/ 1252661 w 1381764"/>
                <a:gd name="connsiteY3381" fmla="*/ 708070 h 1328132"/>
                <a:gd name="connsiteX3382" fmla="*/ 1259252 w 1381764"/>
                <a:gd name="connsiteY3382" fmla="*/ 702255 h 1328132"/>
                <a:gd name="connsiteX3383" fmla="*/ 1261319 w 1381764"/>
                <a:gd name="connsiteY3383" fmla="*/ 698895 h 1328132"/>
                <a:gd name="connsiteX3384" fmla="*/ 1263904 w 1381764"/>
                <a:gd name="connsiteY3384" fmla="*/ 696052 h 1328132"/>
                <a:gd name="connsiteX3385" fmla="*/ 1265455 w 1381764"/>
                <a:gd name="connsiteY3385" fmla="*/ 694759 h 1328132"/>
                <a:gd name="connsiteX3386" fmla="*/ 1268556 w 1381764"/>
                <a:gd name="connsiteY3386" fmla="*/ 693079 h 1328132"/>
                <a:gd name="connsiteX3387" fmla="*/ 1270107 w 1381764"/>
                <a:gd name="connsiteY3387" fmla="*/ 691916 h 1328132"/>
                <a:gd name="connsiteX3388" fmla="*/ 1272304 w 1381764"/>
                <a:gd name="connsiteY3388" fmla="*/ 689073 h 1328132"/>
                <a:gd name="connsiteX3389" fmla="*/ 1273726 w 1381764"/>
                <a:gd name="connsiteY3389" fmla="*/ 685325 h 1328132"/>
                <a:gd name="connsiteX3390" fmla="*/ 1274889 w 1381764"/>
                <a:gd name="connsiteY3390" fmla="*/ 675762 h 1328132"/>
                <a:gd name="connsiteX3391" fmla="*/ 1275793 w 1381764"/>
                <a:gd name="connsiteY3391" fmla="*/ 672531 h 1328132"/>
                <a:gd name="connsiteX3392" fmla="*/ 1276052 w 1381764"/>
                <a:gd name="connsiteY3392" fmla="*/ 670722 h 1328132"/>
                <a:gd name="connsiteX3393" fmla="*/ 1275923 w 1381764"/>
                <a:gd name="connsiteY3393" fmla="*/ 669817 h 1328132"/>
                <a:gd name="connsiteX3394" fmla="*/ 1275406 w 1381764"/>
                <a:gd name="connsiteY3394" fmla="*/ 668137 h 1328132"/>
                <a:gd name="connsiteX3395" fmla="*/ 1275276 w 1381764"/>
                <a:gd name="connsiteY3395" fmla="*/ 667362 h 1328132"/>
                <a:gd name="connsiteX3396" fmla="*/ 1275535 w 1381764"/>
                <a:gd name="connsiteY3396" fmla="*/ 666586 h 1328132"/>
                <a:gd name="connsiteX3397" fmla="*/ 1276569 w 1381764"/>
                <a:gd name="connsiteY3397" fmla="*/ 665423 h 1328132"/>
                <a:gd name="connsiteX3398" fmla="*/ 1276827 w 1381764"/>
                <a:gd name="connsiteY3398" fmla="*/ 664519 h 1328132"/>
                <a:gd name="connsiteX3399" fmla="*/ 1276698 w 1381764"/>
                <a:gd name="connsiteY3399" fmla="*/ 662063 h 1328132"/>
                <a:gd name="connsiteX3400" fmla="*/ 1276827 w 1381764"/>
                <a:gd name="connsiteY3400" fmla="*/ 661288 h 1328132"/>
                <a:gd name="connsiteX3401" fmla="*/ 1276957 w 1381764"/>
                <a:gd name="connsiteY3401" fmla="*/ 661417 h 1328132"/>
                <a:gd name="connsiteX3402" fmla="*/ 1277344 w 1381764"/>
                <a:gd name="connsiteY3402" fmla="*/ 661029 h 1328132"/>
                <a:gd name="connsiteX3403" fmla="*/ 1277861 w 1381764"/>
                <a:gd name="connsiteY3403" fmla="*/ 660254 h 1328132"/>
                <a:gd name="connsiteX3404" fmla="*/ 1278249 w 1381764"/>
                <a:gd name="connsiteY3404" fmla="*/ 659608 h 1328132"/>
                <a:gd name="connsiteX3405" fmla="*/ 1277990 w 1381764"/>
                <a:gd name="connsiteY3405" fmla="*/ 659220 h 1328132"/>
                <a:gd name="connsiteX3406" fmla="*/ 1277603 w 1381764"/>
                <a:gd name="connsiteY3406" fmla="*/ 658832 h 1328132"/>
                <a:gd name="connsiteX3407" fmla="*/ 1277474 w 1381764"/>
                <a:gd name="connsiteY3407" fmla="*/ 658445 h 1328132"/>
                <a:gd name="connsiteX3408" fmla="*/ 1277603 w 1381764"/>
                <a:gd name="connsiteY3408" fmla="*/ 657282 h 1328132"/>
                <a:gd name="connsiteX3409" fmla="*/ 1277474 w 1381764"/>
                <a:gd name="connsiteY3409" fmla="*/ 656765 h 1328132"/>
                <a:gd name="connsiteX3410" fmla="*/ 1277474 w 1381764"/>
                <a:gd name="connsiteY3410" fmla="*/ 656377 h 1328132"/>
                <a:gd name="connsiteX3411" fmla="*/ 1278249 w 1381764"/>
                <a:gd name="connsiteY3411" fmla="*/ 655343 h 1328132"/>
                <a:gd name="connsiteX3412" fmla="*/ 1278766 w 1381764"/>
                <a:gd name="connsiteY3412" fmla="*/ 655085 h 1328132"/>
                <a:gd name="connsiteX3413" fmla="*/ 1280575 w 1381764"/>
                <a:gd name="connsiteY3413" fmla="*/ 654826 h 1328132"/>
                <a:gd name="connsiteX3414" fmla="*/ 1281092 w 1381764"/>
                <a:gd name="connsiteY3414" fmla="*/ 654697 h 1328132"/>
                <a:gd name="connsiteX3415" fmla="*/ 1280963 w 1381764"/>
                <a:gd name="connsiteY3415" fmla="*/ 653405 h 1328132"/>
                <a:gd name="connsiteX3416" fmla="*/ 1281867 w 1381764"/>
                <a:gd name="connsiteY3416" fmla="*/ 652758 h 1328132"/>
                <a:gd name="connsiteX3417" fmla="*/ 1283160 w 1381764"/>
                <a:gd name="connsiteY3417" fmla="*/ 652371 h 1328132"/>
                <a:gd name="connsiteX3418" fmla="*/ 1284064 w 1381764"/>
                <a:gd name="connsiteY3418" fmla="*/ 651854 h 1328132"/>
                <a:gd name="connsiteX3419" fmla="*/ 1284323 w 1381764"/>
                <a:gd name="connsiteY3419" fmla="*/ 650562 h 1328132"/>
                <a:gd name="connsiteX3420" fmla="*/ 1284064 w 1381764"/>
                <a:gd name="connsiteY3420" fmla="*/ 649398 h 1328132"/>
                <a:gd name="connsiteX3421" fmla="*/ 1284194 w 1381764"/>
                <a:gd name="connsiteY3421" fmla="*/ 648494 h 1328132"/>
                <a:gd name="connsiteX3422" fmla="*/ 1285486 w 1381764"/>
                <a:gd name="connsiteY3422" fmla="*/ 648106 h 1328132"/>
                <a:gd name="connsiteX3423" fmla="*/ 1285227 w 1381764"/>
                <a:gd name="connsiteY3423" fmla="*/ 647072 h 1328132"/>
                <a:gd name="connsiteX3424" fmla="*/ 1285615 w 1381764"/>
                <a:gd name="connsiteY3424" fmla="*/ 645780 h 1328132"/>
                <a:gd name="connsiteX3425" fmla="*/ 1287037 w 1381764"/>
                <a:gd name="connsiteY3425" fmla="*/ 643066 h 1328132"/>
                <a:gd name="connsiteX3426" fmla="*/ 1286520 w 1381764"/>
                <a:gd name="connsiteY3426" fmla="*/ 642291 h 1328132"/>
                <a:gd name="connsiteX3427" fmla="*/ 1286261 w 1381764"/>
                <a:gd name="connsiteY3427" fmla="*/ 641257 h 1328132"/>
                <a:gd name="connsiteX3428" fmla="*/ 1286261 w 1381764"/>
                <a:gd name="connsiteY3428" fmla="*/ 639060 h 1328132"/>
                <a:gd name="connsiteX3429" fmla="*/ 1286649 w 1381764"/>
                <a:gd name="connsiteY3429" fmla="*/ 638155 h 1328132"/>
                <a:gd name="connsiteX3430" fmla="*/ 1288200 w 1381764"/>
                <a:gd name="connsiteY3430" fmla="*/ 636992 h 1328132"/>
                <a:gd name="connsiteX3431" fmla="*/ 1288588 w 1381764"/>
                <a:gd name="connsiteY3431" fmla="*/ 636217 h 1328132"/>
                <a:gd name="connsiteX3432" fmla="*/ 1289105 w 1381764"/>
                <a:gd name="connsiteY3432" fmla="*/ 636346 h 1328132"/>
                <a:gd name="connsiteX3433" fmla="*/ 1290268 w 1381764"/>
                <a:gd name="connsiteY3433" fmla="*/ 635312 h 1328132"/>
                <a:gd name="connsiteX3434" fmla="*/ 1291948 w 1381764"/>
                <a:gd name="connsiteY3434" fmla="*/ 633373 h 1328132"/>
                <a:gd name="connsiteX3435" fmla="*/ 1293886 w 1381764"/>
                <a:gd name="connsiteY3435" fmla="*/ 631952 h 1328132"/>
                <a:gd name="connsiteX3436" fmla="*/ 1295049 w 1381764"/>
                <a:gd name="connsiteY3436" fmla="*/ 631306 h 1328132"/>
                <a:gd name="connsiteX3437" fmla="*/ 1295695 w 1381764"/>
                <a:gd name="connsiteY3437" fmla="*/ 631176 h 1328132"/>
                <a:gd name="connsiteX3438" fmla="*/ 1296471 w 1381764"/>
                <a:gd name="connsiteY3438" fmla="*/ 631435 h 1328132"/>
                <a:gd name="connsiteX3439" fmla="*/ 1297634 w 1381764"/>
                <a:gd name="connsiteY3439" fmla="*/ 631435 h 1328132"/>
                <a:gd name="connsiteX3440" fmla="*/ 1298926 w 1381764"/>
                <a:gd name="connsiteY3440" fmla="*/ 631176 h 1328132"/>
                <a:gd name="connsiteX3441" fmla="*/ 1299702 w 1381764"/>
                <a:gd name="connsiteY3441" fmla="*/ 630918 h 1328132"/>
                <a:gd name="connsiteX3442" fmla="*/ 1300348 w 1381764"/>
                <a:gd name="connsiteY3442" fmla="*/ 630013 h 1328132"/>
                <a:gd name="connsiteX3443" fmla="*/ 1300735 w 1381764"/>
                <a:gd name="connsiteY3443" fmla="*/ 627687 h 1328132"/>
                <a:gd name="connsiteX3444" fmla="*/ 1301123 w 1381764"/>
                <a:gd name="connsiteY3444" fmla="*/ 626395 h 1328132"/>
                <a:gd name="connsiteX3445" fmla="*/ 1301899 w 1381764"/>
                <a:gd name="connsiteY3445" fmla="*/ 625490 h 1328132"/>
                <a:gd name="connsiteX3446" fmla="*/ 1303837 w 1381764"/>
                <a:gd name="connsiteY3446" fmla="*/ 624327 h 1328132"/>
                <a:gd name="connsiteX3447" fmla="*/ 1304871 w 1381764"/>
                <a:gd name="connsiteY3447" fmla="*/ 623552 h 1328132"/>
                <a:gd name="connsiteX3448" fmla="*/ 1305000 w 1381764"/>
                <a:gd name="connsiteY3448" fmla="*/ 623035 h 1328132"/>
                <a:gd name="connsiteX3449" fmla="*/ 1304871 w 1381764"/>
                <a:gd name="connsiteY3449" fmla="*/ 622259 h 1328132"/>
                <a:gd name="connsiteX3450" fmla="*/ 1304871 w 1381764"/>
                <a:gd name="connsiteY3450" fmla="*/ 621613 h 1328132"/>
                <a:gd name="connsiteX3451" fmla="*/ 1305259 w 1381764"/>
                <a:gd name="connsiteY3451" fmla="*/ 621355 h 1328132"/>
                <a:gd name="connsiteX3452" fmla="*/ 1306163 w 1381764"/>
                <a:gd name="connsiteY3452" fmla="*/ 621226 h 1328132"/>
                <a:gd name="connsiteX3453" fmla="*/ 1306551 w 1381764"/>
                <a:gd name="connsiteY3453" fmla="*/ 620967 h 1328132"/>
                <a:gd name="connsiteX3454" fmla="*/ 1306809 w 1381764"/>
                <a:gd name="connsiteY3454" fmla="*/ 620450 h 1328132"/>
                <a:gd name="connsiteX3455" fmla="*/ 1307197 w 1381764"/>
                <a:gd name="connsiteY3455" fmla="*/ 619933 h 1328132"/>
                <a:gd name="connsiteX3456" fmla="*/ 1306034 w 1381764"/>
                <a:gd name="connsiteY3456" fmla="*/ 619675 h 1328132"/>
                <a:gd name="connsiteX3457" fmla="*/ 1306163 w 1381764"/>
                <a:gd name="connsiteY3457" fmla="*/ 619158 h 1328132"/>
                <a:gd name="connsiteX3458" fmla="*/ 1306293 w 1381764"/>
                <a:gd name="connsiteY3458" fmla="*/ 618253 h 1328132"/>
                <a:gd name="connsiteX3459" fmla="*/ 1306809 w 1381764"/>
                <a:gd name="connsiteY3459" fmla="*/ 617219 h 1328132"/>
                <a:gd name="connsiteX3460" fmla="*/ 1309006 w 1381764"/>
                <a:gd name="connsiteY3460" fmla="*/ 616832 h 1328132"/>
                <a:gd name="connsiteX3461" fmla="*/ 1311074 w 1381764"/>
                <a:gd name="connsiteY3461" fmla="*/ 615022 h 1328132"/>
                <a:gd name="connsiteX3462" fmla="*/ 1311720 w 1381764"/>
                <a:gd name="connsiteY3462" fmla="*/ 613213 h 1328132"/>
                <a:gd name="connsiteX3463" fmla="*/ 1309782 w 1381764"/>
                <a:gd name="connsiteY3463" fmla="*/ 612955 h 1328132"/>
                <a:gd name="connsiteX3464" fmla="*/ 1309782 w 1381764"/>
                <a:gd name="connsiteY3464" fmla="*/ 612179 h 1328132"/>
                <a:gd name="connsiteX3465" fmla="*/ 1311333 w 1381764"/>
                <a:gd name="connsiteY3465" fmla="*/ 611404 h 1328132"/>
                <a:gd name="connsiteX3466" fmla="*/ 1310557 w 1381764"/>
                <a:gd name="connsiteY3466" fmla="*/ 611404 h 1328132"/>
                <a:gd name="connsiteX3467" fmla="*/ 1311462 w 1381764"/>
                <a:gd name="connsiteY3467" fmla="*/ 610887 h 1328132"/>
                <a:gd name="connsiteX3468" fmla="*/ 1312237 w 1381764"/>
                <a:gd name="connsiteY3468" fmla="*/ 610887 h 1328132"/>
                <a:gd name="connsiteX3469" fmla="*/ 1312883 w 1381764"/>
                <a:gd name="connsiteY3469" fmla="*/ 611275 h 1328132"/>
                <a:gd name="connsiteX3470" fmla="*/ 1313400 w 1381764"/>
                <a:gd name="connsiteY3470" fmla="*/ 612179 h 1328132"/>
                <a:gd name="connsiteX3471" fmla="*/ 1314176 w 1381764"/>
                <a:gd name="connsiteY3471" fmla="*/ 610370 h 1328132"/>
                <a:gd name="connsiteX3472" fmla="*/ 1317019 w 1381764"/>
                <a:gd name="connsiteY3472" fmla="*/ 606234 h 1328132"/>
                <a:gd name="connsiteX3473" fmla="*/ 1318182 w 1381764"/>
                <a:gd name="connsiteY3473" fmla="*/ 598739 h 1328132"/>
                <a:gd name="connsiteX3474" fmla="*/ 1318828 w 1381764"/>
                <a:gd name="connsiteY3474" fmla="*/ 597447 h 1328132"/>
                <a:gd name="connsiteX3475" fmla="*/ 1319604 w 1381764"/>
                <a:gd name="connsiteY3475" fmla="*/ 597188 h 1328132"/>
                <a:gd name="connsiteX3476" fmla="*/ 1319991 w 1381764"/>
                <a:gd name="connsiteY3476" fmla="*/ 596671 h 1328132"/>
                <a:gd name="connsiteX3477" fmla="*/ 1320250 w 1381764"/>
                <a:gd name="connsiteY3477" fmla="*/ 595767 h 1328132"/>
                <a:gd name="connsiteX3478" fmla="*/ 1320250 w 1381764"/>
                <a:gd name="connsiteY3478" fmla="*/ 594733 h 1328132"/>
                <a:gd name="connsiteX3479" fmla="*/ 1318828 w 1381764"/>
                <a:gd name="connsiteY3479" fmla="*/ 586849 h 1328132"/>
                <a:gd name="connsiteX3480" fmla="*/ 1319216 w 1381764"/>
                <a:gd name="connsiteY3480" fmla="*/ 584652 h 1328132"/>
                <a:gd name="connsiteX3481" fmla="*/ 1322059 w 1381764"/>
                <a:gd name="connsiteY3481" fmla="*/ 585816 h 1328132"/>
                <a:gd name="connsiteX3482" fmla="*/ 1321542 w 1381764"/>
                <a:gd name="connsiteY3482" fmla="*/ 584265 h 1328132"/>
                <a:gd name="connsiteX3483" fmla="*/ 1321671 w 1381764"/>
                <a:gd name="connsiteY3483" fmla="*/ 583360 h 1328132"/>
                <a:gd name="connsiteX3484" fmla="*/ 1322188 w 1381764"/>
                <a:gd name="connsiteY3484" fmla="*/ 582714 h 1328132"/>
                <a:gd name="connsiteX3485" fmla="*/ 1323093 w 1381764"/>
                <a:gd name="connsiteY3485" fmla="*/ 581809 h 1328132"/>
                <a:gd name="connsiteX3486" fmla="*/ 1323868 w 1381764"/>
                <a:gd name="connsiteY3486" fmla="*/ 581292 h 1328132"/>
                <a:gd name="connsiteX3487" fmla="*/ 1325290 w 1381764"/>
                <a:gd name="connsiteY3487" fmla="*/ 580646 h 1328132"/>
                <a:gd name="connsiteX3488" fmla="*/ 1326582 w 1381764"/>
                <a:gd name="connsiteY3488" fmla="*/ 580258 h 1328132"/>
                <a:gd name="connsiteX3489" fmla="*/ 1327099 w 1381764"/>
                <a:gd name="connsiteY3489" fmla="*/ 580517 h 1328132"/>
                <a:gd name="connsiteX3490" fmla="*/ 1326712 w 1381764"/>
                <a:gd name="connsiteY3490" fmla="*/ 579612 h 1328132"/>
                <a:gd name="connsiteX3491" fmla="*/ 1325936 w 1381764"/>
                <a:gd name="connsiteY3491" fmla="*/ 579354 h 1328132"/>
                <a:gd name="connsiteX3492" fmla="*/ 1324902 w 1381764"/>
                <a:gd name="connsiteY3492" fmla="*/ 579225 h 1328132"/>
                <a:gd name="connsiteX3493" fmla="*/ 1324127 w 1381764"/>
                <a:gd name="connsiteY3493" fmla="*/ 578708 h 1328132"/>
                <a:gd name="connsiteX3494" fmla="*/ 1323868 w 1381764"/>
                <a:gd name="connsiteY3494" fmla="*/ 577415 h 1328132"/>
                <a:gd name="connsiteX3495" fmla="*/ 1323868 w 1381764"/>
                <a:gd name="connsiteY3495" fmla="*/ 575994 h 1328132"/>
                <a:gd name="connsiteX3496" fmla="*/ 1323481 w 1381764"/>
                <a:gd name="connsiteY3496" fmla="*/ 575089 h 1328132"/>
                <a:gd name="connsiteX3497" fmla="*/ 1321930 w 1381764"/>
                <a:gd name="connsiteY3497" fmla="*/ 575735 h 1328132"/>
                <a:gd name="connsiteX3498" fmla="*/ 1316760 w 1381764"/>
                <a:gd name="connsiteY3498" fmla="*/ 568498 h 1328132"/>
                <a:gd name="connsiteX3499" fmla="*/ 1317536 w 1381764"/>
                <a:gd name="connsiteY3499" fmla="*/ 566043 h 1328132"/>
                <a:gd name="connsiteX3500" fmla="*/ 1321671 w 1381764"/>
                <a:gd name="connsiteY3500" fmla="*/ 562295 h 1328132"/>
                <a:gd name="connsiteX3501" fmla="*/ 1322576 w 1381764"/>
                <a:gd name="connsiteY3501" fmla="*/ 559581 h 1328132"/>
                <a:gd name="connsiteX3502" fmla="*/ 1323610 w 1381764"/>
                <a:gd name="connsiteY3502" fmla="*/ 560486 h 1328132"/>
                <a:gd name="connsiteX3503" fmla="*/ 1324256 w 1381764"/>
                <a:gd name="connsiteY3503" fmla="*/ 560486 h 1328132"/>
                <a:gd name="connsiteX3504" fmla="*/ 1324773 w 1381764"/>
                <a:gd name="connsiteY3504" fmla="*/ 559969 h 1328132"/>
                <a:gd name="connsiteX3505" fmla="*/ 1327616 w 1381764"/>
                <a:gd name="connsiteY3505" fmla="*/ 558160 h 1328132"/>
                <a:gd name="connsiteX3506" fmla="*/ 1328133 w 1381764"/>
                <a:gd name="connsiteY3506" fmla="*/ 558030 h 1328132"/>
                <a:gd name="connsiteX3507" fmla="*/ 1329296 w 1381764"/>
                <a:gd name="connsiteY3507" fmla="*/ 558160 h 1328132"/>
                <a:gd name="connsiteX3508" fmla="*/ 1329813 w 1381764"/>
                <a:gd name="connsiteY3508" fmla="*/ 558030 h 1328132"/>
                <a:gd name="connsiteX3509" fmla="*/ 1331881 w 1381764"/>
                <a:gd name="connsiteY3509" fmla="*/ 556867 h 1328132"/>
                <a:gd name="connsiteX3510" fmla="*/ 1332656 w 1381764"/>
                <a:gd name="connsiteY3510" fmla="*/ 556221 h 1328132"/>
                <a:gd name="connsiteX3511" fmla="*/ 1333561 w 1381764"/>
                <a:gd name="connsiteY3511" fmla="*/ 555187 h 1328132"/>
                <a:gd name="connsiteX3512" fmla="*/ 1335241 w 1381764"/>
                <a:gd name="connsiteY3512" fmla="*/ 551310 h 1328132"/>
                <a:gd name="connsiteX3513" fmla="*/ 1335370 w 1381764"/>
                <a:gd name="connsiteY3513" fmla="*/ 550664 h 1328132"/>
                <a:gd name="connsiteX3514" fmla="*/ 1334982 w 1381764"/>
                <a:gd name="connsiteY3514" fmla="*/ 550276 h 1328132"/>
                <a:gd name="connsiteX3515" fmla="*/ 1335112 w 1381764"/>
                <a:gd name="connsiteY3515" fmla="*/ 549242 h 1328132"/>
                <a:gd name="connsiteX3516" fmla="*/ 1335629 w 1381764"/>
                <a:gd name="connsiteY3516" fmla="*/ 548209 h 1328132"/>
                <a:gd name="connsiteX3517" fmla="*/ 1336146 w 1381764"/>
                <a:gd name="connsiteY3517" fmla="*/ 547821 h 1328132"/>
                <a:gd name="connsiteX3518" fmla="*/ 1338601 w 1381764"/>
                <a:gd name="connsiteY3518" fmla="*/ 547692 h 1328132"/>
                <a:gd name="connsiteX3519" fmla="*/ 1339893 w 1381764"/>
                <a:gd name="connsiteY3519" fmla="*/ 547433 h 1328132"/>
                <a:gd name="connsiteX3520" fmla="*/ 1340927 w 1381764"/>
                <a:gd name="connsiteY3520" fmla="*/ 547045 h 1328132"/>
                <a:gd name="connsiteX3521" fmla="*/ 1341961 w 1381764"/>
                <a:gd name="connsiteY3521" fmla="*/ 545753 h 1328132"/>
                <a:gd name="connsiteX3522" fmla="*/ 1342349 w 1381764"/>
                <a:gd name="connsiteY3522" fmla="*/ 543944 h 1328132"/>
                <a:gd name="connsiteX3523" fmla="*/ 1342349 w 1381764"/>
                <a:gd name="connsiteY3523" fmla="*/ 540067 h 1328132"/>
                <a:gd name="connsiteX3524" fmla="*/ 1341573 w 1381764"/>
                <a:gd name="connsiteY3524" fmla="*/ 535673 h 1328132"/>
                <a:gd name="connsiteX3525" fmla="*/ 1341573 w 1381764"/>
                <a:gd name="connsiteY3525" fmla="*/ 533347 h 1328132"/>
                <a:gd name="connsiteX3526" fmla="*/ 1342607 w 1381764"/>
                <a:gd name="connsiteY3526" fmla="*/ 532313 h 1328132"/>
                <a:gd name="connsiteX3527" fmla="*/ 1343124 w 1381764"/>
                <a:gd name="connsiteY3527" fmla="*/ 532054 h 1328132"/>
                <a:gd name="connsiteX3528" fmla="*/ 1343770 w 1381764"/>
                <a:gd name="connsiteY3528" fmla="*/ 531408 h 1328132"/>
                <a:gd name="connsiteX3529" fmla="*/ 1344287 w 1381764"/>
                <a:gd name="connsiteY3529" fmla="*/ 530504 h 1328132"/>
                <a:gd name="connsiteX3530" fmla="*/ 1344546 w 1381764"/>
                <a:gd name="connsiteY3530" fmla="*/ 529728 h 1328132"/>
                <a:gd name="connsiteX3531" fmla="*/ 1344287 w 1381764"/>
                <a:gd name="connsiteY3531" fmla="*/ 528048 h 1328132"/>
                <a:gd name="connsiteX3532" fmla="*/ 1343641 w 1381764"/>
                <a:gd name="connsiteY3532" fmla="*/ 528177 h 1328132"/>
                <a:gd name="connsiteX3533" fmla="*/ 1342736 w 1381764"/>
                <a:gd name="connsiteY3533" fmla="*/ 528953 h 1328132"/>
                <a:gd name="connsiteX3534" fmla="*/ 1341703 w 1381764"/>
                <a:gd name="connsiteY3534" fmla="*/ 529470 h 1328132"/>
                <a:gd name="connsiteX3535" fmla="*/ 1340539 w 1381764"/>
                <a:gd name="connsiteY3535" fmla="*/ 529599 h 1328132"/>
                <a:gd name="connsiteX3536" fmla="*/ 1339764 w 1381764"/>
                <a:gd name="connsiteY3536" fmla="*/ 529728 h 1328132"/>
                <a:gd name="connsiteX3537" fmla="*/ 1339635 w 1381764"/>
                <a:gd name="connsiteY3537" fmla="*/ 529340 h 1328132"/>
                <a:gd name="connsiteX3538" fmla="*/ 1340152 w 1381764"/>
                <a:gd name="connsiteY3538" fmla="*/ 527919 h 1328132"/>
                <a:gd name="connsiteX3539" fmla="*/ 1343641 w 1381764"/>
                <a:gd name="connsiteY3539" fmla="*/ 524171 h 1328132"/>
                <a:gd name="connsiteX3540" fmla="*/ 1343253 w 1381764"/>
                <a:gd name="connsiteY3540" fmla="*/ 522491 h 1328132"/>
                <a:gd name="connsiteX3541" fmla="*/ 1344029 w 1381764"/>
                <a:gd name="connsiteY3541" fmla="*/ 520165 h 1328132"/>
                <a:gd name="connsiteX3542" fmla="*/ 1344287 w 1381764"/>
                <a:gd name="connsiteY3542" fmla="*/ 517709 h 1328132"/>
                <a:gd name="connsiteX3543" fmla="*/ 1342349 w 1381764"/>
                <a:gd name="connsiteY3543" fmla="*/ 516288 h 1328132"/>
                <a:gd name="connsiteX3544" fmla="*/ 1342349 w 1381764"/>
                <a:gd name="connsiteY3544" fmla="*/ 515771 h 1328132"/>
                <a:gd name="connsiteX3545" fmla="*/ 1344029 w 1381764"/>
                <a:gd name="connsiteY3545" fmla="*/ 515125 h 1328132"/>
                <a:gd name="connsiteX3546" fmla="*/ 1345063 w 1381764"/>
                <a:gd name="connsiteY3546" fmla="*/ 515512 h 1328132"/>
                <a:gd name="connsiteX3547" fmla="*/ 1346097 w 1381764"/>
                <a:gd name="connsiteY3547" fmla="*/ 516159 h 1328132"/>
                <a:gd name="connsiteX3548" fmla="*/ 1347647 w 1381764"/>
                <a:gd name="connsiteY3548" fmla="*/ 516546 h 1328132"/>
                <a:gd name="connsiteX3549" fmla="*/ 1348552 w 1381764"/>
                <a:gd name="connsiteY3549" fmla="*/ 516159 h 1328132"/>
                <a:gd name="connsiteX3550" fmla="*/ 1350103 w 1381764"/>
                <a:gd name="connsiteY3550" fmla="*/ 514220 h 1328132"/>
                <a:gd name="connsiteX3551" fmla="*/ 1351007 w 1381764"/>
                <a:gd name="connsiteY3551" fmla="*/ 513445 h 1328132"/>
                <a:gd name="connsiteX3552" fmla="*/ 1350232 w 1381764"/>
                <a:gd name="connsiteY3552" fmla="*/ 513445 h 1328132"/>
                <a:gd name="connsiteX3553" fmla="*/ 1353075 w 1381764"/>
                <a:gd name="connsiteY3553" fmla="*/ 511506 h 1328132"/>
                <a:gd name="connsiteX3554" fmla="*/ 1355789 w 1381764"/>
                <a:gd name="connsiteY3554" fmla="*/ 508405 h 1328132"/>
                <a:gd name="connsiteX3555" fmla="*/ 1357857 w 1381764"/>
                <a:gd name="connsiteY3555" fmla="*/ 504528 h 1328132"/>
                <a:gd name="connsiteX3556" fmla="*/ 1360183 w 1381764"/>
                <a:gd name="connsiteY3556" fmla="*/ 495481 h 1328132"/>
                <a:gd name="connsiteX3557" fmla="*/ 1363801 w 1381764"/>
                <a:gd name="connsiteY3557" fmla="*/ 486693 h 1328132"/>
                <a:gd name="connsiteX3558" fmla="*/ 1364835 w 1381764"/>
                <a:gd name="connsiteY3558" fmla="*/ 482041 h 1328132"/>
                <a:gd name="connsiteX3559" fmla="*/ 1364835 w 1381764"/>
                <a:gd name="connsiteY3559" fmla="*/ 477647 h 1328132"/>
                <a:gd name="connsiteX3560" fmla="*/ 1364706 w 1381764"/>
                <a:gd name="connsiteY3560" fmla="*/ 477130 h 1328132"/>
                <a:gd name="connsiteX3561" fmla="*/ 1364189 w 1381764"/>
                <a:gd name="connsiteY3561" fmla="*/ 476096 h 1328132"/>
                <a:gd name="connsiteX3562" fmla="*/ 1364060 w 1381764"/>
                <a:gd name="connsiteY3562" fmla="*/ 475450 h 1328132"/>
                <a:gd name="connsiteX3563" fmla="*/ 1364319 w 1381764"/>
                <a:gd name="connsiteY3563" fmla="*/ 474675 h 1328132"/>
                <a:gd name="connsiteX3564" fmla="*/ 1365352 w 1381764"/>
                <a:gd name="connsiteY3564" fmla="*/ 473512 h 1328132"/>
                <a:gd name="connsiteX3565" fmla="*/ 1365611 w 1381764"/>
                <a:gd name="connsiteY3565" fmla="*/ 472865 h 1328132"/>
                <a:gd name="connsiteX3566" fmla="*/ 1365482 w 1381764"/>
                <a:gd name="connsiteY3566" fmla="*/ 470668 h 1328132"/>
                <a:gd name="connsiteX3567" fmla="*/ 1364835 w 1381764"/>
                <a:gd name="connsiteY3567" fmla="*/ 468988 h 1328132"/>
                <a:gd name="connsiteX3568" fmla="*/ 1363414 w 1381764"/>
                <a:gd name="connsiteY3568" fmla="*/ 467955 h 1328132"/>
                <a:gd name="connsiteX3569" fmla="*/ 1361217 w 1381764"/>
                <a:gd name="connsiteY3569" fmla="*/ 467567 h 1328132"/>
                <a:gd name="connsiteX3570" fmla="*/ 1357081 w 1381764"/>
                <a:gd name="connsiteY3570" fmla="*/ 468730 h 1328132"/>
                <a:gd name="connsiteX3571" fmla="*/ 1355272 w 1381764"/>
                <a:gd name="connsiteY3571" fmla="*/ 468601 h 1328132"/>
                <a:gd name="connsiteX3572" fmla="*/ 1354497 w 1381764"/>
                <a:gd name="connsiteY3572" fmla="*/ 466404 h 1328132"/>
                <a:gd name="connsiteX3573" fmla="*/ 1353721 w 1381764"/>
                <a:gd name="connsiteY3573" fmla="*/ 462010 h 1328132"/>
                <a:gd name="connsiteX3574" fmla="*/ 1354109 w 1381764"/>
                <a:gd name="connsiteY3574" fmla="*/ 460976 h 1328132"/>
                <a:gd name="connsiteX3575" fmla="*/ 1355014 w 1381764"/>
                <a:gd name="connsiteY3575" fmla="*/ 460717 h 1328132"/>
                <a:gd name="connsiteX3576" fmla="*/ 1357469 w 1381764"/>
                <a:gd name="connsiteY3576" fmla="*/ 460847 h 1328132"/>
                <a:gd name="connsiteX3577" fmla="*/ 1361863 w 1381764"/>
                <a:gd name="connsiteY3577" fmla="*/ 460201 h 1328132"/>
                <a:gd name="connsiteX3578" fmla="*/ 1363414 w 1381764"/>
                <a:gd name="connsiteY3578" fmla="*/ 459296 h 1328132"/>
                <a:gd name="connsiteX3579" fmla="*/ 1364060 w 1381764"/>
                <a:gd name="connsiteY3579" fmla="*/ 457616 h 1328132"/>
                <a:gd name="connsiteX3580" fmla="*/ 1364448 w 1381764"/>
                <a:gd name="connsiteY3580" fmla="*/ 456711 h 1328132"/>
                <a:gd name="connsiteX3581" fmla="*/ 1365869 w 1381764"/>
                <a:gd name="connsiteY3581" fmla="*/ 456065 h 1328132"/>
                <a:gd name="connsiteX3582" fmla="*/ 1366257 w 1381764"/>
                <a:gd name="connsiteY3582" fmla="*/ 455419 h 1328132"/>
                <a:gd name="connsiteX3583" fmla="*/ 1366257 w 1381764"/>
                <a:gd name="connsiteY3583" fmla="*/ 450637 h 1328132"/>
                <a:gd name="connsiteX3584" fmla="*/ 1365998 w 1381764"/>
                <a:gd name="connsiteY3584" fmla="*/ 449216 h 1328132"/>
                <a:gd name="connsiteX3585" fmla="*/ 1365998 w 1381764"/>
                <a:gd name="connsiteY3585" fmla="*/ 448182 h 1328132"/>
                <a:gd name="connsiteX3586" fmla="*/ 1366257 w 1381764"/>
                <a:gd name="connsiteY3586" fmla="*/ 447019 h 1328132"/>
                <a:gd name="connsiteX3587" fmla="*/ 1366903 w 1381764"/>
                <a:gd name="connsiteY3587" fmla="*/ 446114 h 1328132"/>
                <a:gd name="connsiteX3588" fmla="*/ 1367937 w 1381764"/>
                <a:gd name="connsiteY3588" fmla="*/ 445080 h 1328132"/>
                <a:gd name="connsiteX3589" fmla="*/ 1368583 w 1381764"/>
                <a:gd name="connsiteY3589" fmla="*/ 444046 h 1328132"/>
                <a:gd name="connsiteX3590" fmla="*/ 1367420 w 1381764"/>
                <a:gd name="connsiteY3590" fmla="*/ 441332 h 1328132"/>
                <a:gd name="connsiteX3591" fmla="*/ 1366128 w 1381764"/>
                <a:gd name="connsiteY3591" fmla="*/ 434612 h 1328132"/>
                <a:gd name="connsiteX3592" fmla="*/ 1366903 w 1381764"/>
                <a:gd name="connsiteY3592" fmla="*/ 432932 h 1328132"/>
                <a:gd name="connsiteX3593" fmla="*/ 1369359 w 1381764"/>
                <a:gd name="connsiteY3593" fmla="*/ 429443 h 1328132"/>
                <a:gd name="connsiteX3594" fmla="*/ 1369875 w 1381764"/>
                <a:gd name="connsiteY3594" fmla="*/ 427117 h 1328132"/>
                <a:gd name="connsiteX3595" fmla="*/ 1370651 w 1381764"/>
                <a:gd name="connsiteY3595" fmla="*/ 424920 h 1328132"/>
                <a:gd name="connsiteX3596" fmla="*/ 1373882 w 1381764"/>
                <a:gd name="connsiteY3596" fmla="*/ 422335 h 1328132"/>
                <a:gd name="connsiteX3597" fmla="*/ 1374269 w 1381764"/>
                <a:gd name="connsiteY3597" fmla="*/ 420138 h 1328132"/>
                <a:gd name="connsiteX3598" fmla="*/ 1373494 w 1381764"/>
                <a:gd name="connsiteY3598" fmla="*/ 418975 h 1328132"/>
                <a:gd name="connsiteX3599" fmla="*/ 1370522 w 1381764"/>
                <a:gd name="connsiteY3599" fmla="*/ 416907 h 1328132"/>
                <a:gd name="connsiteX3600" fmla="*/ 1369875 w 1381764"/>
                <a:gd name="connsiteY3600" fmla="*/ 415486 h 1328132"/>
                <a:gd name="connsiteX3601" fmla="*/ 1370263 w 1381764"/>
                <a:gd name="connsiteY3601" fmla="*/ 414323 h 1328132"/>
                <a:gd name="connsiteX3602" fmla="*/ 1371039 w 1381764"/>
                <a:gd name="connsiteY3602" fmla="*/ 413547 h 1328132"/>
                <a:gd name="connsiteX3603" fmla="*/ 1371814 w 1381764"/>
                <a:gd name="connsiteY3603" fmla="*/ 413030 h 1328132"/>
                <a:gd name="connsiteX3604" fmla="*/ 1372202 w 1381764"/>
                <a:gd name="connsiteY3604" fmla="*/ 412513 h 1328132"/>
                <a:gd name="connsiteX3605" fmla="*/ 1372202 w 1381764"/>
                <a:gd name="connsiteY3605" fmla="*/ 411092 h 1328132"/>
                <a:gd name="connsiteX3606" fmla="*/ 1372331 w 1381764"/>
                <a:gd name="connsiteY3606" fmla="*/ 409929 h 1328132"/>
                <a:gd name="connsiteX3607" fmla="*/ 1372719 w 1381764"/>
                <a:gd name="connsiteY3607" fmla="*/ 408895 h 1328132"/>
                <a:gd name="connsiteX3608" fmla="*/ 1373623 w 1381764"/>
                <a:gd name="connsiteY3608" fmla="*/ 407732 h 1328132"/>
                <a:gd name="connsiteX3609" fmla="*/ 1374528 w 1381764"/>
                <a:gd name="connsiteY3609" fmla="*/ 407215 h 1328132"/>
                <a:gd name="connsiteX3610" fmla="*/ 1378793 w 1381764"/>
                <a:gd name="connsiteY3610" fmla="*/ 405664 h 1328132"/>
                <a:gd name="connsiteX3611" fmla="*/ 1377630 w 1381764"/>
                <a:gd name="connsiteY3611" fmla="*/ 404242 h 1328132"/>
                <a:gd name="connsiteX3612" fmla="*/ 1377759 w 1381764"/>
                <a:gd name="connsiteY3612" fmla="*/ 402304 h 1328132"/>
                <a:gd name="connsiteX3613" fmla="*/ 1379439 w 1381764"/>
                <a:gd name="connsiteY3613" fmla="*/ 400495 h 1328132"/>
                <a:gd name="connsiteX3614" fmla="*/ 813137 w 1381764"/>
                <a:gd name="connsiteY3614" fmla="*/ 325927 h 1328132"/>
                <a:gd name="connsiteX3615" fmla="*/ 816756 w 1381764"/>
                <a:gd name="connsiteY3615" fmla="*/ 323084 h 1328132"/>
                <a:gd name="connsiteX3616" fmla="*/ 823605 w 1381764"/>
                <a:gd name="connsiteY3616" fmla="*/ 319594 h 1328132"/>
                <a:gd name="connsiteX3617" fmla="*/ 831876 w 1381764"/>
                <a:gd name="connsiteY3617" fmla="*/ 313520 h 1328132"/>
                <a:gd name="connsiteX3618" fmla="*/ 835624 w 1381764"/>
                <a:gd name="connsiteY3618" fmla="*/ 309514 h 1328132"/>
                <a:gd name="connsiteX3619" fmla="*/ 837563 w 1381764"/>
                <a:gd name="connsiteY3619" fmla="*/ 305120 h 1328132"/>
                <a:gd name="connsiteX3620" fmla="*/ 837563 w 1381764"/>
                <a:gd name="connsiteY3620" fmla="*/ 301631 h 1328132"/>
                <a:gd name="connsiteX3621" fmla="*/ 838080 w 1381764"/>
                <a:gd name="connsiteY3621" fmla="*/ 299563 h 1328132"/>
                <a:gd name="connsiteX3622" fmla="*/ 839372 w 1381764"/>
                <a:gd name="connsiteY3622" fmla="*/ 298659 h 1328132"/>
                <a:gd name="connsiteX3623" fmla="*/ 838984 w 1381764"/>
                <a:gd name="connsiteY3623" fmla="*/ 297883 h 1328132"/>
                <a:gd name="connsiteX3624" fmla="*/ 838855 w 1381764"/>
                <a:gd name="connsiteY3624" fmla="*/ 296074 h 1328132"/>
                <a:gd name="connsiteX3625" fmla="*/ 839113 w 1381764"/>
                <a:gd name="connsiteY3625" fmla="*/ 294135 h 1328132"/>
                <a:gd name="connsiteX3626" fmla="*/ 839759 w 1381764"/>
                <a:gd name="connsiteY3626" fmla="*/ 292714 h 1328132"/>
                <a:gd name="connsiteX3627" fmla="*/ 840147 w 1381764"/>
                <a:gd name="connsiteY3627" fmla="*/ 292585 h 1328132"/>
                <a:gd name="connsiteX3628" fmla="*/ 840406 w 1381764"/>
                <a:gd name="connsiteY3628" fmla="*/ 292585 h 1328132"/>
                <a:gd name="connsiteX3629" fmla="*/ 840535 w 1381764"/>
                <a:gd name="connsiteY3629" fmla="*/ 292455 h 1328132"/>
                <a:gd name="connsiteX3630" fmla="*/ 840535 w 1381764"/>
                <a:gd name="connsiteY3630" fmla="*/ 291939 h 1328132"/>
                <a:gd name="connsiteX3631" fmla="*/ 835753 w 1381764"/>
                <a:gd name="connsiteY3631" fmla="*/ 291939 h 1328132"/>
                <a:gd name="connsiteX3632" fmla="*/ 835624 w 1381764"/>
                <a:gd name="connsiteY3632" fmla="*/ 292326 h 1328132"/>
                <a:gd name="connsiteX3633" fmla="*/ 833815 w 1381764"/>
                <a:gd name="connsiteY3633" fmla="*/ 294265 h 1328132"/>
                <a:gd name="connsiteX3634" fmla="*/ 833169 w 1381764"/>
                <a:gd name="connsiteY3634" fmla="*/ 294782 h 1328132"/>
                <a:gd name="connsiteX3635" fmla="*/ 832264 w 1381764"/>
                <a:gd name="connsiteY3635" fmla="*/ 295040 h 1328132"/>
                <a:gd name="connsiteX3636" fmla="*/ 829162 w 1381764"/>
                <a:gd name="connsiteY3636" fmla="*/ 295428 h 1328132"/>
                <a:gd name="connsiteX3637" fmla="*/ 828516 w 1381764"/>
                <a:gd name="connsiteY3637" fmla="*/ 296074 h 1328132"/>
                <a:gd name="connsiteX3638" fmla="*/ 827353 w 1381764"/>
                <a:gd name="connsiteY3638" fmla="*/ 298142 h 1328132"/>
                <a:gd name="connsiteX3639" fmla="*/ 825156 w 1381764"/>
                <a:gd name="connsiteY3639" fmla="*/ 300339 h 1328132"/>
                <a:gd name="connsiteX3640" fmla="*/ 818048 w 1381764"/>
                <a:gd name="connsiteY3640" fmla="*/ 315976 h 1328132"/>
                <a:gd name="connsiteX3641" fmla="*/ 817402 w 1381764"/>
                <a:gd name="connsiteY3641" fmla="*/ 316881 h 1328132"/>
                <a:gd name="connsiteX3642" fmla="*/ 815851 w 1381764"/>
                <a:gd name="connsiteY3642" fmla="*/ 317914 h 1328132"/>
                <a:gd name="connsiteX3643" fmla="*/ 815464 w 1381764"/>
                <a:gd name="connsiteY3643" fmla="*/ 318431 h 1328132"/>
                <a:gd name="connsiteX3644" fmla="*/ 814817 w 1381764"/>
                <a:gd name="connsiteY3644" fmla="*/ 320111 h 1328132"/>
                <a:gd name="connsiteX3645" fmla="*/ 813267 w 1381764"/>
                <a:gd name="connsiteY3645" fmla="*/ 321145 h 1328132"/>
                <a:gd name="connsiteX3646" fmla="*/ 811587 w 1381764"/>
                <a:gd name="connsiteY3646" fmla="*/ 321921 h 1328132"/>
                <a:gd name="connsiteX3647" fmla="*/ 810424 w 1381764"/>
                <a:gd name="connsiteY3647" fmla="*/ 323084 h 1328132"/>
                <a:gd name="connsiteX3648" fmla="*/ 810036 w 1381764"/>
                <a:gd name="connsiteY3648" fmla="*/ 325668 h 1328132"/>
                <a:gd name="connsiteX3649" fmla="*/ 811199 w 1381764"/>
                <a:gd name="connsiteY3649" fmla="*/ 326444 h 1328132"/>
                <a:gd name="connsiteX3650" fmla="*/ 813137 w 1381764"/>
                <a:gd name="connsiteY3650" fmla="*/ 325927 h 1328132"/>
                <a:gd name="connsiteX3651" fmla="*/ 849323 w 1381764"/>
                <a:gd name="connsiteY3651" fmla="*/ 298271 h 1328132"/>
                <a:gd name="connsiteX3652" fmla="*/ 849452 w 1381764"/>
                <a:gd name="connsiteY3652" fmla="*/ 302019 h 1328132"/>
                <a:gd name="connsiteX3653" fmla="*/ 852166 w 1381764"/>
                <a:gd name="connsiteY3653" fmla="*/ 306025 h 1328132"/>
                <a:gd name="connsiteX3654" fmla="*/ 856301 w 1381764"/>
                <a:gd name="connsiteY3654" fmla="*/ 307834 h 1328132"/>
                <a:gd name="connsiteX3655" fmla="*/ 856689 w 1381764"/>
                <a:gd name="connsiteY3655" fmla="*/ 308351 h 1328132"/>
                <a:gd name="connsiteX3656" fmla="*/ 856818 w 1381764"/>
                <a:gd name="connsiteY3656" fmla="*/ 309385 h 1328132"/>
                <a:gd name="connsiteX3657" fmla="*/ 857206 w 1381764"/>
                <a:gd name="connsiteY3657" fmla="*/ 310419 h 1328132"/>
                <a:gd name="connsiteX3658" fmla="*/ 859791 w 1381764"/>
                <a:gd name="connsiteY3658" fmla="*/ 311194 h 1328132"/>
                <a:gd name="connsiteX3659" fmla="*/ 860825 w 1381764"/>
                <a:gd name="connsiteY3659" fmla="*/ 311840 h 1328132"/>
                <a:gd name="connsiteX3660" fmla="*/ 861729 w 1381764"/>
                <a:gd name="connsiteY3660" fmla="*/ 312099 h 1328132"/>
                <a:gd name="connsiteX3661" fmla="*/ 864831 w 1381764"/>
                <a:gd name="connsiteY3661" fmla="*/ 309514 h 1328132"/>
                <a:gd name="connsiteX3662" fmla="*/ 868966 w 1381764"/>
                <a:gd name="connsiteY3662" fmla="*/ 306930 h 1328132"/>
                <a:gd name="connsiteX3663" fmla="*/ 871034 w 1381764"/>
                <a:gd name="connsiteY3663" fmla="*/ 305379 h 1328132"/>
                <a:gd name="connsiteX3664" fmla="*/ 876979 w 1381764"/>
                <a:gd name="connsiteY3664" fmla="*/ 299305 h 1328132"/>
                <a:gd name="connsiteX3665" fmla="*/ 879434 w 1381764"/>
                <a:gd name="connsiteY3665" fmla="*/ 297754 h 1328132"/>
                <a:gd name="connsiteX3666" fmla="*/ 886154 w 1381764"/>
                <a:gd name="connsiteY3666" fmla="*/ 294782 h 1328132"/>
                <a:gd name="connsiteX3667" fmla="*/ 888222 w 1381764"/>
                <a:gd name="connsiteY3667" fmla="*/ 293360 h 1328132"/>
                <a:gd name="connsiteX3668" fmla="*/ 892228 w 1381764"/>
                <a:gd name="connsiteY3668" fmla="*/ 289742 h 1328132"/>
                <a:gd name="connsiteX3669" fmla="*/ 893262 w 1381764"/>
                <a:gd name="connsiteY3669" fmla="*/ 287932 h 1328132"/>
                <a:gd name="connsiteX3670" fmla="*/ 893391 w 1381764"/>
                <a:gd name="connsiteY3670" fmla="*/ 285994 h 1328132"/>
                <a:gd name="connsiteX3671" fmla="*/ 893133 w 1381764"/>
                <a:gd name="connsiteY3671" fmla="*/ 285606 h 1328132"/>
                <a:gd name="connsiteX3672" fmla="*/ 891841 w 1381764"/>
                <a:gd name="connsiteY3672" fmla="*/ 283926 h 1328132"/>
                <a:gd name="connsiteX3673" fmla="*/ 891711 w 1381764"/>
                <a:gd name="connsiteY3673" fmla="*/ 283409 h 1328132"/>
                <a:gd name="connsiteX3674" fmla="*/ 891841 w 1381764"/>
                <a:gd name="connsiteY3674" fmla="*/ 282246 h 1328132"/>
                <a:gd name="connsiteX3675" fmla="*/ 891711 w 1381764"/>
                <a:gd name="connsiteY3675" fmla="*/ 281729 h 1328132"/>
                <a:gd name="connsiteX3676" fmla="*/ 891065 w 1381764"/>
                <a:gd name="connsiteY3676" fmla="*/ 280566 h 1328132"/>
                <a:gd name="connsiteX3677" fmla="*/ 890290 w 1381764"/>
                <a:gd name="connsiteY3677" fmla="*/ 279532 h 1328132"/>
                <a:gd name="connsiteX3678" fmla="*/ 889256 w 1381764"/>
                <a:gd name="connsiteY3678" fmla="*/ 278627 h 1328132"/>
                <a:gd name="connsiteX3679" fmla="*/ 888093 w 1381764"/>
                <a:gd name="connsiteY3679" fmla="*/ 278111 h 1328132"/>
                <a:gd name="connsiteX3680" fmla="*/ 885250 w 1381764"/>
                <a:gd name="connsiteY3680" fmla="*/ 277206 h 1328132"/>
                <a:gd name="connsiteX3681" fmla="*/ 882794 w 1381764"/>
                <a:gd name="connsiteY3681" fmla="*/ 276043 h 1328132"/>
                <a:gd name="connsiteX3682" fmla="*/ 881243 w 1381764"/>
                <a:gd name="connsiteY3682" fmla="*/ 273200 h 1328132"/>
                <a:gd name="connsiteX3683" fmla="*/ 878400 w 1381764"/>
                <a:gd name="connsiteY3683" fmla="*/ 271907 h 1328132"/>
                <a:gd name="connsiteX3684" fmla="*/ 872843 w 1381764"/>
                <a:gd name="connsiteY3684" fmla="*/ 273200 h 1328132"/>
                <a:gd name="connsiteX3685" fmla="*/ 865089 w 1381764"/>
                <a:gd name="connsiteY3685" fmla="*/ 276818 h 1328132"/>
                <a:gd name="connsiteX3686" fmla="*/ 861341 w 1381764"/>
                <a:gd name="connsiteY3686" fmla="*/ 277594 h 1328132"/>
                <a:gd name="connsiteX3687" fmla="*/ 859015 w 1381764"/>
                <a:gd name="connsiteY3687" fmla="*/ 278240 h 1328132"/>
                <a:gd name="connsiteX3688" fmla="*/ 856301 w 1381764"/>
                <a:gd name="connsiteY3688" fmla="*/ 281471 h 1328132"/>
                <a:gd name="connsiteX3689" fmla="*/ 855267 w 1381764"/>
                <a:gd name="connsiteY3689" fmla="*/ 285994 h 1328132"/>
                <a:gd name="connsiteX3690" fmla="*/ 849840 w 1381764"/>
                <a:gd name="connsiteY3690" fmla="*/ 294782 h 1328132"/>
                <a:gd name="connsiteX3691" fmla="*/ 852037 w 1381764"/>
                <a:gd name="connsiteY3691" fmla="*/ 296074 h 1328132"/>
                <a:gd name="connsiteX3692" fmla="*/ 852812 w 1381764"/>
                <a:gd name="connsiteY3692" fmla="*/ 296332 h 1328132"/>
                <a:gd name="connsiteX3693" fmla="*/ 852812 w 1381764"/>
                <a:gd name="connsiteY3693" fmla="*/ 296979 h 1328132"/>
                <a:gd name="connsiteX3694" fmla="*/ 849323 w 1381764"/>
                <a:gd name="connsiteY3694" fmla="*/ 298271 h 1328132"/>
                <a:gd name="connsiteX3695" fmla="*/ 906832 w 1381764"/>
                <a:gd name="connsiteY3695" fmla="*/ 256658 h 1328132"/>
                <a:gd name="connsiteX3696" fmla="*/ 907736 w 1381764"/>
                <a:gd name="connsiteY3696" fmla="*/ 257304 h 1328132"/>
                <a:gd name="connsiteX3697" fmla="*/ 908899 w 1381764"/>
                <a:gd name="connsiteY3697" fmla="*/ 257692 h 1328132"/>
                <a:gd name="connsiteX3698" fmla="*/ 911355 w 1381764"/>
                <a:gd name="connsiteY3698" fmla="*/ 257821 h 1328132"/>
                <a:gd name="connsiteX3699" fmla="*/ 912389 w 1381764"/>
                <a:gd name="connsiteY3699" fmla="*/ 258079 h 1328132"/>
                <a:gd name="connsiteX3700" fmla="*/ 914973 w 1381764"/>
                <a:gd name="connsiteY3700" fmla="*/ 259113 h 1328132"/>
                <a:gd name="connsiteX3701" fmla="*/ 915749 w 1381764"/>
                <a:gd name="connsiteY3701" fmla="*/ 259113 h 1328132"/>
                <a:gd name="connsiteX3702" fmla="*/ 916137 w 1381764"/>
                <a:gd name="connsiteY3702" fmla="*/ 258209 h 1328132"/>
                <a:gd name="connsiteX3703" fmla="*/ 915749 w 1381764"/>
                <a:gd name="connsiteY3703" fmla="*/ 256916 h 1328132"/>
                <a:gd name="connsiteX3704" fmla="*/ 915620 w 1381764"/>
                <a:gd name="connsiteY3704" fmla="*/ 255365 h 1328132"/>
                <a:gd name="connsiteX3705" fmla="*/ 916266 w 1381764"/>
                <a:gd name="connsiteY3705" fmla="*/ 252910 h 1328132"/>
                <a:gd name="connsiteX3706" fmla="*/ 918333 w 1381764"/>
                <a:gd name="connsiteY3706" fmla="*/ 251359 h 1328132"/>
                <a:gd name="connsiteX3707" fmla="*/ 920143 w 1381764"/>
                <a:gd name="connsiteY3707" fmla="*/ 250842 h 1328132"/>
                <a:gd name="connsiteX3708" fmla="*/ 921694 w 1381764"/>
                <a:gd name="connsiteY3708" fmla="*/ 250455 h 1328132"/>
                <a:gd name="connsiteX3709" fmla="*/ 923244 w 1381764"/>
                <a:gd name="connsiteY3709" fmla="*/ 249938 h 1328132"/>
                <a:gd name="connsiteX3710" fmla="*/ 924407 w 1381764"/>
                <a:gd name="connsiteY3710" fmla="*/ 247999 h 1328132"/>
                <a:gd name="connsiteX3711" fmla="*/ 926088 w 1381764"/>
                <a:gd name="connsiteY3711" fmla="*/ 246319 h 1328132"/>
                <a:gd name="connsiteX3712" fmla="*/ 926734 w 1381764"/>
                <a:gd name="connsiteY3712" fmla="*/ 243993 h 1328132"/>
                <a:gd name="connsiteX3713" fmla="*/ 926088 w 1381764"/>
                <a:gd name="connsiteY3713" fmla="*/ 240633 h 1328132"/>
                <a:gd name="connsiteX3714" fmla="*/ 924666 w 1381764"/>
                <a:gd name="connsiteY3714" fmla="*/ 237660 h 1328132"/>
                <a:gd name="connsiteX3715" fmla="*/ 923244 w 1381764"/>
                <a:gd name="connsiteY3715" fmla="*/ 235334 h 1328132"/>
                <a:gd name="connsiteX3716" fmla="*/ 922727 w 1381764"/>
                <a:gd name="connsiteY3716" fmla="*/ 234300 h 1328132"/>
                <a:gd name="connsiteX3717" fmla="*/ 922469 w 1381764"/>
                <a:gd name="connsiteY3717" fmla="*/ 233008 h 1328132"/>
                <a:gd name="connsiteX3718" fmla="*/ 923374 w 1381764"/>
                <a:gd name="connsiteY3718" fmla="*/ 220731 h 1328132"/>
                <a:gd name="connsiteX3719" fmla="*/ 923244 w 1381764"/>
                <a:gd name="connsiteY3719" fmla="*/ 216078 h 1328132"/>
                <a:gd name="connsiteX3720" fmla="*/ 921823 w 1381764"/>
                <a:gd name="connsiteY3720" fmla="*/ 212331 h 1328132"/>
                <a:gd name="connsiteX3721" fmla="*/ 921564 w 1381764"/>
                <a:gd name="connsiteY3721" fmla="*/ 211943 h 1328132"/>
                <a:gd name="connsiteX3722" fmla="*/ 921306 w 1381764"/>
                <a:gd name="connsiteY3722" fmla="*/ 211685 h 1328132"/>
                <a:gd name="connsiteX3723" fmla="*/ 921177 w 1381764"/>
                <a:gd name="connsiteY3723" fmla="*/ 211426 h 1328132"/>
                <a:gd name="connsiteX3724" fmla="*/ 921177 w 1381764"/>
                <a:gd name="connsiteY3724" fmla="*/ 210909 h 1328132"/>
                <a:gd name="connsiteX3725" fmla="*/ 919755 w 1381764"/>
                <a:gd name="connsiteY3725" fmla="*/ 211814 h 1328132"/>
                <a:gd name="connsiteX3726" fmla="*/ 915232 w 1381764"/>
                <a:gd name="connsiteY3726" fmla="*/ 216854 h 1328132"/>
                <a:gd name="connsiteX3727" fmla="*/ 914327 w 1381764"/>
                <a:gd name="connsiteY3727" fmla="*/ 218663 h 1328132"/>
                <a:gd name="connsiteX3728" fmla="*/ 914198 w 1381764"/>
                <a:gd name="connsiteY3728" fmla="*/ 220085 h 1328132"/>
                <a:gd name="connsiteX3729" fmla="*/ 914586 w 1381764"/>
                <a:gd name="connsiteY3729" fmla="*/ 223057 h 1328132"/>
                <a:gd name="connsiteX3730" fmla="*/ 914456 w 1381764"/>
                <a:gd name="connsiteY3730" fmla="*/ 226029 h 1328132"/>
                <a:gd name="connsiteX3731" fmla="*/ 914715 w 1381764"/>
                <a:gd name="connsiteY3731" fmla="*/ 227451 h 1328132"/>
                <a:gd name="connsiteX3732" fmla="*/ 915361 w 1381764"/>
                <a:gd name="connsiteY3732" fmla="*/ 229260 h 1328132"/>
                <a:gd name="connsiteX3733" fmla="*/ 915878 w 1381764"/>
                <a:gd name="connsiteY3733" fmla="*/ 230036 h 1328132"/>
                <a:gd name="connsiteX3734" fmla="*/ 916524 w 1381764"/>
                <a:gd name="connsiteY3734" fmla="*/ 230553 h 1328132"/>
                <a:gd name="connsiteX3735" fmla="*/ 916912 w 1381764"/>
                <a:gd name="connsiteY3735" fmla="*/ 231199 h 1328132"/>
                <a:gd name="connsiteX3736" fmla="*/ 916783 w 1381764"/>
                <a:gd name="connsiteY3736" fmla="*/ 232233 h 1328132"/>
                <a:gd name="connsiteX3737" fmla="*/ 916395 w 1381764"/>
                <a:gd name="connsiteY3737" fmla="*/ 232103 h 1328132"/>
                <a:gd name="connsiteX3738" fmla="*/ 915361 w 1381764"/>
                <a:gd name="connsiteY3738" fmla="*/ 232362 h 1328132"/>
                <a:gd name="connsiteX3739" fmla="*/ 914456 w 1381764"/>
                <a:gd name="connsiteY3739" fmla="*/ 232750 h 1328132"/>
                <a:gd name="connsiteX3740" fmla="*/ 914327 w 1381764"/>
                <a:gd name="connsiteY3740" fmla="*/ 232879 h 1328132"/>
                <a:gd name="connsiteX3741" fmla="*/ 913552 w 1381764"/>
                <a:gd name="connsiteY3741" fmla="*/ 234559 h 1328132"/>
                <a:gd name="connsiteX3742" fmla="*/ 910321 w 1381764"/>
                <a:gd name="connsiteY3742" fmla="*/ 247611 h 1328132"/>
                <a:gd name="connsiteX3743" fmla="*/ 910321 w 1381764"/>
                <a:gd name="connsiteY3743" fmla="*/ 248128 h 1328132"/>
                <a:gd name="connsiteX3744" fmla="*/ 909675 w 1381764"/>
                <a:gd name="connsiteY3744" fmla="*/ 248645 h 1328132"/>
                <a:gd name="connsiteX3745" fmla="*/ 909287 w 1381764"/>
                <a:gd name="connsiteY3745" fmla="*/ 248645 h 1328132"/>
                <a:gd name="connsiteX3746" fmla="*/ 908770 w 1381764"/>
                <a:gd name="connsiteY3746" fmla="*/ 248387 h 1328132"/>
                <a:gd name="connsiteX3747" fmla="*/ 907736 w 1381764"/>
                <a:gd name="connsiteY3747" fmla="*/ 248258 h 1328132"/>
                <a:gd name="connsiteX3748" fmla="*/ 906573 w 1381764"/>
                <a:gd name="connsiteY3748" fmla="*/ 248645 h 1328132"/>
                <a:gd name="connsiteX3749" fmla="*/ 905798 w 1381764"/>
                <a:gd name="connsiteY3749" fmla="*/ 249679 h 1328132"/>
                <a:gd name="connsiteX3750" fmla="*/ 905410 w 1381764"/>
                <a:gd name="connsiteY3750" fmla="*/ 251101 h 1328132"/>
                <a:gd name="connsiteX3751" fmla="*/ 905281 w 1381764"/>
                <a:gd name="connsiteY3751" fmla="*/ 254073 h 1328132"/>
                <a:gd name="connsiteX3752" fmla="*/ 905410 w 1381764"/>
                <a:gd name="connsiteY3752" fmla="*/ 254719 h 1328132"/>
                <a:gd name="connsiteX3753" fmla="*/ 906832 w 1381764"/>
                <a:gd name="connsiteY3753" fmla="*/ 256658 h 1328132"/>
                <a:gd name="connsiteX3754" fmla="*/ 928284 w 1381764"/>
                <a:gd name="connsiteY3754" fmla="*/ 237014 h 1328132"/>
                <a:gd name="connsiteX3755" fmla="*/ 930352 w 1381764"/>
                <a:gd name="connsiteY3755" fmla="*/ 239082 h 1328132"/>
                <a:gd name="connsiteX3756" fmla="*/ 933712 w 1381764"/>
                <a:gd name="connsiteY3756" fmla="*/ 238565 h 1328132"/>
                <a:gd name="connsiteX3757" fmla="*/ 935780 w 1381764"/>
                <a:gd name="connsiteY3757" fmla="*/ 236756 h 1328132"/>
                <a:gd name="connsiteX3758" fmla="*/ 939011 w 1381764"/>
                <a:gd name="connsiteY3758" fmla="*/ 235205 h 1328132"/>
                <a:gd name="connsiteX3759" fmla="*/ 942629 w 1381764"/>
                <a:gd name="connsiteY3759" fmla="*/ 233008 h 1328132"/>
                <a:gd name="connsiteX3760" fmla="*/ 955811 w 1381764"/>
                <a:gd name="connsiteY3760" fmla="*/ 222799 h 1328132"/>
                <a:gd name="connsiteX3761" fmla="*/ 956457 w 1381764"/>
                <a:gd name="connsiteY3761" fmla="*/ 221119 h 1328132"/>
                <a:gd name="connsiteX3762" fmla="*/ 957491 w 1381764"/>
                <a:gd name="connsiteY3762" fmla="*/ 220085 h 1328132"/>
                <a:gd name="connsiteX3763" fmla="*/ 957750 w 1381764"/>
                <a:gd name="connsiteY3763" fmla="*/ 219439 h 1328132"/>
                <a:gd name="connsiteX3764" fmla="*/ 957621 w 1381764"/>
                <a:gd name="connsiteY3764" fmla="*/ 218792 h 1328132"/>
                <a:gd name="connsiteX3765" fmla="*/ 957104 w 1381764"/>
                <a:gd name="connsiteY3765" fmla="*/ 217758 h 1328132"/>
                <a:gd name="connsiteX3766" fmla="*/ 956974 w 1381764"/>
                <a:gd name="connsiteY3766" fmla="*/ 217242 h 1328132"/>
                <a:gd name="connsiteX3767" fmla="*/ 956974 w 1381764"/>
                <a:gd name="connsiteY3767" fmla="*/ 214786 h 1328132"/>
                <a:gd name="connsiteX3768" fmla="*/ 956716 w 1381764"/>
                <a:gd name="connsiteY3768" fmla="*/ 213881 h 1328132"/>
                <a:gd name="connsiteX3769" fmla="*/ 956199 w 1381764"/>
                <a:gd name="connsiteY3769" fmla="*/ 212460 h 1328132"/>
                <a:gd name="connsiteX3770" fmla="*/ 953226 w 1381764"/>
                <a:gd name="connsiteY3770" fmla="*/ 208066 h 1328132"/>
                <a:gd name="connsiteX3771" fmla="*/ 951417 w 1381764"/>
                <a:gd name="connsiteY3771" fmla="*/ 208066 h 1328132"/>
                <a:gd name="connsiteX3772" fmla="*/ 949220 w 1381764"/>
                <a:gd name="connsiteY3772" fmla="*/ 208971 h 1328132"/>
                <a:gd name="connsiteX3773" fmla="*/ 947152 w 1381764"/>
                <a:gd name="connsiteY3773" fmla="*/ 210392 h 1328132"/>
                <a:gd name="connsiteX3774" fmla="*/ 945860 w 1381764"/>
                <a:gd name="connsiteY3774" fmla="*/ 211943 h 1328132"/>
                <a:gd name="connsiteX3775" fmla="*/ 945731 w 1381764"/>
                <a:gd name="connsiteY3775" fmla="*/ 213494 h 1328132"/>
                <a:gd name="connsiteX3776" fmla="*/ 947799 w 1381764"/>
                <a:gd name="connsiteY3776" fmla="*/ 214657 h 1328132"/>
                <a:gd name="connsiteX3777" fmla="*/ 947282 w 1381764"/>
                <a:gd name="connsiteY3777" fmla="*/ 216208 h 1328132"/>
                <a:gd name="connsiteX3778" fmla="*/ 944051 w 1381764"/>
                <a:gd name="connsiteY3778" fmla="*/ 213494 h 1328132"/>
                <a:gd name="connsiteX3779" fmla="*/ 942242 w 1381764"/>
                <a:gd name="connsiteY3779" fmla="*/ 212589 h 1328132"/>
                <a:gd name="connsiteX3780" fmla="*/ 941466 w 1381764"/>
                <a:gd name="connsiteY3780" fmla="*/ 213623 h 1328132"/>
                <a:gd name="connsiteX3781" fmla="*/ 940174 w 1381764"/>
                <a:gd name="connsiteY3781" fmla="*/ 214011 h 1328132"/>
                <a:gd name="connsiteX3782" fmla="*/ 934229 w 1381764"/>
                <a:gd name="connsiteY3782" fmla="*/ 213881 h 1328132"/>
                <a:gd name="connsiteX3783" fmla="*/ 932549 w 1381764"/>
                <a:gd name="connsiteY3783" fmla="*/ 214657 h 1328132"/>
                <a:gd name="connsiteX3784" fmla="*/ 933195 w 1381764"/>
                <a:gd name="connsiteY3784" fmla="*/ 215691 h 1328132"/>
                <a:gd name="connsiteX3785" fmla="*/ 932678 w 1381764"/>
                <a:gd name="connsiteY3785" fmla="*/ 216337 h 1328132"/>
                <a:gd name="connsiteX3786" fmla="*/ 930352 w 1381764"/>
                <a:gd name="connsiteY3786" fmla="*/ 217500 h 1328132"/>
                <a:gd name="connsiteX3787" fmla="*/ 927767 w 1381764"/>
                <a:gd name="connsiteY3787" fmla="*/ 220472 h 1328132"/>
                <a:gd name="connsiteX3788" fmla="*/ 926475 w 1381764"/>
                <a:gd name="connsiteY3788" fmla="*/ 224091 h 1328132"/>
                <a:gd name="connsiteX3789" fmla="*/ 926217 w 1381764"/>
                <a:gd name="connsiteY3789" fmla="*/ 228226 h 1328132"/>
                <a:gd name="connsiteX3790" fmla="*/ 926734 w 1381764"/>
                <a:gd name="connsiteY3790" fmla="*/ 232879 h 1328132"/>
                <a:gd name="connsiteX3791" fmla="*/ 928284 w 1381764"/>
                <a:gd name="connsiteY3791" fmla="*/ 237014 h 1328132"/>
                <a:gd name="connsiteX3792" fmla="*/ 892228 w 1381764"/>
                <a:gd name="connsiteY3792" fmla="*/ 264541 h 1328132"/>
                <a:gd name="connsiteX3793" fmla="*/ 892616 w 1381764"/>
                <a:gd name="connsiteY3793" fmla="*/ 265833 h 1328132"/>
                <a:gd name="connsiteX3794" fmla="*/ 892616 w 1381764"/>
                <a:gd name="connsiteY3794" fmla="*/ 266867 h 1328132"/>
                <a:gd name="connsiteX3795" fmla="*/ 892358 w 1381764"/>
                <a:gd name="connsiteY3795" fmla="*/ 267643 h 1328132"/>
                <a:gd name="connsiteX3796" fmla="*/ 892228 w 1381764"/>
                <a:gd name="connsiteY3796" fmla="*/ 268418 h 1328132"/>
                <a:gd name="connsiteX3797" fmla="*/ 892616 w 1381764"/>
                <a:gd name="connsiteY3797" fmla="*/ 269452 h 1328132"/>
                <a:gd name="connsiteX3798" fmla="*/ 893779 w 1381764"/>
                <a:gd name="connsiteY3798" fmla="*/ 270486 h 1328132"/>
                <a:gd name="connsiteX3799" fmla="*/ 894684 w 1381764"/>
                <a:gd name="connsiteY3799" fmla="*/ 270744 h 1328132"/>
                <a:gd name="connsiteX3800" fmla="*/ 895330 w 1381764"/>
                <a:gd name="connsiteY3800" fmla="*/ 271261 h 1328132"/>
                <a:gd name="connsiteX3801" fmla="*/ 895588 w 1381764"/>
                <a:gd name="connsiteY3801" fmla="*/ 273329 h 1328132"/>
                <a:gd name="connsiteX3802" fmla="*/ 896235 w 1381764"/>
                <a:gd name="connsiteY3802" fmla="*/ 274363 h 1328132"/>
                <a:gd name="connsiteX3803" fmla="*/ 897656 w 1381764"/>
                <a:gd name="connsiteY3803" fmla="*/ 275655 h 1328132"/>
                <a:gd name="connsiteX3804" fmla="*/ 899336 w 1381764"/>
                <a:gd name="connsiteY3804" fmla="*/ 276818 h 1328132"/>
                <a:gd name="connsiteX3805" fmla="*/ 900629 w 1381764"/>
                <a:gd name="connsiteY3805" fmla="*/ 277464 h 1328132"/>
                <a:gd name="connsiteX3806" fmla="*/ 904506 w 1381764"/>
                <a:gd name="connsiteY3806" fmla="*/ 277464 h 1328132"/>
                <a:gd name="connsiteX3807" fmla="*/ 905152 w 1381764"/>
                <a:gd name="connsiteY3807" fmla="*/ 277852 h 1328132"/>
                <a:gd name="connsiteX3808" fmla="*/ 905539 w 1381764"/>
                <a:gd name="connsiteY3808" fmla="*/ 278240 h 1328132"/>
                <a:gd name="connsiteX3809" fmla="*/ 906444 w 1381764"/>
                <a:gd name="connsiteY3809" fmla="*/ 278627 h 1328132"/>
                <a:gd name="connsiteX3810" fmla="*/ 907478 w 1381764"/>
                <a:gd name="connsiteY3810" fmla="*/ 278886 h 1328132"/>
                <a:gd name="connsiteX3811" fmla="*/ 908382 w 1381764"/>
                <a:gd name="connsiteY3811" fmla="*/ 279015 h 1328132"/>
                <a:gd name="connsiteX3812" fmla="*/ 912647 w 1381764"/>
                <a:gd name="connsiteY3812" fmla="*/ 278757 h 1328132"/>
                <a:gd name="connsiteX3813" fmla="*/ 913681 w 1381764"/>
                <a:gd name="connsiteY3813" fmla="*/ 277206 h 1328132"/>
                <a:gd name="connsiteX3814" fmla="*/ 914198 w 1381764"/>
                <a:gd name="connsiteY3814" fmla="*/ 275397 h 1328132"/>
                <a:gd name="connsiteX3815" fmla="*/ 914198 w 1381764"/>
                <a:gd name="connsiteY3815" fmla="*/ 273329 h 1328132"/>
                <a:gd name="connsiteX3816" fmla="*/ 913423 w 1381764"/>
                <a:gd name="connsiteY3816" fmla="*/ 270615 h 1328132"/>
                <a:gd name="connsiteX3817" fmla="*/ 913035 w 1381764"/>
                <a:gd name="connsiteY3817" fmla="*/ 268547 h 1328132"/>
                <a:gd name="connsiteX3818" fmla="*/ 913035 w 1381764"/>
                <a:gd name="connsiteY3818" fmla="*/ 265575 h 1328132"/>
                <a:gd name="connsiteX3819" fmla="*/ 912777 w 1381764"/>
                <a:gd name="connsiteY3819" fmla="*/ 263766 h 1328132"/>
                <a:gd name="connsiteX3820" fmla="*/ 910321 w 1381764"/>
                <a:gd name="connsiteY3820" fmla="*/ 261698 h 1328132"/>
                <a:gd name="connsiteX3821" fmla="*/ 908124 w 1381764"/>
                <a:gd name="connsiteY3821" fmla="*/ 260147 h 1328132"/>
                <a:gd name="connsiteX3822" fmla="*/ 905539 w 1381764"/>
                <a:gd name="connsiteY3822" fmla="*/ 259501 h 1328132"/>
                <a:gd name="connsiteX3823" fmla="*/ 902309 w 1381764"/>
                <a:gd name="connsiteY3823" fmla="*/ 258984 h 1328132"/>
                <a:gd name="connsiteX3824" fmla="*/ 900499 w 1381764"/>
                <a:gd name="connsiteY3824" fmla="*/ 258467 h 1328132"/>
                <a:gd name="connsiteX3825" fmla="*/ 898173 w 1381764"/>
                <a:gd name="connsiteY3825" fmla="*/ 257692 h 1328132"/>
                <a:gd name="connsiteX3826" fmla="*/ 895201 w 1381764"/>
                <a:gd name="connsiteY3826" fmla="*/ 257821 h 1328132"/>
                <a:gd name="connsiteX3827" fmla="*/ 892358 w 1381764"/>
                <a:gd name="connsiteY3827" fmla="*/ 259759 h 1328132"/>
                <a:gd name="connsiteX3828" fmla="*/ 891065 w 1381764"/>
                <a:gd name="connsiteY3828" fmla="*/ 261310 h 1328132"/>
                <a:gd name="connsiteX3829" fmla="*/ 891324 w 1381764"/>
                <a:gd name="connsiteY3829" fmla="*/ 262603 h 1328132"/>
                <a:gd name="connsiteX3830" fmla="*/ 892228 w 1381764"/>
                <a:gd name="connsiteY3830" fmla="*/ 264541 h 132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Lst>
              <a:rect l="l" t="t" r="r" b="b"/>
              <a:pathLst>
                <a:path w="1381764" h="1328132">
                  <a:moveTo>
                    <a:pt x="1034385" y="462527"/>
                  </a:moveTo>
                  <a:lnTo>
                    <a:pt x="1033739" y="461105"/>
                  </a:lnTo>
                  <a:lnTo>
                    <a:pt x="1033481" y="459684"/>
                  </a:lnTo>
                  <a:lnTo>
                    <a:pt x="1031413" y="459167"/>
                  </a:lnTo>
                  <a:lnTo>
                    <a:pt x="1029862" y="460201"/>
                  </a:lnTo>
                  <a:lnTo>
                    <a:pt x="1027536" y="463302"/>
                  </a:lnTo>
                  <a:lnTo>
                    <a:pt x="1024563" y="464982"/>
                  </a:lnTo>
                  <a:lnTo>
                    <a:pt x="1023530" y="465887"/>
                  </a:lnTo>
                  <a:lnTo>
                    <a:pt x="1023142" y="466791"/>
                  </a:lnTo>
                  <a:lnTo>
                    <a:pt x="1022754" y="468988"/>
                  </a:lnTo>
                  <a:lnTo>
                    <a:pt x="1022366" y="469893"/>
                  </a:lnTo>
                  <a:lnTo>
                    <a:pt x="1019652" y="472478"/>
                  </a:lnTo>
                  <a:lnTo>
                    <a:pt x="1019136" y="473899"/>
                  </a:lnTo>
                  <a:lnTo>
                    <a:pt x="1020299" y="475709"/>
                  </a:lnTo>
                  <a:lnTo>
                    <a:pt x="1021979" y="476742"/>
                  </a:lnTo>
                  <a:lnTo>
                    <a:pt x="1026373" y="477776"/>
                  </a:lnTo>
                  <a:lnTo>
                    <a:pt x="1028311" y="478552"/>
                  </a:lnTo>
                  <a:lnTo>
                    <a:pt x="1029216" y="477389"/>
                  </a:lnTo>
                  <a:lnTo>
                    <a:pt x="1032059" y="474158"/>
                  </a:lnTo>
                  <a:lnTo>
                    <a:pt x="1034514" y="470410"/>
                  </a:lnTo>
                  <a:lnTo>
                    <a:pt x="1035419" y="469893"/>
                  </a:lnTo>
                  <a:lnTo>
                    <a:pt x="1036324" y="468988"/>
                  </a:lnTo>
                  <a:lnTo>
                    <a:pt x="1037487" y="467050"/>
                  </a:lnTo>
                  <a:lnTo>
                    <a:pt x="1038004" y="465111"/>
                  </a:lnTo>
                  <a:lnTo>
                    <a:pt x="1036841" y="464207"/>
                  </a:lnTo>
                  <a:lnTo>
                    <a:pt x="1035548" y="463819"/>
                  </a:lnTo>
                  <a:lnTo>
                    <a:pt x="1034385" y="462527"/>
                  </a:lnTo>
                  <a:close/>
                  <a:moveTo>
                    <a:pt x="995098" y="273975"/>
                  </a:moveTo>
                  <a:lnTo>
                    <a:pt x="988249" y="276947"/>
                  </a:lnTo>
                  <a:lnTo>
                    <a:pt x="981787" y="281858"/>
                  </a:lnTo>
                  <a:lnTo>
                    <a:pt x="979332" y="284443"/>
                  </a:lnTo>
                  <a:lnTo>
                    <a:pt x="978427" y="287932"/>
                  </a:lnTo>
                  <a:lnTo>
                    <a:pt x="990833" y="292714"/>
                  </a:lnTo>
                  <a:lnTo>
                    <a:pt x="993935" y="291422"/>
                  </a:lnTo>
                  <a:lnTo>
                    <a:pt x="1014742" y="291163"/>
                  </a:lnTo>
                  <a:lnTo>
                    <a:pt x="1017843" y="290646"/>
                  </a:lnTo>
                  <a:lnTo>
                    <a:pt x="1020428" y="289871"/>
                  </a:lnTo>
                  <a:lnTo>
                    <a:pt x="1021591" y="288837"/>
                  </a:lnTo>
                  <a:lnTo>
                    <a:pt x="1022496" y="287286"/>
                  </a:lnTo>
                  <a:lnTo>
                    <a:pt x="1026114" y="284572"/>
                  </a:lnTo>
                  <a:lnTo>
                    <a:pt x="1026631" y="282763"/>
                  </a:lnTo>
                  <a:lnTo>
                    <a:pt x="1027148" y="283021"/>
                  </a:lnTo>
                  <a:lnTo>
                    <a:pt x="1028440" y="283280"/>
                  </a:lnTo>
                  <a:lnTo>
                    <a:pt x="1028957" y="283538"/>
                  </a:lnTo>
                  <a:lnTo>
                    <a:pt x="1029087" y="282117"/>
                  </a:lnTo>
                  <a:lnTo>
                    <a:pt x="1029604" y="281341"/>
                  </a:lnTo>
                  <a:lnTo>
                    <a:pt x="1030250" y="280695"/>
                  </a:lnTo>
                  <a:lnTo>
                    <a:pt x="1030508" y="279661"/>
                  </a:lnTo>
                  <a:lnTo>
                    <a:pt x="1030379" y="278498"/>
                  </a:lnTo>
                  <a:lnTo>
                    <a:pt x="1029991" y="278369"/>
                  </a:lnTo>
                  <a:lnTo>
                    <a:pt x="1029216" y="278369"/>
                  </a:lnTo>
                  <a:lnTo>
                    <a:pt x="1028053" y="277464"/>
                  </a:lnTo>
                  <a:lnTo>
                    <a:pt x="1027923" y="276689"/>
                  </a:lnTo>
                  <a:lnTo>
                    <a:pt x="1028182" y="275784"/>
                  </a:lnTo>
                  <a:lnTo>
                    <a:pt x="1028053" y="274492"/>
                  </a:lnTo>
                  <a:lnTo>
                    <a:pt x="1026890" y="272812"/>
                  </a:lnTo>
                  <a:lnTo>
                    <a:pt x="1025856" y="272037"/>
                  </a:lnTo>
                  <a:lnTo>
                    <a:pt x="1021850" y="269840"/>
                  </a:lnTo>
                  <a:lnTo>
                    <a:pt x="1020428" y="269323"/>
                  </a:lnTo>
                  <a:lnTo>
                    <a:pt x="1018877" y="269452"/>
                  </a:lnTo>
                  <a:lnTo>
                    <a:pt x="1017456" y="269969"/>
                  </a:lnTo>
                  <a:lnTo>
                    <a:pt x="1015776" y="270227"/>
                  </a:lnTo>
                  <a:lnTo>
                    <a:pt x="1015517" y="269710"/>
                  </a:lnTo>
                  <a:lnTo>
                    <a:pt x="1014612" y="268547"/>
                  </a:lnTo>
                  <a:lnTo>
                    <a:pt x="1014354" y="267901"/>
                  </a:lnTo>
                  <a:lnTo>
                    <a:pt x="1011382" y="269193"/>
                  </a:lnTo>
                  <a:lnTo>
                    <a:pt x="1000267" y="270873"/>
                  </a:lnTo>
                  <a:lnTo>
                    <a:pt x="995098" y="273975"/>
                  </a:lnTo>
                  <a:close/>
                  <a:moveTo>
                    <a:pt x="953744" y="249033"/>
                  </a:moveTo>
                  <a:lnTo>
                    <a:pt x="948962" y="253298"/>
                  </a:lnTo>
                  <a:lnTo>
                    <a:pt x="946765" y="253298"/>
                  </a:lnTo>
                  <a:lnTo>
                    <a:pt x="939140" y="253168"/>
                  </a:lnTo>
                  <a:lnTo>
                    <a:pt x="935651" y="253039"/>
                  </a:lnTo>
                  <a:lnTo>
                    <a:pt x="933325" y="252522"/>
                  </a:lnTo>
                  <a:lnTo>
                    <a:pt x="930611" y="252652"/>
                  </a:lnTo>
                  <a:lnTo>
                    <a:pt x="927897" y="253815"/>
                  </a:lnTo>
                  <a:lnTo>
                    <a:pt x="921306" y="254073"/>
                  </a:lnTo>
                  <a:lnTo>
                    <a:pt x="920143" y="254719"/>
                  </a:lnTo>
                  <a:lnTo>
                    <a:pt x="919755" y="256141"/>
                  </a:lnTo>
                  <a:lnTo>
                    <a:pt x="919497" y="262990"/>
                  </a:lnTo>
                  <a:lnTo>
                    <a:pt x="919884" y="265058"/>
                  </a:lnTo>
                  <a:lnTo>
                    <a:pt x="921306" y="267126"/>
                  </a:lnTo>
                  <a:lnTo>
                    <a:pt x="922340" y="264541"/>
                  </a:lnTo>
                  <a:lnTo>
                    <a:pt x="923115" y="263507"/>
                  </a:lnTo>
                  <a:lnTo>
                    <a:pt x="924149" y="262861"/>
                  </a:lnTo>
                  <a:lnTo>
                    <a:pt x="923891" y="264799"/>
                  </a:lnTo>
                  <a:lnTo>
                    <a:pt x="922727" y="268806"/>
                  </a:lnTo>
                  <a:lnTo>
                    <a:pt x="922857" y="270873"/>
                  </a:lnTo>
                  <a:lnTo>
                    <a:pt x="923503" y="272037"/>
                  </a:lnTo>
                  <a:lnTo>
                    <a:pt x="925958" y="274234"/>
                  </a:lnTo>
                  <a:lnTo>
                    <a:pt x="928672" y="275784"/>
                  </a:lnTo>
                  <a:lnTo>
                    <a:pt x="931386" y="275526"/>
                  </a:lnTo>
                  <a:lnTo>
                    <a:pt x="933971" y="274492"/>
                  </a:lnTo>
                  <a:lnTo>
                    <a:pt x="936297" y="273846"/>
                  </a:lnTo>
                  <a:lnTo>
                    <a:pt x="936814" y="273458"/>
                  </a:lnTo>
                  <a:lnTo>
                    <a:pt x="938494" y="272812"/>
                  </a:lnTo>
                  <a:lnTo>
                    <a:pt x="940303" y="272553"/>
                  </a:lnTo>
                  <a:lnTo>
                    <a:pt x="941079" y="273329"/>
                  </a:lnTo>
                  <a:lnTo>
                    <a:pt x="941854" y="273846"/>
                  </a:lnTo>
                  <a:lnTo>
                    <a:pt x="946894" y="273070"/>
                  </a:lnTo>
                  <a:lnTo>
                    <a:pt x="950125" y="273717"/>
                  </a:lnTo>
                  <a:lnTo>
                    <a:pt x="953097" y="275267"/>
                  </a:lnTo>
                  <a:lnTo>
                    <a:pt x="955682" y="277335"/>
                  </a:lnTo>
                  <a:lnTo>
                    <a:pt x="957879" y="279661"/>
                  </a:lnTo>
                  <a:lnTo>
                    <a:pt x="959171" y="281858"/>
                  </a:lnTo>
                  <a:lnTo>
                    <a:pt x="960076" y="282634"/>
                  </a:lnTo>
                  <a:lnTo>
                    <a:pt x="961239" y="282117"/>
                  </a:lnTo>
                  <a:lnTo>
                    <a:pt x="962144" y="281471"/>
                  </a:lnTo>
                  <a:lnTo>
                    <a:pt x="963307" y="280824"/>
                  </a:lnTo>
                  <a:lnTo>
                    <a:pt x="964599" y="280437"/>
                  </a:lnTo>
                  <a:lnTo>
                    <a:pt x="967701" y="280049"/>
                  </a:lnTo>
                  <a:lnTo>
                    <a:pt x="974808" y="278111"/>
                  </a:lnTo>
                  <a:lnTo>
                    <a:pt x="978815" y="275784"/>
                  </a:lnTo>
                  <a:lnTo>
                    <a:pt x="981399" y="271778"/>
                  </a:lnTo>
                  <a:lnTo>
                    <a:pt x="983467" y="267126"/>
                  </a:lnTo>
                  <a:lnTo>
                    <a:pt x="985923" y="262732"/>
                  </a:lnTo>
                  <a:lnTo>
                    <a:pt x="993547" y="255107"/>
                  </a:lnTo>
                  <a:lnTo>
                    <a:pt x="998846" y="252135"/>
                  </a:lnTo>
                  <a:lnTo>
                    <a:pt x="1003240" y="248645"/>
                  </a:lnTo>
                  <a:lnTo>
                    <a:pt x="1010994" y="244898"/>
                  </a:lnTo>
                  <a:lnTo>
                    <a:pt x="1010865" y="239211"/>
                  </a:lnTo>
                  <a:lnTo>
                    <a:pt x="1007634" y="235851"/>
                  </a:lnTo>
                  <a:lnTo>
                    <a:pt x="997941" y="235851"/>
                  </a:lnTo>
                  <a:lnTo>
                    <a:pt x="987732" y="239340"/>
                  </a:lnTo>
                  <a:lnTo>
                    <a:pt x="979203" y="242701"/>
                  </a:lnTo>
                  <a:lnTo>
                    <a:pt x="975584" y="244898"/>
                  </a:lnTo>
                  <a:lnTo>
                    <a:pt x="968993" y="245802"/>
                  </a:lnTo>
                  <a:lnTo>
                    <a:pt x="964987" y="244122"/>
                  </a:lnTo>
                  <a:lnTo>
                    <a:pt x="960205" y="243993"/>
                  </a:lnTo>
                  <a:lnTo>
                    <a:pt x="956716" y="245156"/>
                  </a:lnTo>
                  <a:lnTo>
                    <a:pt x="953744" y="249033"/>
                  </a:lnTo>
                  <a:close/>
                  <a:moveTo>
                    <a:pt x="1024176" y="298142"/>
                  </a:moveTo>
                  <a:lnTo>
                    <a:pt x="1023788" y="300080"/>
                  </a:lnTo>
                  <a:lnTo>
                    <a:pt x="1024951" y="302148"/>
                  </a:lnTo>
                  <a:lnTo>
                    <a:pt x="1026114" y="303699"/>
                  </a:lnTo>
                  <a:lnTo>
                    <a:pt x="1026114" y="304345"/>
                  </a:lnTo>
                  <a:lnTo>
                    <a:pt x="1024951" y="303957"/>
                  </a:lnTo>
                  <a:lnTo>
                    <a:pt x="1022883" y="301890"/>
                  </a:lnTo>
                  <a:lnTo>
                    <a:pt x="1022108" y="301502"/>
                  </a:lnTo>
                  <a:lnTo>
                    <a:pt x="1019523" y="300856"/>
                  </a:lnTo>
                  <a:lnTo>
                    <a:pt x="1018489" y="300726"/>
                  </a:lnTo>
                  <a:lnTo>
                    <a:pt x="1016163" y="300985"/>
                  </a:lnTo>
                  <a:lnTo>
                    <a:pt x="1012028" y="302019"/>
                  </a:lnTo>
                  <a:lnTo>
                    <a:pt x="997683" y="302665"/>
                  </a:lnTo>
                  <a:lnTo>
                    <a:pt x="982563" y="298142"/>
                  </a:lnTo>
                  <a:lnTo>
                    <a:pt x="959559" y="293231"/>
                  </a:lnTo>
                  <a:lnTo>
                    <a:pt x="956328" y="293360"/>
                  </a:lnTo>
                  <a:lnTo>
                    <a:pt x="950254" y="291034"/>
                  </a:lnTo>
                  <a:lnTo>
                    <a:pt x="931386" y="289095"/>
                  </a:lnTo>
                  <a:lnTo>
                    <a:pt x="925441" y="287674"/>
                  </a:lnTo>
                  <a:lnTo>
                    <a:pt x="922986" y="287545"/>
                  </a:lnTo>
                  <a:lnTo>
                    <a:pt x="921047" y="288191"/>
                  </a:lnTo>
                  <a:lnTo>
                    <a:pt x="920014" y="289742"/>
                  </a:lnTo>
                  <a:lnTo>
                    <a:pt x="919238" y="291680"/>
                  </a:lnTo>
                  <a:lnTo>
                    <a:pt x="918204" y="293360"/>
                  </a:lnTo>
                  <a:lnTo>
                    <a:pt x="916395" y="294394"/>
                  </a:lnTo>
                  <a:lnTo>
                    <a:pt x="914844" y="294265"/>
                  </a:lnTo>
                  <a:lnTo>
                    <a:pt x="913035" y="293619"/>
                  </a:lnTo>
                  <a:lnTo>
                    <a:pt x="910580" y="293231"/>
                  </a:lnTo>
                  <a:lnTo>
                    <a:pt x="907995" y="293748"/>
                  </a:lnTo>
                  <a:lnTo>
                    <a:pt x="906185" y="294782"/>
                  </a:lnTo>
                  <a:lnTo>
                    <a:pt x="904635" y="295945"/>
                  </a:lnTo>
                  <a:lnTo>
                    <a:pt x="902825" y="296849"/>
                  </a:lnTo>
                  <a:lnTo>
                    <a:pt x="901662" y="296849"/>
                  </a:lnTo>
                  <a:lnTo>
                    <a:pt x="900370" y="296720"/>
                  </a:lnTo>
                  <a:lnTo>
                    <a:pt x="899078" y="296720"/>
                  </a:lnTo>
                  <a:lnTo>
                    <a:pt x="898173" y="297108"/>
                  </a:lnTo>
                  <a:lnTo>
                    <a:pt x="896493" y="299951"/>
                  </a:lnTo>
                  <a:lnTo>
                    <a:pt x="895976" y="300339"/>
                  </a:lnTo>
                  <a:lnTo>
                    <a:pt x="894942" y="300985"/>
                  </a:lnTo>
                  <a:lnTo>
                    <a:pt x="891453" y="303828"/>
                  </a:lnTo>
                  <a:lnTo>
                    <a:pt x="890548" y="304733"/>
                  </a:lnTo>
                  <a:lnTo>
                    <a:pt x="889127" y="308480"/>
                  </a:lnTo>
                  <a:lnTo>
                    <a:pt x="888610" y="310677"/>
                  </a:lnTo>
                  <a:lnTo>
                    <a:pt x="888351" y="312487"/>
                  </a:lnTo>
                  <a:lnTo>
                    <a:pt x="888093" y="313004"/>
                  </a:lnTo>
                  <a:lnTo>
                    <a:pt x="886671" y="314425"/>
                  </a:lnTo>
                  <a:lnTo>
                    <a:pt x="886154" y="315071"/>
                  </a:lnTo>
                  <a:lnTo>
                    <a:pt x="885767" y="316234"/>
                  </a:lnTo>
                  <a:lnTo>
                    <a:pt x="885379" y="320111"/>
                  </a:lnTo>
                  <a:lnTo>
                    <a:pt x="883440" y="326185"/>
                  </a:lnTo>
                  <a:lnTo>
                    <a:pt x="883182" y="327736"/>
                  </a:lnTo>
                  <a:lnTo>
                    <a:pt x="883440" y="330192"/>
                  </a:lnTo>
                  <a:lnTo>
                    <a:pt x="883957" y="332130"/>
                  </a:lnTo>
                  <a:lnTo>
                    <a:pt x="886671" y="339109"/>
                  </a:lnTo>
                  <a:lnTo>
                    <a:pt x="887317" y="341306"/>
                  </a:lnTo>
                  <a:lnTo>
                    <a:pt x="887576" y="342986"/>
                  </a:lnTo>
                  <a:lnTo>
                    <a:pt x="888610" y="343761"/>
                  </a:lnTo>
                  <a:lnTo>
                    <a:pt x="894942" y="344795"/>
                  </a:lnTo>
                  <a:lnTo>
                    <a:pt x="900629" y="346733"/>
                  </a:lnTo>
                  <a:lnTo>
                    <a:pt x="901533" y="347380"/>
                  </a:lnTo>
                  <a:lnTo>
                    <a:pt x="901792" y="348284"/>
                  </a:lnTo>
                  <a:lnTo>
                    <a:pt x="902050" y="348672"/>
                  </a:lnTo>
                  <a:lnTo>
                    <a:pt x="901662" y="348801"/>
                  </a:lnTo>
                  <a:lnTo>
                    <a:pt x="898948" y="349060"/>
                  </a:lnTo>
                  <a:lnTo>
                    <a:pt x="897785" y="348930"/>
                  </a:lnTo>
                  <a:lnTo>
                    <a:pt x="895718" y="348414"/>
                  </a:lnTo>
                  <a:lnTo>
                    <a:pt x="887576" y="344537"/>
                  </a:lnTo>
                  <a:lnTo>
                    <a:pt x="886284" y="343503"/>
                  </a:lnTo>
                  <a:lnTo>
                    <a:pt x="885896" y="341435"/>
                  </a:lnTo>
                  <a:lnTo>
                    <a:pt x="884733" y="338721"/>
                  </a:lnTo>
                  <a:lnTo>
                    <a:pt x="883311" y="336266"/>
                  </a:lnTo>
                  <a:lnTo>
                    <a:pt x="882019" y="334973"/>
                  </a:lnTo>
                  <a:lnTo>
                    <a:pt x="877496" y="346475"/>
                  </a:lnTo>
                  <a:lnTo>
                    <a:pt x="876850" y="350998"/>
                  </a:lnTo>
                  <a:lnTo>
                    <a:pt x="877108" y="351515"/>
                  </a:lnTo>
                  <a:lnTo>
                    <a:pt x="878142" y="351903"/>
                  </a:lnTo>
                  <a:lnTo>
                    <a:pt x="878400" y="352549"/>
                  </a:lnTo>
                  <a:lnTo>
                    <a:pt x="878142" y="352937"/>
                  </a:lnTo>
                  <a:lnTo>
                    <a:pt x="877108" y="353841"/>
                  </a:lnTo>
                  <a:lnTo>
                    <a:pt x="876850" y="354358"/>
                  </a:lnTo>
                  <a:lnTo>
                    <a:pt x="876720" y="357460"/>
                  </a:lnTo>
                  <a:lnTo>
                    <a:pt x="876850" y="358235"/>
                  </a:lnTo>
                  <a:lnTo>
                    <a:pt x="878400" y="359786"/>
                  </a:lnTo>
                  <a:lnTo>
                    <a:pt x="880210" y="360432"/>
                  </a:lnTo>
                  <a:lnTo>
                    <a:pt x="881631" y="361466"/>
                  </a:lnTo>
                  <a:lnTo>
                    <a:pt x="882019" y="364051"/>
                  </a:lnTo>
                  <a:lnTo>
                    <a:pt x="881114" y="362758"/>
                  </a:lnTo>
                  <a:lnTo>
                    <a:pt x="879822" y="361983"/>
                  </a:lnTo>
                  <a:lnTo>
                    <a:pt x="878530" y="361983"/>
                  </a:lnTo>
                  <a:lnTo>
                    <a:pt x="877625" y="363275"/>
                  </a:lnTo>
                  <a:lnTo>
                    <a:pt x="878013" y="364439"/>
                  </a:lnTo>
                  <a:lnTo>
                    <a:pt x="877496" y="365731"/>
                  </a:lnTo>
                  <a:lnTo>
                    <a:pt x="876591" y="367282"/>
                  </a:lnTo>
                  <a:lnTo>
                    <a:pt x="875945" y="369091"/>
                  </a:lnTo>
                  <a:lnTo>
                    <a:pt x="875299" y="372968"/>
                  </a:lnTo>
                  <a:lnTo>
                    <a:pt x="875299" y="380722"/>
                  </a:lnTo>
                  <a:lnTo>
                    <a:pt x="875945" y="384340"/>
                  </a:lnTo>
                  <a:lnTo>
                    <a:pt x="876591" y="385891"/>
                  </a:lnTo>
                  <a:lnTo>
                    <a:pt x="878530" y="388864"/>
                  </a:lnTo>
                  <a:lnTo>
                    <a:pt x="878917" y="389768"/>
                  </a:lnTo>
                  <a:lnTo>
                    <a:pt x="879822" y="391061"/>
                  </a:lnTo>
                  <a:lnTo>
                    <a:pt x="882019" y="391836"/>
                  </a:lnTo>
                  <a:lnTo>
                    <a:pt x="889644" y="392353"/>
                  </a:lnTo>
                  <a:lnTo>
                    <a:pt x="890677" y="392224"/>
                  </a:lnTo>
                  <a:lnTo>
                    <a:pt x="891582" y="391836"/>
                  </a:lnTo>
                  <a:lnTo>
                    <a:pt x="893650" y="390414"/>
                  </a:lnTo>
                  <a:lnTo>
                    <a:pt x="894555" y="390156"/>
                  </a:lnTo>
                  <a:lnTo>
                    <a:pt x="896751" y="389897"/>
                  </a:lnTo>
                  <a:lnTo>
                    <a:pt x="898819" y="389122"/>
                  </a:lnTo>
                  <a:lnTo>
                    <a:pt x="900758" y="387830"/>
                  </a:lnTo>
                  <a:lnTo>
                    <a:pt x="902438" y="386150"/>
                  </a:lnTo>
                  <a:lnTo>
                    <a:pt x="903989" y="385116"/>
                  </a:lnTo>
                  <a:lnTo>
                    <a:pt x="905669" y="384987"/>
                  </a:lnTo>
                  <a:lnTo>
                    <a:pt x="907478" y="385504"/>
                  </a:lnTo>
                  <a:lnTo>
                    <a:pt x="909416" y="386537"/>
                  </a:lnTo>
                  <a:lnTo>
                    <a:pt x="907090" y="386537"/>
                  </a:lnTo>
                  <a:lnTo>
                    <a:pt x="905281" y="386279"/>
                  </a:lnTo>
                  <a:lnTo>
                    <a:pt x="903730" y="386537"/>
                  </a:lnTo>
                  <a:lnTo>
                    <a:pt x="902050" y="388088"/>
                  </a:lnTo>
                  <a:lnTo>
                    <a:pt x="902179" y="387959"/>
                  </a:lnTo>
                  <a:lnTo>
                    <a:pt x="901275" y="390156"/>
                  </a:lnTo>
                  <a:lnTo>
                    <a:pt x="903213" y="390673"/>
                  </a:lnTo>
                  <a:lnTo>
                    <a:pt x="904506" y="391578"/>
                  </a:lnTo>
                  <a:lnTo>
                    <a:pt x="904506" y="392611"/>
                  </a:lnTo>
                  <a:lnTo>
                    <a:pt x="902696" y="393775"/>
                  </a:lnTo>
                  <a:lnTo>
                    <a:pt x="902309" y="393645"/>
                  </a:lnTo>
                  <a:lnTo>
                    <a:pt x="899336" y="393128"/>
                  </a:lnTo>
                  <a:lnTo>
                    <a:pt x="898561" y="393387"/>
                  </a:lnTo>
                  <a:lnTo>
                    <a:pt x="897139" y="394291"/>
                  </a:lnTo>
                  <a:lnTo>
                    <a:pt x="894296" y="395196"/>
                  </a:lnTo>
                  <a:lnTo>
                    <a:pt x="899078" y="399332"/>
                  </a:lnTo>
                  <a:lnTo>
                    <a:pt x="900370" y="401916"/>
                  </a:lnTo>
                  <a:lnTo>
                    <a:pt x="894555" y="398944"/>
                  </a:lnTo>
                  <a:lnTo>
                    <a:pt x="892874" y="398427"/>
                  </a:lnTo>
                  <a:lnTo>
                    <a:pt x="887834" y="397522"/>
                  </a:lnTo>
                  <a:lnTo>
                    <a:pt x="881243" y="394550"/>
                  </a:lnTo>
                  <a:lnTo>
                    <a:pt x="876720" y="391836"/>
                  </a:lnTo>
                  <a:lnTo>
                    <a:pt x="875428" y="391578"/>
                  </a:lnTo>
                  <a:lnTo>
                    <a:pt x="874006" y="393258"/>
                  </a:lnTo>
                  <a:lnTo>
                    <a:pt x="874652" y="395842"/>
                  </a:lnTo>
                  <a:lnTo>
                    <a:pt x="876074" y="398556"/>
                  </a:lnTo>
                  <a:lnTo>
                    <a:pt x="876850" y="400753"/>
                  </a:lnTo>
                  <a:lnTo>
                    <a:pt x="876720" y="403079"/>
                  </a:lnTo>
                  <a:lnTo>
                    <a:pt x="873360" y="415873"/>
                  </a:lnTo>
                  <a:lnTo>
                    <a:pt x="873102" y="418200"/>
                  </a:lnTo>
                  <a:lnTo>
                    <a:pt x="873231" y="419621"/>
                  </a:lnTo>
                  <a:lnTo>
                    <a:pt x="874523" y="422981"/>
                  </a:lnTo>
                  <a:lnTo>
                    <a:pt x="874782" y="423111"/>
                  </a:lnTo>
                  <a:lnTo>
                    <a:pt x="875299" y="423369"/>
                  </a:lnTo>
                  <a:lnTo>
                    <a:pt x="875816" y="423757"/>
                  </a:lnTo>
                  <a:lnTo>
                    <a:pt x="876074" y="424403"/>
                  </a:lnTo>
                  <a:lnTo>
                    <a:pt x="875816" y="424403"/>
                  </a:lnTo>
                  <a:lnTo>
                    <a:pt x="874782" y="425178"/>
                  </a:lnTo>
                  <a:lnTo>
                    <a:pt x="874523" y="425178"/>
                  </a:lnTo>
                  <a:lnTo>
                    <a:pt x="874006" y="427634"/>
                  </a:lnTo>
                  <a:lnTo>
                    <a:pt x="874136" y="428668"/>
                  </a:lnTo>
                  <a:lnTo>
                    <a:pt x="874911" y="429831"/>
                  </a:lnTo>
                  <a:lnTo>
                    <a:pt x="877883" y="433320"/>
                  </a:lnTo>
                  <a:lnTo>
                    <a:pt x="878271" y="434354"/>
                  </a:lnTo>
                  <a:lnTo>
                    <a:pt x="878917" y="436551"/>
                  </a:lnTo>
                  <a:lnTo>
                    <a:pt x="880597" y="439006"/>
                  </a:lnTo>
                  <a:lnTo>
                    <a:pt x="897139" y="455290"/>
                  </a:lnTo>
                  <a:lnTo>
                    <a:pt x="899465" y="460201"/>
                  </a:lnTo>
                  <a:lnTo>
                    <a:pt x="897398" y="460588"/>
                  </a:lnTo>
                  <a:lnTo>
                    <a:pt x="895847" y="462139"/>
                  </a:lnTo>
                  <a:lnTo>
                    <a:pt x="895201" y="463819"/>
                  </a:lnTo>
                  <a:lnTo>
                    <a:pt x="895459" y="464594"/>
                  </a:lnTo>
                  <a:lnTo>
                    <a:pt x="896235" y="464982"/>
                  </a:lnTo>
                  <a:lnTo>
                    <a:pt x="898690" y="466921"/>
                  </a:lnTo>
                  <a:lnTo>
                    <a:pt x="900111" y="467567"/>
                  </a:lnTo>
                  <a:lnTo>
                    <a:pt x="916653" y="470927"/>
                  </a:lnTo>
                  <a:lnTo>
                    <a:pt x="919755" y="471056"/>
                  </a:lnTo>
                  <a:lnTo>
                    <a:pt x="922727" y="470668"/>
                  </a:lnTo>
                  <a:lnTo>
                    <a:pt x="925829" y="469635"/>
                  </a:lnTo>
                  <a:lnTo>
                    <a:pt x="928284" y="467955"/>
                  </a:lnTo>
                  <a:lnTo>
                    <a:pt x="926604" y="466921"/>
                  </a:lnTo>
                  <a:lnTo>
                    <a:pt x="923374" y="466016"/>
                  </a:lnTo>
                  <a:lnTo>
                    <a:pt x="920789" y="464594"/>
                  </a:lnTo>
                  <a:lnTo>
                    <a:pt x="923244" y="465111"/>
                  </a:lnTo>
                  <a:lnTo>
                    <a:pt x="926088" y="465241"/>
                  </a:lnTo>
                  <a:lnTo>
                    <a:pt x="928543" y="464594"/>
                  </a:lnTo>
                  <a:lnTo>
                    <a:pt x="929577" y="462656"/>
                  </a:lnTo>
                  <a:lnTo>
                    <a:pt x="929318" y="460071"/>
                  </a:lnTo>
                  <a:lnTo>
                    <a:pt x="927251" y="452059"/>
                  </a:lnTo>
                  <a:lnTo>
                    <a:pt x="928026" y="452059"/>
                  </a:lnTo>
                  <a:lnTo>
                    <a:pt x="930611" y="459425"/>
                  </a:lnTo>
                  <a:lnTo>
                    <a:pt x="930869" y="461622"/>
                  </a:lnTo>
                  <a:lnTo>
                    <a:pt x="931644" y="461622"/>
                  </a:lnTo>
                  <a:lnTo>
                    <a:pt x="932162" y="459554"/>
                  </a:lnTo>
                  <a:lnTo>
                    <a:pt x="932678" y="454256"/>
                  </a:lnTo>
                  <a:lnTo>
                    <a:pt x="933454" y="452576"/>
                  </a:lnTo>
                  <a:lnTo>
                    <a:pt x="933971" y="450767"/>
                  </a:lnTo>
                  <a:lnTo>
                    <a:pt x="932162" y="449216"/>
                  </a:lnTo>
                  <a:lnTo>
                    <a:pt x="929835" y="447665"/>
                  </a:lnTo>
                  <a:lnTo>
                    <a:pt x="928672" y="445985"/>
                  </a:lnTo>
                  <a:lnTo>
                    <a:pt x="928931" y="444951"/>
                  </a:lnTo>
                  <a:lnTo>
                    <a:pt x="929448" y="444305"/>
                  </a:lnTo>
                  <a:lnTo>
                    <a:pt x="930223" y="443659"/>
                  </a:lnTo>
                  <a:lnTo>
                    <a:pt x="930998" y="442754"/>
                  </a:lnTo>
                  <a:lnTo>
                    <a:pt x="931386" y="442496"/>
                  </a:lnTo>
                  <a:lnTo>
                    <a:pt x="931774" y="442625"/>
                  </a:lnTo>
                  <a:lnTo>
                    <a:pt x="932162" y="442625"/>
                  </a:lnTo>
                  <a:lnTo>
                    <a:pt x="932420" y="442108"/>
                  </a:lnTo>
                  <a:lnTo>
                    <a:pt x="932420" y="441591"/>
                  </a:lnTo>
                  <a:lnTo>
                    <a:pt x="932162" y="441332"/>
                  </a:lnTo>
                  <a:lnTo>
                    <a:pt x="931903" y="441074"/>
                  </a:lnTo>
                  <a:lnTo>
                    <a:pt x="930481" y="437197"/>
                  </a:lnTo>
                  <a:lnTo>
                    <a:pt x="930611" y="435388"/>
                  </a:lnTo>
                  <a:lnTo>
                    <a:pt x="932549" y="433966"/>
                  </a:lnTo>
                  <a:lnTo>
                    <a:pt x="932420" y="435000"/>
                  </a:lnTo>
                  <a:lnTo>
                    <a:pt x="931903" y="436809"/>
                  </a:lnTo>
                  <a:lnTo>
                    <a:pt x="931903" y="437585"/>
                  </a:lnTo>
                  <a:lnTo>
                    <a:pt x="932162" y="438489"/>
                  </a:lnTo>
                  <a:lnTo>
                    <a:pt x="933066" y="440169"/>
                  </a:lnTo>
                  <a:lnTo>
                    <a:pt x="933454" y="441849"/>
                  </a:lnTo>
                  <a:lnTo>
                    <a:pt x="933454" y="442237"/>
                  </a:lnTo>
                  <a:lnTo>
                    <a:pt x="932549" y="444046"/>
                  </a:lnTo>
                  <a:lnTo>
                    <a:pt x="931903" y="444563"/>
                  </a:lnTo>
                  <a:lnTo>
                    <a:pt x="931128" y="444693"/>
                  </a:lnTo>
                  <a:lnTo>
                    <a:pt x="930481" y="444951"/>
                  </a:lnTo>
                  <a:lnTo>
                    <a:pt x="930223" y="445856"/>
                  </a:lnTo>
                  <a:lnTo>
                    <a:pt x="930740" y="447277"/>
                  </a:lnTo>
                  <a:lnTo>
                    <a:pt x="932032" y="447665"/>
                  </a:lnTo>
                  <a:lnTo>
                    <a:pt x="933454" y="447794"/>
                  </a:lnTo>
                  <a:lnTo>
                    <a:pt x="934617" y="448440"/>
                  </a:lnTo>
                  <a:lnTo>
                    <a:pt x="935005" y="449733"/>
                  </a:lnTo>
                  <a:lnTo>
                    <a:pt x="934746" y="457357"/>
                  </a:lnTo>
                  <a:lnTo>
                    <a:pt x="935134" y="459425"/>
                  </a:lnTo>
                  <a:lnTo>
                    <a:pt x="936168" y="460976"/>
                  </a:lnTo>
                  <a:lnTo>
                    <a:pt x="940174" y="462010"/>
                  </a:lnTo>
                  <a:lnTo>
                    <a:pt x="941466" y="464078"/>
                  </a:lnTo>
                  <a:lnTo>
                    <a:pt x="942242" y="465241"/>
                  </a:lnTo>
                  <a:lnTo>
                    <a:pt x="943792" y="466145"/>
                  </a:lnTo>
                  <a:lnTo>
                    <a:pt x="950383" y="462914"/>
                  </a:lnTo>
                  <a:lnTo>
                    <a:pt x="951030" y="462010"/>
                  </a:lnTo>
                  <a:lnTo>
                    <a:pt x="954002" y="459684"/>
                  </a:lnTo>
                  <a:lnTo>
                    <a:pt x="954777" y="458133"/>
                  </a:lnTo>
                  <a:lnTo>
                    <a:pt x="954777" y="455548"/>
                  </a:lnTo>
                  <a:lnTo>
                    <a:pt x="954519" y="453997"/>
                  </a:lnTo>
                  <a:lnTo>
                    <a:pt x="955036" y="453222"/>
                  </a:lnTo>
                  <a:lnTo>
                    <a:pt x="957362" y="452963"/>
                  </a:lnTo>
                  <a:lnTo>
                    <a:pt x="957621" y="453480"/>
                  </a:lnTo>
                  <a:lnTo>
                    <a:pt x="956974" y="458650"/>
                  </a:lnTo>
                  <a:lnTo>
                    <a:pt x="956974" y="459296"/>
                  </a:lnTo>
                  <a:lnTo>
                    <a:pt x="957362" y="459813"/>
                  </a:lnTo>
                  <a:lnTo>
                    <a:pt x="959559" y="462010"/>
                  </a:lnTo>
                  <a:lnTo>
                    <a:pt x="960076" y="462397"/>
                  </a:lnTo>
                  <a:lnTo>
                    <a:pt x="962402" y="462268"/>
                  </a:lnTo>
                  <a:lnTo>
                    <a:pt x="963695" y="462527"/>
                  </a:lnTo>
                  <a:lnTo>
                    <a:pt x="965892" y="463561"/>
                  </a:lnTo>
                  <a:lnTo>
                    <a:pt x="968347" y="464078"/>
                  </a:lnTo>
                  <a:lnTo>
                    <a:pt x="969381" y="464853"/>
                  </a:lnTo>
                  <a:lnTo>
                    <a:pt x="970415" y="465758"/>
                  </a:lnTo>
                  <a:lnTo>
                    <a:pt x="971707" y="466533"/>
                  </a:lnTo>
                  <a:lnTo>
                    <a:pt x="972741" y="466791"/>
                  </a:lnTo>
                  <a:lnTo>
                    <a:pt x="974938" y="466921"/>
                  </a:lnTo>
                  <a:lnTo>
                    <a:pt x="975972" y="467308"/>
                  </a:lnTo>
                  <a:lnTo>
                    <a:pt x="977264" y="468213"/>
                  </a:lnTo>
                  <a:lnTo>
                    <a:pt x="978169" y="469118"/>
                  </a:lnTo>
                  <a:lnTo>
                    <a:pt x="979203" y="469893"/>
                  </a:lnTo>
                  <a:lnTo>
                    <a:pt x="980753" y="470152"/>
                  </a:lnTo>
                  <a:lnTo>
                    <a:pt x="981658" y="469893"/>
                  </a:lnTo>
                  <a:lnTo>
                    <a:pt x="984243" y="468859"/>
                  </a:lnTo>
                  <a:lnTo>
                    <a:pt x="987732" y="466016"/>
                  </a:lnTo>
                  <a:lnTo>
                    <a:pt x="988507" y="465111"/>
                  </a:lnTo>
                  <a:lnTo>
                    <a:pt x="988895" y="464078"/>
                  </a:lnTo>
                  <a:lnTo>
                    <a:pt x="989283" y="463044"/>
                  </a:lnTo>
                  <a:lnTo>
                    <a:pt x="989412" y="461881"/>
                  </a:lnTo>
                  <a:lnTo>
                    <a:pt x="989283" y="460717"/>
                  </a:lnTo>
                  <a:lnTo>
                    <a:pt x="986052" y="454256"/>
                  </a:lnTo>
                  <a:lnTo>
                    <a:pt x="985535" y="451671"/>
                  </a:lnTo>
                  <a:lnTo>
                    <a:pt x="985793" y="450120"/>
                  </a:lnTo>
                  <a:lnTo>
                    <a:pt x="987215" y="446760"/>
                  </a:lnTo>
                  <a:lnTo>
                    <a:pt x="987603" y="444951"/>
                  </a:lnTo>
                  <a:lnTo>
                    <a:pt x="988120" y="446502"/>
                  </a:lnTo>
                  <a:lnTo>
                    <a:pt x="987086" y="449733"/>
                  </a:lnTo>
                  <a:lnTo>
                    <a:pt x="986956" y="451542"/>
                  </a:lnTo>
                  <a:lnTo>
                    <a:pt x="987603" y="452705"/>
                  </a:lnTo>
                  <a:lnTo>
                    <a:pt x="989541" y="455290"/>
                  </a:lnTo>
                  <a:lnTo>
                    <a:pt x="990446" y="460071"/>
                  </a:lnTo>
                  <a:lnTo>
                    <a:pt x="991867" y="463044"/>
                  </a:lnTo>
                  <a:lnTo>
                    <a:pt x="993806" y="464982"/>
                  </a:lnTo>
                  <a:lnTo>
                    <a:pt x="995874" y="465241"/>
                  </a:lnTo>
                  <a:lnTo>
                    <a:pt x="997424" y="463948"/>
                  </a:lnTo>
                  <a:lnTo>
                    <a:pt x="1000655" y="460201"/>
                  </a:lnTo>
                  <a:lnTo>
                    <a:pt x="1002852" y="459425"/>
                  </a:lnTo>
                  <a:lnTo>
                    <a:pt x="1007634" y="460201"/>
                  </a:lnTo>
                  <a:lnTo>
                    <a:pt x="1008409" y="459813"/>
                  </a:lnTo>
                  <a:lnTo>
                    <a:pt x="1009185" y="457357"/>
                  </a:lnTo>
                  <a:lnTo>
                    <a:pt x="1009055" y="456065"/>
                  </a:lnTo>
                  <a:lnTo>
                    <a:pt x="1007634" y="455677"/>
                  </a:lnTo>
                  <a:lnTo>
                    <a:pt x="1007634" y="454902"/>
                  </a:lnTo>
                  <a:lnTo>
                    <a:pt x="1009185" y="454902"/>
                  </a:lnTo>
                  <a:lnTo>
                    <a:pt x="1008280" y="453351"/>
                  </a:lnTo>
                  <a:lnTo>
                    <a:pt x="1007892" y="451671"/>
                  </a:lnTo>
                  <a:lnTo>
                    <a:pt x="1008409" y="450379"/>
                  </a:lnTo>
                  <a:lnTo>
                    <a:pt x="1010219" y="449862"/>
                  </a:lnTo>
                  <a:lnTo>
                    <a:pt x="1011511" y="449216"/>
                  </a:lnTo>
                  <a:lnTo>
                    <a:pt x="1012415" y="447665"/>
                  </a:lnTo>
                  <a:lnTo>
                    <a:pt x="1012415" y="445985"/>
                  </a:lnTo>
                  <a:lnTo>
                    <a:pt x="1011252" y="444693"/>
                  </a:lnTo>
                  <a:lnTo>
                    <a:pt x="1011899" y="444822"/>
                  </a:lnTo>
                  <a:lnTo>
                    <a:pt x="1012415" y="444822"/>
                  </a:lnTo>
                  <a:lnTo>
                    <a:pt x="1012932" y="444951"/>
                  </a:lnTo>
                  <a:lnTo>
                    <a:pt x="1013449" y="445339"/>
                  </a:lnTo>
                  <a:lnTo>
                    <a:pt x="1013449" y="439911"/>
                  </a:lnTo>
                  <a:lnTo>
                    <a:pt x="1013062" y="438619"/>
                  </a:lnTo>
                  <a:lnTo>
                    <a:pt x="1012157" y="437585"/>
                  </a:lnTo>
                  <a:lnTo>
                    <a:pt x="1011252" y="437068"/>
                  </a:lnTo>
                  <a:lnTo>
                    <a:pt x="1010606" y="436292"/>
                  </a:lnTo>
                  <a:lnTo>
                    <a:pt x="1011640" y="436680"/>
                  </a:lnTo>
                  <a:lnTo>
                    <a:pt x="1012545" y="436809"/>
                  </a:lnTo>
                  <a:lnTo>
                    <a:pt x="1013449" y="436680"/>
                  </a:lnTo>
                  <a:lnTo>
                    <a:pt x="1014354" y="436292"/>
                  </a:lnTo>
                  <a:lnTo>
                    <a:pt x="1015000" y="442496"/>
                  </a:lnTo>
                  <a:lnTo>
                    <a:pt x="1015646" y="443788"/>
                  </a:lnTo>
                  <a:lnTo>
                    <a:pt x="1015776" y="447406"/>
                  </a:lnTo>
                  <a:lnTo>
                    <a:pt x="1017326" y="449603"/>
                  </a:lnTo>
                  <a:lnTo>
                    <a:pt x="1020040" y="450896"/>
                  </a:lnTo>
                  <a:lnTo>
                    <a:pt x="1021979" y="450637"/>
                  </a:lnTo>
                  <a:lnTo>
                    <a:pt x="1023917" y="451154"/>
                  </a:lnTo>
                  <a:lnTo>
                    <a:pt x="1027536" y="452188"/>
                  </a:lnTo>
                  <a:lnTo>
                    <a:pt x="1029087" y="451283"/>
                  </a:lnTo>
                  <a:lnTo>
                    <a:pt x="1029474" y="448828"/>
                  </a:lnTo>
                  <a:lnTo>
                    <a:pt x="1027148" y="445856"/>
                  </a:lnTo>
                  <a:lnTo>
                    <a:pt x="1023530" y="443529"/>
                  </a:lnTo>
                  <a:lnTo>
                    <a:pt x="1023013" y="441203"/>
                  </a:lnTo>
                  <a:lnTo>
                    <a:pt x="1023917" y="438619"/>
                  </a:lnTo>
                  <a:lnTo>
                    <a:pt x="1025339" y="436292"/>
                  </a:lnTo>
                  <a:lnTo>
                    <a:pt x="1025985" y="435000"/>
                  </a:lnTo>
                  <a:lnTo>
                    <a:pt x="1026373" y="436034"/>
                  </a:lnTo>
                  <a:lnTo>
                    <a:pt x="1026114" y="437068"/>
                  </a:lnTo>
                  <a:lnTo>
                    <a:pt x="1025597" y="438231"/>
                  </a:lnTo>
                  <a:lnTo>
                    <a:pt x="1025339" y="439782"/>
                  </a:lnTo>
                  <a:lnTo>
                    <a:pt x="1025856" y="440816"/>
                  </a:lnTo>
                  <a:lnTo>
                    <a:pt x="1029733" y="444563"/>
                  </a:lnTo>
                  <a:lnTo>
                    <a:pt x="1032059" y="446114"/>
                  </a:lnTo>
                  <a:lnTo>
                    <a:pt x="1033997" y="447794"/>
                  </a:lnTo>
                  <a:lnTo>
                    <a:pt x="1036194" y="449216"/>
                  </a:lnTo>
                  <a:lnTo>
                    <a:pt x="1038262" y="449603"/>
                  </a:lnTo>
                  <a:lnTo>
                    <a:pt x="1040201" y="449474"/>
                  </a:lnTo>
                  <a:lnTo>
                    <a:pt x="1043819" y="449603"/>
                  </a:lnTo>
                  <a:lnTo>
                    <a:pt x="1047567" y="448182"/>
                  </a:lnTo>
                  <a:lnTo>
                    <a:pt x="1049635" y="445985"/>
                  </a:lnTo>
                  <a:lnTo>
                    <a:pt x="1048084" y="446373"/>
                  </a:lnTo>
                  <a:lnTo>
                    <a:pt x="1047438" y="446760"/>
                  </a:lnTo>
                  <a:lnTo>
                    <a:pt x="1046792" y="447536"/>
                  </a:lnTo>
                  <a:lnTo>
                    <a:pt x="1046145" y="445985"/>
                  </a:lnTo>
                  <a:lnTo>
                    <a:pt x="1045112" y="445726"/>
                  </a:lnTo>
                  <a:lnTo>
                    <a:pt x="1043948" y="445597"/>
                  </a:lnTo>
                  <a:lnTo>
                    <a:pt x="1043173" y="444563"/>
                  </a:lnTo>
                  <a:lnTo>
                    <a:pt x="1044207" y="444305"/>
                  </a:lnTo>
                  <a:lnTo>
                    <a:pt x="1044982" y="444046"/>
                  </a:lnTo>
                  <a:lnTo>
                    <a:pt x="1045629" y="443659"/>
                  </a:lnTo>
                  <a:lnTo>
                    <a:pt x="1046145" y="443012"/>
                  </a:lnTo>
                  <a:lnTo>
                    <a:pt x="1046662" y="443659"/>
                  </a:lnTo>
                  <a:lnTo>
                    <a:pt x="1046792" y="443917"/>
                  </a:lnTo>
                  <a:lnTo>
                    <a:pt x="1046921" y="444434"/>
                  </a:lnTo>
                  <a:lnTo>
                    <a:pt x="1047308" y="444305"/>
                  </a:lnTo>
                  <a:lnTo>
                    <a:pt x="1048342" y="443659"/>
                  </a:lnTo>
                  <a:lnTo>
                    <a:pt x="1046275" y="442237"/>
                  </a:lnTo>
                  <a:lnTo>
                    <a:pt x="1046016" y="439652"/>
                  </a:lnTo>
                  <a:lnTo>
                    <a:pt x="1048084" y="431640"/>
                  </a:lnTo>
                  <a:lnTo>
                    <a:pt x="1048084" y="429055"/>
                  </a:lnTo>
                  <a:lnTo>
                    <a:pt x="1047308" y="426858"/>
                  </a:lnTo>
                  <a:lnTo>
                    <a:pt x="1045112" y="425307"/>
                  </a:lnTo>
                  <a:lnTo>
                    <a:pt x="1046275" y="424661"/>
                  </a:lnTo>
                  <a:lnTo>
                    <a:pt x="1046921" y="424920"/>
                  </a:lnTo>
                  <a:lnTo>
                    <a:pt x="1047438" y="425566"/>
                  </a:lnTo>
                  <a:lnTo>
                    <a:pt x="1047955" y="425954"/>
                  </a:lnTo>
                  <a:lnTo>
                    <a:pt x="1051186" y="425954"/>
                  </a:lnTo>
                  <a:lnTo>
                    <a:pt x="1051444" y="426729"/>
                  </a:lnTo>
                  <a:lnTo>
                    <a:pt x="1053770" y="431381"/>
                  </a:lnTo>
                  <a:lnTo>
                    <a:pt x="1054029" y="432415"/>
                  </a:lnTo>
                  <a:lnTo>
                    <a:pt x="1055321" y="435775"/>
                  </a:lnTo>
                  <a:lnTo>
                    <a:pt x="1055967" y="436809"/>
                  </a:lnTo>
                  <a:lnTo>
                    <a:pt x="1056484" y="437197"/>
                  </a:lnTo>
                  <a:lnTo>
                    <a:pt x="1057001" y="437455"/>
                  </a:lnTo>
                  <a:lnTo>
                    <a:pt x="1057647" y="437585"/>
                  </a:lnTo>
                  <a:lnTo>
                    <a:pt x="1058552" y="437585"/>
                  </a:lnTo>
                  <a:lnTo>
                    <a:pt x="1059456" y="437843"/>
                  </a:lnTo>
                  <a:lnTo>
                    <a:pt x="1059586" y="438489"/>
                  </a:lnTo>
                  <a:lnTo>
                    <a:pt x="1059586" y="439265"/>
                  </a:lnTo>
                  <a:lnTo>
                    <a:pt x="1060232" y="439782"/>
                  </a:lnTo>
                  <a:lnTo>
                    <a:pt x="1062170" y="439911"/>
                  </a:lnTo>
                  <a:lnTo>
                    <a:pt x="1063463" y="439394"/>
                  </a:lnTo>
                  <a:lnTo>
                    <a:pt x="1064755" y="438748"/>
                  </a:lnTo>
                  <a:lnTo>
                    <a:pt x="1070183" y="437972"/>
                  </a:lnTo>
                  <a:lnTo>
                    <a:pt x="1072122" y="437455"/>
                  </a:lnTo>
                  <a:lnTo>
                    <a:pt x="1072897" y="436680"/>
                  </a:lnTo>
                  <a:lnTo>
                    <a:pt x="1073285" y="435646"/>
                  </a:lnTo>
                  <a:lnTo>
                    <a:pt x="1074318" y="435905"/>
                  </a:lnTo>
                  <a:lnTo>
                    <a:pt x="1076128" y="437068"/>
                  </a:lnTo>
                  <a:lnTo>
                    <a:pt x="1076903" y="436680"/>
                  </a:lnTo>
                  <a:lnTo>
                    <a:pt x="1077291" y="435775"/>
                  </a:lnTo>
                  <a:lnTo>
                    <a:pt x="1077549" y="434742"/>
                  </a:lnTo>
                  <a:lnTo>
                    <a:pt x="1077937" y="433966"/>
                  </a:lnTo>
                  <a:lnTo>
                    <a:pt x="1079359" y="432932"/>
                  </a:lnTo>
                  <a:lnTo>
                    <a:pt x="1081038" y="432157"/>
                  </a:lnTo>
                  <a:lnTo>
                    <a:pt x="1082848" y="431640"/>
                  </a:lnTo>
                  <a:lnTo>
                    <a:pt x="1084528" y="431252"/>
                  </a:lnTo>
                  <a:lnTo>
                    <a:pt x="1084528" y="430477"/>
                  </a:lnTo>
                  <a:lnTo>
                    <a:pt x="1080780" y="428021"/>
                  </a:lnTo>
                  <a:lnTo>
                    <a:pt x="1079746" y="427634"/>
                  </a:lnTo>
                  <a:lnTo>
                    <a:pt x="1079359" y="427246"/>
                  </a:lnTo>
                  <a:lnTo>
                    <a:pt x="1078842" y="425695"/>
                  </a:lnTo>
                  <a:lnTo>
                    <a:pt x="1078454" y="425307"/>
                  </a:lnTo>
                  <a:lnTo>
                    <a:pt x="1078325" y="425178"/>
                  </a:lnTo>
                  <a:lnTo>
                    <a:pt x="1075998" y="424532"/>
                  </a:lnTo>
                  <a:lnTo>
                    <a:pt x="1075482" y="423369"/>
                  </a:lnTo>
                  <a:lnTo>
                    <a:pt x="1075094" y="421818"/>
                  </a:lnTo>
                  <a:lnTo>
                    <a:pt x="1074577" y="420526"/>
                  </a:lnTo>
                  <a:lnTo>
                    <a:pt x="1073543" y="420009"/>
                  </a:lnTo>
                  <a:lnTo>
                    <a:pt x="1072638" y="420397"/>
                  </a:lnTo>
                  <a:lnTo>
                    <a:pt x="1070054" y="422335"/>
                  </a:lnTo>
                  <a:lnTo>
                    <a:pt x="1068632" y="422852"/>
                  </a:lnTo>
                  <a:lnTo>
                    <a:pt x="1069666" y="421947"/>
                  </a:lnTo>
                  <a:lnTo>
                    <a:pt x="1070183" y="420914"/>
                  </a:lnTo>
                  <a:lnTo>
                    <a:pt x="1070183" y="420009"/>
                  </a:lnTo>
                  <a:lnTo>
                    <a:pt x="1069537" y="419234"/>
                  </a:lnTo>
                  <a:lnTo>
                    <a:pt x="1069537" y="418458"/>
                  </a:lnTo>
                  <a:lnTo>
                    <a:pt x="1072509" y="417554"/>
                  </a:lnTo>
                  <a:lnTo>
                    <a:pt x="1073414" y="416003"/>
                  </a:lnTo>
                  <a:lnTo>
                    <a:pt x="1072251" y="414581"/>
                  </a:lnTo>
                  <a:lnTo>
                    <a:pt x="1068761" y="414193"/>
                  </a:lnTo>
                  <a:lnTo>
                    <a:pt x="1071604" y="413160"/>
                  </a:lnTo>
                  <a:lnTo>
                    <a:pt x="1073931" y="414581"/>
                  </a:lnTo>
                  <a:lnTo>
                    <a:pt x="1082848" y="425566"/>
                  </a:lnTo>
                  <a:lnTo>
                    <a:pt x="1084916" y="427375"/>
                  </a:lnTo>
                  <a:lnTo>
                    <a:pt x="1085562" y="427375"/>
                  </a:lnTo>
                  <a:lnTo>
                    <a:pt x="1088793" y="419234"/>
                  </a:lnTo>
                  <a:lnTo>
                    <a:pt x="1089826" y="412901"/>
                  </a:lnTo>
                  <a:lnTo>
                    <a:pt x="1089439" y="411738"/>
                  </a:lnTo>
                  <a:lnTo>
                    <a:pt x="1087759" y="410575"/>
                  </a:lnTo>
                  <a:lnTo>
                    <a:pt x="1086337" y="410316"/>
                  </a:lnTo>
                  <a:lnTo>
                    <a:pt x="1083236" y="410316"/>
                  </a:lnTo>
                  <a:lnTo>
                    <a:pt x="1081814" y="410058"/>
                  </a:lnTo>
                  <a:lnTo>
                    <a:pt x="1081814" y="409283"/>
                  </a:lnTo>
                  <a:lnTo>
                    <a:pt x="1084269" y="409799"/>
                  </a:lnTo>
                  <a:lnTo>
                    <a:pt x="1085045" y="408119"/>
                  </a:lnTo>
                  <a:lnTo>
                    <a:pt x="1084528" y="405922"/>
                  </a:lnTo>
                  <a:lnTo>
                    <a:pt x="1082977" y="404759"/>
                  </a:lnTo>
                  <a:lnTo>
                    <a:pt x="1080909" y="404113"/>
                  </a:lnTo>
                  <a:lnTo>
                    <a:pt x="1078842" y="402433"/>
                  </a:lnTo>
                  <a:lnTo>
                    <a:pt x="1077032" y="400365"/>
                  </a:lnTo>
                  <a:lnTo>
                    <a:pt x="1075998" y="398298"/>
                  </a:lnTo>
                  <a:lnTo>
                    <a:pt x="1076645" y="397522"/>
                  </a:lnTo>
                  <a:lnTo>
                    <a:pt x="1078454" y="399978"/>
                  </a:lnTo>
                  <a:lnTo>
                    <a:pt x="1080780" y="402433"/>
                  </a:lnTo>
                  <a:lnTo>
                    <a:pt x="1083623" y="404242"/>
                  </a:lnTo>
                  <a:lnTo>
                    <a:pt x="1086983" y="404759"/>
                  </a:lnTo>
                  <a:lnTo>
                    <a:pt x="1089439" y="403596"/>
                  </a:lnTo>
                  <a:lnTo>
                    <a:pt x="1093445" y="399202"/>
                  </a:lnTo>
                  <a:lnTo>
                    <a:pt x="1095383" y="398168"/>
                  </a:lnTo>
                  <a:lnTo>
                    <a:pt x="1097710" y="397393"/>
                  </a:lnTo>
                  <a:lnTo>
                    <a:pt x="1102491" y="393904"/>
                  </a:lnTo>
                  <a:lnTo>
                    <a:pt x="1104042" y="393128"/>
                  </a:lnTo>
                  <a:lnTo>
                    <a:pt x="1105593" y="392094"/>
                  </a:lnTo>
                  <a:lnTo>
                    <a:pt x="1107144" y="389897"/>
                  </a:lnTo>
                  <a:lnTo>
                    <a:pt x="1107144" y="388217"/>
                  </a:lnTo>
                  <a:lnTo>
                    <a:pt x="1104301" y="388734"/>
                  </a:lnTo>
                  <a:lnTo>
                    <a:pt x="1104301" y="387959"/>
                  </a:lnTo>
                  <a:lnTo>
                    <a:pt x="1106885" y="386279"/>
                  </a:lnTo>
                  <a:lnTo>
                    <a:pt x="1107273" y="385891"/>
                  </a:lnTo>
                  <a:lnTo>
                    <a:pt x="1107015" y="384340"/>
                  </a:lnTo>
                  <a:lnTo>
                    <a:pt x="1106239" y="384211"/>
                  </a:lnTo>
                  <a:lnTo>
                    <a:pt x="1105205" y="384599"/>
                  </a:lnTo>
                  <a:lnTo>
                    <a:pt x="1104301" y="384470"/>
                  </a:lnTo>
                  <a:lnTo>
                    <a:pt x="1103137" y="383565"/>
                  </a:lnTo>
                  <a:lnTo>
                    <a:pt x="1103137" y="383307"/>
                  </a:lnTo>
                  <a:lnTo>
                    <a:pt x="1103913" y="383048"/>
                  </a:lnTo>
                  <a:lnTo>
                    <a:pt x="1104947" y="382144"/>
                  </a:lnTo>
                  <a:lnTo>
                    <a:pt x="1106756" y="379817"/>
                  </a:lnTo>
                  <a:lnTo>
                    <a:pt x="1107144" y="378783"/>
                  </a:lnTo>
                  <a:lnTo>
                    <a:pt x="1106497" y="377750"/>
                  </a:lnTo>
                  <a:lnTo>
                    <a:pt x="1108694" y="376070"/>
                  </a:lnTo>
                  <a:lnTo>
                    <a:pt x="1114381" y="374131"/>
                  </a:lnTo>
                  <a:lnTo>
                    <a:pt x="1116836" y="372063"/>
                  </a:lnTo>
                  <a:lnTo>
                    <a:pt x="1117870" y="369737"/>
                  </a:lnTo>
                  <a:lnTo>
                    <a:pt x="1118387" y="366894"/>
                  </a:lnTo>
                  <a:lnTo>
                    <a:pt x="1118129" y="364051"/>
                  </a:lnTo>
                  <a:lnTo>
                    <a:pt x="1116965" y="361725"/>
                  </a:lnTo>
                  <a:lnTo>
                    <a:pt x="1118516" y="359011"/>
                  </a:lnTo>
                  <a:lnTo>
                    <a:pt x="1116965" y="355909"/>
                  </a:lnTo>
                  <a:lnTo>
                    <a:pt x="1114510" y="352678"/>
                  </a:lnTo>
                  <a:lnTo>
                    <a:pt x="1113218" y="349189"/>
                  </a:lnTo>
                  <a:lnTo>
                    <a:pt x="1116965" y="353195"/>
                  </a:lnTo>
                  <a:lnTo>
                    <a:pt x="1119033" y="354875"/>
                  </a:lnTo>
                  <a:lnTo>
                    <a:pt x="1121359" y="355780"/>
                  </a:lnTo>
                  <a:lnTo>
                    <a:pt x="1121618" y="353583"/>
                  </a:lnTo>
                  <a:lnTo>
                    <a:pt x="1122264" y="351386"/>
                  </a:lnTo>
                  <a:lnTo>
                    <a:pt x="1122523" y="349577"/>
                  </a:lnTo>
                  <a:lnTo>
                    <a:pt x="1121359" y="348672"/>
                  </a:lnTo>
                  <a:lnTo>
                    <a:pt x="1122393" y="347509"/>
                  </a:lnTo>
                  <a:lnTo>
                    <a:pt x="1122652" y="346346"/>
                  </a:lnTo>
                  <a:lnTo>
                    <a:pt x="1122781" y="343632"/>
                  </a:lnTo>
                  <a:lnTo>
                    <a:pt x="1124719" y="339626"/>
                  </a:lnTo>
                  <a:lnTo>
                    <a:pt x="1124978" y="338075"/>
                  </a:lnTo>
                  <a:lnTo>
                    <a:pt x="1125107" y="331613"/>
                  </a:lnTo>
                  <a:lnTo>
                    <a:pt x="1125883" y="328382"/>
                  </a:lnTo>
                  <a:lnTo>
                    <a:pt x="1128338" y="324247"/>
                  </a:lnTo>
                  <a:lnTo>
                    <a:pt x="1129501" y="320758"/>
                  </a:lnTo>
                  <a:lnTo>
                    <a:pt x="1130535" y="320111"/>
                  </a:lnTo>
                  <a:lnTo>
                    <a:pt x="1131698" y="319724"/>
                  </a:lnTo>
                  <a:lnTo>
                    <a:pt x="1132861" y="318819"/>
                  </a:lnTo>
                  <a:lnTo>
                    <a:pt x="1133895" y="317527"/>
                  </a:lnTo>
                  <a:lnTo>
                    <a:pt x="1134541" y="316364"/>
                  </a:lnTo>
                  <a:lnTo>
                    <a:pt x="1134929" y="314942"/>
                  </a:lnTo>
                  <a:lnTo>
                    <a:pt x="1135317" y="310160"/>
                  </a:lnTo>
                  <a:lnTo>
                    <a:pt x="1135058" y="308351"/>
                  </a:lnTo>
                  <a:lnTo>
                    <a:pt x="1134283" y="307317"/>
                  </a:lnTo>
                  <a:lnTo>
                    <a:pt x="1133378" y="306542"/>
                  </a:lnTo>
                  <a:lnTo>
                    <a:pt x="1132344" y="305508"/>
                  </a:lnTo>
                  <a:lnTo>
                    <a:pt x="1131569" y="305508"/>
                  </a:lnTo>
                  <a:lnTo>
                    <a:pt x="1128726" y="304345"/>
                  </a:lnTo>
                  <a:lnTo>
                    <a:pt x="1116190" y="302665"/>
                  </a:lnTo>
                  <a:lnTo>
                    <a:pt x="1110116" y="300726"/>
                  </a:lnTo>
                  <a:lnTo>
                    <a:pt x="1107790" y="300468"/>
                  </a:lnTo>
                  <a:lnTo>
                    <a:pt x="1105334" y="300726"/>
                  </a:lnTo>
                  <a:lnTo>
                    <a:pt x="1101328" y="301760"/>
                  </a:lnTo>
                  <a:lnTo>
                    <a:pt x="1099390" y="301890"/>
                  </a:lnTo>
                  <a:lnTo>
                    <a:pt x="1087112" y="298788"/>
                  </a:lnTo>
                  <a:lnTo>
                    <a:pt x="1082460" y="298917"/>
                  </a:lnTo>
                  <a:lnTo>
                    <a:pt x="1078971" y="299563"/>
                  </a:lnTo>
                  <a:lnTo>
                    <a:pt x="1078971" y="298400"/>
                  </a:lnTo>
                  <a:lnTo>
                    <a:pt x="1080134" y="296849"/>
                  </a:lnTo>
                  <a:lnTo>
                    <a:pt x="1080263" y="293877"/>
                  </a:lnTo>
                  <a:lnTo>
                    <a:pt x="1078842" y="292714"/>
                  </a:lnTo>
                  <a:lnTo>
                    <a:pt x="1075223" y="293360"/>
                  </a:lnTo>
                  <a:lnTo>
                    <a:pt x="1073026" y="294911"/>
                  </a:lnTo>
                  <a:lnTo>
                    <a:pt x="1071604" y="295945"/>
                  </a:lnTo>
                  <a:lnTo>
                    <a:pt x="1069537" y="296332"/>
                  </a:lnTo>
                  <a:lnTo>
                    <a:pt x="1068115" y="294782"/>
                  </a:lnTo>
                  <a:lnTo>
                    <a:pt x="1066177" y="293489"/>
                  </a:lnTo>
                  <a:lnTo>
                    <a:pt x="1064626" y="293489"/>
                  </a:lnTo>
                  <a:lnTo>
                    <a:pt x="1057647" y="292843"/>
                  </a:lnTo>
                  <a:lnTo>
                    <a:pt x="1054546" y="293748"/>
                  </a:lnTo>
                  <a:lnTo>
                    <a:pt x="1053382" y="292714"/>
                  </a:lnTo>
                  <a:lnTo>
                    <a:pt x="1051961" y="292585"/>
                  </a:lnTo>
                  <a:lnTo>
                    <a:pt x="1050539" y="292843"/>
                  </a:lnTo>
                  <a:lnTo>
                    <a:pt x="1049376" y="292843"/>
                  </a:lnTo>
                  <a:lnTo>
                    <a:pt x="1047955" y="292326"/>
                  </a:lnTo>
                  <a:lnTo>
                    <a:pt x="1046533" y="291551"/>
                  </a:lnTo>
                  <a:lnTo>
                    <a:pt x="1045370" y="291422"/>
                  </a:lnTo>
                  <a:lnTo>
                    <a:pt x="1044336" y="291551"/>
                  </a:lnTo>
                  <a:lnTo>
                    <a:pt x="1042139" y="292197"/>
                  </a:lnTo>
                  <a:lnTo>
                    <a:pt x="1039425" y="292326"/>
                  </a:lnTo>
                  <a:lnTo>
                    <a:pt x="1038004" y="292843"/>
                  </a:lnTo>
                  <a:lnTo>
                    <a:pt x="1037099" y="293489"/>
                  </a:lnTo>
                  <a:lnTo>
                    <a:pt x="1035548" y="293360"/>
                  </a:lnTo>
                  <a:lnTo>
                    <a:pt x="1034644" y="293619"/>
                  </a:lnTo>
                  <a:lnTo>
                    <a:pt x="1033997" y="293877"/>
                  </a:lnTo>
                  <a:lnTo>
                    <a:pt x="1033481" y="293877"/>
                  </a:lnTo>
                  <a:lnTo>
                    <a:pt x="1032576" y="293231"/>
                  </a:lnTo>
                  <a:lnTo>
                    <a:pt x="1026114" y="296462"/>
                  </a:lnTo>
                  <a:lnTo>
                    <a:pt x="1024176" y="298142"/>
                  </a:lnTo>
                  <a:close/>
                  <a:moveTo>
                    <a:pt x="1017714" y="452963"/>
                  </a:moveTo>
                  <a:lnTo>
                    <a:pt x="1016163" y="453093"/>
                  </a:lnTo>
                  <a:lnTo>
                    <a:pt x="1014871" y="453868"/>
                  </a:lnTo>
                  <a:lnTo>
                    <a:pt x="1013837" y="453480"/>
                  </a:lnTo>
                  <a:lnTo>
                    <a:pt x="1012545" y="453997"/>
                  </a:lnTo>
                  <a:lnTo>
                    <a:pt x="1011252" y="455031"/>
                  </a:lnTo>
                  <a:lnTo>
                    <a:pt x="1010994" y="456194"/>
                  </a:lnTo>
                  <a:lnTo>
                    <a:pt x="1010994" y="458262"/>
                  </a:lnTo>
                  <a:lnTo>
                    <a:pt x="1010865" y="459684"/>
                  </a:lnTo>
                  <a:lnTo>
                    <a:pt x="1011640" y="461622"/>
                  </a:lnTo>
                  <a:lnTo>
                    <a:pt x="1013191" y="462656"/>
                  </a:lnTo>
                  <a:lnTo>
                    <a:pt x="1014483" y="462397"/>
                  </a:lnTo>
                  <a:lnTo>
                    <a:pt x="1016163" y="461105"/>
                  </a:lnTo>
                  <a:lnTo>
                    <a:pt x="1017456" y="459942"/>
                  </a:lnTo>
                  <a:lnTo>
                    <a:pt x="1020040" y="459167"/>
                  </a:lnTo>
                  <a:lnTo>
                    <a:pt x="1021333" y="458779"/>
                  </a:lnTo>
                  <a:lnTo>
                    <a:pt x="1022237" y="457487"/>
                  </a:lnTo>
                  <a:lnTo>
                    <a:pt x="1022496" y="456194"/>
                  </a:lnTo>
                  <a:lnTo>
                    <a:pt x="1022366" y="455160"/>
                  </a:lnTo>
                  <a:lnTo>
                    <a:pt x="1020945" y="454127"/>
                  </a:lnTo>
                  <a:lnTo>
                    <a:pt x="1017714" y="452963"/>
                  </a:lnTo>
                  <a:close/>
                  <a:moveTo>
                    <a:pt x="1131181" y="390673"/>
                  </a:moveTo>
                  <a:lnTo>
                    <a:pt x="1129372" y="391836"/>
                  </a:lnTo>
                  <a:lnTo>
                    <a:pt x="1128596" y="395842"/>
                  </a:lnTo>
                  <a:lnTo>
                    <a:pt x="1128209" y="396488"/>
                  </a:lnTo>
                  <a:lnTo>
                    <a:pt x="1125624" y="398427"/>
                  </a:lnTo>
                  <a:lnTo>
                    <a:pt x="1124590" y="400107"/>
                  </a:lnTo>
                  <a:lnTo>
                    <a:pt x="1124978" y="400882"/>
                  </a:lnTo>
                  <a:lnTo>
                    <a:pt x="1126270" y="401270"/>
                  </a:lnTo>
                  <a:lnTo>
                    <a:pt x="1127950" y="402045"/>
                  </a:lnTo>
                  <a:lnTo>
                    <a:pt x="1130147" y="404372"/>
                  </a:lnTo>
                  <a:lnTo>
                    <a:pt x="1131440" y="404889"/>
                  </a:lnTo>
                  <a:lnTo>
                    <a:pt x="1132344" y="403467"/>
                  </a:lnTo>
                  <a:lnTo>
                    <a:pt x="1132344" y="404242"/>
                  </a:lnTo>
                  <a:lnTo>
                    <a:pt x="1132474" y="405018"/>
                  </a:lnTo>
                  <a:lnTo>
                    <a:pt x="1132990" y="405793"/>
                  </a:lnTo>
                  <a:lnTo>
                    <a:pt x="1133895" y="406439"/>
                  </a:lnTo>
                  <a:lnTo>
                    <a:pt x="1135575" y="405664"/>
                  </a:lnTo>
                  <a:lnTo>
                    <a:pt x="1137126" y="405535"/>
                  </a:lnTo>
                  <a:lnTo>
                    <a:pt x="1138677" y="405147"/>
                  </a:lnTo>
                  <a:lnTo>
                    <a:pt x="1140227" y="403467"/>
                  </a:lnTo>
                  <a:lnTo>
                    <a:pt x="1140357" y="402562"/>
                  </a:lnTo>
                  <a:lnTo>
                    <a:pt x="1140227" y="400236"/>
                  </a:lnTo>
                  <a:lnTo>
                    <a:pt x="1140615" y="399848"/>
                  </a:lnTo>
                  <a:lnTo>
                    <a:pt x="1142554" y="397005"/>
                  </a:lnTo>
                  <a:lnTo>
                    <a:pt x="1141132" y="395325"/>
                  </a:lnTo>
                  <a:lnTo>
                    <a:pt x="1139711" y="391448"/>
                  </a:lnTo>
                  <a:lnTo>
                    <a:pt x="1138160" y="390414"/>
                  </a:lnTo>
                  <a:lnTo>
                    <a:pt x="1133378" y="390285"/>
                  </a:lnTo>
                  <a:lnTo>
                    <a:pt x="1131181" y="390673"/>
                  </a:lnTo>
                  <a:close/>
                  <a:moveTo>
                    <a:pt x="1201097" y="343115"/>
                  </a:moveTo>
                  <a:lnTo>
                    <a:pt x="1204974" y="344666"/>
                  </a:lnTo>
                  <a:lnTo>
                    <a:pt x="1206137" y="348801"/>
                  </a:lnTo>
                  <a:lnTo>
                    <a:pt x="1206653" y="350869"/>
                  </a:lnTo>
                  <a:lnTo>
                    <a:pt x="1206395" y="352549"/>
                  </a:lnTo>
                  <a:lnTo>
                    <a:pt x="1208075" y="352291"/>
                  </a:lnTo>
                  <a:lnTo>
                    <a:pt x="1211048" y="352420"/>
                  </a:lnTo>
                  <a:lnTo>
                    <a:pt x="1212211" y="351903"/>
                  </a:lnTo>
                  <a:lnTo>
                    <a:pt x="1212598" y="350869"/>
                  </a:lnTo>
                  <a:lnTo>
                    <a:pt x="1212727" y="349060"/>
                  </a:lnTo>
                  <a:lnTo>
                    <a:pt x="1212598" y="347250"/>
                  </a:lnTo>
                  <a:lnTo>
                    <a:pt x="1212211" y="346217"/>
                  </a:lnTo>
                  <a:lnTo>
                    <a:pt x="1213115" y="344020"/>
                  </a:lnTo>
                  <a:lnTo>
                    <a:pt x="1212986" y="341952"/>
                  </a:lnTo>
                  <a:lnTo>
                    <a:pt x="1212081" y="340143"/>
                  </a:lnTo>
                  <a:lnTo>
                    <a:pt x="1210918" y="338850"/>
                  </a:lnTo>
                  <a:lnTo>
                    <a:pt x="1208075" y="339367"/>
                  </a:lnTo>
                  <a:lnTo>
                    <a:pt x="1206395" y="338592"/>
                  </a:lnTo>
                  <a:lnTo>
                    <a:pt x="1206007" y="336653"/>
                  </a:lnTo>
                  <a:lnTo>
                    <a:pt x="1205103" y="335361"/>
                  </a:lnTo>
                  <a:lnTo>
                    <a:pt x="1203035" y="334715"/>
                  </a:lnTo>
                  <a:lnTo>
                    <a:pt x="1202130" y="335361"/>
                  </a:lnTo>
                  <a:lnTo>
                    <a:pt x="1201872" y="337041"/>
                  </a:lnTo>
                  <a:lnTo>
                    <a:pt x="1200709" y="337429"/>
                  </a:lnTo>
                  <a:lnTo>
                    <a:pt x="1200063" y="338463"/>
                  </a:lnTo>
                  <a:lnTo>
                    <a:pt x="1201226" y="341693"/>
                  </a:lnTo>
                  <a:lnTo>
                    <a:pt x="1201097" y="343115"/>
                  </a:lnTo>
                  <a:close/>
                  <a:moveTo>
                    <a:pt x="1178351" y="353066"/>
                  </a:moveTo>
                  <a:lnTo>
                    <a:pt x="1178610" y="354746"/>
                  </a:lnTo>
                  <a:lnTo>
                    <a:pt x="1183521" y="352420"/>
                  </a:lnTo>
                  <a:lnTo>
                    <a:pt x="1185718" y="350611"/>
                  </a:lnTo>
                  <a:lnTo>
                    <a:pt x="1186622" y="348284"/>
                  </a:lnTo>
                  <a:lnTo>
                    <a:pt x="1185718" y="346604"/>
                  </a:lnTo>
                  <a:lnTo>
                    <a:pt x="1183650" y="345312"/>
                  </a:lnTo>
                  <a:lnTo>
                    <a:pt x="1181453" y="344795"/>
                  </a:lnTo>
                  <a:lnTo>
                    <a:pt x="1180031" y="345312"/>
                  </a:lnTo>
                  <a:lnTo>
                    <a:pt x="1179773" y="344795"/>
                  </a:lnTo>
                  <a:lnTo>
                    <a:pt x="1179256" y="344537"/>
                  </a:lnTo>
                  <a:lnTo>
                    <a:pt x="1178610" y="344537"/>
                  </a:lnTo>
                  <a:lnTo>
                    <a:pt x="1177834" y="344666"/>
                  </a:lnTo>
                  <a:lnTo>
                    <a:pt x="1177576" y="345053"/>
                  </a:lnTo>
                  <a:lnTo>
                    <a:pt x="1177059" y="345829"/>
                  </a:lnTo>
                  <a:lnTo>
                    <a:pt x="1176930" y="346604"/>
                  </a:lnTo>
                  <a:lnTo>
                    <a:pt x="1178093" y="347250"/>
                  </a:lnTo>
                  <a:lnTo>
                    <a:pt x="1177576" y="347767"/>
                  </a:lnTo>
                  <a:lnTo>
                    <a:pt x="1176801" y="348543"/>
                  </a:lnTo>
                  <a:lnTo>
                    <a:pt x="1176413" y="348801"/>
                  </a:lnTo>
                  <a:lnTo>
                    <a:pt x="1176930" y="350481"/>
                  </a:lnTo>
                  <a:lnTo>
                    <a:pt x="1178351" y="353066"/>
                  </a:lnTo>
                  <a:close/>
                  <a:moveTo>
                    <a:pt x="1140744" y="384340"/>
                  </a:moveTo>
                  <a:lnTo>
                    <a:pt x="1141778" y="385504"/>
                  </a:lnTo>
                  <a:lnTo>
                    <a:pt x="1143846" y="385891"/>
                  </a:lnTo>
                  <a:lnTo>
                    <a:pt x="1149145" y="386279"/>
                  </a:lnTo>
                  <a:lnTo>
                    <a:pt x="1150695" y="385891"/>
                  </a:lnTo>
                  <a:lnTo>
                    <a:pt x="1152375" y="385116"/>
                  </a:lnTo>
                  <a:lnTo>
                    <a:pt x="1153022" y="384470"/>
                  </a:lnTo>
                  <a:lnTo>
                    <a:pt x="1153797" y="381497"/>
                  </a:lnTo>
                  <a:lnTo>
                    <a:pt x="1157286" y="374777"/>
                  </a:lnTo>
                  <a:lnTo>
                    <a:pt x="1157933" y="371288"/>
                  </a:lnTo>
                  <a:lnTo>
                    <a:pt x="1155348" y="369866"/>
                  </a:lnTo>
                  <a:lnTo>
                    <a:pt x="1155348" y="369091"/>
                  </a:lnTo>
                  <a:lnTo>
                    <a:pt x="1158062" y="368962"/>
                  </a:lnTo>
                  <a:lnTo>
                    <a:pt x="1157286" y="367282"/>
                  </a:lnTo>
                  <a:lnTo>
                    <a:pt x="1153797" y="364051"/>
                  </a:lnTo>
                  <a:lnTo>
                    <a:pt x="1148628" y="366377"/>
                  </a:lnTo>
                  <a:lnTo>
                    <a:pt x="1147982" y="367282"/>
                  </a:lnTo>
                  <a:lnTo>
                    <a:pt x="1147464" y="368703"/>
                  </a:lnTo>
                  <a:lnTo>
                    <a:pt x="1145397" y="372193"/>
                  </a:lnTo>
                  <a:lnTo>
                    <a:pt x="1144234" y="375036"/>
                  </a:lnTo>
                  <a:lnTo>
                    <a:pt x="1141261" y="378396"/>
                  </a:lnTo>
                  <a:lnTo>
                    <a:pt x="1140615" y="380593"/>
                  </a:lnTo>
                  <a:lnTo>
                    <a:pt x="1140615" y="382660"/>
                  </a:lnTo>
                  <a:lnTo>
                    <a:pt x="1140744" y="384340"/>
                  </a:lnTo>
                  <a:close/>
                  <a:moveTo>
                    <a:pt x="751235" y="428280"/>
                  </a:moveTo>
                  <a:lnTo>
                    <a:pt x="752268" y="431898"/>
                  </a:lnTo>
                  <a:lnTo>
                    <a:pt x="753690" y="433449"/>
                  </a:lnTo>
                  <a:lnTo>
                    <a:pt x="755628" y="434612"/>
                  </a:lnTo>
                  <a:lnTo>
                    <a:pt x="757825" y="434871"/>
                  </a:lnTo>
                  <a:lnTo>
                    <a:pt x="762219" y="432803"/>
                  </a:lnTo>
                  <a:lnTo>
                    <a:pt x="767001" y="432028"/>
                  </a:lnTo>
                  <a:lnTo>
                    <a:pt x="769198" y="431252"/>
                  </a:lnTo>
                  <a:lnTo>
                    <a:pt x="773980" y="428021"/>
                  </a:lnTo>
                  <a:lnTo>
                    <a:pt x="778244" y="424274"/>
                  </a:lnTo>
                  <a:lnTo>
                    <a:pt x="778761" y="423886"/>
                  </a:lnTo>
                  <a:lnTo>
                    <a:pt x="780312" y="423498"/>
                  </a:lnTo>
                  <a:lnTo>
                    <a:pt x="780829" y="423240"/>
                  </a:lnTo>
                  <a:lnTo>
                    <a:pt x="780958" y="422852"/>
                  </a:lnTo>
                  <a:lnTo>
                    <a:pt x="781217" y="421431"/>
                  </a:lnTo>
                  <a:lnTo>
                    <a:pt x="781346" y="421043"/>
                  </a:lnTo>
                  <a:lnTo>
                    <a:pt x="782121" y="420655"/>
                  </a:lnTo>
                  <a:lnTo>
                    <a:pt x="785094" y="419621"/>
                  </a:lnTo>
                  <a:lnTo>
                    <a:pt x="785998" y="418846"/>
                  </a:lnTo>
                  <a:lnTo>
                    <a:pt x="786774" y="417812"/>
                  </a:lnTo>
                  <a:lnTo>
                    <a:pt x="787678" y="416907"/>
                  </a:lnTo>
                  <a:lnTo>
                    <a:pt x="788971" y="416520"/>
                  </a:lnTo>
                  <a:lnTo>
                    <a:pt x="793365" y="414064"/>
                  </a:lnTo>
                  <a:lnTo>
                    <a:pt x="806417" y="403209"/>
                  </a:lnTo>
                  <a:lnTo>
                    <a:pt x="809131" y="399590"/>
                  </a:lnTo>
                  <a:lnTo>
                    <a:pt x="817531" y="384340"/>
                  </a:lnTo>
                  <a:lnTo>
                    <a:pt x="819858" y="383565"/>
                  </a:lnTo>
                  <a:lnTo>
                    <a:pt x="822442" y="386667"/>
                  </a:lnTo>
                  <a:lnTo>
                    <a:pt x="823605" y="386020"/>
                  </a:lnTo>
                  <a:lnTo>
                    <a:pt x="824122" y="385245"/>
                  </a:lnTo>
                  <a:lnTo>
                    <a:pt x="826190" y="379300"/>
                  </a:lnTo>
                  <a:lnTo>
                    <a:pt x="828516" y="366248"/>
                  </a:lnTo>
                  <a:lnTo>
                    <a:pt x="829938" y="362242"/>
                  </a:lnTo>
                  <a:lnTo>
                    <a:pt x="836529" y="349447"/>
                  </a:lnTo>
                  <a:lnTo>
                    <a:pt x="837175" y="346992"/>
                  </a:lnTo>
                  <a:lnTo>
                    <a:pt x="837046" y="344666"/>
                  </a:lnTo>
                  <a:lnTo>
                    <a:pt x="835882" y="342857"/>
                  </a:lnTo>
                  <a:lnTo>
                    <a:pt x="833427" y="342210"/>
                  </a:lnTo>
                  <a:lnTo>
                    <a:pt x="831618" y="341177"/>
                  </a:lnTo>
                  <a:lnTo>
                    <a:pt x="829421" y="336136"/>
                  </a:lnTo>
                  <a:lnTo>
                    <a:pt x="827870" y="334069"/>
                  </a:lnTo>
                  <a:lnTo>
                    <a:pt x="826190" y="333293"/>
                  </a:lnTo>
                  <a:lnTo>
                    <a:pt x="820374" y="331872"/>
                  </a:lnTo>
                  <a:lnTo>
                    <a:pt x="819082" y="332130"/>
                  </a:lnTo>
                  <a:lnTo>
                    <a:pt x="818824" y="332906"/>
                  </a:lnTo>
                  <a:lnTo>
                    <a:pt x="818436" y="333293"/>
                  </a:lnTo>
                  <a:lnTo>
                    <a:pt x="818177" y="333939"/>
                  </a:lnTo>
                  <a:lnTo>
                    <a:pt x="818436" y="335361"/>
                  </a:lnTo>
                  <a:lnTo>
                    <a:pt x="818953" y="336524"/>
                  </a:lnTo>
                  <a:lnTo>
                    <a:pt x="821279" y="339755"/>
                  </a:lnTo>
                  <a:lnTo>
                    <a:pt x="820245" y="339496"/>
                  </a:lnTo>
                  <a:lnTo>
                    <a:pt x="819341" y="339109"/>
                  </a:lnTo>
                  <a:lnTo>
                    <a:pt x="818436" y="338463"/>
                  </a:lnTo>
                  <a:lnTo>
                    <a:pt x="817661" y="337687"/>
                  </a:lnTo>
                  <a:lnTo>
                    <a:pt x="817661" y="339755"/>
                  </a:lnTo>
                  <a:lnTo>
                    <a:pt x="816885" y="339755"/>
                  </a:lnTo>
                  <a:lnTo>
                    <a:pt x="816885" y="337687"/>
                  </a:lnTo>
                  <a:lnTo>
                    <a:pt x="815464" y="338463"/>
                  </a:lnTo>
                  <a:lnTo>
                    <a:pt x="815464" y="339496"/>
                  </a:lnTo>
                  <a:lnTo>
                    <a:pt x="815981" y="340660"/>
                  </a:lnTo>
                  <a:lnTo>
                    <a:pt x="815981" y="342081"/>
                  </a:lnTo>
                  <a:lnTo>
                    <a:pt x="815205" y="343373"/>
                  </a:lnTo>
                  <a:lnTo>
                    <a:pt x="813137" y="345312"/>
                  </a:lnTo>
                  <a:lnTo>
                    <a:pt x="812362" y="346346"/>
                  </a:lnTo>
                  <a:lnTo>
                    <a:pt x="811587" y="346346"/>
                  </a:lnTo>
                  <a:lnTo>
                    <a:pt x="811974" y="345312"/>
                  </a:lnTo>
                  <a:lnTo>
                    <a:pt x="813267" y="343632"/>
                  </a:lnTo>
                  <a:lnTo>
                    <a:pt x="813784" y="342598"/>
                  </a:lnTo>
                  <a:lnTo>
                    <a:pt x="814042" y="341564"/>
                  </a:lnTo>
                  <a:lnTo>
                    <a:pt x="814042" y="341047"/>
                  </a:lnTo>
                  <a:lnTo>
                    <a:pt x="813913" y="340660"/>
                  </a:lnTo>
                  <a:lnTo>
                    <a:pt x="813784" y="340143"/>
                  </a:lnTo>
                  <a:lnTo>
                    <a:pt x="813913" y="338592"/>
                  </a:lnTo>
                  <a:lnTo>
                    <a:pt x="814300" y="336524"/>
                  </a:lnTo>
                  <a:lnTo>
                    <a:pt x="814947" y="334586"/>
                  </a:lnTo>
                  <a:lnTo>
                    <a:pt x="815981" y="333293"/>
                  </a:lnTo>
                  <a:lnTo>
                    <a:pt x="815205" y="333293"/>
                  </a:lnTo>
                  <a:lnTo>
                    <a:pt x="813525" y="333552"/>
                  </a:lnTo>
                  <a:lnTo>
                    <a:pt x="807710" y="335619"/>
                  </a:lnTo>
                  <a:lnTo>
                    <a:pt x="806029" y="336524"/>
                  </a:lnTo>
                  <a:lnTo>
                    <a:pt x="804479" y="337816"/>
                  </a:lnTo>
                  <a:lnTo>
                    <a:pt x="799051" y="341306"/>
                  </a:lnTo>
                  <a:lnTo>
                    <a:pt x="795949" y="344278"/>
                  </a:lnTo>
                  <a:lnTo>
                    <a:pt x="793235" y="347509"/>
                  </a:lnTo>
                  <a:lnTo>
                    <a:pt x="790780" y="351127"/>
                  </a:lnTo>
                  <a:lnTo>
                    <a:pt x="786386" y="360820"/>
                  </a:lnTo>
                  <a:lnTo>
                    <a:pt x="780829" y="366894"/>
                  </a:lnTo>
                  <a:lnTo>
                    <a:pt x="779666" y="370900"/>
                  </a:lnTo>
                  <a:lnTo>
                    <a:pt x="779278" y="385116"/>
                  </a:lnTo>
                  <a:lnTo>
                    <a:pt x="781604" y="389251"/>
                  </a:lnTo>
                  <a:lnTo>
                    <a:pt x="779924" y="393387"/>
                  </a:lnTo>
                  <a:lnTo>
                    <a:pt x="776306" y="396876"/>
                  </a:lnTo>
                  <a:lnTo>
                    <a:pt x="772687" y="398815"/>
                  </a:lnTo>
                  <a:lnTo>
                    <a:pt x="770749" y="399461"/>
                  </a:lnTo>
                  <a:lnTo>
                    <a:pt x="769715" y="399719"/>
                  </a:lnTo>
                  <a:lnTo>
                    <a:pt x="769327" y="400236"/>
                  </a:lnTo>
                  <a:lnTo>
                    <a:pt x="769069" y="400624"/>
                  </a:lnTo>
                  <a:lnTo>
                    <a:pt x="768164" y="402950"/>
                  </a:lnTo>
                  <a:lnTo>
                    <a:pt x="768035" y="403467"/>
                  </a:lnTo>
                  <a:lnTo>
                    <a:pt x="767001" y="403984"/>
                  </a:lnTo>
                  <a:lnTo>
                    <a:pt x="759893" y="409283"/>
                  </a:lnTo>
                  <a:lnTo>
                    <a:pt x="758601" y="410704"/>
                  </a:lnTo>
                  <a:lnTo>
                    <a:pt x="758084" y="411996"/>
                  </a:lnTo>
                  <a:lnTo>
                    <a:pt x="757696" y="416003"/>
                  </a:lnTo>
                  <a:lnTo>
                    <a:pt x="757179" y="418070"/>
                  </a:lnTo>
                  <a:lnTo>
                    <a:pt x="756533" y="419621"/>
                  </a:lnTo>
                  <a:lnTo>
                    <a:pt x="752398" y="425049"/>
                  </a:lnTo>
                  <a:lnTo>
                    <a:pt x="751235" y="428280"/>
                  </a:lnTo>
                  <a:close/>
                  <a:moveTo>
                    <a:pt x="948962" y="245802"/>
                  </a:moveTo>
                  <a:lnTo>
                    <a:pt x="950771" y="244381"/>
                  </a:lnTo>
                  <a:lnTo>
                    <a:pt x="951288" y="242830"/>
                  </a:lnTo>
                  <a:lnTo>
                    <a:pt x="950513" y="240891"/>
                  </a:lnTo>
                  <a:lnTo>
                    <a:pt x="948316" y="241021"/>
                  </a:lnTo>
                  <a:lnTo>
                    <a:pt x="945602" y="242313"/>
                  </a:lnTo>
                  <a:lnTo>
                    <a:pt x="939140" y="246319"/>
                  </a:lnTo>
                  <a:lnTo>
                    <a:pt x="937202" y="249033"/>
                  </a:lnTo>
                  <a:lnTo>
                    <a:pt x="936814" y="250842"/>
                  </a:lnTo>
                  <a:lnTo>
                    <a:pt x="942629" y="249162"/>
                  </a:lnTo>
                  <a:lnTo>
                    <a:pt x="948962" y="245802"/>
                  </a:lnTo>
                  <a:close/>
                  <a:moveTo>
                    <a:pt x="842603" y="364826"/>
                  </a:moveTo>
                  <a:lnTo>
                    <a:pt x="843249" y="364826"/>
                  </a:lnTo>
                  <a:lnTo>
                    <a:pt x="844929" y="363275"/>
                  </a:lnTo>
                  <a:lnTo>
                    <a:pt x="847514" y="361595"/>
                  </a:lnTo>
                  <a:lnTo>
                    <a:pt x="850486" y="360174"/>
                  </a:lnTo>
                  <a:lnTo>
                    <a:pt x="853200" y="359657"/>
                  </a:lnTo>
                  <a:lnTo>
                    <a:pt x="855914" y="358752"/>
                  </a:lnTo>
                  <a:lnTo>
                    <a:pt x="860437" y="354746"/>
                  </a:lnTo>
                  <a:lnTo>
                    <a:pt x="863539" y="353841"/>
                  </a:lnTo>
                  <a:lnTo>
                    <a:pt x="867157" y="353712"/>
                  </a:lnTo>
                  <a:lnTo>
                    <a:pt x="870259" y="353066"/>
                  </a:lnTo>
                  <a:lnTo>
                    <a:pt x="872456" y="351386"/>
                  </a:lnTo>
                  <a:lnTo>
                    <a:pt x="873489" y="348155"/>
                  </a:lnTo>
                  <a:lnTo>
                    <a:pt x="873489" y="346604"/>
                  </a:lnTo>
                  <a:lnTo>
                    <a:pt x="872843" y="342857"/>
                  </a:lnTo>
                  <a:lnTo>
                    <a:pt x="871810" y="338980"/>
                  </a:lnTo>
                  <a:lnTo>
                    <a:pt x="871292" y="337816"/>
                  </a:lnTo>
                  <a:lnTo>
                    <a:pt x="871163" y="336912"/>
                  </a:lnTo>
                  <a:lnTo>
                    <a:pt x="871034" y="336524"/>
                  </a:lnTo>
                  <a:lnTo>
                    <a:pt x="870646" y="336136"/>
                  </a:lnTo>
                  <a:lnTo>
                    <a:pt x="867028" y="341952"/>
                  </a:lnTo>
                  <a:lnTo>
                    <a:pt x="866252" y="341952"/>
                  </a:lnTo>
                  <a:lnTo>
                    <a:pt x="866511" y="340530"/>
                  </a:lnTo>
                  <a:lnTo>
                    <a:pt x="868449" y="336783"/>
                  </a:lnTo>
                  <a:lnTo>
                    <a:pt x="863280" y="338721"/>
                  </a:lnTo>
                  <a:lnTo>
                    <a:pt x="858240" y="341306"/>
                  </a:lnTo>
                  <a:lnTo>
                    <a:pt x="855655" y="343373"/>
                  </a:lnTo>
                  <a:lnTo>
                    <a:pt x="851778" y="347767"/>
                  </a:lnTo>
                  <a:lnTo>
                    <a:pt x="849323" y="349189"/>
                  </a:lnTo>
                  <a:lnTo>
                    <a:pt x="848677" y="349189"/>
                  </a:lnTo>
                  <a:lnTo>
                    <a:pt x="847255" y="348543"/>
                  </a:lnTo>
                  <a:lnTo>
                    <a:pt x="846480" y="348672"/>
                  </a:lnTo>
                  <a:lnTo>
                    <a:pt x="846221" y="349060"/>
                  </a:lnTo>
                  <a:lnTo>
                    <a:pt x="845704" y="350481"/>
                  </a:lnTo>
                  <a:lnTo>
                    <a:pt x="845317" y="350740"/>
                  </a:lnTo>
                  <a:lnTo>
                    <a:pt x="844800" y="351257"/>
                  </a:lnTo>
                  <a:lnTo>
                    <a:pt x="842861" y="354358"/>
                  </a:lnTo>
                  <a:lnTo>
                    <a:pt x="842086" y="357072"/>
                  </a:lnTo>
                  <a:lnTo>
                    <a:pt x="841698" y="359915"/>
                  </a:lnTo>
                  <a:lnTo>
                    <a:pt x="841956" y="362500"/>
                  </a:lnTo>
                  <a:lnTo>
                    <a:pt x="842603" y="364826"/>
                  </a:lnTo>
                  <a:close/>
                  <a:moveTo>
                    <a:pt x="1379439" y="400495"/>
                  </a:moveTo>
                  <a:lnTo>
                    <a:pt x="1380731" y="399719"/>
                  </a:lnTo>
                  <a:lnTo>
                    <a:pt x="1381765" y="398944"/>
                  </a:lnTo>
                  <a:lnTo>
                    <a:pt x="1381377" y="397135"/>
                  </a:lnTo>
                  <a:lnTo>
                    <a:pt x="1379697" y="393904"/>
                  </a:lnTo>
                  <a:lnTo>
                    <a:pt x="1379309" y="392870"/>
                  </a:lnTo>
                  <a:lnTo>
                    <a:pt x="1379051" y="391965"/>
                  </a:lnTo>
                  <a:lnTo>
                    <a:pt x="1378663" y="391319"/>
                  </a:lnTo>
                  <a:lnTo>
                    <a:pt x="1377888" y="391061"/>
                  </a:lnTo>
                  <a:lnTo>
                    <a:pt x="1377242" y="391448"/>
                  </a:lnTo>
                  <a:lnTo>
                    <a:pt x="1376337" y="392353"/>
                  </a:lnTo>
                  <a:lnTo>
                    <a:pt x="1375562" y="393387"/>
                  </a:lnTo>
                  <a:lnTo>
                    <a:pt x="1375303" y="394291"/>
                  </a:lnTo>
                  <a:lnTo>
                    <a:pt x="1375174" y="398815"/>
                  </a:lnTo>
                  <a:lnTo>
                    <a:pt x="1374528" y="400753"/>
                  </a:lnTo>
                  <a:lnTo>
                    <a:pt x="1373106" y="402045"/>
                  </a:lnTo>
                  <a:lnTo>
                    <a:pt x="1373235" y="400495"/>
                  </a:lnTo>
                  <a:lnTo>
                    <a:pt x="1374140" y="396747"/>
                  </a:lnTo>
                  <a:lnTo>
                    <a:pt x="1373882" y="395455"/>
                  </a:lnTo>
                  <a:lnTo>
                    <a:pt x="1373106" y="395584"/>
                  </a:lnTo>
                  <a:lnTo>
                    <a:pt x="1372202" y="396876"/>
                  </a:lnTo>
                  <a:lnTo>
                    <a:pt x="1371039" y="399202"/>
                  </a:lnTo>
                  <a:lnTo>
                    <a:pt x="1369359" y="399719"/>
                  </a:lnTo>
                  <a:lnTo>
                    <a:pt x="1367808" y="399332"/>
                  </a:lnTo>
                  <a:lnTo>
                    <a:pt x="1366386" y="398685"/>
                  </a:lnTo>
                  <a:lnTo>
                    <a:pt x="1365094" y="398556"/>
                  </a:lnTo>
                  <a:lnTo>
                    <a:pt x="1364060" y="399202"/>
                  </a:lnTo>
                  <a:lnTo>
                    <a:pt x="1360700" y="402950"/>
                  </a:lnTo>
                  <a:lnTo>
                    <a:pt x="1366128" y="391448"/>
                  </a:lnTo>
                  <a:lnTo>
                    <a:pt x="1365094" y="389768"/>
                  </a:lnTo>
                  <a:lnTo>
                    <a:pt x="1365482" y="389251"/>
                  </a:lnTo>
                  <a:lnTo>
                    <a:pt x="1365998" y="388217"/>
                  </a:lnTo>
                  <a:lnTo>
                    <a:pt x="1366515" y="387701"/>
                  </a:lnTo>
                  <a:lnTo>
                    <a:pt x="1366128" y="387313"/>
                  </a:lnTo>
                  <a:lnTo>
                    <a:pt x="1365998" y="386925"/>
                  </a:lnTo>
                  <a:lnTo>
                    <a:pt x="1365869" y="386537"/>
                  </a:lnTo>
                  <a:lnTo>
                    <a:pt x="1365740" y="386150"/>
                  </a:lnTo>
                  <a:lnTo>
                    <a:pt x="1367161" y="385504"/>
                  </a:lnTo>
                  <a:lnTo>
                    <a:pt x="1367420" y="384728"/>
                  </a:lnTo>
                  <a:lnTo>
                    <a:pt x="1366645" y="384340"/>
                  </a:lnTo>
                  <a:lnTo>
                    <a:pt x="1364965" y="384857"/>
                  </a:lnTo>
                  <a:lnTo>
                    <a:pt x="1365611" y="383436"/>
                  </a:lnTo>
                  <a:lnTo>
                    <a:pt x="1366903" y="381239"/>
                  </a:lnTo>
                  <a:lnTo>
                    <a:pt x="1368325" y="379430"/>
                  </a:lnTo>
                  <a:lnTo>
                    <a:pt x="1369359" y="379171"/>
                  </a:lnTo>
                  <a:lnTo>
                    <a:pt x="1370005" y="379171"/>
                  </a:lnTo>
                  <a:lnTo>
                    <a:pt x="1370263" y="375423"/>
                  </a:lnTo>
                  <a:lnTo>
                    <a:pt x="1367161" y="374002"/>
                  </a:lnTo>
                  <a:lnTo>
                    <a:pt x="1363543" y="375036"/>
                  </a:lnTo>
                  <a:lnTo>
                    <a:pt x="1361863" y="376457"/>
                  </a:lnTo>
                  <a:lnTo>
                    <a:pt x="1360571" y="378525"/>
                  </a:lnTo>
                  <a:lnTo>
                    <a:pt x="1359924" y="380722"/>
                  </a:lnTo>
                  <a:lnTo>
                    <a:pt x="1358761" y="382273"/>
                  </a:lnTo>
                  <a:lnTo>
                    <a:pt x="1358503" y="383436"/>
                  </a:lnTo>
                  <a:lnTo>
                    <a:pt x="1359278" y="384340"/>
                  </a:lnTo>
                  <a:lnTo>
                    <a:pt x="1360441" y="385504"/>
                  </a:lnTo>
                  <a:lnTo>
                    <a:pt x="1358374" y="386020"/>
                  </a:lnTo>
                  <a:lnTo>
                    <a:pt x="1358374" y="386796"/>
                  </a:lnTo>
                  <a:lnTo>
                    <a:pt x="1358891" y="387571"/>
                  </a:lnTo>
                  <a:lnTo>
                    <a:pt x="1359149" y="387830"/>
                  </a:lnTo>
                  <a:lnTo>
                    <a:pt x="1359666" y="389381"/>
                  </a:lnTo>
                  <a:lnTo>
                    <a:pt x="1361475" y="391965"/>
                  </a:lnTo>
                  <a:lnTo>
                    <a:pt x="1362121" y="393645"/>
                  </a:lnTo>
                  <a:lnTo>
                    <a:pt x="1361346" y="391836"/>
                  </a:lnTo>
                  <a:lnTo>
                    <a:pt x="1358761" y="388864"/>
                  </a:lnTo>
                  <a:lnTo>
                    <a:pt x="1357727" y="387054"/>
                  </a:lnTo>
                  <a:lnTo>
                    <a:pt x="1356952" y="387054"/>
                  </a:lnTo>
                  <a:lnTo>
                    <a:pt x="1356823" y="389768"/>
                  </a:lnTo>
                  <a:lnTo>
                    <a:pt x="1356435" y="392094"/>
                  </a:lnTo>
                  <a:lnTo>
                    <a:pt x="1355531" y="393904"/>
                  </a:lnTo>
                  <a:lnTo>
                    <a:pt x="1353850" y="395067"/>
                  </a:lnTo>
                  <a:lnTo>
                    <a:pt x="1353850" y="394033"/>
                  </a:lnTo>
                  <a:lnTo>
                    <a:pt x="1354367" y="392353"/>
                  </a:lnTo>
                  <a:lnTo>
                    <a:pt x="1354497" y="391448"/>
                  </a:lnTo>
                  <a:lnTo>
                    <a:pt x="1354497" y="387442"/>
                  </a:lnTo>
                  <a:lnTo>
                    <a:pt x="1353980" y="385891"/>
                  </a:lnTo>
                  <a:lnTo>
                    <a:pt x="1352687" y="386150"/>
                  </a:lnTo>
                  <a:lnTo>
                    <a:pt x="1351395" y="387442"/>
                  </a:lnTo>
                  <a:lnTo>
                    <a:pt x="1350878" y="388993"/>
                  </a:lnTo>
                  <a:lnTo>
                    <a:pt x="1350749" y="391190"/>
                  </a:lnTo>
                  <a:lnTo>
                    <a:pt x="1350361" y="391836"/>
                  </a:lnTo>
                  <a:lnTo>
                    <a:pt x="1349844" y="390931"/>
                  </a:lnTo>
                  <a:lnTo>
                    <a:pt x="1349327" y="388605"/>
                  </a:lnTo>
                  <a:lnTo>
                    <a:pt x="1349198" y="386537"/>
                  </a:lnTo>
                  <a:lnTo>
                    <a:pt x="1349457" y="384728"/>
                  </a:lnTo>
                  <a:lnTo>
                    <a:pt x="1347389" y="384857"/>
                  </a:lnTo>
                  <a:lnTo>
                    <a:pt x="1346484" y="386667"/>
                  </a:lnTo>
                  <a:lnTo>
                    <a:pt x="1344933" y="387959"/>
                  </a:lnTo>
                  <a:lnTo>
                    <a:pt x="1344158" y="387571"/>
                  </a:lnTo>
                  <a:lnTo>
                    <a:pt x="1342995" y="386796"/>
                  </a:lnTo>
                  <a:lnTo>
                    <a:pt x="1341832" y="386279"/>
                  </a:lnTo>
                  <a:lnTo>
                    <a:pt x="1341315" y="386796"/>
                  </a:lnTo>
                  <a:lnTo>
                    <a:pt x="1340927" y="387830"/>
                  </a:lnTo>
                  <a:lnTo>
                    <a:pt x="1339893" y="388476"/>
                  </a:lnTo>
                  <a:lnTo>
                    <a:pt x="1338730" y="388734"/>
                  </a:lnTo>
                  <a:lnTo>
                    <a:pt x="1337567" y="388734"/>
                  </a:lnTo>
                  <a:lnTo>
                    <a:pt x="1338860" y="387313"/>
                  </a:lnTo>
                  <a:lnTo>
                    <a:pt x="1338472" y="386408"/>
                  </a:lnTo>
                  <a:lnTo>
                    <a:pt x="1337050" y="386279"/>
                  </a:lnTo>
                  <a:lnTo>
                    <a:pt x="1337567" y="384599"/>
                  </a:lnTo>
                  <a:lnTo>
                    <a:pt x="1337955" y="382402"/>
                  </a:lnTo>
                  <a:lnTo>
                    <a:pt x="1336146" y="381368"/>
                  </a:lnTo>
                  <a:lnTo>
                    <a:pt x="1336016" y="380205"/>
                  </a:lnTo>
                  <a:lnTo>
                    <a:pt x="1337309" y="378913"/>
                  </a:lnTo>
                  <a:lnTo>
                    <a:pt x="1337696" y="377233"/>
                  </a:lnTo>
                  <a:lnTo>
                    <a:pt x="1336921" y="375423"/>
                  </a:lnTo>
                  <a:lnTo>
                    <a:pt x="1338989" y="374002"/>
                  </a:lnTo>
                  <a:lnTo>
                    <a:pt x="1341444" y="373614"/>
                  </a:lnTo>
                  <a:lnTo>
                    <a:pt x="1343253" y="372709"/>
                  </a:lnTo>
                  <a:lnTo>
                    <a:pt x="1343770" y="371288"/>
                  </a:lnTo>
                  <a:lnTo>
                    <a:pt x="1342607" y="369996"/>
                  </a:lnTo>
                  <a:lnTo>
                    <a:pt x="1340539" y="370383"/>
                  </a:lnTo>
                  <a:lnTo>
                    <a:pt x="1338601" y="370771"/>
                  </a:lnTo>
                  <a:lnTo>
                    <a:pt x="1337567" y="371546"/>
                  </a:lnTo>
                  <a:lnTo>
                    <a:pt x="1336275" y="371029"/>
                  </a:lnTo>
                  <a:lnTo>
                    <a:pt x="1334595" y="371546"/>
                  </a:lnTo>
                  <a:lnTo>
                    <a:pt x="1332915" y="373356"/>
                  </a:lnTo>
                  <a:lnTo>
                    <a:pt x="1329942" y="374777"/>
                  </a:lnTo>
                  <a:lnTo>
                    <a:pt x="1328262" y="376328"/>
                  </a:lnTo>
                  <a:lnTo>
                    <a:pt x="1327875" y="378783"/>
                  </a:lnTo>
                  <a:lnTo>
                    <a:pt x="1326065" y="380851"/>
                  </a:lnTo>
                  <a:lnTo>
                    <a:pt x="1323610" y="379430"/>
                  </a:lnTo>
                  <a:lnTo>
                    <a:pt x="1321413" y="380076"/>
                  </a:lnTo>
                  <a:lnTo>
                    <a:pt x="1318441" y="380593"/>
                  </a:lnTo>
                  <a:lnTo>
                    <a:pt x="1315856" y="380463"/>
                  </a:lnTo>
                  <a:lnTo>
                    <a:pt x="1315468" y="380205"/>
                  </a:lnTo>
                  <a:lnTo>
                    <a:pt x="1313400" y="380851"/>
                  </a:lnTo>
                  <a:lnTo>
                    <a:pt x="1311204" y="382402"/>
                  </a:lnTo>
                  <a:lnTo>
                    <a:pt x="1309394" y="384211"/>
                  </a:lnTo>
                  <a:lnTo>
                    <a:pt x="1308231" y="386020"/>
                  </a:lnTo>
                  <a:lnTo>
                    <a:pt x="1308490" y="383953"/>
                  </a:lnTo>
                  <a:lnTo>
                    <a:pt x="1309523" y="382402"/>
                  </a:lnTo>
                  <a:lnTo>
                    <a:pt x="1311074" y="381239"/>
                  </a:lnTo>
                  <a:lnTo>
                    <a:pt x="1315468" y="378525"/>
                  </a:lnTo>
                  <a:lnTo>
                    <a:pt x="1316502" y="377491"/>
                  </a:lnTo>
                  <a:lnTo>
                    <a:pt x="1317148" y="375940"/>
                  </a:lnTo>
                  <a:lnTo>
                    <a:pt x="1317924" y="375940"/>
                  </a:lnTo>
                  <a:lnTo>
                    <a:pt x="1318311" y="377750"/>
                  </a:lnTo>
                  <a:lnTo>
                    <a:pt x="1319474" y="378396"/>
                  </a:lnTo>
                  <a:lnTo>
                    <a:pt x="1320896" y="378137"/>
                  </a:lnTo>
                  <a:lnTo>
                    <a:pt x="1322318" y="377233"/>
                  </a:lnTo>
                  <a:lnTo>
                    <a:pt x="1323093" y="376070"/>
                  </a:lnTo>
                  <a:lnTo>
                    <a:pt x="1323351" y="374648"/>
                  </a:lnTo>
                  <a:lnTo>
                    <a:pt x="1323093" y="373873"/>
                  </a:lnTo>
                  <a:lnTo>
                    <a:pt x="1322318" y="373614"/>
                  </a:lnTo>
                  <a:lnTo>
                    <a:pt x="1321542" y="373614"/>
                  </a:lnTo>
                  <a:lnTo>
                    <a:pt x="1321930" y="372451"/>
                  </a:lnTo>
                  <a:lnTo>
                    <a:pt x="1324515" y="369220"/>
                  </a:lnTo>
                  <a:lnTo>
                    <a:pt x="1322834" y="363534"/>
                  </a:lnTo>
                  <a:lnTo>
                    <a:pt x="1320250" y="362371"/>
                  </a:lnTo>
                  <a:lnTo>
                    <a:pt x="1318311" y="362371"/>
                  </a:lnTo>
                  <a:lnTo>
                    <a:pt x="1318182" y="363663"/>
                  </a:lnTo>
                  <a:lnTo>
                    <a:pt x="1320508" y="367799"/>
                  </a:lnTo>
                  <a:lnTo>
                    <a:pt x="1320767" y="368832"/>
                  </a:lnTo>
                  <a:lnTo>
                    <a:pt x="1319604" y="369220"/>
                  </a:lnTo>
                  <a:lnTo>
                    <a:pt x="1318182" y="368832"/>
                  </a:lnTo>
                  <a:lnTo>
                    <a:pt x="1317924" y="367928"/>
                  </a:lnTo>
                  <a:lnTo>
                    <a:pt x="1317794" y="366765"/>
                  </a:lnTo>
                  <a:lnTo>
                    <a:pt x="1317019" y="365472"/>
                  </a:lnTo>
                  <a:lnTo>
                    <a:pt x="1314693" y="364697"/>
                  </a:lnTo>
                  <a:lnTo>
                    <a:pt x="1313788" y="366635"/>
                  </a:lnTo>
                  <a:lnTo>
                    <a:pt x="1313659" y="369220"/>
                  </a:lnTo>
                  <a:lnTo>
                    <a:pt x="1313788" y="370512"/>
                  </a:lnTo>
                  <a:lnTo>
                    <a:pt x="1312625" y="371417"/>
                  </a:lnTo>
                  <a:lnTo>
                    <a:pt x="1310040" y="375811"/>
                  </a:lnTo>
                  <a:lnTo>
                    <a:pt x="1308360" y="377103"/>
                  </a:lnTo>
                  <a:lnTo>
                    <a:pt x="1311591" y="371934"/>
                  </a:lnTo>
                  <a:lnTo>
                    <a:pt x="1311979" y="370125"/>
                  </a:lnTo>
                  <a:lnTo>
                    <a:pt x="1311462" y="368703"/>
                  </a:lnTo>
                  <a:lnTo>
                    <a:pt x="1308748" y="364955"/>
                  </a:lnTo>
                  <a:lnTo>
                    <a:pt x="1307585" y="363922"/>
                  </a:lnTo>
                  <a:lnTo>
                    <a:pt x="1307585" y="367152"/>
                  </a:lnTo>
                  <a:lnTo>
                    <a:pt x="1307197" y="368316"/>
                  </a:lnTo>
                  <a:lnTo>
                    <a:pt x="1306163" y="368962"/>
                  </a:lnTo>
                  <a:lnTo>
                    <a:pt x="1306163" y="366765"/>
                  </a:lnTo>
                  <a:lnTo>
                    <a:pt x="1305388" y="366765"/>
                  </a:lnTo>
                  <a:lnTo>
                    <a:pt x="1304354" y="368445"/>
                  </a:lnTo>
                  <a:lnTo>
                    <a:pt x="1304613" y="369737"/>
                  </a:lnTo>
                  <a:lnTo>
                    <a:pt x="1305130" y="370900"/>
                  </a:lnTo>
                  <a:lnTo>
                    <a:pt x="1304742" y="372580"/>
                  </a:lnTo>
                  <a:lnTo>
                    <a:pt x="1304483" y="371805"/>
                  </a:lnTo>
                  <a:lnTo>
                    <a:pt x="1303320" y="369737"/>
                  </a:lnTo>
                  <a:lnTo>
                    <a:pt x="1302933" y="368703"/>
                  </a:lnTo>
                  <a:lnTo>
                    <a:pt x="1302933" y="368445"/>
                  </a:lnTo>
                  <a:lnTo>
                    <a:pt x="1303062" y="368186"/>
                  </a:lnTo>
                  <a:lnTo>
                    <a:pt x="1303837" y="362242"/>
                  </a:lnTo>
                  <a:lnTo>
                    <a:pt x="1303191" y="362242"/>
                  </a:lnTo>
                  <a:lnTo>
                    <a:pt x="1302933" y="363534"/>
                  </a:lnTo>
                  <a:lnTo>
                    <a:pt x="1302286" y="364439"/>
                  </a:lnTo>
                  <a:lnTo>
                    <a:pt x="1301382" y="364955"/>
                  </a:lnTo>
                  <a:lnTo>
                    <a:pt x="1300089" y="365343"/>
                  </a:lnTo>
                  <a:lnTo>
                    <a:pt x="1300606" y="364309"/>
                  </a:lnTo>
                  <a:lnTo>
                    <a:pt x="1300735" y="363405"/>
                  </a:lnTo>
                  <a:lnTo>
                    <a:pt x="1300348" y="362758"/>
                  </a:lnTo>
                  <a:lnTo>
                    <a:pt x="1299314" y="362500"/>
                  </a:lnTo>
                  <a:lnTo>
                    <a:pt x="1299314" y="361983"/>
                  </a:lnTo>
                  <a:lnTo>
                    <a:pt x="1300477" y="361595"/>
                  </a:lnTo>
                  <a:lnTo>
                    <a:pt x="1301253" y="361078"/>
                  </a:lnTo>
                  <a:lnTo>
                    <a:pt x="1301382" y="360432"/>
                  </a:lnTo>
                  <a:lnTo>
                    <a:pt x="1300735" y="359786"/>
                  </a:lnTo>
                  <a:lnTo>
                    <a:pt x="1300735" y="359011"/>
                  </a:lnTo>
                  <a:lnTo>
                    <a:pt x="1301511" y="359011"/>
                  </a:lnTo>
                  <a:lnTo>
                    <a:pt x="1303062" y="358365"/>
                  </a:lnTo>
                  <a:lnTo>
                    <a:pt x="1302028" y="357331"/>
                  </a:lnTo>
                  <a:lnTo>
                    <a:pt x="1301511" y="356426"/>
                  </a:lnTo>
                  <a:lnTo>
                    <a:pt x="1301769" y="355780"/>
                  </a:lnTo>
                  <a:lnTo>
                    <a:pt x="1303062" y="355392"/>
                  </a:lnTo>
                  <a:lnTo>
                    <a:pt x="1302545" y="354229"/>
                  </a:lnTo>
                  <a:lnTo>
                    <a:pt x="1301769" y="353324"/>
                  </a:lnTo>
                  <a:lnTo>
                    <a:pt x="1300735" y="352678"/>
                  </a:lnTo>
                  <a:lnTo>
                    <a:pt x="1299443" y="352420"/>
                  </a:lnTo>
                  <a:lnTo>
                    <a:pt x="1300865" y="353195"/>
                  </a:lnTo>
                  <a:lnTo>
                    <a:pt x="1300865" y="353971"/>
                  </a:lnTo>
                  <a:lnTo>
                    <a:pt x="1299314" y="354746"/>
                  </a:lnTo>
                  <a:lnTo>
                    <a:pt x="1296600" y="358494"/>
                  </a:lnTo>
                  <a:lnTo>
                    <a:pt x="1295049" y="359786"/>
                  </a:lnTo>
                  <a:lnTo>
                    <a:pt x="1296083" y="360045"/>
                  </a:lnTo>
                  <a:lnTo>
                    <a:pt x="1296859" y="360432"/>
                  </a:lnTo>
                  <a:lnTo>
                    <a:pt x="1297505" y="361078"/>
                  </a:lnTo>
                  <a:lnTo>
                    <a:pt x="1298022" y="361854"/>
                  </a:lnTo>
                  <a:lnTo>
                    <a:pt x="1296988" y="361983"/>
                  </a:lnTo>
                  <a:lnTo>
                    <a:pt x="1296471" y="362242"/>
                  </a:lnTo>
                  <a:lnTo>
                    <a:pt x="1296212" y="362629"/>
                  </a:lnTo>
                  <a:lnTo>
                    <a:pt x="1295825" y="363275"/>
                  </a:lnTo>
                  <a:lnTo>
                    <a:pt x="1295049" y="363275"/>
                  </a:lnTo>
                  <a:lnTo>
                    <a:pt x="1294920" y="362242"/>
                  </a:lnTo>
                  <a:lnTo>
                    <a:pt x="1294532" y="361466"/>
                  </a:lnTo>
                  <a:lnTo>
                    <a:pt x="1293886" y="360820"/>
                  </a:lnTo>
                  <a:lnTo>
                    <a:pt x="1292982" y="360303"/>
                  </a:lnTo>
                  <a:lnTo>
                    <a:pt x="1293111" y="365472"/>
                  </a:lnTo>
                  <a:lnTo>
                    <a:pt x="1292982" y="366765"/>
                  </a:lnTo>
                  <a:lnTo>
                    <a:pt x="1292206" y="365989"/>
                  </a:lnTo>
                  <a:lnTo>
                    <a:pt x="1292206" y="367928"/>
                  </a:lnTo>
                  <a:lnTo>
                    <a:pt x="1291043" y="368186"/>
                  </a:lnTo>
                  <a:lnTo>
                    <a:pt x="1288588" y="367540"/>
                  </a:lnTo>
                  <a:lnTo>
                    <a:pt x="1287037" y="368316"/>
                  </a:lnTo>
                  <a:lnTo>
                    <a:pt x="1286778" y="369349"/>
                  </a:lnTo>
                  <a:lnTo>
                    <a:pt x="1287037" y="370771"/>
                  </a:lnTo>
                  <a:lnTo>
                    <a:pt x="1287166" y="372580"/>
                  </a:lnTo>
                  <a:lnTo>
                    <a:pt x="1285227" y="371676"/>
                  </a:lnTo>
                  <a:lnTo>
                    <a:pt x="1284840" y="370254"/>
                  </a:lnTo>
                  <a:lnTo>
                    <a:pt x="1285357" y="368703"/>
                  </a:lnTo>
                  <a:lnTo>
                    <a:pt x="1286261" y="367540"/>
                  </a:lnTo>
                  <a:lnTo>
                    <a:pt x="1287424" y="366894"/>
                  </a:lnTo>
                  <a:lnTo>
                    <a:pt x="1288846" y="366377"/>
                  </a:lnTo>
                  <a:lnTo>
                    <a:pt x="1289751" y="365472"/>
                  </a:lnTo>
                  <a:lnTo>
                    <a:pt x="1289105" y="363922"/>
                  </a:lnTo>
                  <a:lnTo>
                    <a:pt x="1288717" y="364180"/>
                  </a:lnTo>
                  <a:lnTo>
                    <a:pt x="1288588" y="364309"/>
                  </a:lnTo>
                  <a:lnTo>
                    <a:pt x="1287683" y="364697"/>
                  </a:lnTo>
                  <a:lnTo>
                    <a:pt x="1288071" y="364051"/>
                  </a:lnTo>
                  <a:lnTo>
                    <a:pt x="1288717" y="362371"/>
                  </a:lnTo>
                  <a:lnTo>
                    <a:pt x="1289105" y="361725"/>
                  </a:lnTo>
                  <a:lnTo>
                    <a:pt x="1287037" y="361725"/>
                  </a:lnTo>
                  <a:lnTo>
                    <a:pt x="1287554" y="360820"/>
                  </a:lnTo>
                  <a:lnTo>
                    <a:pt x="1287554" y="360045"/>
                  </a:lnTo>
                  <a:lnTo>
                    <a:pt x="1287166" y="359398"/>
                  </a:lnTo>
                  <a:lnTo>
                    <a:pt x="1286261" y="358881"/>
                  </a:lnTo>
                  <a:lnTo>
                    <a:pt x="1285486" y="360432"/>
                  </a:lnTo>
                  <a:lnTo>
                    <a:pt x="1284711" y="360432"/>
                  </a:lnTo>
                  <a:lnTo>
                    <a:pt x="1286003" y="355134"/>
                  </a:lnTo>
                  <a:lnTo>
                    <a:pt x="1286003" y="352420"/>
                  </a:lnTo>
                  <a:lnTo>
                    <a:pt x="1284711" y="350869"/>
                  </a:lnTo>
                  <a:lnTo>
                    <a:pt x="1283806" y="354617"/>
                  </a:lnTo>
                  <a:lnTo>
                    <a:pt x="1283031" y="356555"/>
                  </a:lnTo>
                  <a:lnTo>
                    <a:pt x="1282126" y="357460"/>
                  </a:lnTo>
                  <a:lnTo>
                    <a:pt x="1280446" y="357460"/>
                  </a:lnTo>
                  <a:lnTo>
                    <a:pt x="1279671" y="357718"/>
                  </a:lnTo>
                  <a:lnTo>
                    <a:pt x="1279541" y="358752"/>
                  </a:lnTo>
                  <a:lnTo>
                    <a:pt x="1279541" y="361078"/>
                  </a:lnTo>
                  <a:lnTo>
                    <a:pt x="1278766" y="360691"/>
                  </a:lnTo>
                  <a:lnTo>
                    <a:pt x="1278378" y="360432"/>
                  </a:lnTo>
                  <a:lnTo>
                    <a:pt x="1277732" y="361078"/>
                  </a:lnTo>
                  <a:lnTo>
                    <a:pt x="1277086" y="361983"/>
                  </a:lnTo>
                  <a:lnTo>
                    <a:pt x="1276569" y="363017"/>
                  </a:lnTo>
                  <a:lnTo>
                    <a:pt x="1276181" y="363922"/>
                  </a:lnTo>
                  <a:lnTo>
                    <a:pt x="1275793" y="367928"/>
                  </a:lnTo>
                  <a:lnTo>
                    <a:pt x="1275535" y="369091"/>
                  </a:lnTo>
                  <a:lnTo>
                    <a:pt x="1275018" y="367928"/>
                  </a:lnTo>
                  <a:lnTo>
                    <a:pt x="1273467" y="365860"/>
                  </a:lnTo>
                  <a:lnTo>
                    <a:pt x="1273338" y="364826"/>
                  </a:lnTo>
                  <a:lnTo>
                    <a:pt x="1273855" y="363663"/>
                  </a:lnTo>
                  <a:lnTo>
                    <a:pt x="1275923" y="362371"/>
                  </a:lnTo>
                  <a:lnTo>
                    <a:pt x="1277086" y="361208"/>
                  </a:lnTo>
                  <a:lnTo>
                    <a:pt x="1275276" y="361078"/>
                  </a:lnTo>
                  <a:lnTo>
                    <a:pt x="1274760" y="359786"/>
                  </a:lnTo>
                  <a:lnTo>
                    <a:pt x="1274630" y="357977"/>
                  </a:lnTo>
                  <a:lnTo>
                    <a:pt x="1273984" y="356297"/>
                  </a:lnTo>
                  <a:lnTo>
                    <a:pt x="1273209" y="357718"/>
                  </a:lnTo>
                  <a:lnTo>
                    <a:pt x="1272563" y="357072"/>
                  </a:lnTo>
                  <a:lnTo>
                    <a:pt x="1273079" y="355521"/>
                  </a:lnTo>
                  <a:lnTo>
                    <a:pt x="1273079" y="352678"/>
                  </a:lnTo>
                  <a:lnTo>
                    <a:pt x="1273984" y="351903"/>
                  </a:lnTo>
                  <a:lnTo>
                    <a:pt x="1273855" y="351386"/>
                  </a:lnTo>
                  <a:lnTo>
                    <a:pt x="1273726" y="351386"/>
                  </a:lnTo>
                  <a:lnTo>
                    <a:pt x="1273597" y="351386"/>
                  </a:lnTo>
                  <a:lnTo>
                    <a:pt x="1273338" y="351257"/>
                  </a:lnTo>
                  <a:lnTo>
                    <a:pt x="1273855" y="350223"/>
                  </a:lnTo>
                  <a:lnTo>
                    <a:pt x="1273855" y="349060"/>
                  </a:lnTo>
                  <a:lnTo>
                    <a:pt x="1273338" y="347767"/>
                  </a:lnTo>
                  <a:lnTo>
                    <a:pt x="1272175" y="347380"/>
                  </a:lnTo>
                  <a:lnTo>
                    <a:pt x="1271012" y="347767"/>
                  </a:lnTo>
                  <a:lnTo>
                    <a:pt x="1270624" y="348801"/>
                  </a:lnTo>
                  <a:lnTo>
                    <a:pt x="1270366" y="350998"/>
                  </a:lnTo>
                  <a:lnTo>
                    <a:pt x="1269849" y="351774"/>
                  </a:lnTo>
                  <a:lnTo>
                    <a:pt x="1268944" y="352937"/>
                  </a:lnTo>
                  <a:lnTo>
                    <a:pt x="1268815" y="353583"/>
                  </a:lnTo>
                  <a:lnTo>
                    <a:pt x="1268944" y="354746"/>
                  </a:lnTo>
                  <a:lnTo>
                    <a:pt x="1269203" y="355392"/>
                  </a:lnTo>
                  <a:lnTo>
                    <a:pt x="1269203" y="355909"/>
                  </a:lnTo>
                  <a:lnTo>
                    <a:pt x="1268815" y="356814"/>
                  </a:lnTo>
                  <a:lnTo>
                    <a:pt x="1268686" y="356168"/>
                  </a:lnTo>
                  <a:lnTo>
                    <a:pt x="1268298" y="355392"/>
                  </a:lnTo>
                  <a:lnTo>
                    <a:pt x="1268169" y="354617"/>
                  </a:lnTo>
                  <a:lnTo>
                    <a:pt x="1266747" y="355780"/>
                  </a:lnTo>
                  <a:lnTo>
                    <a:pt x="1266876" y="357718"/>
                  </a:lnTo>
                  <a:lnTo>
                    <a:pt x="1267264" y="359915"/>
                  </a:lnTo>
                  <a:lnTo>
                    <a:pt x="1266747" y="361854"/>
                  </a:lnTo>
                  <a:lnTo>
                    <a:pt x="1266359" y="360432"/>
                  </a:lnTo>
                  <a:lnTo>
                    <a:pt x="1265842" y="359140"/>
                  </a:lnTo>
                  <a:lnTo>
                    <a:pt x="1265067" y="358106"/>
                  </a:lnTo>
                  <a:lnTo>
                    <a:pt x="1263904" y="357331"/>
                  </a:lnTo>
                  <a:lnTo>
                    <a:pt x="1263258" y="358106"/>
                  </a:lnTo>
                  <a:lnTo>
                    <a:pt x="1262224" y="358752"/>
                  </a:lnTo>
                  <a:lnTo>
                    <a:pt x="1261319" y="358752"/>
                  </a:lnTo>
                  <a:lnTo>
                    <a:pt x="1260932" y="357718"/>
                  </a:lnTo>
                  <a:lnTo>
                    <a:pt x="1261319" y="357201"/>
                  </a:lnTo>
                  <a:lnTo>
                    <a:pt x="1263129" y="356426"/>
                  </a:lnTo>
                  <a:lnTo>
                    <a:pt x="1263775" y="355909"/>
                  </a:lnTo>
                  <a:lnTo>
                    <a:pt x="1264679" y="354358"/>
                  </a:lnTo>
                  <a:lnTo>
                    <a:pt x="1265196" y="352678"/>
                  </a:lnTo>
                  <a:lnTo>
                    <a:pt x="1265067" y="350998"/>
                  </a:lnTo>
                  <a:lnTo>
                    <a:pt x="1264421" y="349318"/>
                  </a:lnTo>
                  <a:lnTo>
                    <a:pt x="1263645" y="349964"/>
                  </a:lnTo>
                  <a:lnTo>
                    <a:pt x="1263129" y="350481"/>
                  </a:lnTo>
                  <a:lnTo>
                    <a:pt x="1262870" y="351127"/>
                  </a:lnTo>
                  <a:lnTo>
                    <a:pt x="1262870" y="352291"/>
                  </a:lnTo>
                  <a:lnTo>
                    <a:pt x="1261061" y="351515"/>
                  </a:lnTo>
                  <a:lnTo>
                    <a:pt x="1259252" y="351127"/>
                  </a:lnTo>
                  <a:lnTo>
                    <a:pt x="1257701" y="351515"/>
                  </a:lnTo>
                  <a:lnTo>
                    <a:pt x="1256925" y="353066"/>
                  </a:lnTo>
                  <a:lnTo>
                    <a:pt x="1256150" y="353066"/>
                  </a:lnTo>
                  <a:lnTo>
                    <a:pt x="1254728" y="351644"/>
                  </a:lnTo>
                  <a:lnTo>
                    <a:pt x="1254728" y="350869"/>
                  </a:lnTo>
                  <a:lnTo>
                    <a:pt x="1255891" y="350481"/>
                  </a:lnTo>
                  <a:lnTo>
                    <a:pt x="1256796" y="349964"/>
                  </a:lnTo>
                  <a:lnTo>
                    <a:pt x="1257313" y="349189"/>
                  </a:lnTo>
                  <a:lnTo>
                    <a:pt x="1257572" y="348026"/>
                  </a:lnTo>
                  <a:lnTo>
                    <a:pt x="1258347" y="348026"/>
                  </a:lnTo>
                  <a:lnTo>
                    <a:pt x="1259122" y="349318"/>
                  </a:lnTo>
                  <a:lnTo>
                    <a:pt x="1260027" y="348801"/>
                  </a:lnTo>
                  <a:lnTo>
                    <a:pt x="1260544" y="347380"/>
                  </a:lnTo>
                  <a:lnTo>
                    <a:pt x="1260156" y="346087"/>
                  </a:lnTo>
                  <a:lnTo>
                    <a:pt x="1255375" y="342727"/>
                  </a:lnTo>
                  <a:lnTo>
                    <a:pt x="1255891" y="344407"/>
                  </a:lnTo>
                  <a:lnTo>
                    <a:pt x="1256279" y="346087"/>
                  </a:lnTo>
                  <a:lnTo>
                    <a:pt x="1255762" y="347509"/>
                  </a:lnTo>
                  <a:lnTo>
                    <a:pt x="1253953" y="348672"/>
                  </a:lnTo>
                  <a:lnTo>
                    <a:pt x="1254599" y="346992"/>
                  </a:lnTo>
                  <a:lnTo>
                    <a:pt x="1254470" y="345570"/>
                  </a:lnTo>
                  <a:lnTo>
                    <a:pt x="1253694" y="344924"/>
                  </a:lnTo>
                  <a:lnTo>
                    <a:pt x="1252402" y="345700"/>
                  </a:lnTo>
                  <a:lnTo>
                    <a:pt x="1251627" y="345700"/>
                  </a:lnTo>
                  <a:lnTo>
                    <a:pt x="1251368" y="344020"/>
                  </a:lnTo>
                  <a:lnTo>
                    <a:pt x="1251627" y="342081"/>
                  </a:lnTo>
                  <a:lnTo>
                    <a:pt x="1251368" y="340530"/>
                  </a:lnTo>
                  <a:lnTo>
                    <a:pt x="1249818" y="339884"/>
                  </a:lnTo>
                  <a:lnTo>
                    <a:pt x="1248525" y="340401"/>
                  </a:lnTo>
                  <a:lnTo>
                    <a:pt x="1247362" y="341435"/>
                  </a:lnTo>
                  <a:lnTo>
                    <a:pt x="1246070" y="342081"/>
                  </a:lnTo>
                  <a:lnTo>
                    <a:pt x="1244260" y="341435"/>
                  </a:lnTo>
                  <a:lnTo>
                    <a:pt x="1244778" y="342857"/>
                  </a:lnTo>
                  <a:lnTo>
                    <a:pt x="1245553" y="343761"/>
                  </a:lnTo>
                  <a:lnTo>
                    <a:pt x="1246199" y="344795"/>
                  </a:lnTo>
                  <a:lnTo>
                    <a:pt x="1246328" y="346475"/>
                  </a:lnTo>
                  <a:lnTo>
                    <a:pt x="1244002" y="344666"/>
                  </a:lnTo>
                  <a:lnTo>
                    <a:pt x="1242580" y="344020"/>
                  </a:lnTo>
                  <a:lnTo>
                    <a:pt x="1241159" y="344278"/>
                  </a:lnTo>
                  <a:lnTo>
                    <a:pt x="1240254" y="345570"/>
                  </a:lnTo>
                  <a:lnTo>
                    <a:pt x="1240383" y="346992"/>
                  </a:lnTo>
                  <a:lnTo>
                    <a:pt x="1241030" y="348155"/>
                  </a:lnTo>
                  <a:lnTo>
                    <a:pt x="1241934" y="348801"/>
                  </a:lnTo>
                  <a:lnTo>
                    <a:pt x="1241934" y="349447"/>
                  </a:lnTo>
                  <a:lnTo>
                    <a:pt x="1240642" y="349318"/>
                  </a:lnTo>
                  <a:lnTo>
                    <a:pt x="1239867" y="348543"/>
                  </a:lnTo>
                  <a:lnTo>
                    <a:pt x="1239350" y="347380"/>
                  </a:lnTo>
                  <a:lnTo>
                    <a:pt x="1239091" y="345958"/>
                  </a:lnTo>
                  <a:lnTo>
                    <a:pt x="1238057" y="346475"/>
                  </a:lnTo>
                  <a:lnTo>
                    <a:pt x="1237540" y="347250"/>
                  </a:lnTo>
                  <a:lnTo>
                    <a:pt x="1237411" y="348284"/>
                  </a:lnTo>
                  <a:lnTo>
                    <a:pt x="1237540" y="349447"/>
                  </a:lnTo>
                  <a:lnTo>
                    <a:pt x="1236765" y="347250"/>
                  </a:lnTo>
                  <a:lnTo>
                    <a:pt x="1237282" y="343761"/>
                  </a:lnTo>
                  <a:lnTo>
                    <a:pt x="1236894" y="342210"/>
                  </a:lnTo>
                  <a:lnTo>
                    <a:pt x="1237411" y="341823"/>
                  </a:lnTo>
                  <a:lnTo>
                    <a:pt x="1237928" y="340789"/>
                  </a:lnTo>
                  <a:lnTo>
                    <a:pt x="1238445" y="340013"/>
                  </a:lnTo>
                  <a:lnTo>
                    <a:pt x="1236894" y="338721"/>
                  </a:lnTo>
                  <a:lnTo>
                    <a:pt x="1235214" y="338592"/>
                  </a:lnTo>
                  <a:lnTo>
                    <a:pt x="1233534" y="339109"/>
                  </a:lnTo>
                  <a:lnTo>
                    <a:pt x="1231854" y="339884"/>
                  </a:lnTo>
                  <a:lnTo>
                    <a:pt x="1233276" y="341435"/>
                  </a:lnTo>
                  <a:lnTo>
                    <a:pt x="1231596" y="341693"/>
                  </a:lnTo>
                  <a:lnTo>
                    <a:pt x="1230949" y="343115"/>
                  </a:lnTo>
                  <a:lnTo>
                    <a:pt x="1231079" y="354746"/>
                  </a:lnTo>
                  <a:lnTo>
                    <a:pt x="1231983" y="354100"/>
                  </a:lnTo>
                  <a:lnTo>
                    <a:pt x="1232630" y="353195"/>
                  </a:lnTo>
                  <a:lnTo>
                    <a:pt x="1233017" y="352161"/>
                  </a:lnTo>
                  <a:lnTo>
                    <a:pt x="1233276" y="350998"/>
                  </a:lnTo>
                  <a:lnTo>
                    <a:pt x="1234309" y="351774"/>
                  </a:lnTo>
                  <a:lnTo>
                    <a:pt x="1236894" y="355392"/>
                  </a:lnTo>
                  <a:lnTo>
                    <a:pt x="1239091" y="356426"/>
                  </a:lnTo>
                  <a:lnTo>
                    <a:pt x="1239220" y="357460"/>
                  </a:lnTo>
                  <a:lnTo>
                    <a:pt x="1239479" y="358106"/>
                  </a:lnTo>
                  <a:lnTo>
                    <a:pt x="1239996" y="358623"/>
                  </a:lnTo>
                  <a:lnTo>
                    <a:pt x="1240642" y="359011"/>
                  </a:lnTo>
                  <a:lnTo>
                    <a:pt x="1239867" y="359915"/>
                  </a:lnTo>
                  <a:lnTo>
                    <a:pt x="1239350" y="360949"/>
                  </a:lnTo>
                  <a:lnTo>
                    <a:pt x="1239091" y="362112"/>
                  </a:lnTo>
                  <a:lnTo>
                    <a:pt x="1239091" y="363405"/>
                  </a:lnTo>
                  <a:lnTo>
                    <a:pt x="1237670" y="362242"/>
                  </a:lnTo>
                  <a:lnTo>
                    <a:pt x="1237411" y="359011"/>
                  </a:lnTo>
                  <a:lnTo>
                    <a:pt x="1235731" y="358365"/>
                  </a:lnTo>
                  <a:lnTo>
                    <a:pt x="1227977" y="358365"/>
                  </a:lnTo>
                  <a:lnTo>
                    <a:pt x="1228882" y="356297"/>
                  </a:lnTo>
                  <a:lnTo>
                    <a:pt x="1228882" y="354488"/>
                  </a:lnTo>
                  <a:lnTo>
                    <a:pt x="1228235" y="352807"/>
                  </a:lnTo>
                  <a:lnTo>
                    <a:pt x="1226556" y="350223"/>
                  </a:lnTo>
                  <a:lnTo>
                    <a:pt x="1225392" y="349060"/>
                  </a:lnTo>
                  <a:lnTo>
                    <a:pt x="1224875" y="348284"/>
                  </a:lnTo>
                  <a:lnTo>
                    <a:pt x="1224488" y="346992"/>
                  </a:lnTo>
                  <a:lnTo>
                    <a:pt x="1224229" y="345829"/>
                  </a:lnTo>
                  <a:lnTo>
                    <a:pt x="1223712" y="344924"/>
                  </a:lnTo>
                  <a:lnTo>
                    <a:pt x="1222808" y="343890"/>
                  </a:lnTo>
                  <a:lnTo>
                    <a:pt x="1223325" y="342210"/>
                  </a:lnTo>
                  <a:lnTo>
                    <a:pt x="1221128" y="340143"/>
                  </a:lnTo>
                  <a:lnTo>
                    <a:pt x="1219577" y="339238"/>
                  </a:lnTo>
                  <a:lnTo>
                    <a:pt x="1218414" y="338721"/>
                  </a:lnTo>
                  <a:lnTo>
                    <a:pt x="1218155" y="342469"/>
                  </a:lnTo>
                  <a:lnTo>
                    <a:pt x="1219189" y="344795"/>
                  </a:lnTo>
                  <a:lnTo>
                    <a:pt x="1218155" y="345441"/>
                  </a:lnTo>
                  <a:lnTo>
                    <a:pt x="1217251" y="349189"/>
                  </a:lnTo>
                  <a:lnTo>
                    <a:pt x="1215829" y="350998"/>
                  </a:lnTo>
                  <a:lnTo>
                    <a:pt x="1214149" y="352420"/>
                  </a:lnTo>
                  <a:lnTo>
                    <a:pt x="1211306" y="354229"/>
                  </a:lnTo>
                  <a:lnTo>
                    <a:pt x="1203164" y="357718"/>
                  </a:lnTo>
                  <a:lnTo>
                    <a:pt x="1202389" y="357848"/>
                  </a:lnTo>
                  <a:lnTo>
                    <a:pt x="1201613" y="356684"/>
                  </a:lnTo>
                  <a:lnTo>
                    <a:pt x="1202518" y="355521"/>
                  </a:lnTo>
                  <a:lnTo>
                    <a:pt x="1203940" y="354358"/>
                  </a:lnTo>
                  <a:lnTo>
                    <a:pt x="1204715" y="353195"/>
                  </a:lnTo>
                  <a:lnTo>
                    <a:pt x="1204586" y="348414"/>
                  </a:lnTo>
                  <a:lnTo>
                    <a:pt x="1203681" y="345958"/>
                  </a:lnTo>
                  <a:lnTo>
                    <a:pt x="1201355" y="344924"/>
                  </a:lnTo>
                  <a:lnTo>
                    <a:pt x="1198900" y="345312"/>
                  </a:lnTo>
                  <a:lnTo>
                    <a:pt x="1199029" y="343503"/>
                  </a:lnTo>
                  <a:lnTo>
                    <a:pt x="1198383" y="341306"/>
                  </a:lnTo>
                  <a:lnTo>
                    <a:pt x="1196832" y="339496"/>
                  </a:lnTo>
                  <a:lnTo>
                    <a:pt x="1194764" y="337687"/>
                  </a:lnTo>
                  <a:lnTo>
                    <a:pt x="1194376" y="338592"/>
                  </a:lnTo>
                  <a:lnTo>
                    <a:pt x="1193989" y="340143"/>
                  </a:lnTo>
                  <a:lnTo>
                    <a:pt x="1193084" y="342081"/>
                  </a:lnTo>
                  <a:lnTo>
                    <a:pt x="1192955" y="345570"/>
                  </a:lnTo>
                  <a:lnTo>
                    <a:pt x="1193342" y="348284"/>
                  </a:lnTo>
                  <a:lnTo>
                    <a:pt x="1194893" y="349577"/>
                  </a:lnTo>
                  <a:lnTo>
                    <a:pt x="1195410" y="350998"/>
                  </a:lnTo>
                  <a:lnTo>
                    <a:pt x="1193342" y="349835"/>
                  </a:lnTo>
                  <a:lnTo>
                    <a:pt x="1190241" y="348930"/>
                  </a:lnTo>
                  <a:lnTo>
                    <a:pt x="1188561" y="349189"/>
                  </a:lnTo>
                  <a:lnTo>
                    <a:pt x="1187268" y="351644"/>
                  </a:lnTo>
                  <a:lnTo>
                    <a:pt x="1180031" y="356297"/>
                  </a:lnTo>
                  <a:lnTo>
                    <a:pt x="1178351" y="360691"/>
                  </a:lnTo>
                  <a:lnTo>
                    <a:pt x="1177576" y="360432"/>
                  </a:lnTo>
                  <a:lnTo>
                    <a:pt x="1174087" y="356943"/>
                  </a:lnTo>
                  <a:lnTo>
                    <a:pt x="1173311" y="355521"/>
                  </a:lnTo>
                  <a:lnTo>
                    <a:pt x="1173053" y="355263"/>
                  </a:lnTo>
                  <a:lnTo>
                    <a:pt x="1172019" y="354617"/>
                  </a:lnTo>
                  <a:lnTo>
                    <a:pt x="1171760" y="354488"/>
                  </a:lnTo>
                  <a:lnTo>
                    <a:pt x="1171760" y="353712"/>
                  </a:lnTo>
                  <a:lnTo>
                    <a:pt x="1172407" y="352420"/>
                  </a:lnTo>
                  <a:lnTo>
                    <a:pt x="1172407" y="351644"/>
                  </a:lnTo>
                  <a:lnTo>
                    <a:pt x="1172019" y="350352"/>
                  </a:lnTo>
                  <a:lnTo>
                    <a:pt x="1171631" y="349577"/>
                  </a:lnTo>
                  <a:lnTo>
                    <a:pt x="1170339" y="348026"/>
                  </a:lnTo>
                  <a:lnTo>
                    <a:pt x="1162456" y="354746"/>
                  </a:lnTo>
                  <a:lnTo>
                    <a:pt x="1157933" y="360820"/>
                  </a:lnTo>
                  <a:lnTo>
                    <a:pt x="1157416" y="362371"/>
                  </a:lnTo>
                  <a:lnTo>
                    <a:pt x="1157286" y="364439"/>
                  </a:lnTo>
                  <a:lnTo>
                    <a:pt x="1157674" y="364955"/>
                  </a:lnTo>
                  <a:lnTo>
                    <a:pt x="1158449" y="365472"/>
                  </a:lnTo>
                  <a:lnTo>
                    <a:pt x="1159225" y="366119"/>
                  </a:lnTo>
                  <a:lnTo>
                    <a:pt x="1159612" y="367152"/>
                  </a:lnTo>
                  <a:lnTo>
                    <a:pt x="1159483" y="368445"/>
                  </a:lnTo>
                  <a:lnTo>
                    <a:pt x="1158837" y="371159"/>
                  </a:lnTo>
                  <a:lnTo>
                    <a:pt x="1158966" y="371676"/>
                  </a:lnTo>
                  <a:lnTo>
                    <a:pt x="1159612" y="373226"/>
                  </a:lnTo>
                  <a:lnTo>
                    <a:pt x="1159354" y="373743"/>
                  </a:lnTo>
                  <a:lnTo>
                    <a:pt x="1158837" y="374260"/>
                  </a:lnTo>
                  <a:lnTo>
                    <a:pt x="1158320" y="374648"/>
                  </a:lnTo>
                  <a:lnTo>
                    <a:pt x="1158191" y="374777"/>
                  </a:lnTo>
                  <a:lnTo>
                    <a:pt x="1157674" y="377103"/>
                  </a:lnTo>
                  <a:lnTo>
                    <a:pt x="1157416" y="379559"/>
                  </a:lnTo>
                  <a:lnTo>
                    <a:pt x="1157157" y="379817"/>
                  </a:lnTo>
                  <a:lnTo>
                    <a:pt x="1155865" y="381627"/>
                  </a:lnTo>
                  <a:lnTo>
                    <a:pt x="1155735" y="382014"/>
                  </a:lnTo>
                  <a:lnTo>
                    <a:pt x="1155219" y="382531"/>
                  </a:lnTo>
                  <a:lnTo>
                    <a:pt x="1155089" y="383565"/>
                  </a:lnTo>
                  <a:lnTo>
                    <a:pt x="1154960" y="384857"/>
                  </a:lnTo>
                  <a:lnTo>
                    <a:pt x="1154702" y="385762"/>
                  </a:lnTo>
                  <a:lnTo>
                    <a:pt x="1153538" y="387054"/>
                  </a:lnTo>
                  <a:lnTo>
                    <a:pt x="1151988" y="387701"/>
                  </a:lnTo>
                  <a:lnTo>
                    <a:pt x="1150049" y="387959"/>
                  </a:lnTo>
                  <a:lnTo>
                    <a:pt x="1145009" y="388088"/>
                  </a:lnTo>
                  <a:lnTo>
                    <a:pt x="1143458" y="388476"/>
                  </a:lnTo>
                  <a:lnTo>
                    <a:pt x="1142941" y="389768"/>
                  </a:lnTo>
                  <a:lnTo>
                    <a:pt x="1143458" y="392353"/>
                  </a:lnTo>
                  <a:lnTo>
                    <a:pt x="1144880" y="395455"/>
                  </a:lnTo>
                  <a:lnTo>
                    <a:pt x="1145268" y="395971"/>
                  </a:lnTo>
                  <a:lnTo>
                    <a:pt x="1148240" y="395584"/>
                  </a:lnTo>
                  <a:lnTo>
                    <a:pt x="1149532" y="395584"/>
                  </a:lnTo>
                  <a:lnTo>
                    <a:pt x="1150825" y="396101"/>
                  </a:lnTo>
                  <a:lnTo>
                    <a:pt x="1149403" y="396488"/>
                  </a:lnTo>
                  <a:lnTo>
                    <a:pt x="1148111" y="397135"/>
                  </a:lnTo>
                  <a:lnTo>
                    <a:pt x="1146948" y="397522"/>
                  </a:lnTo>
                  <a:lnTo>
                    <a:pt x="1145655" y="397005"/>
                  </a:lnTo>
                  <a:lnTo>
                    <a:pt x="1144880" y="397781"/>
                  </a:lnTo>
                  <a:lnTo>
                    <a:pt x="1145655" y="398427"/>
                  </a:lnTo>
                  <a:lnTo>
                    <a:pt x="1145009" y="400107"/>
                  </a:lnTo>
                  <a:lnTo>
                    <a:pt x="1145785" y="401399"/>
                  </a:lnTo>
                  <a:lnTo>
                    <a:pt x="1147077" y="402692"/>
                  </a:lnTo>
                  <a:lnTo>
                    <a:pt x="1147852" y="404372"/>
                  </a:lnTo>
                  <a:lnTo>
                    <a:pt x="1144492" y="402045"/>
                  </a:lnTo>
                  <a:lnTo>
                    <a:pt x="1141908" y="404242"/>
                  </a:lnTo>
                  <a:lnTo>
                    <a:pt x="1140357" y="408636"/>
                  </a:lnTo>
                  <a:lnTo>
                    <a:pt x="1139711" y="413935"/>
                  </a:lnTo>
                  <a:lnTo>
                    <a:pt x="1139194" y="415486"/>
                  </a:lnTo>
                  <a:lnTo>
                    <a:pt x="1138935" y="417554"/>
                  </a:lnTo>
                  <a:lnTo>
                    <a:pt x="1138418" y="417812"/>
                  </a:lnTo>
                  <a:lnTo>
                    <a:pt x="1130923" y="416390"/>
                  </a:lnTo>
                  <a:lnTo>
                    <a:pt x="1129243" y="415744"/>
                  </a:lnTo>
                  <a:lnTo>
                    <a:pt x="1128855" y="412384"/>
                  </a:lnTo>
                  <a:lnTo>
                    <a:pt x="1129372" y="408895"/>
                  </a:lnTo>
                  <a:lnTo>
                    <a:pt x="1127950" y="407473"/>
                  </a:lnTo>
                  <a:lnTo>
                    <a:pt x="1126012" y="410187"/>
                  </a:lnTo>
                  <a:lnTo>
                    <a:pt x="1122910" y="414193"/>
                  </a:lnTo>
                  <a:lnTo>
                    <a:pt x="1122135" y="419104"/>
                  </a:lnTo>
                  <a:lnTo>
                    <a:pt x="1121359" y="427763"/>
                  </a:lnTo>
                  <a:lnTo>
                    <a:pt x="1120842" y="430218"/>
                  </a:lnTo>
                  <a:lnTo>
                    <a:pt x="1120713" y="432028"/>
                  </a:lnTo>
                  <a:lnTo>
                    <a:pt x="1121489" y="433449"/>
                  </a:lnTo>
                  <a:lnTo>
                    <a:pt x="1123686" y="434483"/>
                  </a:lnTo>
                  <a:lnTo>
                    <a:pt x="1125883" y="434742"/>
                  </a:lnTo>
                  <a:lnTo>
                    <a:pt x="1128079" y="434483"/>
                  </a:lnTo>
                  <a:lnTo>
                    <a:pt x="1129889" y="433837"/>
                  </a:lnTo>
                  <a:lnTo>
                    <a:pt x="1131052" y="432932"/>
                  </a:lnTo>
                  <a:lnTo>
                    <a:pt x="1132086" y="433578"/>
                  </a:lnTo>
                  <a:lnTo>
                    <a:pt x="1133120" y="433966"/>
                  </a:lnTo>
                  <a:lnTo>
                    <a:pt x="1134283" y="434354"/>
                  </a:lnTo>
                  <a:lnTo>
                    <a:pt x="1135446" y="434483"/>
                  </a:lnTo>
                  <a:lnTo>
                    <a:pt x="1138935" y="434354"/>
                  </a:lnTo>
                  <a:lnTo>
                    <a:pt x="1139840" y="434483"/>
                  </a:lnTo>
                  <a:lnTo>
                    <a:pt x="1138289" y="436292"/>
                  </a:lnTo>
                  <a:lnTo>
                    <a:pt x="1136609" y="437714"/>
                  </a:lnTo>
                  <a:lnTo>
                    <a:pt x="1134412" y="438748"/>
                  </a:lnTo>
                  <a:lnTo>
                    <a:pt x="1128855" y="440169"/>
                  </a:lnTo>
                  <a:lnTo>
                    <a:pt x="1126787" y="440299"/>
                  </a:lnTo>
                  <a:lnTo>
                    <a:pt x="1124978" y="439911"/>
                  </a:lnTo>
                  <a:lnTo>
                    <a:pt x="1123039" y="438748"/>
                  </a:lnTo>
                  <a:lnTo>
                    <a:pt x="1123556" y="441203"/>
                  </a:lnTo>
                  <a:lnTo>
                    <a:pt x="1127304" y="444951"/>
                  </a:lnTo>
                  <a:lnTo>
                    <a:pt x="1128209" y="447148"/>
                  </a:lnTo>
                  <a:lnTo>
                    <a:pt x="1128596" y="448957"/>
                  </a:lnTo>
                  <a:lnTo>
                    <a:pt x="1129243" y="451025"/>
                  </a:lnTo>
                  <a:lnTo>
                    <a:pt x="1129501" y="453093"/>
                  </a:lnTo>
                  <a:lnTo>
                    <a:pt x="1128726" y="454902"/>
                  </a:lnTo>
                  <a:lnTo>
                    <a:pt x="1128079" y="453610"/>
                  </a:lnTo>
                  <a:lnTo>
                    <a:pt x="1127175" y="452188"/>
                  </a:lnTo>
                  <a:lnTo>
                    <a:pt x="1126012" y="451025"/>
                  </a:lnTo>
                  <a:lnTo>
                    <a:pt x="1124590" y="450508"/>
                  </a:lnTo>
                  <a:lnTo>
                    <a:pt x="1122006" y="450250"/>
                  </a:lnTo>
                  <a:lnTo>
                    <a:pt x="1120713" y="449474"/>
                  </a:lnTo>
                  <a:lnTo>
                    <a:pt x="1118387" y="446114"/>
                  </a:lnTo>
                  <a:lnTo>
                    <a:pt x="1117224" y="446243"/>
                  </a:lnTo>
                  <a:lnTo>
                    <a:pt x="1116319" y="444563"/>
                  </a:lnTo>
                  <a:lnTo>
                    <a:pt x="1115415" y="442366"/>
                  </a:lnTo>
                  <a:lnTo>
                    <a:pt x="1114381" y="440686"/>
                  </a:lnTo>
                  <a:lnTo>
                    <a:pt x="1112830" y="439006"/>
                  </a:lnTo>
                  <a:lnTo>
                    <a:pt x="1109599" y="433061"/>
                  </a:lnTo>
                  <a:lnTo>
                    <a:pt x="1108307" y="430089"/>
                  </a:lnTo>
                  <a:lnTo>
                    <a:pt x="1107015" y="427763"/>
                  </a:lnTo>
                  <a:lnTo>
                    <a:pt x="1105851" y="425566"/>
                  </a:lnTo>
                  <a:lnTo>
                    <a:pt x="1104301" y="425307"/>
                  </a:lnTo>
                  <a:lnTo>
                    <a:pt x="1102233" y="428926"/>
                  </a:lnTo>
                  <a:lnTo>
                    <a:pt x="1100165" y="433837"/>
                  </a:lnTo>
                  <a:lnTo>
                    <a:pt x="1099777" y="434871"/>
                  </a:lnTo>
                  <a:lnTo>
                    <a:pt x="1099260" y="435517"/>
                  </a:lnTo>
                  <a:lnTo>
                    <a:pt x="1097968" y="436809"/>
                  </a:lnTo>
                  <a:lnTo>
                    <a:pt x="1097710" y="436939"/>
                  </a:lnTo>
                  <a:lnTo>
                    <a:pt x="1096547" y="437068"/>
                  </a:lnTo>
                  <a:lnTo>
                    <a:pt x="1096159" y="437197"/>
                  </a:lnTo>
                  <a:lnTo>
                    <a:pt x="1095900" y="437714"/>
                  </a:lnTo>
                  <a:lnTo>
                    <a:pt x="1095900" y="438231"/>
                  </a:lnTo>
                  <a:lnTo>
                    <a:pt x="1095900" y="438748"/>
                  </a:lnTo>
                  <a:lnTo>
                    <a:pt x="1095771" y="439135"/>
                  </a:lnTo>
                  <a:lnTo>
                    <a:pt x="1087759" y="450767"/>
                  </a:lnTo>
                  <a:lnTo>
                    <a:pt x="1087629" y="451154"/>
                  </a:lnTo>
                  <a:lnTo>
                    <a:pt x="1087629" y="452059"/>
                  </a:lnTo>
                  <a:lnTo>
                    <a:pt x="1087242" y="451154"/>
                  </a:lnTo>
                  <a:lnTo>
                    <a:pt x="1086725" y="451413"/>
                  </a:lnTo>
                  <a:lnTo>
                    <a:pt x="1085691" y="451413"/>
                  </a:lnTo>
                  <a:lnTo>
                    <a:pt x="1084916" y="451671"/>
                  </a:lnTo>
                  <a:lnTo>
                    <a:pt x="1084399" y="451542"/>
                  </a:lnTo>
                  <a:lnTo>
                    <a:pt x="1084011" y="451542"/>
                  </a:lnTo>
                  <a:lnTo>
                    <a:pt x="1083882" y="451930"/>
                  </a:lnTo>
                  <a:lnTo>
                    <a:pt x="1083752" y="452447"/>
                  </a:lnTo>
                  <a:lnTo>
                    <a:pt x="1083106" y="453739"/>
                  </a:lnTo>
                  <a:lnTo>
                    <a:pt x="1082848" y="454127"/>
                  </a:lnTo>
                  <a:lnTo>
                    <a:pt x="1082072" y="454773"/>
                  </a:lnTo>
                  <a:lnTo>
                    <a:pt x="1080134" y="455677"/>
                  </a:lnTo>
                  <a:lnTo>
                    <a:pt x="1079229" y="456453"/>
                  </a:lnTo>
                  <a:lnTo>
                    <a:pt x="1079229" y="457228"/>
                  </a:lnTo>
                  <a:lnTo>
                    <a:pt x="1080134" y="459296"/>
                  </a:lnTo>
                  <a:lnTo>
                    <a:pt x="1079875" y="459684"/>
                  </a:lnTo>
                  <a:lnTo>
                    <a:pt x="1078842" y="460201"/>
                  </a:lnTo>
                  <a:lnTo>
                    <a:pt x="1078066" y="461493"/>
                  </a:lnTo>
                  <a:lnTo>
                    <a:pt x="1076903" y="462268"/>
                  </a:lnTo>
                  <a:lnTo>
                    <a:pt x="1076257" y="464465"/>
                  </a:lnTo>
                  <a:lnTo>
                    <a:pt x="1074964" y="467179"/>
                  </a:lnTo>
                  <a:lnTo>
                    <a:pt x="1072122" y="468859"/>
                  </a:lnTo>
                  <a:lnTo>
                    <a:pt x="1069278" y="469893"/>
                  </a:lnTo>
                  <a:lnTo>
                    <a:pt x="1068244" y="471832"/>
                  </a:lnTo>
                  <a:lnTo>
                    <a:pt x="1067081" y="472865"/>
                  </a:lnTo>
                  <a:lnTo>
                    <a:pt x="1065530" y="473382"/>
                  </a:lnTo>
                  <a:lnTo>
                    <a:pt x="1063851" y="473253"/>
                  </a:lnTo>
                  <a:lnTo>
                    <a:pt x="1063980" y="472478"/>
                  </a:lnTo>
                  <a:lnTo>
                    <a:pt x="1065530" y="471315"/>
                  </a:lnTo>
                  <a:lnTo>
                    <a:pt x="1066177" y="469118"/>
                  </a:lnTo>
                  <a:lnTo>
                    <a:pt x="1067857" y="467567"/>
                  </a:lnTo>
                  <a:lnTo>
                    <a:pt x="1070700" y="466791"/>
                  </a:lnTo>
                  <a:lnTo>
                    <a:pt x="1072122" y="464724"/>
                  </a:lnTo>
                  <a:lnTo>
                    <a:pt x="1073414" y="462268"/>
                  </a:lnTo>
                  <a:lnTo>
                    <a:pt x="1073543" y="459813"/>
                  </a:lnTo>
                  <a:lnTo>
                    <a:pt x="1073155" y="458262"/>
                  </a:lnTo>
                  <a:lnTo>
                    <a:pt x="1073414" y="457745"/>
                  </a:lnTo>
                  <a:lnTo>
                    <a:pt x="1074060" y="457099"/>
                  </a:lnTo>
                  <a:lnTo>
                    <a:pt x="1074706" y="456324"/>
                  </a:lnTo>
                  <a:lnTo>
                    <a:pt x="1076645" y="454902"/>
                  </a:lnTo>
                  <a:lnTo>
                    <a:pt x="1077549" y="451283"/>
                  </a:lnTo>
                  <a:lnTo>
                    <a:pt x="1078325" y="449603"/>
                  </a:lnTo>
                  <a:lnTo>
                    <a:pt x="1078583" y="447019"/>
                  </a:lnTo>
                  <a:lnTo>
                    <a:pt x="1080522" y="445726"/>
                  </a:lnTo>
                  <a:lnTo>
                    <a:pt x="1082460" y="443659"/>
                  </a:lnTo>
                  <a:lnTo>
                    <a:pt x="1082589" y="442883"/>
                  </a:lnTo>
                  <a:lnTo>
                    <a:pt x="1081685" y="443012"/>
                  </a:lnTo>
                  <a:lnTo>
                    <a:pt x="1080263" y="444176"/>
                  </a:lnTo>
                  <a:lnTo>
                    <a:pt x="1077549" y="445597"/>
                  </a:lnTo>
                  <a:lnTo>
                    <a:pt x="1075094" y="446631"/>
                  </a:lnTo>
                  <a:lnTo>
                    <a:pt x="1070829" y="447277"/>
                  </a:lnTo>
                  <a:lnTo>
                    <a:pt x="1068115" y="451025"/>
                  </a:lnTo>
                  <a:lnTo>
                    <a:pt x="1066306" y="455936"/>
                  </a:lnTo>
                  <a:lnTo>
                    <a:pt x="1061912" y="460201"/>
                  </a:lnTo>
                  <a:lnTo>
                    <a:pt x="1057906" y="463044"/>
                  </a:lnTo>
                  <a:lnTo>
                    <a:pt x="1054029" y="465111"/>
                  </a:lnTo>
                  <a:lnTo>
                    <a:pt x="1053382" y="468601"/>
                  </a:lnTo>
                  <a:lnTo>
                    <a:pt x="1051832" y="472736"/>
                  </a:lnTo>
                  <a:lnTo>
                    <a:pt x="1051573" y="474545"/>
                  </a:lnTo>
                  <a:lnTo>
                    <a:pt x="1050022" y="476613"/>
                  </a:lnTo>
                  <a:lnTo>
                    <a:pt x="1049118" y="476872"/>
                  </a:lnTo>
                  <a:lnTo>
                    <a:pt x="1048342" y="477259"/>
                  </a:lnTo>
                  <a:lnTo>
                    <a:pt x="1045241" y="479973"/>
                  </a:lnTo>
                  <a:lnTo>
                    <a:pt x="1042268" y="484367"/>
                  </a:lnTo>
                  <a:lnTo>
                    <a:pt x="1034902" y="499617"/>
                  </a:lnTo>
                  <a:lnTo>
                    <a:pt x="1034385" y="501038"/>
                  </a:lnTo>
                  <a:lnTo>
                    <a:pt x="1034256" y="503106"/>
                  </a:lnTo>
                  <a:lnTo>
                    <a:pt x="1033351" y="506983"/>
                  </a:lnTo>
                  <a:lnTo>
                    <a:pt x="1031413" y="511765"/>
                  </a:lnTo>
                  <a:lnTo>
                    <a:pt x="1021203" y="529082"/>
                  </a:lnTo>
                  <a:lnTo>
                    <a:pt x="1020299" y="532054"/>
                  </a:lnTo>
                  <a:lnTo>
                    <a:pt x="1020170" y="533993"/>
                  </a:lnTo>
                  <a:lnTo>
                    <a:pt x="1020428" y="537999"/>
                  </a:lnTo>
                  <a:lnTo>
                    <a:pt x="1020299" y="539938"/>
                  </a:lnTo>
                  <a:lnTo>
                    <a:pt x="1019523" y="542264"/>
                  </a:lnTo>
                  <a:lnTo>
                    <a:pt x="1018489" y="543815"/>
                  </a:lnTo>
                  <a:lnTo>
                    <a:pt x="1015905" y="546529"/>
                  </a:lnTo>
                  <a:lnTo>
                    <a:pt x="1015646" y="547175"/>
                  </a:lnTo>
                  <a:lnTo>
                    <a:pt x="1015259" y="549113"/>
                  </a:lnTo>
                  <a:lnTo>
                    <a:pt x="1014871" y="549501"/>
                  </a:lnTo>
                  <a:lnTo>
                    <a:pt x="1014225" y="549759"/>
                  </a:lnTo>
                  <a:lnTo>
                    <a:pt x="1012028" y="550922"/>
                  </a:lnTo>
                  <a:lnTo>
                    <a:pt x="1011382" y="551698"/>
                  </a:lnTo>
                  <a:lnTo>
                    <a:pt x="1010736" y="553895"/>
                  </a:lnTo>
                  <a:lnTo>
                    <a:pt x="1010736" y="555446"/>
                  </a:lnTo>
                  <a:lnTo>
                    <a:pt x="1010348" y="556738"/>
                  </a:lnTo>
                  <a:lnTo>
                    <a:pt x="1008538" y="558289"/>
                  </a:lnTo>
                  <a:lnTo>
                    <a:pt x="1000526" y="561261"/>
                  </a:lnTo>
                  <a:lnTo>
                    <a:pt x="995874" y="562037"/>
                  </a:lnTo>
                  <a:lnTo>
                    <a:pt x="993160" y="561132"/>
                  </a:lnTo>
                  <a:lnTo>
                    <a:pt x="994452" y="559064"/>
                  </a:lnTo>
                  <a:lnTo>
                    <a:pt x="996132" y="557255"/>
                  </a:lnTo>
                  <a:lnTo>
                    <a:pt x="998329" y="555963"/>
                  </a:lnTo>
                  <a:lnTo>
                    <a:pt x="1000785" y="555446"/>
                  </a:lnTo>
                  <a:lnTo>
                    <a:pt x="1001818" y="554412"/>
                  </a:lnTo>
                  <a:lnTo>
                    <a:pt x="1008409" y="544978"/>
                  </a:lnTo>
                  <a:lnTo>
                    <a:pt x="1008797" y="542910"/>
                  </a:lnTo>
                  <a:lnTo>
                    <a:pt x="1008409" y="537095"/>
                  </a:lnTo>
                  <a:lnTo>
                    <a:pt x="1007892" y="535156"/>
                  </a:lnTo>
                  <a:lnTo>
                    <a:pt x="1007763" y="533993"/>
                  </a:lnTo>
                  <a:lnTo>
                    <a:pt x="1008022" y="532959"/>
                  </a:lnTo>
                  <a:lnTo>
                    <a:pt x="1009960" y="530504"/>
                  </a:lnTo>
                  <a:lnTo>
                    <a:pt x="1010219" y="529470"/>
                  </a:lnTo>
                  <a:lnTo>
                    <a:pt x="1010348" y="527402"/>
                  </a:lnTo>
                  <a:lnTo>
                    <a:pt x="1010606" y="526368"/>
                  </a:lnTo>
                  <a:lnTo>
                    <a:pt x="1011123" y="525593"/>
                  </a:lnTo>
                  <a:lnTo>
                    <a:pt x="1011899" y="524817"/>
                  </a:lnTo>
                  <a:lnTo>
                    <a:pt x="1012545" y="524042"/>
                  </a:lnTo>
                  <a:lnTo>
                    <a:pt x="1012803" y="523008"/>
                  </a:lnTo>
                  <a:lnTo>
                    <a:pt x="1012932" y="517451"/>
                  </a:lnTo>
                  <a:lnTo>
                    <a:pt x="1013191" y="516805"/>
                  </a:lnTo>
                  <a:lnTo>
                    <a:pt x="1013708" y="516159"/>
                  </a:lnTo>
                  <a:lnTo>
                    <a:pt x="1016551" y="511506"/>
                  </a:lnTo>
                  <a:lnTo>
                    <a:pt x="1017456" y="510731"/>
                  </a:lnTo>
                  <a:lnTo>
                    <a:pt x="1018360" y="510085"/>
                  </a:lnTo>
                  <a:lnTo>
                    <a:pt x="1019136" y="509309"/>
                  </a:lnTo>
                  <a:lnTo>
                    <a:pt x="1019652" y="506854"/>
                  </a:lnTo>
                  <a:lnTo>
                    <a:pt x="1020686" y="504786"/>
                  </a:lnTo>
                  <a:lnTo>
                    <a:pt x="1020945" y="503752"/>
                  </a:lnTo>
                  <a:lnTo>
                    <a:pt x="1021203" y="495223"/>
                  </a:lnTo>
                  <a:lnTo>
                    <a:pt x="1021591" y="493931"/>
                  </a:lnTo>
                  <a:lnTo>
                    <a:pt x="1022625" y="492638"/>
                  </a:lnTo>
                  <a:lnTo>
                    <a:pt x="1025210" y="490312"/>
                  </a:lnTo>
                  <a:lnTo>
                    <a:pt x="1026114" y="488761"/>
                  </a:lnTo>
                  <a:lnTo>
                    <a:pt x="1024693" y="488761"/>
                  </a:lnTo>
                  <a:lnTo>
                    <a:pt x="1024693" y="487986"/>
                  </a:lnTo>
                  <a:lnTo>
                    <a:pt x="1025726" y="486823"/>
                  </a:lnTo>
                  <a:lnTo>
                    <a:pt x="1026631" y="485143"/>
                  </a:lnTo>
                  <a:lnTo>
                    <a:pt x="1027277" y="483333"/>
                  </a:lnTo>
                  <a:lnTo>
                    <a:pt x="1027536" y="481783"/>
                  </a:lnTo>
                  <a:lnTo>
                    <a:pt x="1027148" y="479586"/>
                  </a:lnTo>
                  <a:lnTo>
                    <a:pt x="1026244" y="478681"/>
                  </a:lnTo>
                  <a:lnTo>
                    <a:pt x="1022496" y="477776"/>
                  </a:lnTo>
                  <a:lnTo>
                    <a:pt x="1020299" y="476872"/>
                  </a:lnTo>
                  <a:lnTo>
                    <a:pt x="1018877" y="475838"/>
                  </a:lnTo>
                  <a:lnTo>
                    <a:pt x="1018102" y="474416"/>
                  </a:lnTo>
                  <a:lnTo>
                    <a:pt x="1017843" y="472348"/>
                  </a:lnTo>
                  <a:lnTo>
                    <a:pt x="1018360" y="471056"/>
                  </a:lnTo>
                  <a:lnTo>
                    <a:pt x="1020816" y="468342"/>
                  </a:lnTo>
                  <a:lnTo>
                    <a:pt x="1021462" y="466274"/>
                  </a:lnTo>
                  <a:lnTo>
                    <a:pt x="1020040" y="466921"/>
                  </a:lnTo>
                  <a:lnTo>
                    <a:pt x="1018231" y="468471"/>
                  </a:lnTo>
                  <a:lnTo>
                    <a:pt x="1017197" y="469118"/>
                  </a:lnTo>
                  <a:lnTo>
                    <a:pt x="1017714" y="466274"/>
                  </a:lnTo>
                  <a:lnTo>
                    <a:pt x="1016809" y="464724"/>
                  </a:lnTo>
                  <a:lnTo>
                    <a:pt x="1014742" y="464724"/>
                  </a:lnTo>
                  <a:lnTo>
                    <a:pt x="1012028" y="466274"/>
                  </a:lnTo>
                  <a:lnTo>
                    <a:pt x="1010736" y="468084"/>
                  </a:lnTo>
                  <a:lnTo>
                    <a:pt x="1009055" y="474933"/>
                  </a:lnTo>
                  <a:lnTo>
                    <a:pt x="1006341" y="472219"/>
                  </a:lnTo>
                  <a:lnTo>
                    <a:pt x="1002594" y="472995"/>
                  </a:lnTo>
                  <a:lnTo>
                    <a:pt x="998975" y="475709"/>
                  </a:lnTo>
                  <a:lnTo>
                    <a:pt x="996520" y="478552"/>
                  </a:lnTo>
                  <a:lnTo>
                    <a:pt x="997166" y="479973"/>
                  </a:lnTo>
                  <a:lnTo>
                    <a:pt x="997424" y="480749"/>
                  </a:lnTo>
                  <a:lnTo>
                    <a:pt x="998846" y="480103"/>
                  </a:lnTo>
                  <a:lnTo>
                    <a:pt x="1003240" y="485918"/>
                  </a:lnTo>
                  <a:lnTo>
                    <a:pt x="1004662" y="489149"/>
                  </a:lnTo>
                  <a:lnTo>
                    <a:pt x="1003240" y="490958"/>
                  </a:lnTo>
                  <a:lnTo>
                    <a:pt x="1003111" y="488503"/>
                  </a:lnTo>
                  <a:lnTo>
                    <a:pt x="1001948" y="486306"/>
                  </a:lnTo>
                  <a:lnTo>
                    <a:pt x="1000397" y="484496"/>
                  </a:lnTo>
                  <a:lnTo>
                    <a:pt x="996649" y="481266"/>
                  </a:lnTo>
                  <a:lnTo>
                    <a:pt x="994323" y="479973"/>
                  </a:lnTo>
                  <a:lnTo>
                    <a:pt x="992384" y="479844"/>
                  </a:lnTo>
                  <a:lnTo>
                    <a:pt x="991480" y="481395"/>
                  </a:lnTo>
                  <a:lnTo>
                    <a:pt x="990575" y="479844"/>
                  </a:lnTo>
                  <a:lnTo>
                    <a:pt x="989412" y="479456"/>
                  </a:lnTo>
                  <a:lnTo>
                    <a:pt x="988766" y="480232"/>
                  </a:lnTo>
                  <a:lnTo>
                    <a:pt x="989153" y="482170"/>
                  </a:lnTo>
                  <a:lnTo>
                    <a:pt x="987732" y="480749"/>
                  </a:lnTo>
                  <a:lnTo>
                    <a:pt x="986698" y="479456"/>
                  </a:lnTo>
                  <a:lnTo>
                    <a:pt x="985277" y="478552"/>
                  </a:lnTo>
                  <a:lnTo>
                    <a:pt x="982692" y="478422"/>
                  </a:lnTo>
                  <a:lnTo>
                    <a:pt x="979978" y="478939"/>
                  </a:lnTo>
                  <a:lnTo>
                    <a:pt x="978944" y="480103"/>
                  </a:lnTo>
                  <a:lnTo>
                    <a:pt x="978556" y="481783"/>
                  </a:lnTo>
                  <a:lnTo>
                    <a:pt x="977652" y="484109"/>
                  </a:lnTo>
                  <a:lnTo>
                    <a:pt x="977781" y="480749"/>
                  </a:lnTo>
                  <a:lnTo>
                    <a:pt x="977393" y="479456"/>
                  </a:lnTo>
                  <a:lnTo>
                    <a:pt x="976101" y="479069"/>
                  </a:lnTo>
                  <a:lnTo>
                    <a:pt x="976101" y="479844"/>
                  </a:lnTo>
                  <a:lnTo>
                    <a:pt x="977006" y="481653"/>
                  </a:lnTo>
                  <a:lnTo>
                    <a:pt x="976876" y="489924"/>
                  </a:lnTo>
                  <a:lnTo>
                    <a:pt x="977910" y="495481"/>
                  </a:lnTo>
                  <a:lnTo>
                    <a:pt x="979719" y="500780"/>
                  </a:lnTo>
                  <a:lnTo>
                    <a:pt x="978427" y="499746"/>
                  </a:lnTo>
                  <a:lnTo>
                    <a:pt x="977135" y="497937"/>
                  </a:lnTo>
                  <a:lnTo>
                    <a:pt x="975972" y="495998"/>
                  </a:lnTo>
                  <a:lnTo>
                    <a:pt x="975325" y="494189"/>
                  </a:lnTo>
                  <a:lnTo>
                    <a:pt x="974550" y="494189"/>
                  </a:lnTo>
                  <a:lnTo>
                    <a:pt x="972353" y="498583"/>
                  </a:lnTo>
                  <a:lnTo>
                    <a:pt x="972482" y="498583"/>
                  </a:lnTo>
                  <a:lnTo>
                    <a:pt x="973129" y="496386"/>
                  </a:lnTo>
                  <a:lnTo>
                    <a:pt x="975325" y="492121"/>
                  </a:lnTo>
                  <a:lnTo>
                    <a:pt x="976101" y="489795"/>
                  </a:lnTo>
                  <a:lnTo>
                    <a:pt x="976489" y="487469"/>
                  </a:lnTo>
                  <a:lnTo>
                    <a:pt x="976489" y="485272"/>
                  </a:lnTo>
                  <a:lnTo>
                    <a:pt x="976101" y="483204"/>
                  </a:lnTo>
                  <a:lnTo>
                    <a:pt x="975455" y="481007"/>
                  </a:lnTo>
                  <a:lnTo>
                    <a:pt x="973904" y="483204"/>
                  </a:lnTo>
                  <a:lnTo>
                    <a:pt x="971836" y="485401"/>
                  </a:lnTo>
                  <a:lnTo>
                    <a:pt x="974421" y="480749"/>
                  </a:lnTo>
                  <a:lnTo>
                    <a:pt x="974808" y="479327"/>
                  </a:lnTo>
                  <a:lnTo>
                    <a:pt x="974550" y="477518"/>
                  </a:lnTo>
                  <a:lnTo>
                    <a:pt x="973904" y="476484"/>
                  </a:lnTo>
                  <a:lnTo>
                    <a:pt x="967830" y="472607"/>
                  </a:lnTo>
                  <a:lnTo>
                    <a:pt x="965633" y="471573"/>
                  </a:lnTo>
                  <a:lnTo>
                    <a:pt x="963048" y="470798"/>
                  </a:lnTo>
                  <a:lnTo>
                    <a:pt x="960464" y="470539"/>
                  </a:lnTo>
                  <a:lnTo>
                    <a:pt x="957879" y="470798"/>
                  </a:lnTo>
                  <a:lnTo>
                    <a:pt x="948703" y="473253"/>
                  </a:lnTo>
                  <a:lnTo>
                    <a:pt x="945860" y="474675"/>
                  </a:lnTo>
                  <a:lnTo>
                    <a:pt x="943922" y="476872"/>
                  </a:lnTo>
                  <a:lnTo>
                    <a:pt x="943146" y="480361"/>
                  </a:lnTo>
                  <a:lnTo>
                    <a:pt x="940949" y="479198"/>
                  </a:lnTo>
                  <a:lnTo>
                    <a:pt x="938365" y="478422"/>
                  </a:lnTo>
                  <a:lnTo>
                    <a:pt x="935780" y="478293"/>
                  </a:lnTo>
                  <a:lnTo>
                    <a:pt x="933712" y="478939"/>
                  </a:lnTo>
                  <a:lnTo>
                    <a:pt x="930611" y="478035"/>
                  </a:lnTo>
                  <a:lnTo>
                    <a:pt x="927251" y="479586"/>
                  </a:lnTo>
                  <a:lnTo>
                    <a:pt x="924149" y="482558"/>
                  </a:lnTo>
                  <a:lnTo>
                    <a:pt x="921694" y="485272"/>
                  </a:lnTo>
                  <a:lnTo>
                    <a:pt x="920789" y="486564"/>
                  </a:lnTo>
                  <a:lnTo>
                    <a:pt x="920660" y="487986"/>
                  </a:lnTo>
                  <a:lnTo>
                    <a:pt x="920272" y="489278"/>
                  </a:lnTo>
                  <a:lnTo>
                    <a:pt x="920143" y="490053"/>
                  </a:lnTo>
                  <a:lnTo>
                    <a:pt x="919755" y="491346"/>
                  </a:lnTo>
                  <a:lnTo>
                    <a:pt x="918463" y="492250"/>
                  </a:lnTo>
                  <a:lnTo>
                    <a:pt x="917429" y="493414"/>
                  </a:lnTo>
                  <a:lnTo>
                    <a:pt x="916783" y="494706"/>
                  </a:lnTo>
                  <a:lnTo>
                    <a:pt x="916137" y="497420"/>
                  </a:lnTo>
                  <a:lnTo>
                    <a:pt x="914715" y="496386"/>
                  </a:lnTo>
                  <a:lnTo>
                    <a:pt x="913940" y="494447"/>
                  </a:lnTo>
                  <a:lnTo>
                    <a:pt x="913164" y="490829"/>
                  </a:lnTo>
                  <a:lnTo>
                    <a:pt x="912001" y="488890"/>
                  </a:lnTo>
                  <a:lnTo>
                    <a:pt x="911613" y="487857"/>
                  </a:lnTo>
                  <a:lnTo>
                    <a:pt x="912001" y="486823"/>
                  </a:lnTo>
                  <a:lnTo>
                    <a:pt x="912647" y="485918"/>
                  </a:lnTo>
                  <a:lnTo>
                    <a:pt x="913035" y="485013"/>
                  </a:lnTo>
                  <a:lnTo>
                    <a:pt x="913164" y="483980"/>
                  </a:lnTo>
                  <a:lnTo>
                    <a:pt x="913035" y="482816"/>
                  </a:lnTo>
                  <a:lnTo>
                    <a:pt x="911613" y="483721"/>
                  </a:lnTo>
                  <a:lnTo>
                    <a:pt x="910192" y="486435"/>
                  </a:lnTo>
                  <a:lnTo>
                    <a:pt x="908641" y="487210"/>
                  </a:lnTo>
                  <a:lnTo>
                    <a:pt x="909029" y="486047"/>
                  </a:lnTo>
                  <a:lnTo>
                    <a:pt x="910580" y="483980"/>
                  </a:lnTo>
                  <a:lnTo>
                    <a:pt x="910838" y="483204"/>
                  </a:lnTo>
                  <a:lnTo>
                    <a:pt x="910450" y="481912"/>
                  </a:lnTo>
                  <a:lnTo>
                    <a:pt x="909416" y="481783"/>
                  </a:lnTo>
                  <a:lnTo>
                    <a:pt x="907995" y="482041"/>
                  </a:lnTo>
                  <a:lnTo>
                    <a:pt x="906444" y="482170"/>
                  </a:lnTo>
                  <a:lnTo>
                    <a:pt x="904247" y="481395"/>
                  </a:lnTo>
                  <a:lnTo>
                    <a:pt x="901792" y="479844"/>
                  </a:lnTo>
                  <a:lnTo>
                    <a:pt x="899853" y="478164"/>
                  </a:lnTo>
                  <a:lnTo>
                    <a:pt x="897010" y="473124"/>
                  </a:lnTo>
                  <a:lnTo>
                    <a:pt x="894942" y="470022"/>
                  </a:lnTo>
                  <a:lnTo>
                    <a:pt x="892487" y="469764"/>
                  </a:lnTo>
                  <a:lnTo>
                    <a:pt x="889644" y="468859"/>
                  </a:lnTo>
                  <a:lnTo>
                    <a:pt x="888868" y="469376"/>
                  </a:lnTo>
                  <a:lnTo>
                    <a:pt x="887964" y="471702"/>
                  </a:lnTo>
                  <a:lnTo>
                    <a:pt x="886542" y="472995"/>
                  </a:lnTo>
                  <a:lnTo>
                    <a:pt x="885637" y="474158"/>
                  </a:lnTo>
                  <a:lnTo>
                    <a:pt x="885508" y="476096"/>
                  </a:lnTo>
                  <a:lnTo>
                    <a:pt x="885767" y="477776"/>
                  </a:lnTo>
                  <a:lnTo>
                    <a:pt x="885250" y="480103"/>
                  </a:lnTo>
                  <a:lnTo>
                    <a:pt x="884087" y="480619"/>
                  </a:lnTo>
                  <a:lnTo>
                    <a:pt x="881502" y="481395"/>
                  </a:lnTo>
                  <a:lnTo>
                    <a:pt x="875686" y="482041"/>
                  </a:lnTo>
                  <a:lnTo>
                    <a:pt x="872843" y="481783"/>
                  </a:lnTo>
                  <a:lnTo>
                    <a:pt x="872068" y="482429"/>
                  </a:lnTo>
                  <a:lnTo>
                    <a:pt x="872456" y="484109"/>
                  </a:lnTo>
                  <a:lnTo>
                    <a:pt x="872843" y="486564"/>
                  </a:lnTo>
                  <a:lnTo>
                    <a:pt x="871422" y="485918"/>
                  </a:lnTo>
                  <a:lnTo>
                    <a:pt x="870000" y="485143"/>
                  </a:lnTo>
                  <a:lnTo>
                    <a:pt x="868966" y="482816"/>
                  </a:lnTo>
                  <a:lnTo>
                    <a:pt x="869096" y="480232"/>
                  </a:lnTo>
                  <a:lnTo>
                    <a:pt x="867286" y="479456"/>
                  </a:lnTo>
                  <a:lnTo>
                    <a:pt x="866252" y="477518"/>
                  </a:lnTo>
                  <a:lnTo>
                    <a:pt x="864831" y="477130"/>
                  </a:lnTo>
                  <a:lnTo>
                    <a:pt x="865348" y="475967"/>
                  </a:lnTo>
                  <a:lnTo>
                    <a:pt x="866252" y="474287"/>
                  </a:lnTo>
                  <a:lnTo>
                    <a:pt x="868579" y="475709"/>
                  </a:lnTo>
                  <a:lnTo>
                    <a:pt x="870905" y="477518"/>
                  </a:lnTo>
                  <a:lnTo>
                    <a:pt x="873231" y="478939"/>
                  </a:lnTo>
                  <a:lnTo>
                    <a:pt x="876203" y="479069"/>
                  </a:lnTo>
                  <a:lnTo>
                    <a:pt x="878400" y="477389"/>
                  </a:lnTo>
                  <a:lnTo>
                    <a:pt x="878400" y="475450"/>
                  </a:lnTo>
                  <a:lnTo>
                    <a:pt x="879305" y="473512"/>
                  </a:lnTo>
                  <a:lnTo>
                    <a:pt x="881373" y="472219"/>
                  </a:lnTo>
                  <a:lnTo>
                    <a:pt x="883699" y="471185"/>
                  </a:lnTo>
                  <a:lnTo>
                    <a:pt x="884474" y="467825"/>
                  </a:lnTo>
                  <a:lnTo>
                    <a:pt x="883570" y="465499"/>
                  </a:lnTo>
                  <a:lnTo>
                    <a:pt x="882665" y="464724"/>
                  </a:lnTo>
                  <a:lnTo>
                    <a:pt x="881502" y="462268"/>
                  </a:lnTo>
                  <a:lnTo>
                    <a:pt x="886413" y="465241"/>
                  </a:lnTo>
                  <a:lnTo>
                    <a:pt x="888222" y="465111"/>
                  </a:lnTo>
                  <a:lnTo>
                    <a:pt x="890290" y="462268"/>
                  </a:lnTo>
                  <a:lnTo>
                    <a:pt x="889256" y="460330"/>
                  </a:lnTo>
                  <a:lnTo>
                    <a:pt x="888481" y="457874"/>
                  </a:lnTo>
                  <a:lnTo>
                    <a:pt x="887447" y="450637"/>
                  </a:lnTo>
                  <a:lnTo>
                    <a:pt x="886413" y="448828"/>
                  </a:lnTo>
                  <a:lnTo>
                    <a:pt x="879563" y="443012"/>
                  </a:lnTo>
                  <a:lnTo>
                    <a:pt x="878142" y="441332"/>
                  </a:lnTo>
                  <a:lnTo>
                    <a:pt x="876850" y="436809"/>
                  </a:lnTo>
                  <a:lnTo>
                    <a:pt x="873489" y="432415"/>
                  </a:lnTo>
                  <a:lnTo>
                    <a:pt x="872456" y="430089"/>
                  </a:lnTo>
                  <a:lnTo>
                    <a:pt x="872585" y="428926"/>
                  </a:lnTo>
                  <a:lnTo>
                    <a:pt x="873102" y="427763"/>
                  </a:lnTo>
                  <a:lnTo>
                    <a:pt x="873877" y="426471"/>
                  </a:lnTo>
                  <a:lnTo>
                    <a:pt x="873489" y="425307"/>
                  </a:lnTo>
                  <a:lnTo>
                    <a:pt x="872714" y="424403"/>
                  </a:lnTo>
                  <a:lnTo>
                    <a:pt x="871939" y="423757"/>
                  </a:lnTo>
                  <a:lnTo>
                    <a:pt x="871551" y="423111"/>
                  </a:lnTo>
                  <a:lnTo>
                    <a:pt x="871292" y="416907"/>
                  </a:lnTo>
                  <a:lnTo>
                    <a:pt x="872456" y="410575"/>
                  </a:lnTo>
                  <a:lnTo>
                    <a:pt x="872326" y="408378"/>
                  </a:lnTo>
                  <a:lnTo>
                    <a:pt x="871292" y="406439"/>
                  </a:lnTo>
                  <a:lnTo>
                    <a:pt x="869483" y="404759"/>
                  </a:lnTo>
                  <a:lnTo>
                    <a:pt x="857852" y="397393"/>
                  </a:lnTo>
                  <a:lnTo>
                    <a:pt x="861212" y="397264"/>
                  </a:lnTo>
                  <a:lnTo>
                    <a:pt x="862634" y="397005"/>
                  </a:lnTo>
                  <a:lnTo>
                    <a:pt x="863797" y="396488"/>
                  </a:lnTo>
                  <a:lnTo>
                    <a:pt x="864831" y="395584"/>
                  </a:lnTo>
                  <a:lnTo>
                    <a:pt x="867415" y="392094"/>
                  </a:lnTo>
                  <a:lnTo>
                    <a:pt x="868708" y="391190"/>
                  </a:lnTo>
                  <a:lnTo>
                    <a:pt x="870000" y="390544"/>
                  </a:lnTo>
                  <a:lnTo>
                    <a:pt x="871034" y="389768"/>
                  </a:lnTo>
                  <a:lnTo>
                    <a:pt x="871810" y="388347"/>
                  </a:lnTo>
                  <a:lnTo>
                    <a:pt x="872068" y="386796"/>
                  </a:lnTo>
                  <a:lnTo>
                    <a:pt x="871810" y="381756"/>
                  </a:lnTo>
                  <a:lnTo>
                    <a:pt x="872326" y="378267"/>
                  </a:lnTo>
                  <a:lnTo>
                    <a:pt x="872326" y="376586"/>
                  </a:lnTo>
                  <a:lnTo>
                    <a:pt x="871810" y="375165"/>
                  </a:lnTo>
                  <a:lnTo>
                    <a:pt x="870388" y="374131"/>
                  </a:lnTo>
                  <a:lnTo>
                    <a:pt x="868837" y="374002"/>
                  </a:lnTo>
                  <a:lnTo>
                    <a:pt x="865994" y="374390"/>
                  </a:lnTo>
                  <a:lnTo>
                    <a:pt x="860954" y="373356"/>
                  </a:lnTo>
                  <a:lnTo>
                    <a:pt x="859532" y="373614"/>
                  </a:lnTo>
                  <a:lnTo>
                    <a:pt x="858498" y="374648"/>
                  </a:lnTo>
                  <a:lnTo>
                    <a:pt x="858369" y="375940"/>
                  </a:lnTo>
                  <a:lnTo>
                    <a:pt x="859015" y="377103"/>
                  </a:lnTo>
                  <a:lnTo>
                    <a:pt x="860308" y="377750"/>
                  </a:lnTo>
                  <a:lnTo>
                    <a:pt x="860308" y="378525"/>
                  </a:lnTo>
                  <a:lnTo>
                    <a:pt x="857981" y="377750"/>
                  </a:lnTo>
                  <a:lnTo>
                    <a:pt x="855914" y="374648"/>
                  </a:lnTo>
                  <a:lnTo>
                    <a:pt x="853717" y="374906"/>
                  </a:lnTo>
                  <a:lnTo>
                    <a:pt x="852424" y="376328"/>
                  </a:lnTo>
                  <a:lnTo>
                    <a:pt x="852812" y="378137"/>
                  </a:lnTo>
                  <a:lnTo>
                    <a:pt x="853846" y="380076"/>
                  </a:lnTo>
                  <a:lnTo>
                    <a:pt x="854492" y="381885"/>
                  </a:lnTo>
                  <a:lnTo>
                    <a:pt x="853200" y="384728"/>
                  </a:lnTo>
                  <a:lnTo>
                    <a:pt x="850098" y="387313"/>
                  </a:lnTo>
                  <a:lnTo>
                    <a:pt x="836399" y="394291"/>
                  </a:lnTo>
                  <a:lnTo>
                    <a:pt x="833556" y="396230"/>
                  </a:lnTo>
                  <a:lnTo>
                    <a:pt x="830713" y="398685"/>
                  </a:lnTo>
                  <a:lnTo>
                    <a:pt x="829162" y="400624"/>
                  </a:lnTo>
                  <a:lnTo>
                    <a:pt x="826578" y="404759"/>
                  </a:lnTo>
                  <a:lnTo>
                    <a:pt x="824898" y="406698"/>
                  </a:lnTo>
                  <a:lnTo>
                    <a:pt x="823218" y="407861"/>
                  </a:lnTo>
                  <a:lnTo>
                    <a:pt x="820891" y="409153"/>
                  </a:lnTo>
                  <a:lnTo>
                    <a:pt x="818436" y="410187"/>
                  </a:lnTo>
                  <a:lnTo>
                    <a:pt x="816368" y="410575"/>
                  </a:lnTo>
                  <a:lnTo>
                    <a:pt x="816756" y="409799"/>
                  </a:lnTo>
                  <a:lnTo>
                    <a:pt x="817144" y="409283"/>
                  </a:lnTo>
                  <a:lnTo>
                    <a:pt x="817661" y="408895"/>
                  </a:lnTo>
                  <a:lnTo>
                    <a:pt x="818565" y="408507"/>
                  </a:lnTo>
                  <a:lnTo>
                    <a:pt x="818565" y="407861"/>
                  </a:lnTo>
                  <a:lnTo>
                    <a:pt x="813267" y="408895"/>
                  </a:lnTo>
                  <a:lnTo>
                    <a:pt x="810811" y="410058"/>
                  </a:lnTo>
                  <a:lnTo>
                    <a:pt x="809777" y="411867"/>
                  </a:lnTo>
                  <a:lnTo>
                    <a:pt x="808873" y="414323"/>
                  </a:lnTo>
                  <a:lnTo>
                    <a:pt x="806805" y="416520"/>
                  </a:lnTo>
                  <a:lnTo>
                    <a:pt x="804220" y="418329"/>
                  </a:lnTo>
                  <a:lnTo>
                    <a:pt x="801894" y="419492"/>
                  </a:lnTo>
                  <a:lnTo>
                    <a:pt x="794011" y="422206"/>
                  </a:lnTo>
                  <a:lnTo>
                    <a:pt x="791943" y="423498"/>
                  </a:lnTo>
                  <a:lnTo>
                    <a:pt x="790005" y="424532"/>
                  </a:lnTo>
                  <a:lnTo>
                    <a:pt x="781992" y="426083"/>
                  </a:lnTo>
                  <a:lnTo>
                    <a:pt x="755758" y="444046"/>
                  </a:lnTo>
                  <a:lnTo>
                    <a:pt x="751105" y="446373"/>
                  </a:lnTo>
                  <a:lnTo>
                    <a:pt x="746195" y="447923"/>
                  </a:lnTo>
                  <a:lnTo>
                    <a:pt x="745031" y="448053"/>
                  </a:lnTo>
                  <a:lnTo>
                    <a:pt x="742834" y="447923"/>
                  </a:lnTo>
                  <a:lnTo>
                    <a:pt x="741800" y="447923"/>
                  </a:lnTo>
                  <a:lnTo>
                    <a:pt x="740637" y="448311"/>
                  </a:lnTo>
                  <a:lnTo>
                    <a:pt x="738957" y="449216"/>
                  </a:lnTo>
                  <a:lnTo>
                    <a:pt x="738440" y="449345"/>
                  </a:lnTo>
                  <a:lnTo>
                    <a:pt x="733529" y="449086"/>
                  </a:lnTo>
                  <a:lnTo>
                    <a:pt x="731591" y="449474"/>
                  </a:lnTo>
                  <a:lnTo>
                    <a:pt x="729394" y="450767"/>
                  </a:lnTo>
                  <a:lnTo>
                    <a:pt x="725776" y="454514"/>
                  </a:lnTo>
                  <a:lnTo>
                    <a:pt x="725517" y="454902"/>
                  </a:lnTo>
                  <a:lnTo>
                    <a:pt x="725388" y="456065"/>
                  </a:lnTo>
                  <a:lnTo>
                    <a:pt x="725000" y="456582"/>
                  </a:lnTo>
                  <a:lnTo>
                    <a:pt x="724483" y="456711"/>
                  </a:lnTo>
                  <a:lnTo>
                    <a:pt x="723062" y="456582"/>
                  </a:lnTo>
                  <a:lnTo>
                    <a:pt x="720218" y="457874"/>
                  </a:lnTo>
                  <a:lnTo>
                    <a:pt x="718926" y="457099"/>
                  </a:lnTo>
                  <a:lnTo>
                    <a:pt x="718539" y="455160"/>
                  </a:lnTo>
                  <a:lnTo>
                    <a:pt x="719055" y="452834"/>
                  </a:lnTo>
                  <a:lnTo>
                    <a:pt x="719702" y="451671"/>
                  </a:lnTo>
                  <a:lnTo>
                    <a:pt x="721382" y="449603"/>
                  </a:lnTo>
                  <a:lnTo>
                    <a:pt x="721899" y="448440"/>
                  </a:lnTo>
                  <a:lnTo>
                    <a:pt x="722028" y="447148"/>
                  </a:lnTo>
                  <a:lnTo>
                    <a:pt x="721769" y="446114"/>
                  </a:lnTo>
                  <a:lnTo>
                    <a:pt x="721382" y="445209"/>
                  </a:lnTo>
                  <a:lnTo>
                    <a:pt x="720865" y="442754"/>
                  </a:lnTo>
                  <a:lnTo>
                    <a:pt x="719960" y="440686"/>
                  </a:lnTo>
                  <a:lnTo>
                    <a:pt x="718539" y="438877"/>
                  </a:lnTo>
                  <a:lnTo>
                    <a:pt x="716858" y="438102"/>
                  </a:lnTo>
                  <a:lnTo>
                    <a:pt x="715566" y="438619"/>
                  </a:lnTo>
                  <a:lnTo>
                    <a:pt x="711818" y="441074"/>
                  </a:lnTo>
                  <a:lnTo>
                    <a:pt x="710009" y="441591"/>
                  </a:lnTo>
                  <a:lnTo>
                    <a:pt x="701092" y="443529"/>
                  </a:lnTo>
                  <a:lnTo>
                    <a:pt x="682741" y="444305"/>
                  </a:lnTo>
                  <a:lnTo>
                    <a:pt x="676021" y="446243"/>
                  </a:lnTo>
                  <a:lnTo>
                    <a:pt x="673694" y="446502"/>
                  </a:lnTo>
                  <a:lnTo>
                    <a:pt x="672531" y="446760"/>
                  </a:lnTo>
                  <a:lnTo>
                    <a:pt x="671498" y="447148"/>
                  </a:lnTo>
                  <a:lnTo>
                    <a:pt x="670722" y="447148"/>
                  </a:lnTo>
                  <a:lnTo>
                    <a:pt x="670464" y="446114"/>
                  </a:lnTo>
                  <a:lnTo>
                    <a:pt x="670464" y="444693"/>
                  </a:lnTo>
                  <a:lnTo>
                    <a:pt x="670593" y="443788"/>
                  </a:lnTo>
                  <a:lnTo>
                    <a:pt x="670980" y="443012"/>
                  </a:lnTo>
                  <a:lnTo>
                    <a:pt x="671885" y="442108"/>
                  </a:lnTo>
                  <a:lnTo>
                    <a:pt x="673565" y="441332"/>
                  </a:lnTo>
                  <a:lnTo>
                    <a:pt x="680414" y="439265"/>
                  </a:lnTo>
                  <a:lnTo>
                    <a:pt x="685067" y="439006"/>
                  </a:lnTo>
                  <a:lnTo>
                    <a:pt x="686876" y="438489"/>
                  </a:lnTo>
                  <a:lnTo>
                    <a:pt x="695793" y="434742"/>
                  </a:lnTo>
                  <a:lnTo>
                    <a:pt x="696956" y="433578"/>
                  </a:lnTo>
                  <a:lnTo>
                    <a:pt x="697603" y="431898"/>
                  </a:lnTo>
                  <a:lnTo>
                    <a:pt x="699283" y="430348"/>
                  </a:lnTo>
                  <a:lnTo>
                    <a:pt x="701480" y="428926"/>
                  </a:lnTo>
                  <a:lnTo>
                    <a:pt x="703677" y="428021"/>
                  </a:lnTo>
                  <a:lnTo>
                    <a:pt x="711043" y="426471"/>
                  </a:lnTo>
                  <a:lnTo>
                    <a:pt x="713757" y="424920"/>
                  </a:lnTo>
                  <a:lnTo>
                    <a:pt x="716212" y="424532"/>
                  </a:lnTo>
                  <a:lnTo>
                    <a:pt x="717246" y="423886"/>
                  </a:lnTo>
                  <a:lnTo>
                    <a:pt x="720089" y="420655"/>
                  </a:lnTo>
                  <a:lnTo>
                    <a:pt x="721252" y="419880"/>
                  </a:lnTo>
                  <a:lnTo>
                    <a:pt x="723708" y="419234"/>
                  </a:lnTo>
                  <a:lnTo>
                    <a:pt x="725776" y="419750"/>
                  </a:lnTo>
                  <a:lnTo>
                    <a:pt x="727455" y="421043"/>
                  </a:lnTo>
                  <a:lnTo>
                    <a:pt x="728877" y="422594"/>
                  </a:lnTo>
                  <a:lnTo>
                    <a:pt x="730428" y="423627"/>
                  </a:lnTo>
                  <a:lnTo>
                    <a:pt x="737277" y="425824"/>
                  </a:lnTo>
                  <a:lnTo>
                    <a:pt x="739603" y="426212"/>
                  </a:lnTo>
                  <a:lnTo>
                    <a:pt x="745677" y="425824"/>
                  </a:lnTo>
                  <a:lnTo>
                    <a:pt x="747099" y="425307"/>
                  </a:lnTo>
                  <a:lnTo>
                    <a:pt x="750459" y="421560"/>
                  </a:lnTo>
                  <a:lnTo>
                    <a:pt x="753690" y="419363"/>
                  </a:lnTo>
                  <a:lnTo>
                    <a:pt x="755111" y="417941"/>
                  </a:lnTo>
                  <a:lnTo>
                    <a:pt x="755758" y="416132"/>
                  </a:lnTo>
                  <a:lnTo>
                    <a:pt x="754207" y="406956"/>
                  </a:lnTo>
                  <a:lnTo>
                    <a:pt x="754336" y="402175"/>
                  </a:lnTo>
                  <a:lnTo>
                    <a:pt x="756533" y="399978"/>
                  </a:lnTo>
                  <a:lnTo>
                    <a:pt x="756792" y="399848"/>
                  </a:lnTo>
                  <a:lnTo>
                    <a:pt x="756404" y="399719"/>
                  </a:lnTo>
                  <a:lnTo>
                    <a:pt x="754336" y="398685"/>
                  </a:lnTo>
                  <a:lnTo>
                    <a:pt x="753173" y="398685"/>
                  </a:lnTo>
                  <a:lnTo>
                    <a:pt x="752915" y="398815"/>
                  </a:lnTo>
                  <a:lnTo>
                    <a:pt x="752656" y="399073"/>
                  </a:lnTo>
                  <a:lnTo>
                    <a:pt x="752268" y="399332"/>
                  </a:lnTo>
                  <a:lnTo>
                    <a:pt x="751881" y="399461"/>
                  </a:lnTo>
                  <a:lnTo>
                    <a:pt x="751235" y="399332"/>
                  </a:lnTo>
                  <a:lnTo>
                    <a:pt x="750588" y="398944"/>
                  </a:lnTo>
                  <a:lnTo>
                    <a:pt x="749555" y="398168"/>
                  </a:lnTo>
                  <a:lnTo>
                    <a:pt x="748908" y="398039"/>
                  </a:lnTo>
                  <a:lnTo>
                    <a:pt x="748521" y="398298"/>
                  </a:lnTo>
                  <a:lnTo>
                    <a:pt x="747874" y="399848"/>
                  </a:lnTo>
                  <a:lnTo>
                    <a:pt x="747616" y="400236"/>
                  </a:lnTo>
                  <a:lnTo>
                    <a:pt x="747228" y="400624"/>
                  </a:lnTo>
                  <a:lnTo>
                    <a:pt x="746841" y="400753"/>
                  </a:lnTo>
                  <a:lnTo>
                    <a:pt x="746065" y="401012"/>
                  </a:lnTo>
                  <a:lnTo>
                    <a:pt x="745548" y="401012"/>
                  </a:lnTo>
                  <a:lnTo>
                    <a:pt x="744385" y="400753"/>
                  </a:lnTo>
                  <a:lnTo>
                    <a:pt x="743739" y="400753"/>
                  </a:lnTo>
                  <a:lnTo>
                    <a:pt x="743093" y="400882"/>
                  </a:lnTo>
                  <a:lnTo>
                    <a:pt x="742576" y="401012"/>
                  </a:lnTo>
                  <a:lnTo>
                    <a:pt x="742059" y="401270"/>
                  </a:lnTo>
                  <a:lnTo>
                    <a:pt x="741542" y="401529"/>
                  </a:lnTo>
                  <a:lnTo>
                    <a:pt x="741154" y="401916"/>
                  </a:lnTo>
                  <a:lnTo>
                    <a:pt x="740896" y="402304"/>
                  </a:lnTo>
                  <a:lnTo>
                    <a:pt x="740767" y="402821"/>
                  </a:lnTo>
                  <a:lnTo>
                    <a:pt x="740896" y="404759"/>
                  </a:lnTo>
                  <a:lnTo>
                    <a:pt x="740767" y="405406"/>
                  </a:lnTo>
                  <a:lnTo>
                    <a:pt x="740508" y="405922"/>
                  </a:lnTo>
                  <a:lnTo>
                    <a:pt x="740121" y="406310"/>
                  </a:lnTo>
                  <a:lnTo>
                    <a:pt x="739733" y="406569"/>
                  </a:lnTo>
                  <a:lnTo>
                    <a:pt x="739216" y="406569"/>
                  </a:lnTo>
                  <a:lnTo>
                    <a:pt x="738699" y="406181"/>
                  </a:lnTo>
                  <a:lnTo>
                    <a:pt x="738182" y="405535"/>
                  </a:lnTo>
                  <a:lnTo>
                    <a:pt x="736631" y="402045"/>
                  </a:lnTo>
                  <a:lnTo>
                    <a:pt x="736243" y="401529"/>
                  </a:lnTo>
                  <a:lnTo>
                    <a:pt x="735597" y="400882"/>
                  </a:lnTo>
                  <a:lnTo>
                    <a:pt x="734305" y="399978"/>
                  </a:lnTo>
                  <a:lnTo>
                    <a:pt x="733529" y="399590"/>
                  </a:lnTo>
                  <a:lnTo>
                    <a:pt x="732366" y="399461"/>
                  </a:lnTo>
                  <a:lnTo>
                    <a:pt x="720606" y="398685"/>
                  </a:lnTo>
                  <a:lnTo>
                    <a:pt x="719960" y="398556"/>
                  </a:lnTo>
                  <a:lnTo>
                    <a:pt x="717892" y="397781"/>
                  </a:lnTo>
                  <a:lnTo>
                    <a:pt x="717375" y="397522"/>
                  </a:lnTo>
                  <a:lnTo>
                    <a:pt x="716600" y="396876"/>
                  </a:lnTo>
                  <a:lnTo>
                    <a:pt x="713240" y="393258"/>
                  </a:lnTo>
                  <a:lnTo>
                    <a:pt x="712206" y="392353"/>
                  </a:lnTo>
                  <a:lnTo>
                    <a:pt x="711689" y="392094"/>
                  </a:lnTo>
                  <a:lnTo>
                    <a:pt x="709621" y="391190"/>
                  </a:lnTo>
                  <a:lnTo>
                    <a:pt x="707812" y="390802"/>
                  </a:lnTo>
                  <a:lnTo>
                    <a:pt x="707295" y="390414"/>
                  </a:lnTo>
                  <a:lnTo>
                    <a:pt x="706907" y="389897"/>
                  </a:lnTo>
                  <a:lnTo>
                    <a:pt x="706132" y="386796"/>
                  </a:lnTo>
                  <a:lnTo>
                    <a:pt x="706003" y="386150"/>
                  </a:lnTo>
                  <a:lnTo>
                    <a:pt x="706003" y="383694"/>
                  </a:lnTo>
                  <a:lnTo>
                    <a:pt x="705874" y="383436"/>
                  </a:lnTo>
                  <a:lnTo>
                    <a:pt x="704452" y="380463"/>
                  </a:lnTo>
                  <a:lnTo>
                    <a:pt x="704323" y="379430"/>
                  </a:lnTo>
                  <a:lnTo>
                    <a:pt x="704323" y="378654"/>
                  </a:lnTo>
                  <a:lnTo>
                    <a:pt x="704581" y="378137"/>
                  </a:lnTo>
                  <a:lnTo>
                    <a:pt x="706261" y="376070"/>
                  </a:lnTo>
                  <a:lnTo>
                    <a:pt x="706520" y="375553"/>
                  </a:lnTo>
                  <a:lnTo>
                    <a:pt x="706649" y="375036"/>
                  </a:lnTo>
                  <a:lnTo>
                    <a:pt x="706649" y="374390"/>
                  </a:lnTo>
                  <a:lnTo>
                    <a:pt x="706520" y="373743"/>
                  </a:lnTo>
                  <a:lnTo>
                    <a:pt x="706261" y="372580"/>
                  </a:lnTo>
                  <a:lnTo>
                    <a:pt x="705874" y="371934"/>
                  </a:lnTo>
                  <a:lnTo>
                    <a:pt x="705357" y="371159"/>
                  </a:lnTo>
                  <a:lnTo>
                    <a:pt x="703418" y="369220"/>
                  </a:lnTo>
                  <a:lnTo>
                    <a:pt x="702772" y="368832"/>
                  </a:lnTo>
                  <a:lnTo>
                    <a:pt x="702255" y="368574"/>
                  </a:lnTo>
                  <a:lnTo>
                    <a:pt x="701609" y="368445"/>
                  </a:lnTo>
                  <a:lnTo>
                    <a:pt x="700963" y="368316"/>
                  </a:lnTo>
                  <a:lnTo>
                    <a:pt x="700317" y="368316"/>
                  </a:lnTo>
                  <a:lnTo>
                    <a:pt x="699670" y="368316"/>
                  </a:lnTo>
                  <a:lnTo>
                    <a:pt x="699024" y="368445"/>
                  </a:lnTo>
                  <a:lnTo>
                    <a:pt x="692562" y="370512"/>
                  </a:lnTo>
                  <a:lnTo>
                    <a:pt x="692175" y="370512"/>
                  </a:lnTo>
                  <a:lnTo>
                    <a:pt x="691658" y="370512"/>
                  </a:lnTo>
                  <a:lnTo>
                    <a:pt x="691141" y="370254"/>
                  </a:lnTo>
                  <a:lnTo>
                    <a:pt x="690753" y="369866"/>
                  </a:lnTo>
                  <a:lnTo>
                    <a:pt x="690495" y="368962"/>
                  </a:lnTo>
                  <a:lnTo>
                    <a:pt x="690495" y="368186"/>
                  </a:lnTo>
                  <a:lnTo>
                    <a:pt x="690624" y="367540"/>
                  </a:lnTo>
                  <a:lnTo>
                    <a:pt x="690753" y="367023"/>
                  </a:lnTo>
                  <a:lnTo>
                    <a:pt x="691270" y="365989"/>
                  </a:lnTo>
                  <a:lnTo>
                    <a:pt x="691399" y="365472"/>
                  </a:lnTo>
                  <a:lnTo>
                    <a:pt x="691399" y="364955"/>
                  </a:lnTo>
                  <a:lnTo>
                    <a:pt x="691270" y="364439"/>
                  </a:lnTo>
                  <a:lnTo>
                    <a:pt x="690495" y="362500"/>
                  </a:lnTo>
                  <a:lnTo>
                    <a:pt x="690366" y="361854"/>
                  </a:lnTo>
                  <a:lnTo>
                    <a:pt x="690366" y="361208"/>
                  </a:lnTo>
                  <a:lnTo>
                    <a:pt x="690495" y="360691"/>
                  </a:lnTo>
                  <a:lnTo>
                    <a:pt x="691012" y="359657"/>
                  </a:lnTo>
                  <a:lnTo>
                    <a:pt x="691399" y="358623"/>
                  </a:lnTo>
                  <a:lnTo>
                    <a:pt x="691658" y="357331"/>
                  </a:lnTo>
                  <a:lnTo>
                    <a:pt x="691658" y="356038"/>
                  </a:lnTo>
                  <a:lnTo>
                    <a:pt x="691529" y="355263"/>
                  </a:lnTo>
                  <a:lnTo>
                    <a:pt x="691399" y="354488"/>
                  </a:lnTo>
                  <a:lnTo>
                    <a:pt x="690107" y="350869"/>
                  </a:lnTo>
                  <a:lnTo>
                    <a:pt x="689978" y="350223"/>
                  </a:lnTo>
                  <a:lnTo>
                    <a:pt x="689849" y="346733"/>
                  </a:lnTo>
                  <a:lnTo>
                    <a:pt x="689590" y="345570"/>
                  </a:lnTo>
                  <a:lnTo>
                    <a:pt x="689202" y="344795"/>
                  </a:lnTo>
                  <a:lnTo>
                    <a:pt x="688556" y="344020"/>
                  </a:lnTo>
                  <a:lnTo>
                    <a:pt x="686876" y="342857"/>
                  </a:lnTo>
                  <a:lnTo>
                    <a:pt x="685713" y="342469"/>
                  </a:lnTo>
                  <a:lnTo>
                    <a:pt x="684550" y="342340"/>
                  </a:lnTo>
                  <a:lnTo>
                    <a:pt x="682999" y="342340"/>
                  </a:lnTo>
                  <a:lnTo>
                    <a:pt x="682353" y="342210"/>
                  </a:lnTo>
                  <a:lnTo>
                    <a:pt x="681836" y="342081"/>
                  </a:lnTo>
                  <a:lnTo>
                    <a:pt x="681319" y="341823"/>
                  </a:lnTo>
                  <a:lnTo>
                    <a:pt x="680802" y="341177"/>
                  </a:lnTo>
                  <a:lnTo>
                    <a:pt x="680156" y="340143"/>
                  </a:lnTo>
                  <a:lnTo>
                    <a:pt x="678347" y="336007"/>
                  </a:lnTo>
                  <a:lnTo>
                    <a:pt x="678088" y="334844"/>
                  </a:lnTo>
                  <a:lnTo>
                    <a:pt x="677959" y="333552"/>
                  </a:lnTo>
                  <a:lnTo>
                    <a:pt x="677959" y="332259"/>
                  </a:lnTo>
                  <a:lnTo>
                    <a:pt x="678088" y="330967"/>
                  </a:lnTo>
                  <a:lnTo>
                    <a:pt x="678864" y="328641"/>
                  </a:lnTo>
                  <a:lnTo>
                    <a:pt x="678993" y="327478"/>
                  </a:lnTo>
                  <a:lnTo>
                    <a:pt x="678993" y="319078"/>
                  </a:lnTo>
                  <a:lnTo>
                    <a:pt x="678605" y="318302"/>
                  </a:lnTo>
                  <a:lnTo>
                    <a:pt x="677830" y="317398"/>
                  </a:lnTo>
                  <a:lnTo>
                    <a:pt x="673953" y="314554"/>
                  </a:lnTo>
                  <a:lnTo>
                    <a:pt x="673436" y="313908"/>
                  </a:lnTo>
                  <a:lnTo>
                    <a:pt x="672790" y="312745"/>
                  </a:lnTo>
                  <a:lnTo>
                    <a:pt x="671627" y="309643"/>
                  </a:lnTo>
                  <a:lnTo>
                    <a:pt x="671368" y="309127"/>
                  </a:lnTo>
                  <a:lnTo>
                    <a:pt x="662193" y="299951"/>
                  </a:lnTo>
                  <a:lnTo>
                    <a:pt x="661676" y="298529"/>
                  </a:lnTo>
                  <a:lnTo>
                    <a:pt x="661417" y="298013"/>
                  </a:lnTo>
                  <a:lnTo>
                    <a:pt x="661029" y="297496"/>
                  </a:lnTo>
                  <a:lnTo>
                    <a:pt x="659866" y="296203"/>
                  </a:lnTo>
                  <a:lnTo>
                    <a:pt x="659220" y="295816"/>
                  </a:lnTo>
                  <a:lnTo>
                    <a:pt x="658445" y="295686"/>
                  </a:lnTo>
                  <a:lnTo>
                    <a:pt x="657928" y="296074"/>
                  </a:lnTo>
                  <a:lnTo>
                    <a:pt x="654051" y="298142"/>
                  </a:lnTo>
                  <a:lnTo>
                    <a:pt x="653534" y="298400"/>
                  </a:lnTo>
                  <a:lnTo>
                    <a:pt x="653017" y="298529"/>
                  </a:lnTo>
                  <a:lnTo>
                    <a:pt x="652371" y="298529"/>
                  </a:lnTo>
                  <a:lnTo>
                    <a:pt x="651725" y="298529"/>
                  </a:lnTo>
                  <a:lnTo>
                    <a:pt x="650562" y="298271"/>
                  </a:lnTo>
                  <a:lnTo>
                    <a:pt x="648494" y="297496"/>
                  </a:lnTo>
                  <a:lnTo>
                    <a:pt x="647589" y="295816"/>
                  </a:lnTo>
                  <a:lnTo>
                    <a:pt x="642161" y="278757"/>
                  </a:lnTo>
                  <a:lnTo>
                    <a:pt x="640352" y="277077"/>
                  </a:lnTo>
                  <a:lnTo>
                    <a:pt x="638026" y="272683"/>
                  </a:lnTo>
                  <a:lnTo>
                    <a:pt x="637768" y="272166"/>
                  </a:lnTo>
                  <a:lnTo>
                    <a:pt x="637509" y="271132"/>
                  </a:lnTo>
                  <a:lnTo>
                    <a:pt x="638414" y="266996"/>
                  </a:lnTo>
                  <a:lnTo>
                    <a:pt x="638672" y="265058"/>
                  </a:lnTo>
                  <a:lnTo>
                    <a:pt x="638672" y="263766"/>
                  </a:lnTo>
                  <a:lnTo>
                    <a:pt x="638543" y="262473"/>
                  </a:lnTo>
                  <a:lnTo>
                    <a:pt x="637768" y="260276"/>
                  </a:lnTo>
                  <a:lnTo>
                    <a:pt x="635958" y="256141"/>
                  </a:lnTo>
                  <a:lnTo>
                    <a:pt x="635312" y="253815"/>
                  </a:lnTo>
                  <a:lnTo>
                    <a:pt x="634924" y="251230"/>
                  </a:lnTo>
                  <a:lnTo>
                    <a:pt x="634795" y="250584"/>
                  </a:lnTo>
                  <a:lnTo>
                    <a:pt x="634407" y="249938"/>
                  </a:lnTo>
                  <a:lnTo>
                    <a:pt x="633891" y="249291"/>
                  </a:lnTo>
                  <a:lnTo>
                    <a:pt x="631306" y="247353"/>
                  </a:lnTo>
                  <a:lnTo>
                    <a:pt x="630789" y="246707"/>
                  </a:lnTo>
                  <a:lnTo>
                    <a:pt x="630272" y="245931"/>
                  </a:lnTo>
                  <a:lnTo>
                    <a:pt x="625361" y="235722"/>
                  </a:lnTo>
                  <a:lnTo>
                    <a:pt x="625103" y="234430"/>
                  </a:lnTo>
                  <a:lnTo>
                    <a:pt x="625232" y="228226"/>
                  </a:lnTo>
                  <a:lnTo>
                    <a:pt x="624973" y="225512"/>
                  </a:lnTo>
                  <a:lnTo>
                    <a:pt x="624715" y="224349"/>
                  </a:lnTo>
                  <a:lnTo>
                    <a:pt x="624069" y="222152"/>
                  </a:lnTo>
                  <a:lnTo>
                    <a:pt x="623939" y="220860"/>
                  </a:lnTo>
                  <a:lnTo>
                    <a:pt x="623939" y="220214"/>
                  </a:lnTo>
                  <a:lnTo>
                    <a:pt x="624069" y="219568"/>
                  </a:lnTo>
                  <a:lnTo>
                    <a:pt x="624973" y="216078"/>
                  </a:lnTo>
                  <a:lnTo>
                    <a:pt x="625103" y="215432"/>
                  </a:lnTo>
                  <a:lnTo>
                    <a:pt x="625103" y="213365"/>
                  </a:lnTo>
                  <a:lnTo>
                    <a:pt x="625361" y="210780"/>
                  </a:lnTo>
                  <a:lnTo>
                    <a:pt x="627041" y="204447"/>
                  </a:lnTo>
                  <a:lnTo>
                    <a:pt x="627170" y="203155"/>
                  </a:lnTo>
                  <a:lnTo>
                    <a:pt x="627041" y="200441"/>
                  </a:lnTo>
                  <a:lnTo>
                    <a:pt x="626783" y="199149"/>
                  </a:lnTo>
                  <a:lnTo>
                    <a:pt x="626653" y="198632"/>
                  </a:lnTo>
                  <a:lnTo>
                    <a:pt x="626395" y="198115"/>
                  </a:lnTo>
                  <a:lnTo>
                    <a:pt x="625878" y="197598"/>
                  </a:lnTo>
                  <a:lnTo>
                    <a:pt x="624973" y="197081"/>
                  </a:lnTo>
                  <a:lnTo>
                    <a:pt x="615281" y="195272"/>
                  </a:lnTo>
                  <a:lnTo>
                    <a:pt x="610758" y="193850"/>
                  </a:lnTo>
                  <a:lnTo>
                    <a:pt x="608819" y="192816"/>
                  </a:lnTo>
                  <a:lnTo>
                    <a:pt x="607010" y="191395"/>
                  </a:lnTo>
                  <a:lnTo>
                    <a:pt x="605330" y="189456"/>
                  </a:lnTo>
                  <a:lnTo>
                    <a:pt x="603908" y="187130"/>
                  </a:lnTo>
                  <a:lnTo>
                    <a:pt x="603262" y="185321"/>
                  </a:lnTo>
                  <a:lnTo>
                    <a:pt x="602228" y="183382"/>
                  </a:lnTo>
                  <a:lnTo>
                    <a:pt x="601711" y="182865"/>
                  </a:lnTo>
                  <a:lnTo>
                    <a:pt x="601065" y="182219"/>
                  </a:lnTo>
                  <a:lnTo>
                    <a:pt x="596930" y="179247"/>
                  </a:lnTo>
                  <a:lnTo>
                    <a:pt x="595120" y="177438"/>
                  </a:lnTo>
                  <a:lnTo>
                    <a:pt x="594603" y="176662"/>
                  </a:lnTo>
                  <a:lnTo>
                    <a:pt x="594216" y="175628"/>
                  </a:lnTo>
                  <a:lnTo>
                    <a:pt x="593828" y="174078"/>
                  </a:lnTo>
                  <a:lnTo>
                    <a:pt x="593699" y="170847"/>
                  </a:lnTo>
                  <a:lnTo>
                    <a:pt x="593570" y="170459"/>
                  </a:lnTo>
                  <a:lnTo>
                    <a:pt x="592536" y="168779"/>
                  </a:lnTo>
                  <a:lnTo>
                    <a:pt x="592406" y="168133"/>
                  </a:lnTo>
                  <a:lnTo>
                    <a:pt x="592536" y="167487"/>
                  </a:lnTo>
                  <a:lnTo>
                    <a:pt x="592924" y="166453"/>
                  </a:lnTo>
                  <a:lnTo>
                    <a:pt x="592924" y="165936"/>
                  </a:lnTo>
                  <a:lnTo>
                    <a:pt x="592794" y="165419"/>
                  </a:lnTo>
                  <a:lnTo>
                    <a:pt x="589822" y="159733"/>
                  </a:lnTo>
                  <a:lnTo>
                    <a:pt x="589693" y="159216"/>
                  </a:lnTo>
                  <a:lnTo>
                    <a:pt x="589305" y="156760"/>
                  </a:lnTo>
                  <a:lnTo>
                    <a:pt x="589305" y="155339"/>
                  </a:lnTo>
                  <a:lnTo>
                    <a:pt x="589434" y="154046"/>
                  </a:lnTo>
                  <a:lnTo>
                    <a:pt x="589563" y="153529"/>
                  </a:lnTo>
                  <a:lnTo>
                    <a:pt x="589822" y="153012"/>
                  </a:lnTo>
                  <a:lnTo>
                    <a:pt x="590210" y="152625"/>
                  </a:lnTo>
                  <a:lnTo>
                    <a:pt x="590727" y="152366"/>
                  </a:lnTo>
                  <a:lnTo>
                    <a:pt x="592665" y="152237"/>
                  </a:lnTo>
                  <a:lnTo>
                    <a:pt x="594862" y="151591"/>
                  </a:lnTo>
                  <a:lnTo>
                    <a:pt x="595379" y="151332"/>
                  </a:lnTo>
                  <a:lnTo>
                    <a:pt x="595767" y="150945"/>
                  </a:lnTo>
                  <a:lnTo>
                    <a:pt x="595896" y="150428"/>
                  </a:lnTo>
                  <a:lnTo>
                    <a:pt x="595896" y="149911"/>
                  </a:lnTo>
                  <a:lnTo>
                    <a:pt x="595637" y="149265"/>
                  </a:lnTo>
                  <a:lnTo>
                    <a:pt x="594345" y="147197"/>
                  </a:lnTo>
                  <a:lnTo>
                    <a:pt x="593957" y="146292"/>
                  </a:lnTo>
                  <a:lnTo>
                    <a:pt x="593699" y="145517"/>
                  </a:lnTo>
                  <a:lnTo>
                    <a:pt x="593440" y="144354"/>
                  </a:lnTo>
                  <a:lnTo>
                    <a:pt x="593311" y="143837"/>
                  </a:lnTo>
                  <a:lnTo>
                    <a:pt x="592924" y="143320"/>
                  </a:lnTo>
                  <a:lnTo>
                    <a:pt x="592406" y="142932"/>
                  </a:lnTo>
                  <a:lnTo>
                    <a:pt x="591373" y="142674"/>
                  </a:lnTo>
                  <a:lnTo>
                    <a:pt x="590597" y="142674"/>
                  </a:lnTo>
                  <a:lnTo>
                    <a:pt x="589822" y="142674"/>
                  </a:lnTo>
                  <a:lnTo>
                    <a:pt x="586850" y="143320"/>
                  </a:lnTo>
                  <a:lnTo>
                    <a:pt x="582972" y="144612"/>
                  </a:lnTo>
                  <a:lnTo>
                    <a:pt x="581809" y="144871"/>
                  </a:lnTo>
                  <a:lnTo>
                    <a:pt x="581163" y="144742"/>
                  </a:lnTo>
                  <a:lnTo>
                    <a:pt x="580776" y="144354"/>
                  </a:lnTo>
                  <a:lnTo>
                    <a:pt x="580646" y="143449"/>
                  </a:lnTo>
                  <a:lnTo>
                    <a:pt x="580776" y="142803"/>
                  </a:lnTo>
                  <a:lnTo>
                    <a:pt x="581034" y="142286"/>
                  </a:lnTo>
                  <a:lnTo>
                    <a:pt x="581292" y="141898"/>
                  </a:lnTo>
                  <a:lnTo>
                    <a:pt x="581422" y="141511"/>
                  </a:lnTo>
                  <a:lnTo>
                    <a:pt x="581551" y="140735"/>
                  </a:lnTo>
                  <a:lnTo>
                    <a:pt x="581422" y="140218"/>
                  </a:lnTo>
                  <a:lnTo>
                    <a:pt x="581163" y="139701"/>
                  </a:lnTo>
                  <a:lnTo>
                    <a:pt x="579354" y="137634"/>
                  </a:lnTo>
                  <a:lnTo>
                    <a:pt x="578966" y="136988"/>
                  </a:lnTo>
                  <a:lnTo>
                    <a:pt x="578708" y="136341"/>
                  </a:lnTo>
                  <a:lnTo>
                    <a:pt x="578837" y="135824"/>
                  </a:lnTo>
                  <a:lnTo>
                    <a:pt x="579095" y="135308"/>
                  </a:lnTo>
                  <a:lnTo>
                    <a:pt x="579483" y="134920"/>
                  </a:lnTo>
                  <a:lnTo>
                    <a:pt x="580258" y="134274"/>
                  </a:lnTo>
                  <a:lnTo>
                    <a:pt x="580517" y="133886"/>
                  </a:lnTo>
                  <a:lnTo>
                    <a:pt x="580646" y="133369"/>
                  </a:lnTo>
                  <a:lnTo>
                    <a:pt x="580517" y="132852"/>
                  </a:lnTo>
                  <a:lnTo>
                    <a:pt x="580258" y="132335"/>
                  </a:lnTo>
                  <a:lnTo>
                    <a:pt x="579871" y="131947"/>
                  </a:lnTo>
                  <a:lnTo>
                    <a:pt x="579095" y="131947"/>
                  </a:lnTo>
                  <a:lnTo>
                    <a:pt x="577803" y="132077"/>
                  </a:lnTo>
                  <a:lnTo>
                    <a:pt x="577286" y="132077"/>
                  </a:lnTo>
                  <a:lnTo>
                    <a:pt x="575735" y="131430"/>
                  </a:lnTo>
                  <a:lnTo>
                    <a:pt x="575218" y="131301"/>
                  </a:lnTo>
                  <a:lnTo>
                    <a:pt x="574572" y="131172"/>
                  </a:lnTo>
                  <a:lnTo>
                    <a:pt x="573926" y="131172"/>
                  </a:lnTo>
                  <a:lnTo>
                    <a:pt x="573280" y="131301"/>
                  </a:lnTo>
                  <a:lnTo>
                    <a:pt x="572634" y="131430"/>
                  </a:lnTo>
                  <a:lnTo>
                    <a:pt x="571471" y="131818"/>
                  </a:lnTo>
                  <a:lnTo>
                    <a:pt x="570437" y="132335"/>
                  </a:lnTo>
                  <a:lnTo>
                    <a:pt x="569920" y="132464"/>
                  </a:lnTo>
                  <a:lnTo>
                    <a:pt x="569403" y="132464"/>
                  </a:lnTo>
                  <a:lnTo>
                    <a:pt x="568886" y="132206"/>
                  </a:lnTo>
                  <a:lnTo>
                    <a:pt x="568498" y="131689"/>
                  </a:lnTo>
                  <a:lnTo>
                    <a:pt x="568240" y="130526"/>
                  </a:lnTo>
                  <a:lnTo>
                    <a:pt x="568111" y="129621"/>
                  </a:lnTo>
                  <a:lnTo>
                    <a:pt x="568111" y="128846"/>
                  </a:lnTo>
                  <a:lnTo>
                    <a:pt x="568369" y="127553"/>
                  </a:lnTo>
                  <a:lnTo>
                    <a:pt x="568369" y="126907"/>
                  </a:lnTo>
                  <a:lnTo>
                    <a:pt x="568369" y="126261"/>
                  </a:lnTo>
                  <a:lnTo>
                    <a:pt x="568111" y="125744"/>
                  </a:lnTo>
                  <a:lnTo>
                    <a:pt x="567723" y="125357"/>
                  </a:lnTo>
                  <a:lnTo>
                    <a:pt x="567077" y="125357"/>
                  </a:lnTo>
                  <a:lnTo>
                    <a:pt x="566560" y="125615"/>
                  </a:lnTo>
                  <a:lnTo>
                    <a:pt x="566172" y="126003"/>
                  </a:lnTo>
                  <a:lnTo>
                    <a:pt x="565914" y="126390"/>
                  </a:lnTo>
                  <a:lnTo>
                    <a:pt x="565526" y="126778"/>
                  </a:lnTo>
                  <a:lnTo>
                    <a:pt x="565009" y="127037"/>
                  </a:lnTo>
                  <a:lnTo>
                    <a:pt x="564492" y="127166"/>
                  </a:lnTo>
                  <a:lnTo>
                    <a:pt x="563846" y="127037"/>
                  </a:lnTo>
                  <a:lnTo>
                    <a:pt x="563200" y="126907"/>
                  </a:lnTo>
                  <a:lnTo>
                    <a:pt x="562166" y="126520"/>
                  </a:lnTo>
                  <a:lnTo>
                    <a:pt x="561778" y="126261"/>
                  </a:lnTo>
                  <a:lnTo>
                    <a:pt x="561649" y="126003"/>
                  </a:lnTo>
                  <a:lnTo>
                    <a:pt x="562295" y="125357"/>
                  </a:lnTo>
                  <a:lnTo>
                    <a:pt x="562424" y="124969"/>
                  </a:lnTo>
                  <a:lnTo>
                    <a:pt x="562166" y="124581"/>
                  </a:lnTo>
                  <a:lnTo>
                    <a:pt x="561391" y="124323"/>
                  </a:lnTo>
                  <a:lnTo>
                    <a:pt x="560744" y="124193"/>
                  </a:lnTo>
                  <a:lnTo>
                    <a:pt x="560227" y="124323"/>
                  </a:lnTo>
                  <a:lnTo>
                    <a:pt x="559840" y="124581"/>
                  </a:lnTo>
                  <a:lnTo>
                    <a:pt x="559581" y="124969"/>
                  </a:lnTo>
                  <a:lnTo>
                    <a:pt x="559581" y="125486"/>
                  </a:lnTo>
                  <a:lnTo>
                    <a:pt x="559710" y="126520"/>
                  </a:lnTo>
                  <a:lnTo>
                    <a:pt x="559710" y="126778"/>
                  </a:lnTo>
                  <a:lnTo>
                    <a:pt x="559581" y="127166"/>
                  </a:lnTo>
                  <a:lnTo>
                    <a:pt x="558806" y="128458"/>
                  </a:lnTo>
                  <a:lnTo>
                    <a:pt x="558418" y="128717"/>
                  </a:lnTo>
                  <a:lnTo>
                    <a:pt x="557901" y="128717"/>
                  </a:lnTo>
                  <a:lnTo>
                    <a:pt x="557255" y="128458"/>
                  </a:lnTo>
                  <a:lnTo>
                    <a:pt x="556480" y="128070"/>
                  </a:lnTo>
                  <a:lnTo>
                    <a:pt x="555317" y="127424"/>
                  </a:lnTo>
                  <a:lnTo>
                    <a:pt x="553249" y="127166"/>
                  </a:lnTo>
                  <a:lnTo>
                    <a:pt x="552473" y="126907"/>
                  </a:lnTo>
                  <a:lnTo>
                    <a:pt x="551439" y="126390"/>
                  </a:lnTo>
                  <a:lnTo>
                    <a:pt x="550793" y="126390"/>
                  </a:lnTo>
                  <a:lnTo>
                    <a:pt x="550406" y="126649"/>
                  </a:lnTo>
                  <a:lnTo>
                    <a:pt x="550406" y="127166"/>
                  </a:lnTo>
                  <a:lnTo>
                    <a:pt x="550535" y="127683"/>
                  </a:lnTo>
                  <a:lnTo>
                    <a:pt x="550793" y="128200"/>
                  </a:lnTo>
                  <a:lnTo>
                    <a:pt x="550923" y="128717"/>
                  </a:lnTo>
                  <a:lnTo>
                    <a:pt x="550793" y="129234"/>
                  </a:lnTo>
                  <a:lnTo>
                    <a:pt x="550406" y="129492"/>
                  </a:lnTo>
                  <a:lnTo>
                    <a:pt x="549759" y="129621"/>
                  </a:lnTo>
                  <a:lnTo>
                    <a:pt x="547821" y="129621"/>
                  </a:lnTo>
                  <a:lnTo>
                    <a:pt x="547304" y="129621"/>
                  </a:lnTo>
                  <a:lnTo>
                    <a:pt x="547046" y="129363"/>
                  </a:lnTo>
                  <a:lnTo>
                    <a:pt x="547304" y="128846"/>
                  </a:lnTo>
                  <a:lnTo>
                    <a:pt x="547304" y="128329"/>
                  </a:lnTo>
                  <a:lnTo>
                    <a:pt x="547562" y="128070"/>
                  </a:lnTo>
                  <a:lnTo>
                    <a:pt x="547046" y="127941"/>
                  </a:lnTo>
                  <a:lnTo>
                    <a:pt x="544978" y="127941"/>
                  </a:lnTo>
                  <a:lnTo>
                    <a:pt x="544461" y="127812"/>
                  </a:lnTo>
                  <a:lnTo>
                    <a:pt x="544202" y="127553"/>
                  </a:lnTo>
                  <a:lnTo>
                    <a:pt x="544332" y="126261"/>
                  </a:lnTo>
                  <a:lnTo>
                    <a:pt x="544073" y="125615"/>
                  </a:lnTo>
                  <a:lnTo>
                    <a:pt x="543427" y="124969"/>
                  </a:lnTo>
                  <a:lnTo>
                    <a:pt x="542005" y="124193"/>
                  </a:lnTo>
                  <a:lnTo>
                    <a:pt x="541230" y="123935"/>
                  </a:lnTo>
                  <a:lnTo>
                    <a:pt x="540713" y="123547"/>
                  </a:lnTo>
                  <a:lnTo>
                    <a:pt x="540584" y="122772"/>
                  </a:lnTo>
                  <a:lnTo>
                    <a:pt x="540584" y="122126"/>
                  </a:lnTo>
                  <a:lnTo>
                    <a:pt x="540455" y="121609"/>
                  </a:lnTo>
                  <a:lnTo>
                    <a:pt x="540196" y="121350"/>
                  </a:lnTo>
                  <a:lnTo>
                    <a:pt x="539679" y="121350"/>
                  </a:lnTo>
                  <a:lnTo>
                    <a:pt x="539162" y="121221"/>
                  </a:lnTo>
                  <a:lnTo>
                    <a:pt x="538645" y="120833"/>
                  </a:lnTo>
                  <a:lnTo>
                    <a:pt x="537999" y="119929"/>
                  </a:lnTo>
                  <a:lnTo>
                    <a:pt x="537353" y="119283"/>
                  </a:lnTo>
                  <a:lnTo>
                    <a:pt x="535673" y="118507"/>
                  </a:lnTo>
                  <a:lnTo>
                    <a:pt x="535027" y="117990"/>
                  </a:lnTo>
                  <a:lnTo>
                    <a:pt x="534510" y="117086"/>
                  </a:lnTo>
                  <a:lnTo>
                    <a:pt x="534122" y="116439"/>
                  </a:lnTo>
                  <a:lnTo>
                    <a:pt x="533605" y="115922"/>
                  </a:lnTo>
                  <a:lnTo>
                    <a:pt x="532701" y="115147"/>
                  </a:lnTo>
                  <a:lnTo>
                    <a:pt x="532184" y="115018"/>
                  </a:lnTo>
                  <a:lnTo>
                    <a:pt x="531667" y="115018"/>
                  </a:lnTo>
                  <a:lnTo>
                    <a:pt x="531150" y="115147"/>
                  </a:lnTo>
                  <a:lnTo>
                    <a:pt x="530633" y="115406"/>
                  </a:lnTo>
                  <a:lnTo>
                    <a:pt x="528953" y="116698"/>
                  </a:lnTo>
                  <a:lnTo>
                    <a:pt x="528436" y="116956"/>
                  </a:lnTo>
                  <a:lnTo>
                    <a:pt x="527790" y="117086"/>
                  </a:lnTo>
                  <a:lnTo>
                    <a:pt x="525722" y="117086"/>
                  </a:lnTo>
                  <a:lnTo>
                    <a:pt x="524430" y="117215"/>
                  </a:lnTo>
                  <a:lnTo>
                    <a:pt x="523783" y="117215"/>
                  </a:lnTo>
                  <a:lnTo>
                    <a:pt x="523267" y="116956"/>
                  </a:lnTo>
                  <a:lnTo>
                    <a:pt x="522879" y="116439"/>
                  </a:lnTo>
                  <a:lnTo>
                    <a:pt x="522620" y="115276"/>
                  </a:lnTo>
                  <a:lnTo>
                    <a:pt x="522750" y="114630"/>
                  </a:lnTo>
                  <a:lnTo>
                    <a:pt x="522879" y="113984"/>
                  </a:lnTo>
                  <a:lnTo>
                    <a:pt x="523008" y="113467"/>
                  </a:lnTo>
                  <a:lnTo>
                    <a:pt x="522750" y="112821"/>
                  </a:lnTo>
                  <a:lnTo>
                    <a:pt x="522233" y="112045"/>
                  </a:lnTo>
                  <a:lnTo>
                    <a:pt x="520940" y="110753"/>
                  </a:lnTo>
                  <a:lnTo>
                    <a:pt x="520294" y="109848"/>
                  </a:lnTo>
                  <a:lnTo>
                    <a:pt x="520165" y="108298"/>
                  </a:lnTo>
                  <a:lnTo>
                    <a:pt x="520294" y="107652"/>
                  </a:lnTo>
                  <a:lnTo>
                    <a:pt x="520553" y="107135"/>
                  </a:lnTo>
                  <a:lnTo>
                    <a:pt x="520940" y="106747"/>
                  </a:lnTo>
                  <a:lnTo>
                    <a:pt x="521199" y="106359"/>
                  </a:lnTo>
                  <a:lnTo>
                    <a:pt x="521328" y="105971"/>
                  </a:lnTo>
                  <a:lnTo>
                    <a:pt x="521070" y="105584"/>
                  </a:lnTo>
                  <a:lnTo>
                    <a:pt x="520423" y="105455"/>
                  </a:lnTo>
                  <a:lnTo>
                    <a:pt x="519131" y="105584"/>
                  </a:lnTo>
                  <a:lnTo>
                    <a:pt x="518485" y="105584"/>
                  </a:lnTo>
                  <a:lnTo>
                    <a:pt x="517968" y="105325"/>
                  </a:lnTo>
                  <a:lnTo>
                    <a:pt x="517580" y="104808"/>
                  </a:lnTo>
                  <a:lnTo>
                    <a:pt x="517193" y="103775"/>
                  </a:lnTo>
                  <a:lnTo>
                    <a:pt x="516546" y="102870"/>
                  </a:lnTo>
                  <a:lnTo>
                    <a:pt x="515642" y="101965"/>
                  </a:lnTo>
                  <a:lnTo>
                    <a:pt x="513832" y="100544"/>
                  </a:lnTo>
                  <a:lnTo>
                    <a:pt x="512928" y="100285"/>
                  </a:lnTo>
                  <a:lnTo>
                    <a:pt x="512282" y="100414"/>
                  </a:lnTo>
                  <a:lnTo>
                    <a:pt x="511894" y="101448"/>
                  </a:lnTo>
                  <a:lnTo>
                    <a:pt x="511377" y="101448"/>
                  </a:lnTo>
                  <a:lnTo>
                    <a:pt x="510602" y="100931"/>
                  </a:lnTo>
                  <a:lnTo>
                    <a:pt x="509051" y="99381"/>
                  </a:lnTo>
                  <a:lnTo>
                    <a:pt x="507500" y="98088"/>
                  </a:lnTo>
                  <a:lnTo>
                    <a:pt x="506595" y="97571"/>
                  </a:lnTo>
                  <a:lnTo>
                    <a:pt x="506208" y="97442"/>
                  </a:lnTo>
                  <a:lnTo>
                    <a:pt x="505562" y="97313"/>
                  </a:lnTo>
                  <a:lnTo>
                    <a:pt x="505174" y="97054"/>
                  </a:lnTo>
                  <a:lnTo>
                    <a:pt x="504786" y="96537"/>
                  </a:lnTo>
                  <a:lnTo>
                    <a:pt x="504398" y="95762"/>
                  </a:lnTo>
                  <a:lnTo>
                    <a:pt x="503623" y="95374"/>
                  </a:lnTo>
                  <a:lnTo>
                    <a:pt x="502977" y="95245"/>
                  </a:lnTo>
                  <a:lnTo>
                    <a:pt x="502331" y="94857"/>
                  </a:lnTo>
                  <a:lnTo>
                    <a:pt x="501685" y="94340"/>
                  </a:lnTo>
                  <a:lnTo>
                    <a:pt x="500651" y="93307"/>
                  </a:lnTo>
                  <a:lnTo>
                    <a:pt x="499875" y="92790"/>
                  </a:lnTo>
                  <a:lnTo>
                    <a:pt x="499229" y="92402"/>
                  </a:lnTo>
                  <a:lnTo>
                    <a:pt x="498712" y="92273"/>
                  </a:lnTo>
                  <a:lnTo>
                    <a:pt x="498195" y="92014"/>
                  </a:lnTo>
                  <a:lnTo>
                    <a:pt x="496903" y="91110"/>
                  </a:lnTo>
                  <a:lnTo>
                    <a:pt x="495869" y="90722"/>
                  </a:lnTo>
                  <a:lnTo>
                    <a:pt x="495352" y="90463"/>
                  </a:lnTo>
                  <a:lnTo>
                    <a:pt x="494060" y="89559"/>
                  </a:lnTo>
                  <a:lnTo>
                    <a:pt x="493543" y="89300"/>
                  </a:lnTo>
                  <a:lnTo>
                    <a:pt x="493026" y="89300"/>
                  </a:lnTo>
                  <a:lnTo>
                    <a:pt x="492638" y="89559"/>
                  </a:lnTo>
                  <a:lnTo>
                    <a:pt x="491992" y="90205"/>
                  </a:lnTo>
                  <a:lnTo>
                    <a:pt x="491604" y="90463"/>
                  </a:lnTo>
                  <a:lnTo>
                    <a:pt x="491087" y="90463"/>
                  </a:lnTo>
                  <a:lnTo>
                    <a:pt x="490571" y="90334"/>
                  </a:lnTo>
                  <a:lnTo>
                    <a:pt x="488244" y="89300"/>
                  </a:lnTo>
                  <a:lnTo>
                    <a:pt x="487598" y="89171"/>
                  </a:lnTo>
                  <a:lnTo>
                    <a:pt x="487081" y="89300"/>
                  </a:lnTo>
                  <a:lnTo>
                    <a:pt x="486176" y="89817"/>
                  </a:lnTo>
                  <a:lnTo>
                    <a:pt x="485660" y="89947"/>
                  </a:lnTo>
                  <a:lnTo>
                    <a:pt x="485013" y="89947"/>
                  </a:lnTo>
                  <a:lnTo>
                    <a:pt x="484497" y="89817"/>
                  </a:lnTo>
                  <a:lnTo>
                    <a:pt x="483850" y="89817"/>
                  </a:lnTo>
                  <a:lnTo>
                    <a:pt x="483333" y="89947"/>
                  </a:lnTo>
                  <a:lnTo>
                    <a:pt x="482300" y="90334"/>
                  </a:lnTo>
                  <a:lnTo>
                    <a:pt x="480490" y="90593"/>
                  </a:lnTo>
                  <a:lnTo>
                    <a:pt x="479456" y="90980"/>
                  </a:lnTo>
                  <a:lnTo>
                    <a:pt x="479069" y="91110"/>
                  </a:lnTo>
                  <a:lnTo>
                    <a:pt x="478681" y="90980"/>
                  </a:lnTo>
                  <a:lnTo>
                    <a:pt x="478293" y="90722"/>
                  </a:lnTo>
                  <a:lnTo>
                    <a:pt x="477647" y="90076"/>
                  </a:lnTo>
                  <a:lnTo>
                    <a:pt x="477001" y="89817"/>
                  </a:lnTo>
                  <a:lnTo>
                    <a:pt x="476355" y="89559"/>
                  </a:lnTo>
                  <a:lnTo>
                    <a:pt x="473382" y="88913"/>
                  </a:lnTo>
                  <a:lnTo>
                    <a:pt x="472349" y="88525"/>
                  </a:lnTo>
                  <a:lnTo>
                    <a:pt x="470410" y="87491"/>
                  </a:lnTo>
                  <a:lnTo>
                    <a:pt x="469893" y="87362"/>
                  </a:lnTo>
                  <a:lnTo>
                    <a:pt x="469247" y="87233"/>
                  </a:lnTo>
                  <a:lnTo>
                    <a:pt x="468601" y="87233"/>
                  </a:lnTo>
                  <a:lnTo>
                    <a:pt x="464853" y="87750"/>
                  </a:lnTo>
                  <a:lnTo>
                    <a:pt x="463690" y="88137"/>
                  </a:lnTo>
                  <a:lnTo>
                    <a:pt x="462268" y="88913"/>
                  </a:lnTo>
                  <a:lnTo>
                    <a:pt x="461751" y="89042"/>
                  </a:lnTo>
                  <a:lnTo>
                    <a:pt x="458521" y="89430"/>
                  </a:lnTo>
                  <a:lnTo>
                    <a:pt x="457874" y="89430"/>
                  </a:lnTo>
                  <a:lnTo>
                    <a:pt x="457357" y="89171"/>
                  </a:lnTo>
                  <a:lnTo>
                    <a:pt x="456711" y="88783"/>
                  </a:lnTo>
                  <a:lnTo>
                    <a:pt x="456065" y="88654"/>
                  </a:lnTo>
                  <a:lnTo>
                    <a:pt x="455548" y="88654"/>
                  </a:lnTo>
                  <a:lnTo>
                    <a:pt x="454514" y="89042"/>
                  </a:lnTo>
                  <a:lnTo>
                    <a:pt x="453997" y="89042"/>
                  </a:lnTo>
                  <a:lnTo>
                    <a:pt x="453480" y="88654"/>
                  </a:lnTo>
                  <a:lnTo>
                    <a:pt x="452447" y="87233"/>
                  </a:lnTo>
                  <a:lnTo>
                    <a:pt x="451930" y="86199"/>
                  </a:lnTo>
                  <a:lnTo>
                    <a:pt x="451542" y="85165"/>
                  </a:lnTo>
                  <a:lnTo>
                    <a:pt x="450637" y="77411"/>
                  </a:lnTo>
                  <a:lnTo>
                    <a:pt x="450250" y="76248"/>
                  </a:lnTo>
                  <a:lnTo>
                    <a:pt x="450120" y="75214"/>
                  </a:lnTo>
                  <a:lnTo>
                    <a:pt x="450508" y="67589"/>
                  </a:lnTo>
                  <a:lnTo>
                    <a:pt x="450379" y="66684"/>
                  </a:lnTo>
                  <a:lnTo>
                    <a:pt x="449991" y="65392"/>
                  </a:lnTo>
                  <a:lnTo>
                    <a:pt x="449474" y="64358"/>
                  </a:lnTo>
                  <a:lnTo>
                    <a:pt x="449087" y="63971"/>
                  </a:lnTo>
                  <a:lnTo>
                    <a:pt x="448699" y="63712"/>
                  </a:lnTo>
                  <a:lnTo>
                    <a:pt x="447019" y="63195"/>
                  </a:lnTo>
                  <a:lnTo>
                    <a:pt x="446760" y="62807"/>
                  </a:lnTo>
                  <a:lnTo>
                    <a:pt x="446760" y="62161"/>
                  </a:lnTo>
                  <a:lnTo>
                    <a:pt x="447148" y="61257"/>
                  </a:lnTo>
                  <a:lnTo>
                    <a:pt x="447536" y="60740"/>
                  </a:lnTo>
                  <a:lnTo>
                    <a:pt x="447923" y="60352"/>
                  </a:lnTo>
                  <a:lnTo>
                    <a:pt x="450508" y="58543"/>
                  </a:lnTo>
                  <a:lnTo>
                    <a:pt x="450896" y="58155"/>
                  </a:lnTo>
                  <a:lnTo>
                    <a:pt x="451154" y="57767"/>
                  </a:lnTo>
                  <a:lnTo>
                    <a:pt x="451413" y="57250"/>
                  </a:lnTo>
                  <a:lnTo>
                    <a:pt x="451542" y="56475"/>
                  </a:lnTo>
                  <a:lnTo>
                    <a:pt x="451542" y="55570"/>
                  </a:lnTo>
                  <a:lnTo>
                    <a:pt x="451025" y="54020"/>
                  </a:lnTo>
                  <a:lnTo>
                    <a:pt x="450637" y="53244"/>
                  </a:lnTo>
                  <a:lnTo>
                    <a:pt x="450250" y="52727"/>
                  </a:lnTo>
                  <a:lnTo>
                    <a:pt x="448957" y="51823"/>
                  </a:lnTo>
                  <a:lnTo>
                    <a:pt x="448570" y="51435"/>
                  </a:lnTo>
                  <a:lnTo>
                    <a:pt x="448182" y="51047"/>
                  </a:lnTo>
                  <a:lnTo>
                    <a:pt x="447923" y="50660"/>
                  </a:lnTo>
                  <a:lnTo>
                    <a:pt x="447794" y="49755"/>
                  </a:lnTo>
                  <a:lnTo>
                    <a:pt x="447794" y="48592"/>
                  </a:lnTo>
                  <a:lnTo>
                    <a:pt x="448311" y="46395"/>
                  </a:lnTo>
                  <a:lnTo>
                    <a:pt x="448828" y="45490"/>
                  </a:lnTo>
                  <a:lnTo>
                    <a:pt x="449345" y="44973"/>
                  </a:lnTo>
                  <a:lnTo>
                    <a:pt x="450767" y="44973"/>
                  </a:lnTo>
                  <a:lnTo>
                    <a:pt x="451283" y="44844"/>
                  </a:lnTo>
                  <a:lnTo>
                    <a:pt x="451671" y="44586"/>
                  </a:lnTo>
                  <a:lnTo>
                    <a:pt x="452059" y="44198"/>
                  </a:lnTo>
                  <a:lnTo>
                    <a:pt x="452576" y="43293"/>
                  </a:lnTo>
                  <a:lnTo>
                    <a:pt x="453997" y="38899"/>
                  </a:lnTo>
                  <a:lnTo>
                    <a:pt x="454514" y="37995"/>
                  </a:lnTo>
                  <a:lnTo>
                    <a:pt x="455677" y="36315"/>
                  </a:lnTo>
                  <a:lnTo>
                    <a:pt x="455677" y="35152"/>
                  </a:lnTo>
                  <a:lnTo>
                    <a:pt x="455419" y="33213"/>
                  </a:lnTo>
                  <a:lnTo>
                    <a:pt x="453739" y="25330"/>
                  </a:lnTo>
                  <a:lnTo>
                    <a:pt x="453739" y="23262"/>
                  </a:lnTo>
                  <a:lnTo>
                    <a:pt x="453610" y="20548"/>
                  </a:lnTo>
                  <a:lnTo>
                    <a:pt x="452705" y="18997"/>
                  </a:lnTo>
                  <a:lnTo>
                    <a:pt x="449216" y="16025"/>
                  </a:lnTo>
                  <a:lnTo>
                    <a:pt x="449216" y="16025"/>
                  </a:lnTo>
                  <a:lnTo>
                    <a:pt x="447406" y="17059"/>
                  </a:lnTo>
                  <a:lnTo>
                    <a:pt x="442108" y="18610"/>
                  </a:lnTo>
                  <a:lnTo>
                    <a:pt x="437972" y="17188"/>
                  </a:lnTo>
                  <a:lnTo>
                    <a:pt x="427505" y="6979"/>
                  </a:lnTo>
                  <a:lnTo>
                    <a:pt x="426988" y="5945"/>
                  </a:lnTo>
                  <a:lnTo>
                    <a:pt x="427375" y="4523"/>
                  </a:lnTo>
                  <a:lnTo>
                    <a:pt x="429443" y="2455"/>
                  </a:lnTo>
                  <a:lnTo>
                    <a:pt x="430089" y="1034"/>
                  </a:lnTo>
                  <a:lnTo>
                    <a:pt x="429572" y="0"/>
                  </a:lnTo>
                  <a:lnTo>
                    <a:pt x="427634" y="258"/>
                  </a:lnTo>
                  <a:lnTo>
                    <a:pt x="423240" y="1938"/>
                  </a:lnTo>
                  <a:lnTo>
                    <a:pt x="421043" y="3231"/>
                  </a:lnTo>
                  <a:lnTo>
                    <a:pt x="416907" y="6720"/>
                  </a:lnTo>
                  <a:lnTo>
                    <a:pt x="413030" y="8529"/>
                  </a:lnTo>
                  <a:lnTo>
                    <a:pt x="412126" y="8788"/>
                  </a:lnTo>
                  <a:lnTo>
                    <a:pt x="411221" y="8659"/>
                  </a:lnTo>
                  <a:lnTo>
                    <a:pt x="410446" y="7754"/>
                  </a:lnTo>
                  <a:lnTo>
                    <a:pt x="410833" y="5686"/>
                  </a:lnTo>
                  <a:lnTo>
                    <a:pt x="410316" y="4652"/>
                  </a:lnTo>
                  <a:lnTo>
                    <a:pt x="406698" y="4911"/>
                  </a:lnTo>
                  <a:lnTo>
                    <a:pt x="398168" y="11502"/>
                  </a:lnTo>
                  <a:lnTo>
                    <a:pt x="395713" y="11373"/>
                  </a:lnTo>
                  <a:lnTo>
                    <a:pt x="394421" y="9822"/>
                  </a:lnTo>
                  <a:lnTo>
                    <a:pt x="392741" y="9176"/>
                  </a:lnTo>
                  <a:lnTo>
                    <a:pt x="390931" y="9176"/>
                  </a:lnTo>
                  <a:lnTo>
                    <a:pt x="389122" y="9951"/>
                  </a:lnTo>
                  <a:lnTo>
                    <a:pt x="387313" y="11631"/>
                  </a:lnTo>
                  <a:lnTo>
                    <a:pt x="386667" y="13570"/>
                  </a:lnTo>
                  <a:lnTo>
                    <a:pt x="386408" y="15508"/>
                  </a:lnTo>
                  <a:lnTo>
                    <a:pt x="385504" y="17188"/>
                  </a:lnTo>
                  <a:lnTo>
                    <a:pt x="382402" y="18480"/>
                  </a:lnTo>
                  <a:lnTo>
                    <a:pt x="378525" y="18351"/>
                  </a:lnTo>
                  <a:lnTo>
                    <a:pt x="374390" y="17834"/>
                  </a:lnTo>
                  <a:lnTo>
                    <a:pt x="370383" y="17834"/>
                  </a:lnTo>
                  <a:lnTo>
                    <a:pt x="364309" y="18351"/>
                  </a:lnTo>
                  <a:lnTo>
                    <a:pt x="362242" y="18093"/>
                  </a:lnTo>
                  <a:lnTo>
                    <a:pt x="360045" y="18093"/>
                  </a:lnTo>
                  <a:lnTo>
                    <a:pt x="356038" y="19902"/>
                  </a:lnTo>
                  <a:lnTo>
                    <a:pt x="347638" y="21970"/>
                  </a:lnTo>
                  <a:lnTo>
                    <a:pt x="345571" y="21582"/>
                  </a:lnTo>
                  <a:lnTo>
                    <a:pt x="344407" y="20677"/>
                  </a:lnTo>
                  <a:lnTo>
                    <a:pt x="343115" y="18351"/>
                  </a:lnTo>
                  <a:lnTo>
                    <a:pt x="342340" y="17447"/>
                  </a:lnTo>
                  <a:lnTo>
                    <a:pt x="341306" y="16930"/>
                  </a:lnTo>
                  <a:lnTo>
                    <a:pt x="333681" y="15120"/>
                  </a:lnTo>
                  <a:lnTo>
                    <a:pt x="331872" y="14216"/>
                  </a:lnTo>
                  <a:lnTo>
                    <a:pt x="326056" y="9434"/>
                  </a:lnTo>
                  <a:lnTo>
                    <a:pt x="323730" y="8142"/>
                  </a:lnTo>
                  <a:lnTo>
                    <a:pt x="321145" y="7883"/>
                  </a:lnTo>
                  <a:lnTo>
                    <a:pt x="319853" y="8271"/>
                  </a:lnTo>
                  <a:lnTo>
                    <a:pt x="319207" y="8917"/>
                  </a:lnTo>
                  <a:lnTo>
                    <a:pt x="318431" y="10726"/>
                  </a:lnTo>
                  <a:lnTo>
                    <a:pt x="317268" y="15250"/>
                  </a:lnTo>
                  <a:lnTo>
                    <a:pt x="317139" y="20031"/>
                  </a:lnTo>
                  <a:lnTo>
                    <a:pt x="316622" y="21840"/>
                  </a:lnTo>
                  <a:lnTo>
                    <a:pt x="313520" y="26493"/>
                  </a:lnTo>
                  <a:lnTo>
                    <a:pt x="312745" y="27397"/>
                  </a:lnTo>
                  <a:lnTo>
                    <a:pt x="311453" y="28044"/>
                  </a:lnTo>
                  <a:lnTo>
                    <a:pt x="310290" y="27914"/>
                  </a:lnTo>
                  <a:lnTo>
                    <a:pt x="309385" y="27397"/>
                  </a:lnTo>
                  <a:lnTo>
                    <a:pt x="308351" y="27010"/>
                  </a:lnTo>
                  <a:lnTo>
                    <a:pt x="307059" y="27268"/>
                  </a:lnTo>
                  <a:lnTo>
                    <a:pt x="305637" y="28948"/>
                  </a:lnTo>
                  <a:lnTo>
                    <a:pt x="303957" y="32050"/>
                  </a:lnTo>
                  <a:lnTo>
                    <a:pt x="302665" y="35152"/>
                  </a:lnTo>
                  <a:lnTo>
                    <a:pt x="302406" y="37090"/>
                  </a:lnTo>
                  <a:lnTo>
                    <a:pt x="303699" y="37865"/>
                  </a:lnTo>
                  <a:lnTo>
                    <a:pt x="308351" y="38124"/>
                  </a:lnTo>
                  <a:lnTo>
                    <a:pt x="310290" y="38641"/>
                  </a:lnTo>
                  <a:lnTo>
                    <a:pt x="312357" y="40450"/>
                  </a:lnTo>
                  <a:lnTo>
                    <a:pt x="313391" y="44586"/>
                  </a:lnTo>
                  <a:lnTo>
                    <a:pt x="314813" y="46783"/>
                  </a:lnTo>
                  <a:lnTo>
                    <a:pt x="317656" y="48721"/>
                  </a:lnTo>
                  <a:lnTo>
                    <a:pt x="318561" y="49496"/>
                  </a:lnTo>
                  <a:lnTo>
                    <a:pt x="322438" y="54407"/>
                  </a:lnTo>
                  <a:lnTo>
                    <a:pt x="326056" y="57509"/>
                  </a:lnTo>
                  <a:lnTo>
                    <a:pt x="326832" y="58672"/>
                  </a:lnTo>
                  <a:lnTo>
                    <a:pt x="327219" y="59964"/>
                  </a:lnTo>
                  <a:lnTo>
                    <a:pt x="327090" y="60998"/>
                  </a:lnTo>
                  <a:lnTo>
                    <a:pt x="326702" y="62032"/>
                  </a:lnTo>
                  <a:lnTo>
                    <a:pt x="326315" y="63583"/>
                  </a:lnTo>
                  <a:lnTo>
                    <a:pt x="326444" y="68365"/>
                  </a:lnTo>
                  <a:lnTo>
                    <a:pt x="327090" y="72629"/>
                  </a:lnTo>
                  <a:lnTo>
                    <a:pt x="326573" y="76506"/>
                  </a:lnTo>
                  <a:lnTo>
                    <a:pt x="323213" y="79996"/>
                  </a:lnTo>
                  <a:lnTo>
                    <a:pt x="316105" y="82063"/>
                  </a:lnTo>
                  <a:lnTo>
                    <a:pt x="309385" y="80642"/>
                  </a:lnTo>
                  <a:lnTo>
                    <a:pt x="302665" y="77928"/>
                  </a:lnTo>
                  <a:lnTo>
                    <a:pt x="295816" y="76119"/>
                  </a:lnTo>
                  <a:lnTo>
                    <a:pt x="290646" y="76377"/>
                  </a:lnTo>
                  <a:lnTo>
                    <a:pt x="288966" y="76119"/>
                  </a:lnTo>
                  <a:lnTo>
                    <a:pt x="286898" y="75214"/>
                  </a:lnTo>
                  <a:lnTo>
                    <a:pt x="283021" y="72758"/>
                  </a:lnTo>
                  <a:lnTo>
                    <a:pt x="280954" y="71854"/>
                  </a:lnTo>
                  <a:lnTo>
                    <a:pt x="278886" y="71595"/>
                  </a:lnTo>
                  <a:lnTo>
                    <a:pt x="275784" y="72371"/>
                  </a:lnTo>
                  <a:lnTo>
                    <a:pt x="273846" y="72629"/>
                  </a:lnTo>
                  <a:lnTo>
                    <a:pt x="272295" y="72371"/>
                  </a:lnTo>
                  <a:lnTo>
                    <a:pt x="266738" y="70303"/>
                  </a:lnTo>
                  <a:lnTo>
                    <a:pt x="261698" y="72112"/>
                  </a:lnTo>
                  <a:lnTo>
                    <a:pt x="258467" y="73922"/>
                  </a:lnTo>
                  <a:lnTo>
                    <a:pt x="256787" y="74051"/>
                  </a:lnTo>
                  <a:lnTo>
                    <a:pt x="255107" y="73275"/>
                  </a:lnTo>
                  <a:lnTo>
                    <a:pt x="253556" y="71983"/>
                  </a:lnTo>
                  <a:lnTo>
                    <a:pt x="251876" y="70949"/>
                  </a:lnTo>
                  <a:lnTo>
                    <a:pt x="249808" y="70691"/>
                  </a:lnTo>
                  <a:lnTo>
                    <a:pt x="247999" y="71466"/>
                  </a:lnTo>
                  <a:lnTo>
                    <a:pt x="246578" y="72500"/>
                  </a:lnTo>
                  <a:lnTo>
                    <a:pt x="245027" y="73275"/>
                  </a:lnTo>
                  <a:lnTo>
                    <a:pt x="242830" y="73146"/>
                  </a:lnTo>
                  <a:lnTo>
                    <a:pt x="240633" y="72758"/>
                  </a:lnTo>
                  <a:lnTo>
                    <a:pt x="239211" y="73146"/>
                  </a:lnTo>
                  <a:lnTo>
                    <a:pt x="234559" y="76765"/>
                  </a:lnTo>
                  <a:lnTo>
                    <a:pt x="233267" y="77411"/>
                  </a:lnTo>
                  <a:lnTo>
                    <a:pt x="231845" y="77411"/>
                  </a:lnTo>
                  <a:lnTo>
                    <a:pt x="224220" y="76119"/>
                  </a:lnTo>
                  <a:lnTo>
                    <a:pt x="222799" y="75602"/>
                  </a:lnTo>
                  <a:lnTo>
                    <a:pt x="221119" y="74180"/>
                  </a:lnTo>
                  <a:lnTo>
                    <a:pt x="220472" y="73146"/>
                  </a:lnTo>
                  <a:lnTo>
                    <a:pt x="219568" y="72629"/>
                  </a:lnTo>
                  <a:lnTo>
                    <a:pt x="217242" y="72629"/>
                  </a:lnTo>
                  <a:lnTo>
                    <a:pt x="213623" y="73017"/>
                  </a:lnTo>
                  <a:lnTo>
                    <a:pt x="211814" y="73017"/>
                  </a:lnTo>
                  <a:lnTo>
                    <a:pt x="210004" y="73017"/>
                  </a:lnTo>
                  <a:lnTo>
                    <a:pt x="207161" y="71595"/>
                  </a:lnTo>
                  <a:lnTo>
                    <a:pt x="205223" y="69915"/>
                  </a:lnTo>
                  <a:lnTo>
                    <a:pt x="203931" y="67718"/>
                  </a:lnTo>
                  <a:lnTo>
                    <a:pt x="203284" y="64746"/>
                  </a:lnTo>
                  <a:lnTo>
                    <a:pt x="200053" y="62161"/>
                  </a:lnTo>
                  <a:lnTo>
                    <a:pt x="194884" y="64229"/>
                  </a:lnTo>
                  <a:lnTo>
                    <a:pt x="185709" y="69915"/>
                  </a:lnTo>
                  <a:lnTo>
                    <a:pt x="183512" y="69528"/>
                  </a:lnTo>
                  <a:lnTo>
                    <a:pt x="179635" y="67072"/>
                  </a:lnTo>
                  <a:lnTo>
                    <a:pt x="177050" y="66814"/>
                  </a:lnTo>
                  <a:lnTo>
                    <a:pt x="174724" y="67718"/>
                  </a:lnTo>
                  <a:lnTo>
                    <a:pt x="173173" y="69140"/>
                  </a:lnTo>
                  <a:lnTo>
                    <a:pt x="171881" y="70820"/>
                  </a:lnTo>
                  <a:lnTo>
                    <a:pt x="170201" y="72371"/>
                  </a:lnTo>
                  <a:lnTo>
                    <a:pt x="168004" y="73534"/>
                  </a:lnTo>
                  <a:lnTo>
                    <a:pt x="166453" y="74051"/>
                  </a:lnTo>
                  <a:lnTo>
                    <a:pt x="165419" y="74955"/>
                  </a:lnTo>
                  <a:lnTo>
                    <a:pt x="162705" y="82063"/>
                  </a:lnTo>
                  <a:lnTo>
                    <a:pt x="161542" y="84002"/>
                  </a:lnTo>
                  <a:lnTo>
                    <a:pt x="154434" y="92919"/>
                  </a:lnTo>
                  <a:lnTo>
                    <a:pt x="151203" y="95374"/>
                  </a:lnTo>
                  <a:lnTo>
                    <a:pt x="146163" y="96667"/>
                  </a:lnTo>
                  <a:lnTo>
                    <a:pt x="142932" y="96796"/>
                  </a:lnTo>
                  <a:lnTo>
                    <a:pt x="133886" y="95116"/>
                  </a:lnTo>
                  <a:lnTo>
                    <a:pt x="130009" y="94987"/>
                  </a:lnTo>
                  <a:lnTo>
                    <a:pt x="126649" y="95891"/>
                  </a:lnTo>
                  <a:lnTo>
                    <a:pt x="117990" y="99639"/>
                  </a:lnTo>
                  <a:lnTo>
                    <a:pt x="114372" y="101836"/>
                  </a:lnTo>
                  <a:lnTo>
                    <a:pt x="112562" y="102482"/>
                  </a:lnTo>
                  <a:lnTo>
                    <a:pt x="110624" y="102224"/>
                  </a:lnTo>
                  <a:lnTo>
                    <a:pt x="107393" y="100931"/>
                  </a:lnTo>
                  <a:lnTo>
                    <a:pt x="105713" y="100673"/>
                  </a:lnTo>
                  <a:lnTo>
                    <a:pt x="105067" y="101448"/>
                  </a:lnTo>
                  <a:lnTo>
                    <a:pt x="105196" y="103128"/>
                  </a:lnTo>
                  <a:lnTo>
                    <a:pt x="105842" y="106359"/>
                  </a:lnTo>
                  <a:lnTo>
                    <a:pt x="105455" y="108168"/>
                  </a:lnTo>
                  <a:lnTo>
                    <a:pt x="104808" y="110107"/>
                  </a:lnTo>
                  <a:lnTo>
                    <a:pt x="102870" y="113596"/>
                  </a:lnTo>
                  <a:lnTo>
                    <a:pt x="101190" y="115664"/>
                  </a:lnTo>
                  <a:lnTo>
                    <a:pt x="96667" y="116439"/>
                  </a:lnTo>
                  <a:lnTo>
                    <a:pt x="91627" y="116310"/>
                  </a:lnTo>
                  <a:lnTo>
                    <a:pt x="88137" y="115406"/>
                  </a:lnTo>
                  <a:lnTo>
                    <a:pt x="87362" y="114501"/>
                  </a:lnTo>
                  <a:lnTo>
                    <a:pt x="86586" y="112175"/>
                  </a:lnTo>
                  <a:lnTo>
                    <a:pt x="85811" y="111141"/>
                  </a:lnTo>
                  <a:lnTo>
                    <a:pt x="84002" y="110236"/>
                  </a:lnTo>
                  <a:lnTo>
                    <a:pt x="82839" y="110365"/>
                  </a:lnTo>
                  <a:lnTo>
                    <a:pt x="81805" y="111012"/>
                  </a:lnTo>
                  <a:lnTo>
                    <a:pt x="80383" y="111399"/>
                  </a:lnTo>
                  <a:lnTo>
                    <a:pt x="78315" y="111270"/>
                  </a:lnTo>
                  <a:lnTo>
                    <a:pt x="75989" y="110882"/>
                  </a:lnTo>
                  <a:lnTo>
                    <a:pt x="73663" y="110236"/>
                  </a:lnTo>
                  <a:lnTo>
                    <a:pt x="71854" y="109332"/>
                  </a:lnTo>
                  <a:lnTo>
                    <a:pt x="71078" y="108556"/>
                  </a:lnTo>
                  <a:lnTo>
                    <a:pt x="70045" y="106876"/>
                  </a:lnTo>
                  <a:lnTo>
                    <a:pt x="69528" y="106618"/>
                  </a:lnTo>
                  <a:lnTo>
                    <a:pt x="68364" y="107393"/>
                  </a:lnTo>
                  <a:lnTo>
                    <a:pt x="67848" y="108944"/>
                  </a:lnTo>
                  <a:lnTo>
                    <a:pt x="67201" y="110495"/>
                  </a:lnTo>
                  <a:lnTo>
                    <a:pt x="66426" y="111787"/>
                  </a:lnTo>
                  <a:lnTo>
                    <a:pt x="65521" y="112433"/>
                  </a:lnTo>
                  <a:lnTo>
                    <a:pt x="63066" y="113467"/>
                  </a:lnTo>
                  <a:lnTo>
                    <a:pt x="62291" y="114113"/>
                  </a:lnTo>
                  <a:lnTo>
                    <a:pt x="62161" y="115147"/>
                  </a:lnTo>
                  <a:lnTo>
                    <a:pt x="62808" y="117344"/>
                  </a:lnTo>
                  <a:lnTo>
                    <a:pt x="62808" y="118378"/>
                  </a:lnTo>
                  <a:lnTo>
                    <a:pt x="59964" y="120316"/>
                  </a:lnTo>
                  <a:lnTo>
                    <a:pt x="58543" y="120575"/>
                  </a:lnTo>
                  <a:lnTo>
                    <a:pt x="50789" y="121867"/>
                  </a:lnTo>
                  <a:lnTo>
                    <a:pt x="50530" y="122255"/>
                  </a:lnTo>
                  <a:lnTo>
                    <a:pt x="49238" y="123806"/>
                  </a:lnTo>
                  <a:lnTo>
                    <a:pt x="50013" y="126003"/>
                  </a:lnTo>
                  <a:lnTo>
                    <a:pt x="52081" y="130138"/>
                  </a:lnTo>
                  <a:lnTo>
                    <a:pt x="52727" y="132335"/>
                  </a:lnTo>
                  <a:lnTo>
                    <a:pt x="52856" y="134920"/>
                  </a:lnTo>
                  <a:lnTo>
                    <a:pt x="52210" y="136729"/>
                  </a:lnTo>
                  <a:lnTo>
                    <a:pt x="48850" y="141898"/>
                  </a:lnTo>
                  <a:lnTo>
                    <a:pt x="47946" y="141898"/>
                  </a:lnTo>
                  <a:lnTo>
                    <a:pt x="47041" y="141381"/>
                  </a:lnTo>
                  <a:lnTo>
                    <a:pt x="46136" y="141123"/>
                  </a:lnTo>
                  <a:lnTo>
                    <a:pt x="46136" y="140865"/>
                  </a:lnTo>
                  <a:lnTo>
                    <a:pt x="45749" y="140477"/>
                  </a:lnTo>
                  <a:lnTo>
                    <a:pt x="45103" y="140089"/>
                  </a:lnTo>
                  <a:lnTo>
                    <a:pt x="44586" y="139831"/>
                  </a:lnTo>
                  <a:lnTo>
                    <a:pt x="44069" y="139960"/>
                  </a:lnTo>
                  <a:lnTo>
                    <a:pt x="42647" y="140994"/>
                  </a:lnTo>
                  <a:lnTo>
                    <a:pt x="42001" y="141640"/>
                  </a:lnTo>
                  <a:lnTo>
                    <a:pt x="31016" y="140606"/>
                  </a:lnTo>
                  <a:lnTo>
                    <a:pt x="29336" y="140735"/>
                  </a:lnTo>
                  <a:lnTo>
                    <a:pt x="28173" y="141640"/>
                  </a:lnTo>
                  <a:lnTo>
                    <a:pt x="25200" y="145905"/>
                  </a:lnTo>
                  <a:lnTo>
                    <a:pt x="23520" y="147714"/>
                  </a:lnTo>
                  <a:lnTo>
                    <a:pt x="21453" y="149135"/>
                  </a:lnTo>
                  <a:lnTo>
                    <a:pt x="18868" y="150169"/>
                  </a:lnTo>
                  <a:lnTo>
                    <a:pt x="16671" y="150686"/>
                  </a:lnTo>
                  <a:lnTo>
                    <a:pt x="14733" y="150815"/>
                  </a:lnTo>
                  <a:lnTo>
                    <a:pt x="12794" y="150557"/>
                  </a:lnTo>
                  <a:lnTo>
                    <a:pt x="10597" y="149652"/>
                  </a:lnTo>
                  <a:lnTo>
                    <a:pt x="7883" y="147455"/>
                  </a:lnTo>
                  <a:lnTo>
                    <a:pt x="6979" y="145258"/>
                  </a:lnTo>
                  <a:lnTo>
                    <a:pt x="6462" y="142932"/>
                  </a:lnTo>
                  <a:lnTo>
                    <a:pt x="4782" y="140348"/>
                  </a:lnTo>
                  <a:lnTo>
                    <a:pt x="2843" y="138797"/>
                  </a:lnTo>
                  <a:lnTo>
                    <a:pt x="646" y="137634"/>
                  </a:lnTo>
                  <a:lnTo>
                    <a:pt x="0" y="137375"/>
                  </a:lnTo>
                  <a:lnTo>
                    <a:pt x="10856" y="252910"/>
                  </a:lnTo>
                  <a:lnTo>
                    <a:pt x="13182" y="285735"/>
                  </a:lnTo>
                  <a:lnTo>
                    <a:pt x="12923" y="288191"/>
                  </a:lnTo>
                  <a:lnTo>
                    <a:pt x="12406" y="289483"/>
                  </a:lnTo>
                  <a:lnTo>
                    <a:pt x="11631" y="295428"/>
                  </a:lnTo>
                  <a:lnTo>
                    <a:pt x="11502" y="307447"/>
                  </a:lnTo>
                  <a:lnTo>
                    <a:pt x="11889" y="311065"/>
                  </a:lnTo>
                  <a:lnTo>
                    <a:pt x="12665" y="314296"/>
                  </a:lnTo>
                  <a:lnTo>
                    <a:pt x="13182" y="315330"/>
                  </a:lnTo>
                  <a:lnTo>
                    <a:pt x="13828" y="316364"/>
                  </a:lnTo>
                  <a:lnTo>
                    <a:pt x="14733" y="317268"/>
                  </a:lnTo>
                  <a:lnTo>
                    <a:pt x="15767" y="318044"/>
                  </a:lnTo>
                  <a:lnTo>
                    <a:pt x="16930" y="318690"/>
                  </a:lnTo>
                  <a:lnTo>
                    <a:pt x="22487" y="320887"/>
                  </a:lnTo>
                  <a:lnTo>
                    <a:pt x="23779" y="321662"/>
                  </a:lnTo>
                  <a:lnTo>
                    <a:pt x="24942" y="322567"/>
                  </a:lnTo>
                  <a:lnTo>
                    <a:pt x="26105" y="324247"/>
                  </a:lnTo>
                  <a:lnTo>
                    <a:pt x="26105" y="325668"/>
                  </a:lnTo>
                  <a:lnTo>
                    <a:pt x="25717" y="326961"/>
                  </a:lnTo>
                  <a:lnTo>
                    <a:pt x="25071" y="328512"/>
                  </a:lnTo>
                  <a:lnTo>
                    <a:pt x="24684" y="330321"/>
                  </a:lnTo>
                  <a:lnTo>
                    <a:pt x="24684" y="334973"/>
                  </a:lnTo>
                  <a:lnTo>
                    <a:pt x="23908" y="339884"/>
                  </a:lnTo>
                  <a:lnTo>
                    <a:pt x="24037" y="342857"/>
                  </a:lnTo>
                  <a:lnTo>
                    <a:pt x="24554" y="344666"/>
                  </a:lnTo>
                  <a:lnTo>
                    <a:pt x="25330" y="346087"/>
                  </a:lnTo>
                  <a:lnTo>
                    <a:pt x="29078" y="350611"/>
                  </a:lnTo>
                  <a:lnTo>
                    <a:pt x="37090" y="358106"/>
                  </a:lnTo>
                  <a:lnTo>
                    <a:pt x="38382" y="358752"/>
                  </a:lnTo>
                  <a:lnTo>
                    <a:pt x="39545" y="358881"/>
                  </a:lnTo>
                  <a:lnTo>
                    <a:pt x="42001" y="358235"/>
                  </a:lnTo>
                  <a:lnTo>
                    <a:pt x="43164" y="357977"/>
                  </a:lnTo>
                  <a:lnTo>
                    <a:pt x="44456" y="358235"/>
                  </a:lnTo>
                  <a:lnTo>
                    <a:pt x="45749" y="359011"/>
                  </a:lnTo>
                  <a:lnTo>
                    <a:pt x="50789" y="363663"/>
                  </a:lnTo>
                  <a:lnTo>
                    <a:pt x="51435" y="364051"/>
                  </a:lnTo>
                  <a:lnTo>
                    <a:pt x="53632" y="364697"/>
                  </a:lnTo>
                  <a:lnTo>
                    <a:pt x="54924" y="365343"/>
                  </a:lnTo>
                  <a:lnTo>
                    <a:pt x="56346" y="366765"/>
                  </a:lnTo>
                  <a:lnTo>
                    <a:pt x="57121" y="368316"/>
                  </a:lnTo>
                  <a:lnTo>
                    <a:pt x="58284" y="372193"/>
                  </a:lnTo>
                  <a:lnTo>
                    <a:pt x="58672" y="374390"/>
                  </a:lnTo>
                  <a:lnTo>
                    <a:pt x="59577" y="376457"/>
                  </a:lnTo>
                  <a:lnTo>
                    <a:pt x="59964" y="378008"/>
                  </a:lnTo>
                  <a:lnTo>
                    <a:pt x="60223" y="379300"/>
                  </a:lnTo>
                  <a:lnTo>
                    <a:pt x="60223" y="382144"/>
                  </a:lnTo>
                  <a:lnTo>
                    <a:pt x="60481" y="384340"/>
                  </a:lnTo>
                  <a:lnTo>
                    <a:pt x="60998" y="385762"/>
                  </a:lnTo>
                  <a:lnTo>
                    <a:pt x="61774" y="387054"/>
                  </a:lnTo>
                  <a:lnTo>
                    <a:pt x="62678" y="388088"/>
                  </a:lnTo>
                  <a:lnTo>
                    <a:pt x="70432" y="395325"/>
                  </a:lnTo>
                  <a:lnTo>
                    <a:pt x="71466" y="396101"/>
                  </a:lnTo>
                  <a:lnTo>
                    <a:pt x="72500" y="396618"/>
                  </a:lnTo>
                  <a:lnTo>
                    <a:pt x="73534" y="396747"/>
                  </a:lnTo>
                  <a:lnTo>
                    <a:pt x="75860" y="396618"/>
                  </a:lnTo>
                  <a:lnTo>
                    <a:pt x="77023" y="396747"/>
                  </a:lnTo>
                  <a:lnTo>
                    <a:pt x="78186" y="397264"/>
                  </a:lnTo>
                  <a:lnTo>
                    <a:pt x="79220" y="398427"/>
                  </a:lnTo>
                  <a:lnTo>
                    <a:pt x="83097" y="404501"/>
                  </a:lnTo>
                  <a:lnTo>
                    <a:pt x="84648" y="406181"/>
                  </a:lnTo>
                  <a:lnTo>
                    <a:pt x="85940" y="407215"/>
                  </a:lnTo>
                  <a:lnTo>
                    <a:pt x="87103" y="407861"/>
                  </a:lnTo>
                  <a:lnTo>
                    <a:pt x="88137" y="407990"/>
                  </a:lnTo>
                  <a:lnTo>
                    <a:pt x="90205" y="407861"/>
                  </a:lnTo>
                  <a:lnTo>
                    <a:pt x="91239" y="408636"/>
                  </a:lnTo>
                  <a:lnTo>
                    <a:pt x="92014" y="409929"/>
                  </a:lnTo>
                  <a:lnTo>
                    <a:pt x="93048" y="412126"/>
                  </a:lnTo>
                  <a:lnTo>
                    <a:pt x="94211" y="413418"/>
                  </a:lnTo>
                  <a:lnTo>
                    <a:pt x="95504" y="414452"/>
                  </a:lnTo>
                  <a:lnTo>
                    <a:pt x="103645" y="418717"/>
                  </a:lnTo>
                  <a:lnTo>
                    <a:pt x="106359" y="419750"/>
                  </a:lnTo>
                  <a:lnTo>
                    <a:pt x="107652" y="420784"/>
                  </a:lnTo>
                  <a:lnTo>
                    <a:pt x="109202" y="422335"/>
                  </a:lnTo>
                  <a:lnTo>
                    <a:pt x="111658" y="425307"/>
                  </a:lnTo>
                  <a:lnTo>
                    <a:pt x="113209" y="426858"/>
                  </a:lnTo>
                  <a:lnTo>
                    <a:pt x="114630" y="427763"/>
                  </a:lnTo>
                  <a:lnTo>
                    <a:pt x="122513" y="429960"/>
                  </a:lnTo>
                  <a:lnTo>
                    <a:pt x="124193" y="430994"/>
                  </a:lnTo>
                  <a:lnTo>
                    <a:pt x="126132" y="432674"/>
                  </a:lnTo>
                  <a:lnTo>
                    <a:pt x="129234" y="436422"/>
                  </a:lnTo>
                  <a:lnTo>
                    <a:pt x="131043" y="438231"/>
                  </a:lnTo>
                  <a:lnTo>
                    <a:pt x="132464" y="439265"/>
                  </a:lnTo>
                  <a:lnTo>
                    <a:pt x="134532" y="439523"/>
                  </a:lnTo>
                  <a:lnTo>
                    <a:pt x="135566" y="439782"/>
                  </a:lnTo>
                  <a:lnTo>
                    <a:pt x="136600" y="440557"/>
                  </a:lnTo>
                  <a:lnTo>
                    <a:pt x="137504" y="441849"/>
                  </a:lnTo>
                  <a:lnTo>
                    <a:pt x="138668" y="443917"/>
                  </a:lnTo>
                  <a:lnTo>
                    <a:pt x="139831" y="444951"/>
                  </a:lnTo>
                  <a:lnTo>
                    <a:pt x="140994" y="445597"/>
                  </a:lnTo>
                  <a:lnTo>
                    <a:pt x="150945" y="449086"/>
                  </a:lnTo>
                  <a:lnTo>
                    <a:pt x="153271" y="450250"/>
                  </a:lnTo>
                  <a:lnTo>
                    <a:pt x="156502" y="452317"/>
                  </a:lnTo>
                  <a:lnTo>
                    <a:pt x="159216" y="453610"/>
                  </a:lnTo>
                  <a:lnTo>
                    <a:pt x="162059" y="455419"/>
                  </a:lnTo>
                  <a:lnTo>
                    <a:pt x="163351" y="456065"/>
                  </a:lnTo>
                  <a:lnTo>
                    <a:pt x="167874" y="458004"/>
                  </a:lnTo>
                  <a:lnTo>
                    <a:pt x="168908" y="458262"/>
                  </a:lnTo>
                  <a:lnTo>
                    <a:pt x="171105" y="458521"/>
                  </a:lnTo>
                  <a:lnTo>
                    <a:pt x="172139" y="458908"/>
                  </a:lnTo>
                  <a:lnTo>
                    <a:pt x="174078" y="459942"/>
                  </a:lnTo>
                  <a:lnTo>
                    <a:pt x="175241" y="460201"/>
                  </a:lnTo>
                  <a:lnTo>
                    <a:pt x="176533" y="460201"/>
                  </a:lnTo>
                  <a:lnTo>
                    <a:pt x="177825" y="460071"/>
                  </a:lnTo>
                  <a:lnTo>
                    <a:pt x="180152" y="459425"/>
                  </a:lnTo>
                  <a:lnTo>
                    <a:pt x="182219" y="458650"/>
                  </a:lnTo>
                  <a:lnTo>
                    <a:pt x="183253" y="458521"/>
                  </a:lnTo>
                  <a:lnTo>
                    <a:pt x="184158" y="458779"/>
                  </a:lnTo>
                  <a:lnTo>
                    <a:pt x="184675" y="459554"/>
                  </a:lnTo>
                  <a:lnTo>
                    <a:pt x="184545" y="461881"/>
                  </a:lnTo>
                  <a:lnTo>
                    <a:pt x="184804" y="463302"/>
                  </a:lnTo>
                  <a:lnTo>
                    <a:pt x="185579" y="463948"/>
                  </a:lnTo>
                  <a:lnTo>
                    <a:pt x="186742" y="464207"/>
                  </a:lnTo>
                  <a:lnTo>
                    <a:pt x="190490" y="463690"/>
                  </a:lnTo>
                  <a:lnTo>
                    <a:pt x="192041" y="463819"/>
                  </a:lnTo>
                  <a:lnTo>
                    <a:pt x="193721" y="464336"/>
                  </a:lnTo>
                  <a:lnTo>
                    <a:pt x="197081" y="466662"/>
                  </a:lnTo>
                  <a:lnTo>
                    <a:pt x="198374" y="467308"/>
                  </a:lnTo>
                  <a:lnTo>
                    <a:pt x="200958" y="467955"/>
                  </a:lnTo>
                  <a:lnTo>
                    <a:pt x="202250" y="468730"/>
                  </a:lnTo>
                  <a:lnTo>
                    <a:pt x="202767" y="469764"/>
                  </a:lnTo>
                  <a:lnTo>
                    <a:pt x="203931" y="473253"/>
                  </a:lnTo>
                  <a:lnTo>
                    <a:pt x="206127" y="476613"/>
                  </a:lnTo>
                  <a:lnTo>
                    <a:pt x="211038" y="481912"/>
                  </a:lnTo>
                  <a:lnTo>
                    <a:pt x="212460" y="483075"/>
                  </a:lnTo>
                  <a:lnTo>
                    <a:pt x="214269" y="483980"/>
                  </a:lnTo>
                  <a:lnTo>
                    <a:pt x="218534" y="485530"/>
                  </a:lnTo>
                  <a:lnTo>
                    <a:pt x="220472" y="486564"/>
                  </a:lnTo>
                  <a:lnTo>
                    <a:pt x="227322" y="491475"/>
                  </a:lnTo>
                  <a:lnTo>
                    <a:pt x="228226" y="491992"/>
                  </a:lnTo>
                  <a:lnTo>
                    <a:pt x="229260" y="492380"/>
                  </a:lnTo>
                  <a:lnTo>
                    <a:pt x="230423" y="492638"/>
                  </a:lnTo>
                  <a:lnTo>
                    <a:pt x="231586" y="492767"/>
                  </a:lnTo>
                  <a:lnTo>
                    <a:pt x="232879" y="492767"/>
                  </a:lnTo>
                  <a:lnTo>
                    <a:pt x="235334" y="492380"/>
                  </a:lnTo>
                  <a:lnTo>
                    <a:pt x="236497" y="492250"/>
                  </a:lnTo>
                  <a:lnTo>
                    <a:pt x="237790" y="492767"/>
                  </a:lnTo>
                  <a:lnTo>
                    <a:pt x="238565" y="493543"/>
                  </a:lnTo>
                  <a:lnTo>
                    <a:pt x="238953" y="494577"/>
                  </a:lnTo>
                  <a:lnTo>
                    <a:pt x="238953" y="495740"/>
                  </a:lnTo>
                  <a:lnTo>
                    <a:pt x="238694" y="496903"/>
                  </a:lnTo>
                  <a:lnTo>
                    <a:pt x="237144" y="502460"/>
                  </a:lnTo>
                  <a:lnTo>
                    <a:pt x="237014" y="503752"/>
                  </a:lnTo>
                  <a:lnTo>
                    <a:pt x="237014" y="505045"/>
                  </a:lnTo>
                  <a:lnTo>
                    <a:pt x="237531" y="506595"/>
                  </a:lnTo>
                  <a:lnTo>
                    <a:pt x="238307" y="507500"/>
                  </a:lnTo>
                  <a:lnTo>
                    <a:pt x="239341" y="508146"/>
                  </a:lnTo>
                  <a:lnTo>
                    <a:pt x="240374" y="508534"/>
                  </a:lnTo>
                  <a:lnTo>
                    <a:pt x="241408" y="509051"/>
                  </a:lnTo>
                  <a:lnTo>
                    <a:pt x="243218" y="510214"/>
                  </a:lnTo>
                  <a:lnTo>
                    <a:pt x="244122" y="510731"/>
                  </a:lnTo>
                  <a:lnTo>
                    <a:pt x="245156" y="511119"/>
                  </a:lnTo>
                  <a:lnTo>
                    <a:pt x="247482" y="511635"/>
                  </a:lnTo>
                  <a:lnTo>
                    <a:pt x="249550" y="512411"/>
                  </a:lnTo>
                  <a:lnTo>
                    <a:pt x="250455" y="512669"/>
                  </a:lnTo>
                  <a:lnTo>
                    <a:pt x="251230" y="512411"/>
                  </a:lnTo>
                  <a:lnTo>
                    <a:pt x="251747" y="512152"/>
                  </a:lnTo>
                  <a:lnTo>
                    <a:pt x="256529" y="508792"/>
                  </a:lnTo>
                  <a:lnTo>
                    <a:pt x="257045" y="508534"/>
                  </a:lnTo>
                  <a:lnTo>
                    <a:pt x="262603" y="506595"/>
                  </a:lnTo>
                  <a:lnTo>
                    <a:pt x="263766" y="506337"/>
                  </a:lnTo>
                  <a:lnTo>
                    <a:pt x="264412" y="506208"/>
                  </a:lnTo>
                  <a:lnTo>
                    <a:pt x="265058" y="506208"/>
                  </a:lnTo>
                  <a:lnTo>
                    <a:pt x="265833" y="506466"/>
                  </a:lnTo>
                  <a:lnTo>
                    <a:pt x="266221" y="506854"/>
                  </a:lnTo>
                  <a:lnTo>
                    <a:pt x="266479" y="507371"/>
                  </a:lnTo>
                  <a:lnTo>
                    <a:pt x="266867" y="508534"/>
                  </a:lnTo>
                  <a:lnTo>
                    <a:pt x="266997" y="509180"/>
                  </a:lnTo>
                  <a:lnTo>
                    <a:pt x="266997" y="509826"/>
                  </a:lnTo>
                  <a:lnTo>
                    <a:pt x="266997" y="510472"/>
                  </a:lnTo>
                  <a:lnTo>
                    <a:pt x="266350" y="513445"/>
                  </a:lnTo>
                  <a:lnTo>
                    <a:pt x="266221" y="514091"/>
                  </a:lnTo>
                  <a:lnTo>
                    <a:pt x="266221" y="514737"/>
                  </a:lnTo>
                  <a:lnTo>
                    <a:pt x="266479" y="515512"/>
                  </a:lnTo>
                  <a:lnTo>
                    <a:pt x="266867" y="516029"/>
                  </a:lnTo>
                  <a:lnTo>
                    <a:pt x="267255" y="516417"/>
                  </a:lnTo>
                  <a:lnTo>
                    <a:pt x="268289" y="516805"/>
                  </a:lnTo>
                  <a:lnTo>
                    <a:pt x="270744" y="517193"/>
                  </a:lnTo>
                  <a:lnTo>
                    <a:pt x="272683" y="517322"/>
                  </a:lnTo>
                  <a:lnTo>
                    <a:pt x="275009" y="517839"/>
                  </a:lnTo>
                  <a:lnTo>
                    <a:pt x="275397" y="517968"/>
                  </a:lnTo>
                  <a:lnTo>
                    <a:pt x="275784" y="517968"/>
                  </a:lnTo>
                  <a:lnTo>
                    <a:pt x="276172" y="517839"/>
                  </a:lnTo>
                  <a:lnTo>
                    <a:pt x="276818" y="517193"/>
                  </a:lnTo>
                  <a:lnTo>
                    <a:pt x="277723" y="516546"/>
                  </a:lnTo>
                  <a:lnTo>
                    <a:pt x="278757" y="515900"/>
                  </a:lnTo>
                  <a:lnTo>
                    <a:pt x="284960" y="514091"/>
                  </a:lnTo>
                  <a:lnTo>
                    <a:pt x="284960" y="514479"/>
                  </a:lnTo>
                  <a:lnTo>
                    <a:pt x="284701" y="514866"/>
                  </a:lnTo>
                  <a:lnTo>
                    <a:pt x="283926" y="515642"/>
                  </a:lnTo>
                  <a:lnTo>
                    <a:pt x="281729" y="517063"/>
                  </a:lnTo>
                  <a:lnTo>
                    <a:pt x="277852" y="519131"/>
                  </a:lnTo>
                  <a:lnTo>
                    <a:pt x="276947" y="519777"/>
                  </a:lnTo>
                  <a:lnTo>
                    <a:pt x="276172" y="520553"/>
                  </a:lnTo>
                  <a:lnTo>
                    <a:pt x="275914" y="520940"/>
                  </a:lnTo>
                  <a:lnTo>
                    <a:pt x="275655" y="521457"/>
                  </a:lnTo>
                  <a:lnTo>
                    <a:pt x="275526" y="521974"/>
                  </a:lnTo>
                  <a:lnTo>
                    <a:pt x="275784" y="522750"/>
                  </a:lnTo>
                  <a:lnTo>
                    <a:pt x="276431" y="523783"/>
                  </a:lnTo>
                  <a:lnTo>
                    <a:pt x="277723" y="525076"/>
                  </a:lnTo>
                  <a:lnTo>
                    <a:pt x="277594" y="527402"/>
                  </a:lnTo>
                  <a:lnTo>
                    <a:pt x="276689" y="530633"/>
                  </a:lnTo>
                  <a:lnTo>
                    <a:pt x="237402" y="615281"/>
                  </a:lnTo>
                  <a:lnTo>
                    <a:pt x="72759" y="968605"/>
                  </a:lnTo>
                  <a:lnTo>
                    <a:pt x="68623" y="975325"/>
                  </a:lnTo>
                  <a:lnTo>
                    <a:pt x="67589" y="976618"/>
                  </a:lnTo>
                  <a:lnTo>
                    <a:pt x="59318" y="983338"/>
                  </a:lnTo>
                  <a:lnTo>
                    <a:pt x="57897" y="984889"/>
                  </a:lnTo>
                  <a:lnTo>
                    <a:pt x="55958" y="987473"/>
                  </a:lnTo>
                  <a:lnTo>
                    <a:pt x="54407" y="990575"/>
                  </a:lnTo>
                  <a:lnTo>
                    <a:pt x="53890" y="992901"/>
                  </a:lnTo>
                  <a:lnTo>
                    <a:pt x="53761" y="995098"/>
                  </a:lnTo>
                  <a:lnTo>
                    <a:pt x="53890" y="997295"/>
                  </a:lnTo>
                  <a:lnTo>
                    <a:pt x="54278" y="999492"/>
                  </a:lnTo>
                  <a:lnTo>
                    <a:pt x="58026" y="1010735"/>
                  </a:lnTo>
                  <a:lnTo>
                    <a:pt x="59189" y="1013449"/>
                  </a:lnTo>
                  <a:lnTo>
                    <a:pt x="60352" y="1015388"/>
                  </a:lnTo>
                  <a:lnTo>
                    <a:pt x="62291" y="1017972"/>
                  </a:lnTo>
                  <a:lnTo>
                    <a:pt x="63971" y="1019394"/>
                  </a:lnTo>
                  <a:lnTo>
                    <a:pt x="67977" y="1021979"/>
                  </a:lnTo>
                  <a:lnTo>
                    <a:pt x="70174" y="1023917"/>
                  </a:lnTo>
                  <a:lnTo>
                    <a:pt x="76119" y="1030120"/>
                  </a:lnTo>
                  <a:lnTo>
                    <a:pt x="79349" y="1032705"/>
                  </a:lnTo>
                  <a:lnTo>
                    <a:pt x="81029" y="1034385"/>
                  </a:lnTo>
                  <a:lnTo>
                    <a:pt x="83743" y="1039037"/>
                  </a:lnTo>
                  <a:lnTo>
                    <a:pt x="84389" y="1040459"/>
                  </a:lnTo>
                  <a:lnTo>
                    <a:pt x="85553" y="1046275"/>
                  </a:lnTo>
                  <a:lnTo>
                    <a:pt x="85553" y="1048472"/>
                  </a:lnTo>
                  <a:lnTo>
                    <a:pt x="85165" y="1050539"/>
                  </a:lnTo>
                  <a:lnTo>
                    <a:pt x="85165" y="1051702"/>
                  </a:lnTo>
                  <a:lnTo>
                    <a:pt x="85423" y="1052995"/>
                  </a:lnTo>
                  <a:lnTo>
                    <a:pt x="85940" y="1054675"/>
                  </a:lnTo>
                  <a:lnTo>
                    <a:pt x="87620" y="1057130"/>
                  </a:lnTo>
                  <a:lnTo>
                    <a:pt x="89688" y="1058939"/>
                  </a:lnTo>
                  <a:lnTo>
                    <a:pt x="97830" y="1066693"/>
                  </a:lnTo>
                  <a:lnTo>
                    <a:pt x="106359" y="1079488"/>
                  </a:lnTo>
                  <a:lnTo>
                    <a:pt x="108556" y="1084140"/>
                  </a:lnTo>
                  <a:lnTo>
                    <a:pt x="109849" y="1088922"/>
                  </a:lnTo>
                  <a:lnTo>
                    <a:pt x="110495" y="1090214"/>
                  </a:lnTo>
                  <a:lnTo>
                    <a:pt x="111529" y="1091635"/>
                  </a:lnTo>
                  <a:lnTo>
                    <a:pt x="113596" y="1093703"/>
                  </a:lnTo>
                  <a:lnTo>
                    <a:pt x="114759" y="1095254"/>
                  </a:lnTo>
                  <a:lnTo>
                    <a:pt x="115535" y="1096805"/>
                  </a:lnTo>
                  <a:lnTo>
                    <a:pt x="116956" y="1105076"/>
                  </a:lnTo>
                  <a:lnTo>
                    <a:pt x="118895" y="1110245"/>
                  </a:lnTo>
                  <a:lnTo>
                    <a:pt x="121479" y="1115415"/>
                  </a:lnTo>
                  <a:lnTo>
                    <a:pt x="121867" y="1116707"/>
                  </a:lnTo>
                  <a:lnTo>
                    <a:pt x="122255" y="1120325"/>
                  </a:lnTo>
                  <a:lnTo>
                    <a:pt x="122772" y="1122522"/>
                  </a:lnTo>
                  <a:lnTo>
                    <a:pt x="123677" y="1124848"/>
                  </a:lnTo>
                  <a:lnTo>
                    <a:pt x="125486" y="1128079"/>
                  </a:lnTo>
                  <a:lnTo>
                    <a:pt x="126132" y="1131439"/>
                  </a:lnTo>
                  <a:lnTo>
                    <a:pt x="126390" y="1132473"/>
                  </a:lnTo>
                  <a:lnTo>
                    <a:pt x="126907" y="1133636"/>
                  </a:lnTo>
                  <a:lnTo>
                    <a:pt x="127683" y="1134800"/>
                  </a:lnTo>
                  <a:lnTo>
                    <a:pt x="132723" y="1139969"/>
                  </a:lnTo>
                  <a:lnTo>
                    <a:pt x="133627" y="1141132"/>
                  </a:lnTo>
                  <a:lnTo>
                    <a:pt x="134274" y="1142295"/>
                  </a:lnTo>
                  <a:lnTo>
                    <a:pt x="134920" y="1144363"/>
                  </a:lnTo>
                  <a:lnTo>
                    <a:pt x="135437" y="1145397"/>
                  </a:lnTo>
                  <a:lnTo>
                    <a:pt x="136600" y="1146818"/>
                  </a:lnTo>
                  <a:lnTo>
                    <a:pt x="141382" y="1151212"/>
                  </a:lnTo>
                  <a:lnTo>
                    <a:pt x="142545" y="1153021"/>
                  </a:lnTo>
                  <a:lnTo>
                    <a:pt x="142932" y="1154572"/>
                  </a:lnTo>
                  <a:lnTo>
                    <a:pt x="141511" y="1157803"/>
                  </a:lnTo>
                  <a:lnTo>
                    <a:pt x="141252" y="1160905"/>
                  </a:lnTo>
                  <a:lnTo>
                    <a:pt x="140994" y="1161939"/>
                  </a:lnTo>
                  <a:lnTo>
                    <a:pt x="140089" y="1164006"/>
                  </a:lnTo>
                  <a:lnTo>
                    <a:pt x="139831" y="1165040"/>
                  </a:lnTo>
                  <a:lnTo>
                    <a:pt x="139701" y="1167237"/>
                  </a:lnTo>
                  <a:lnTo>
                    <a:pt x="139960" y="1172019"/>
                  </a:lnTo>
                  <a:lnTo>
                    <a:pt x="139831" y="1173311"/>
                  </a:lnTo>
                  <a:lnTo>
                    <a:pt x="139443" y="1174474"/>
                  </a:lnTo>
                  <a:lnTo>
                    <a:pt x="138926" y="1175637"/>
                  </a:lnTo>
                  <a:lnTo>
                    <a:pt x="138538" y="1176671"/>
                  </a:lnTo>
                  <a:lnTo>
                    <a:pt x="138538" y="1177705"/>
                  </a:lnTo>
                  <a:lnTo>
                    <a:pt x="139055" y="1178739"/>
                  </a:lnTo>
                  <a:lnTo>
                    <a:pt x="141123" y="1181841"/>
                  </a:lnTo>
                  <a:lnTo>
                    <a:pt x="141511" y="1182745"/>
                  </a:lnTo>
                  <a:lnTo>
                    <a:pt x="141640" y="1183391"/>
                  </a:lnTo>
                  <a:lnTo>
                    <a:pt x="141640" y="1184554"/>
                  </a:lnTo>
                  <a:lnTo>
                    <a:pt x="141511" y="1185459"/>
                  </a:lnTo>
                  <a:lnTo>
                    <a:pt x="141640" y="1186493"/>
                  </a:lnTo>
                  <a:lnTo>
                    <a:pt x="142674" y="1189853"/>
                  </a:lnTo>
                  <a:lnTo>
                    <a:pt x="142674" y="1190887"/>
                  </a:lnTo>
                  <a:lnTo>
                    <a:pt x="142286" y="1193213"/>
                  </a:lnTo>
                  <a:lnTo>
                    <a:pt x="142545" y="1194505"/>
                  </a:lnTo>
                  <a:lnTo>
                    <a:pt x="143062" y="1195669"/>
                  </a:lnTo>
                  <a:lnTo>
                    <a:pt x="143837" y="1196702"/>
                  </a:lnTo>
                  <a:lnTo>
                    <a:pt x="144742" y="1197736"/>
                  </a:lnTo>
                  <a:lnTo>
                    <a:pt x="145517" y="1198899"/>
                  </a:lnTo>
                  <a:lnTo>
                    <a:pt x="146163" y="1200062"/>
                  </a:lnTo>
                  <a:lnTo>
                    <a:pt x="146938" y="1202389"/>
                  </a:lnTo>
                  <a:lnTo>
                    <a:pt x="147456" y="1204973"/>
                  </a:lnTo>
                  <a:lnTo>
                    <a:pt x="147585" y="1206136"/>
                  </a:lnTo>
                  <a:lnTo>
                    <a:pt x="147456" y="1208721"/>
                  </a:lnTo>
                  <a:lnTo>
                    <a:pt x="147972" y="1210013"/>
                  </a:lnTo>
                  <a:lnTo>
                    <a:pt x="149265" y="1211176"/>
                  </a:lnTo>
                  <a:lnTo>
                    <a:pt x="156502" y="1213244"/>
                  </a:lnTo>
                  <a:lnTo>
                    <a:pt x="157923" y="1213890"/>
                  </a:lnTo>
                  <a:lnTo>
                    <a:pt x="159733" y="1215054"/>
                  </a:lnTo>
                  <a:lnTo>
                    <a:pt x="163480" y="1218543"/>
                  </a:lnTo>
                  <a:lnTo>
                    <a:pt x="165677" y="1220223"/>
                  </a:lnTo>
                  <a:lnTo>
                    <a:pt x="170201" y="1222937"/>
                  </a:lnTo>
                  <a:lnTo>
                    <a:pt x="171234" y="1223712"/>
                  </a:lnTo>
                  <a:lnTo>
                    <a:pt x="172010" y="1224746"/>
                  </a:lnTo>
                  <a:lnTo>
                    <a:pt x="172527" y="1226943"/>
                  </a:lnTo>
                  <a:lnTo>
                    <a:pt x="173044" y="1227977"/>
                  </a:lnTo>
                  <a:lnTo>
                    <a:pt x="178342" y="1231983"/>
                  </a:lnTo>
                  <a:lnTo>
                    <a:pt x="179505" y="1232759"/>
                  </a:lnTo>
                  <a:lnTo>
                    <a:pt x="187259" y="1235989"/>
                  </a:lnTo>
                  <a:lnTo>
                    <a:pt x="189973" y="1237540"/>
                  </a:lnTo>
                  <a:lnTo>
                    <a:pt x="191395" y="1238832"/>
                  </a:lnTo>
                  <a:lnTo>
                    <a:pt x="192429" y="1239479"/>
                  </a:lnTo>
                  <a:lnTo>
                    <a:pt x="200312" y="1242968"/>
                  </a:lnTo>
                  <a:lnTo>
                    <a:pt x="201346" y="1243614"/>
                  </a:lnTo>
                  <a:lnTo>
                    <a:pt x="202121" y="1244519"/>
                  </a:lnTo>
                  <a:lnTo>
                    <a:pt x="202638" y="1245682"/>
                  </a:lnTo>
                  <a:lnTo>
                    <a:pt x="203543" y="1250593"/>
                  </a:lnTo>
                  <a:lnTo>
                    <a:pt x="203414" y="1257571"/>
                  </a:lnTo>
                  <a:lnTo>
                    <a:pt x="203672" y="1258605"/>
                  </a:lnTo>
                  <a:lnTo>
                    <a:pt x="204060" y="1259639"/>
                  </a:lnTo>
                  <a:lnTo>
                    <a:pt x="205094" y="1260802"/>
                  </a:lnTo>
                  <a:lnTo>
                    <a:pt x="206644" y="1262095"/>
                  </a:lnTo>
                  <a:lnTo>
                    <a:pt x="209875" y="1263387"/>
                  </a:lnTo>
                  <a:lnTo>
                    <a:pt x="211426" y="1263775"/>
                  </a:lnTo>
                  <a:lnTo>
                    <a:pt x="212977" y="1263645"/>
                  </a:lnTo>
                  <a:lnTo>
                    <a:pt x="214011" y="1263258"/>
                  </a:lnTo>
                  <a:lnTo>
                    <a:pt x="215174" y="1262999"/>
                  </a:lnTo>
                  <a:lnTo>
                    <a:pt x="217112" y="1263128"/>
                  </a:lnTo>
                  <a:lnTo>
                    <a:pt x="219568" y="1263516"/>
                  </a:lnTo>
                  <a:lnTo>
                    <a:pt x="227063" y="1265584"/>
                  </a:lnTo>
                  <a:lnTo>
                    <a:pt x="229002" y="1266618"/>
                  </a:lnTo>
                  <a:lnTo>
                    <a:pt x="230036" y="1267652"/>
                  </a:lnTo>
                  <a:lnTo>
                    <a:pt x="230811" y="1268685"/>
                  </a:lnTo>
                  <a:lnTo>
                    <a:pt x="231457" y="1269849"/>
                  </a:lnTo>
                  <a:lnTo>
                    <a:pt x="231974" y="1271012"/>
                  </a:lnTo>
                  <a:lnTo>
                    <a:pt x="232233" y="1274501"/>
                  </a:lnTo>
                  <a:lnTo>
                    <a:pt x="233267" y="1277732"/>
                  </a:lnTo>
                  <a:lnTo>
                    <a:pt x="233783" y="1278766"/>
                  </a:lnTo>
                  <a:lnTo>
                    <a:pt x="234817" y="1279670"/>
                  </a:lnTo>
                  <a:lnTo>
                    <a:pt x="236239" y="1280187"/>
                  </a:lnTo>
                  <a:lnTo>
                    <a:pt x="238565" y="1280058"/>
                  </a:lnTo>
                  <a:lnTo>
                    <a:pt x="240116" y="1279541"/>
                  </a:lnTo>
                  <a:lnTo>
                    <a:pt x="242701" y="1278249"/>
                  </a:lnTo>
                  <a:lnTo>
                    <a:pt x="243864" y="1277861"/>
                  </a:lnTo>
                  <a:lnTo>
                    <a:pt x="245027" y="1277732"/>
                  </a:lnTo>
                  <a:lnTo>
                    <a:pt x="246190" y="1277861"/>
                  </a:lnTo>
                  <a:lnTo>
                    <a:pt x="247353" y="1278507"/>
                  </a:lnTo>
                  <a:lnTo>
                    <a:pt x="248645" y="1279283"/>
                  </a:lnTo>
                  <a:lnTo>
                    <a:pt x="249808" y="1279929"/>
                  </a:lnTo>
                  <a:lnTo>
                    <a:pt x="255107" y="1281221"/>
                  </a:lnTo>
                  <a:lnTo>
                    <a:pt x="256658" y="1281996"/>
                  </a:lnTo>
                  <a:lnTo>
                    <a:pt x="260018" y="1284840"/>
                  </a:lnTo>
                  <a:lnTo>
                    <a:pt x="266479" y="1287812"/>
                  </a:lnTo>
                  <a:lnTo>
                    <a:pt x="268806" y="1288458"/>
                  </a:lnTo>
                  <a:lnTo>
                    <a:pt x="269452" y="1287554"/>
                  </a:lnTo>
                  <a:lnTo>
                    <a:pt x="416003" y="1298151"/>
                  </a:lnTo>
                  <a:lnTo>
                    <a:pt x="822184" y="1322317"/>
                  </a:lnTo>
                  <a:lnTo>
                    <a:pt x="835882" y="1322963"/>
                  </a:lnTo>
                  <a:lnTo>
                    <a:pt x="935909" y="1328133"/>
                  </a:lnTo>
                  <a:lnTo>
                    <a:pt x="937589" y="1325548"/>
                  </a:lnTo>
                  <a:lnTo>
                    <a:pt x="939399" y="1321542"/>
                  </a:lnTo>
                  <a:lnTo>
                    <a:pt x="940303" y="1318053"/>
                  </a:lnTo>
                  <a:lnTo>
                    <a:pt x="940820" y="1317019"/>
                  </a:lnTo>
                  <a:lnTo>
                    <a:pt x="941596" y="1316373"/>
                  </a:lnTo>
                  <a:lnTo>
                    <a:pt x="943405" y="1315210"/>
                  </a:lnTo>
                  <a:lnTo>
                    <a:pt x="943922" y="1313917"/>
                  </a:lnTo>
                  <a:lnTo>
                    <a:pt x="944439" y="1313400"/>
                  </a:lnTo>
                  <a:lnTo>
                    <a:pt x="944956" y="1312625"/>
                  </a:lnTo>
                  <a:lnTo>
                    <a:pt x="945214" y="1311462"/>
                  </a:lnTo>
                  <a:lnTo>
                    <a:pt x="945343" y="1310169"/>
                  </a:lnTo>
                  <a:lnTo>
                    <a:pt x="945860" y="1307972"/>
                  </a:lnTo>
                  <a:lnTo>
                    <a:pt x="946894" y="1305000"/>
                  </a:lnTo>
                  <a:lnTo>
                    <a:pt x="949220" y="1300218"/>
                  </a:lnTo>
                  <a:lnTo>
                    <a:pt x="949737" y="1298021"/>
                  </a:lnTo>
                  <a:lnTo>
                    <a:pt x="950513" y="1288846"/>
                  </a:lnTo>
                  <a:lnTo>
                    <a:pt x="952968" y="1280446"/>
                  </a:lnTo>
                  <a:lnTo>
                    <a:pt x="954002" y="1278507"/>
                  </a:lnTo>
                  <a:lnTo>
                    <a:pt x="954260" y="1277344"/>
                  </a:lnTo>
                  <a:lnTo>
                    <a:pt x="954390" y="1274759"/>
                  </a:lnTo>
                  <a:lnTo>
                    <a:pt x="955036" y="1272433"/>
                  </a:lnTo>
                  <a:lnTo>
                    <a:pt x="955553" y="1271270"/>
                  </a:lnTo>
                  <a:lnTo>
                    <a:pt x="957879" y="1268039"/>
                  </a:lnTo>
                  <a:lnTo>
                    <a:pt x="960981" y="1264938"/>
                  </a:lnTo>
                  <a:lnTo>
                    <a:pt x="961497" y="1263904"/>
                  </a:lnTo>
                  <a:lnTo>
                    <a:pt x="962014" y="1261836"/>
                  </a:lnTo>
                  <a:lnTo>
                    <a:pt x="963436" y="1260156"/>
                  </a:lnTo>
                  <a:lnTo>
                    <a:pt x="966538" y="1257571"/>
                  </a:lnTo>
                  <a:lnTo>
                    <a:pt x="968864" y="1255116"/>
                  </a:lnTo>
                  <a:lnTo>
                    <a:pt x="975325" y="1245811"/>
                  </a:lnTo>
                  <a:lnTo>
                    <a:pt x="979073" y="1241934"/>
                  </a:lnTo>
                  <a:lnTo>
                    <a:pt x="980624" y="1239866"/>
                  </a:lnTo>
                  <a:lnTo>
                    <a:pt x="981270" y="1237411"/>
                  </a:lnTo>
                  <a:lnTo>
                    <a:pt x="981787" y="1236377"/>
                  </a:lnTo>
                  <a:lnTo>
                    <a:pt x="983855" y="1234439"/>
                  </a:lnTo>
                  <a:lnTo>
                    <a:pt x="984372" y="1233663"/>
                  </a:lnTo>
                  <a:lnTo>
                    <a:pt x="984501" y="1232759"/>
                  </a:lnTo>
                  <a:lnTo>
                    <a:pt x="984889" y="1231854"/>
                  </a:lnTo>
                  <a:lnTo>
                    <a:pt x="985793" y="1230303"/>
                  </a:lnTo>
                  <a:lnTo>
                    <a:pt x="987473" y="1228365"/>
                  </a:lnTo>
                  <a:lnTo>
                    <a:pt x="993418" y="1223841"/>
                  </a:lnTo>
                  <a:lnTo>
                    <a:pt x="995227" y="1222808"/>
                  </a:lnTo>
                  <a:lnTo>
                    <a:pt x="1001818" y="1221386"/>
                  </a:lnTo>
                  <a:lnTo>
                    <a:pt x="1003886" y="1220223"/>
                  </a:lnTo>
                  <a:lnTo>
                    <a:pt x="1006083" y="1218414"/>
                  </a:lnTo>
                  <a:lnTo>
                    <a:pt x="1007763" y="1216346"/>
                  </a:lnTo>
                  <a:lnTo>
                    <a:pt x="1008668" y="1213632"/>
                  </a:lnTo>
                  <a:lnTo>
                    <a:pt x="1009055" y="1212469"/>
                  </a:lnTo>
                  <a:lnTo>
                    <a:pt x="1014483" y="1205361"/>
                  </a:lnTo>
                  <a:lnTo>
                    <a:pt x="1015129" y="1204069"/>
                  </a:lnTo>
                  <a:lnTo>
                    <a:pt x="1015259" y="1202776"/>
                  </a:lnTo>
                  <a:lnTo>
                    <a:pt x="1014483" y="1201484"/>
                  </a:lnTo>
                  <a:lnTo>
                    <a:pt x="1017326" y="1195669"/>
                  </a:lnTo>
                  <a:lnTo>
                    <a:pt x="1018489" y="1194893"/>
                  </a:lnTo>
                  <a:lnTo>
                    <a:pt x="1022625" y="1188173"/>
                  </a:lnTo>
                  <a:lnTo>
                    <a:pt x="1025726" y="1179514"/>
                  </a:lnTo>
                  <a:lnTo>
                    <a:pt x="1027665" y="1176154"/>
                  </a:lnTo>
                  <a:lnTo>
                    <a:pt x="1030637" y="1173570"/>
                  </a:lnTo>
                  <a:lnTo>
                    <a:pt x="1033739" y="1171631"/>
                  </a:lnTo>
                  <a:lnTo>
                    <a:pt x="1035290" y="1170209"/>
                  </a:lnTo>
                  <a:lnTo>
                    <a:pt x="1035936" y="1168659"/>
                  </a:lnTo>
                  <a:lnTo>
                    <a:pt x="1036194" y="1166332"/>
                  </a:lnTo>
                  <a:lnTo>
                    <a:pt x="1043948" y="1142554"/>
                  </a:lnTo>
                  <a:lnTo>
                    <a:pt x="1044336" y="1139193"/>
                  </a:lnTo>
                  <a:lnTo>
                    <a:pt x="1044724" y="1138160"/>
                  </a:lnTo>
                  <a:lnTo>
                    <a:pt x="1045499" y="1137255"/>
                  </a:lnTo>
                  <a:lnTo>
                    <a:pt x="1046533" y="1136480"/>
                  </a:lnTo>
                  <a:lnTo>
                    <a:pt x="1047308" y="1135575"/>
                  </a:lnTo>
                  <a:lnTo>
                    <a:pt x="1047696" y="1134153"/>
                  </a:lnTo>
                  <a:lnTo>
                    <a:pt x="1047826" y="1127175"/>
                  </a:lnTo>
                  <a:lnTo>
                    <a:pt x="1048342" y="1124978"/>
                  </a:lnTo>
                  <a:lnTo>
                    <a:pt x="1049893" y="1120713"/>
                  </a:lnTo>
                  <a:lnTo>
                    <a:pt x="1050410" y="1118516"/>
                  </a:lnTo>
                  <a:lnTo>
                    <a:pt x="1050539" y="1115802"/>
                  </a:lnTo>
                  <a:lnTo>
                    <a:pt x="1050281" y="1111925"/>
                  </a:lnTo>
                  <a:lnTo>
                    <a:pt x="1050410" y="1110633"/>
                  </a:lnTo>
                  <a:lnTo>
                    <a:pt x="1050927" y="1108953"/>
                  </a:lnTo>
                  <a:lnTo>
                    <a:pt x="1051056" y="1108177"/>
                  </a:lnTo>
                  <a:lnTo>
                    <a:pt x="1050669" y="1107402"/>
                  </a:lnTo>
                  <a:lnTo>
                    <a:pt x="1049118" y="1106368"/>
                  </a:lnTo>
                  <a:lnTo>
                    <a:pt x="1044595" y="1104947"/>
                  </a:lnTo>
                  <a:lnTo>
                    <a:pt x="1035419" y="1098485"/>
                  </a:lnTo>
                  <a:lnTo>
                    <a:pt x="1031284" y="1094866"/>
                  </a:lnTo>
                  <a:lnTo>
                    <a:pt x="1028311" y="1090731"/>
                  </a:lnTo>
                  <a:lnTo>
                    <a:pt x="1026760" y="1086078"/>
                  </a:lnTo>
                  <a:lnTo>
                    <a:pt x="1026760" y="1080651"/>
                  </a:lnTo>
                  <a:lnTo>
                    <a:pt x="1027407" y="1077937"/>
                  </a:lnTo>
                  <a:lnTo>
                    <a:pt x="1028440" y="1075611"/>
                  </a:lnTo>
                  <a:lnTo>
                    <a:pt x="1045241" y="1055192"/>
                  </a:lnTo>
                  <a:lnTo>
                    <a:pt x="1048342" y="1048601"/>
                  </a:lnTo>
                  <a:lnTo>
                    <a:pt x="1048730" y="1046275"/>
                  </a:lnTo>
                  <a:lnTo>
                    <a:pt x="1048342" y="1031025"/>
                  </a:lnTo>
                  <a:lnTo>
                    <a:pt x="1044982" y="1018360"/>
                  </a:lnTo>
                  <a:lnTo>
                    <a:pt x="1045499" y="1014225"/>
                  </a:lnTo>
                  <a:lnTo>
                    <a:pt x="1047438" y="1011769"/>
                  </a:lnTo>
                  <a:lnTo>
                    <a:pt x="1063592" y="1001818"/>
                  </a:lnTo>
                  <a:lnTo>
                    <a:pt x="1065789" y="999880"/>
                  </a:lnTo>
                  <a:lnTo>
                    <a:pt x="1067598" y="998717"/>
                  </a:lnTo>
                  <a:lnTo>
                    <a:pt x="1080134" y="994710"/>
                  </a:lnTo>
                  <a:lnTo>
                    <a:pt x="1082848" y="994193"/>
                  </a:lnTo>
                  <a:lnTo>
                    <a:pt x="1085174" y="994323"/>
                  </a:lnTo>
                  <a:lnTo>
                    <a:pt x="1088146" y="992126"/>
                  </a:lnTo>
                  <a:lnTo>
                    <a:pt x="1102621" y="986052"/>
                  </a:lnTo>
                  <a:lnTo>
                    <a:pt x="1104301" y="984630"/>
                  </a:lnTo>
                  <a:lnTo>
                    <a:pt x="1105464" y="982692"/>
                  </a:lnTo>
                  <a:lnTo>
                    <a:pt x="1105851" y="980107"/>
                  </a:lnTo>
                  <a:lnTo>
                    <a:pt x="1105722" y="975455"/>
                  </a:lnTo>
                  <a:lnTo>
                    <a:pt x="1105334" y="973645"/>
                  </a:lnTo>
                  <a:lnTo>
                    <a:pt x="1104430" y="973258"/>
                  </a:lnTo>
                  <a:lnTo>
                    <a:pt x="1105205" y="971190"/>
                  </a:lnTo>
                  <a:lnTo>
                    <a:pt x="1106368" y="969122"/>
                  </a:lnTo>
                  <a:lnTo>
                    <a:pt x="1109728" y="964857"/>
                  </a:lnTo>
                  <a:lnTo>
                    <a:pt x="1110375" y="963824"/>
                  </a:lnTo>
                  <a:lnTo>
                    <a:pt x="1110762" y="962790"/>
                  </a:lnTo>
                  <a:lnTo>
                    <a:pt x="1110892" y="962014"/>
                  </a:lnTo>
                  <a:lnTo>
                    <a:pt x="1113864" y="960205"/>
                  </a:lnTo>
                  <a:lnTo>
                    <a:pt x="1119292" y="955165"/>
                  </a:lnTo>
                  <a:lnTo>
                    <a:pt x="1122135" y="953097"/>
                  </a:lnTo>
                  <a:lnTo>
                    <a:pt x="1126270" y="952192"/>
                  </a:lnTo>
                  <a:lnTo>
                    <a:pt x="1134024" y="954390"/>
                  </a:lnTo>
                  <a:lnTo>
                    <a:pt x="1135058" y="954131"/>
                  </a:lnTo>
                  <a:lnTo>
                    <a:pt x="1135317" y="951805"/>
                  </a:lnTo>
                  <a:lnTo>
                    <a:pt x="1135187" y="950642"/>
                  </a:lnTo>
                  <a:lnTo>
                    <a:pt x="1134541" y="949608"/>
                  </a:lnTo>
                  <a:lnTo>
                    <a:pt x="1132732" y="948316"/>
                  </a:lnTo>
                  <a:lnTo>
                    <a:pt x="1131956" y="947540"/>
                  </a:lnTo>
                  <a:lnTo>
                    <a:pt x="1131310" y="946377"/>
                  </a:lnTo>
                  <a:lnTo>
                    <a:pt x="1129113" y="942242"/>
                  </a:lnTo>
                  <a:lnTo>
                    <a:pt x="1128596" y="934358"/>
                  </a:lnTo>
                  <a:lnTo>
                    <a:pt x="1128984" y="932807"/>
                  </a:lnTo>
                  <a:lnTo>
                    <a:pt x="1130147" y="931515"/>
                  </a:lnTo>
                  <a:lnTo>
                    <a:pt x="1139711" y="928931"/>
                  </a:lnTo>
                  <a:lnTo>
                    <a:pt x="1143975" y="926475"/>
                  </a:lnTo>
                  <a:lnTo>
                    <a:pt x="1143975" y="921952"/>
                  </a:lnTo>
                  <a:lnTo>
                    <a:pt x="1142037" y="920013"/>
                  </a:lnTo>
                  <a:lnTo>
                    <a:pt x="1140098" y="919496"/>
                  </a:lnTo>
                  <a:lnTo>
                    <a:pt x="1138677" y="918592"/>
                  </a:lnTo>
                  <a:lnTo>
                    <a:pt x="1138030" y="915749"/>
                  </a:lnTo>
                  <a:lnTo>
                    <a:pt x="1138548" y="913552"/>
                  </a:lnTo>
                  <a:lnTo>
                    <a:pt x="1139969" y="912130"/>
                  </a:lnTo>
                  <a:lnTo>
                    <a:pt x="1141908" y="911355"/>
                  </a:lnTo>
                  <a:lnTo>
                    <a:pt x="1148369" y="910192"/>
                  </a:lnTo>
                  <a:lnTo>
                    <a:pt x="1149791" y="909158"/>
                  </a:lnTo>
                  <a:lnTo>
                    <a:pt x="1150308" y="906961"/>
                  </a:lnTo>
                  <a:lnTo>
                    <a:pt x="1149403" y="904635"/>
                  </a:lnTo>
                  <a:lnTo>
                    <a:pt x="1144751" y="899982"/>
                  </a:lnTo>
                  <a:lnTo>
                    <a:pt x="1143071" y="897785"/>
                  </a:lnTo>
                  <a:lnTo>
                    <a:pt x="1142424" y="895459"/>
                  </a:lnTo>
                  <a:lnTo>
                    <a:pt x="1142424" y="889256"/>
                  </a:lnTo>
                  <a:lnTo>
                    <a:pt x="1143329" y="886930"/>
                  </a:lnTo>
                  <a:lnTo>
                    <a:pt x="1145526" y="886025"/>
                  </a:lnTo>
                  <a:lnTo>
                    <a:pt x="1149662" y="886025"/>
                  </a:lnTo>
                  <a:lnTo>
                    <a:pt x="1152505" y="885250"/>
                  </a:lnTo>
                  <a:lnTo>
                    <a:pt x="1154314" y="884086"/>
                  </a:lnTo>
                  <a:lnTo>
                    <a:pt x="1157416" y="880597"/>
                  </a:lnTo>
                  <a:lnTo>
                    <a:pt x="1158966" y="878271"/>
                  </a:lnTo>
                  <a:lnTo>
                    <a:pt x="1159096" y="876203"/>
                  </a:lnTo>
                  <a:lnTo>
                    <a:pt x="1158320" y="874394"/>
                  </a:lnTo>
                  <a:lnTo>
                    <a:pt x="1157028" y="872843"/>
                  </a:lnTo>
                  <a:lnTo>
                    <a:pt x="1154443" y="870775"/>
                  </a:lnTo>
                  <a:lnTo>
                    <a:pt x="1153151" y="869612"/>
                  </a:lnTo>
                  <a:lnTo>
                    <a:pt x="1152634" y="868062"/>
                  </a:lnTo>
                  <a:lnTo>
                    <a:pt x="1151859" y="866769"/>
                  </a:lnTo>
                  <a:lnTo>
                    <a:pt x="1149920" y="866381"/>
                  </a:lnTo>
                  <a:lnTo>
                    <a:pt x="1147464" y="866381"/>
                  </a:lnTo>
                  <a:lnTo>
                    <a:pt x="1145268" y="866252"/>
                  </a:lnTo>
                  <a:lnTo>
                    <a:pt x="1142424" y="864443"/>
                  </a:lnTo>
                  <a:lnTo>
                    <a:pt x="1140098" y="861341"/>
                  </a:lnTo>
                  <a:lnTo>
                    <a:pt x="1135058" y="852166"/>
                  </a:lnTo>
                  <a:lnTo>
                    <a:pt x="1134024" y="851132"/>
                  </a:lnTo>
                  <a:lnTo>
                    <a:pt x="1131827" y="850744"/>
                  </a:lnTo>
                  <a:lnTo>
                    <a:pt x="1117612" y="852037"/>
                  </a:lnTo>
                  <a:lnTo>
                    <a:pt x="1114898" y="853070"/>
                  </a:lnTo>
                  <a:lnTo>
                    <a:pt x="1113089" y="852553"/>
                  </a:lnTo>
                  <a:lnTo>
                    <a:pt x="1111279" y="851778"/>
                  </a:lnTo>
                  <a:lnTo>
                    <a:pt x="1106368" y="850486"/>
                  </a:lnTo>
                  <a:lnTo>
                    <a:pt x="1100682" y="847126"/>
                  </a:lnTo>
                  <a:lnTo>
                    <a:pt x="1096805" y="846867"/>
                  </a:lnTo>
                  <a:lnTo>
                    <a:pt x="1094608" y="846609"/>
                  </a:lnTo>
                  <a:lnTo>
                    <a:pt x="1094867" y="846221"/>
                  </a:lnTo>
                  <a:lnTo>
                    <a:pt x="1095771" y="845187"/>
                  </a:lnTo>
                  <a:lnTo>
                    <a:pt x="1147077" y="803962"/>
                  </a:lnTo>
                  <a:lnTo>
                    <a:pt x="1195539" y="765838"/>
                  </a:lnTo>
                  <a:lnTo>
                    <a:pt x="1197090" y="766355"/>
                  </a:lnTo>
                  <a:lnTo>
                    <a:pt x="1197607" y="766355"/>
                  </a:lnTo>
                  <a:lnTo>
                    <a:pt x="1198124" y="766355"/>
                  </a:lnTo>
                  <a:lnTo>
                    <a:pt x="1199675" y="765967"/>
                  </a:lnTo>
                  <a:lnTo>
                    <a:pt x="1201097" y="765321"/>
                  </a:lnTo>
                  <a:lnTo>
                    <a:pt x="1202001" y="765192"/>
                  </a:lnTo>
                  <a:lnTo>
                    <a:pt x="1202647" y="765192"/>
                  </a:lnTo>
                  <a:lnTo>
                    <a:pt x="1203035" y="765450"/>
                  </a:lnTo>
                  <a:lnTo>
                    <a:pt x="1203293" y="765838"/>
                  </a:lnTo>
                  <a:lnTo>
                    <a:pt x="1203681" y="766225"/>
                  </a:lnTo>
                  <a:lnTo>
                    <a:pt x="1204198" y="766484"/>
                  </a:lnTo>
                  <a:lnTo>
                    <a:pt x="1205749" y="767130"/>
                  </a:lnTo>
                  <a:lnTo>
                    <a:pt x="1206266" y="767259"/>
                  </a:lnTo>
                  <a:lnTo>
                    <a:pt x="1209238" y="767130"/>
                  </a:lnTo>
                  <a:lnTo>
                    <a:pt x="1210401" y="767001"/>
                  </a:lnTo>
                  <a:lnTo>
                    <a:pt x="1211048" y="766742"/>
                  </a:lnTo>
                  <a:lnTo>
                    <a:pt x="1218931" y="760539"/>
                  </a:lnTo>
                  <a:lnTo>
                    <a:pt x="1221257" y="757696"/>
                  </a:lnTo>
                  <a:lnTo>
                    <a:pt x="1221515" y="757308"/>
                  </a:lnTo>
                  <a:lnTo>
                    <a:pt x="1222291" y="755628"/>
                  </a:lnTo>
                  <a:lnTo>
                    <a:pt x="1222420" y="755370"/>
                  </a:lnTo>
                  <a:lnTo>
                    <a:pt x="1222549" y="754982"/>
                  </a:lnTo>
                  <a:lnTo>
                    <a:pt x="1222808" y="754595"/>
                  </a:lnTo>
                  <a:lnTo>
                    <a:pt x="1224488" y="752785"/>
                  </a:lnTo>
                  <a:lnTo>
                    <a:pt x="1224746" y="752397"/>
                  </a:lnTo>
                  <a:lnTo>
                    <a:pt x="1225522" y="750847"/>
                  </a:lnTo>
                  <a:lnTo>
                    <a:pt x="1226038" y="750071"/>
                  </a:lnTo>
                  <a:lnTo>
                    <a:pt x="1228623" y="747357"/>
                  </a:lnTo>
                  <a:lnTo>
                    <a:pt x="1228882" y="746970"/>
                  </a:lnTo>
                  <a:lnTo>
                    <a:pt x="1229140" y="746453"/>
                  </a:lnTo>
                  <a:lnTo>
                    <a:pt x="1229657" y="744773"/>
                  </a:lnTo>
                  <a:lnTo>
                    <a:pt x="1231337" y="742059"/>
                  </a:lnTo>
                  <a:lnTo>
                    <a:pt x="1231596" y="741542"/>
                  </a:lnTo>
                  <a:lnTo>
                    <a:pt x="1231725" y="740896"/>
                  </a:lnTo>
                  <a:lnTo>
                    <a:pt x="1231854" y="739603"/>
                  </a:lnTo>
                  <a:lnTo>
                    <a:pt x="1232112" y="738440"/>
                  </a:lnTo>
                  <a:lnTo>
                    <a:pt x="1232500" y="737794"/>
                  </a:lnTo>
                  <a:lnTo>
                    <a:pt x="1234956" y="735080"/>
                  </a:lnTo>
                  <a:lnTo>
                    <a:pt x="1236636" y="733659"/>
                  </a:lnTo>
                  <a:lnTo>
                    <a:pt x="1240125" y="731591"/>
                  </a:lnTo>
                  <a:lnTo>
                    <a:pt x="1241030" y="730686"/>
                  </a:lnTo>
                  <a:lnTo>
                    <a:pt x="1241805" y="729394"/>
                  </a:lnTo>
                  <a:lnTo>
                    <a:pt x="1241805" y="728619"/>
                  </a:lnTo>
                  <a:lnTo>
                    <a:pt x="1241547" y="727843"/>
                  </a:lnTo>
                  <a:lnTo>
                    <a:pt x="1241676" y="726422"/>
                  </a:lnTo>
                  <a:lnTo>
                    <a:pt x="1242839" y="723966"/>
                  </a:lnTo>
                  <a:lnTo>
                    <a:pt x="1244390" y="722028"/>
                  </a:lnTo>
                  <a:lnTo>
                    <a:pt x="1245036" y="720089"/>
                  </a:lnTo>
                  <a:lnTo>
                    <a:pt x="1243873" y="717763"/>
                  </a:lnTo>
                  <a:lnTo>
                    <a:pt x="1245294" y="717763"/>
                  </a:lnTo>
                  <a:lnTo>
                    <a:pt x="1245165" y="716083"/>
                  </a:lnTo>
                  <a:lnTo>
                    <a:pt x="1245553" y="713627"/>
                  </a:lnTo>
                  <a:lnTo>
                    <a:pt x="1246328" y="711172"/>
                  </a:lnTo>
                  <a:lnTo>
                    <a:pt x="1247491" y="709492"/>
                  </a:lnTo>
                  <a:lnTo>
                    <a:pt x="1248008" y="710009"/>
                  </a:lnTo>
                  <a:lnTo>
                    <a:pt x="1249688" y="711043"/>
                  </a:lnTo>
                  <a:lnTo>
                    <a:pt x="1249947" y="709492"/>
                  </a:lnTo>
                  <a:lnTo>
                    <a:pt x="1250593" y="708200"/>
                  </a:lnTo>
                  <a:lnTo>
                    <a:pt x="1251498" y="707553"/>
                  </a:lnTo>
                  <a:lnTo>
                    <a:pt x="1252661" y="708070"/>
                  </a:lnTo>
                  <a:lnTo>
                    <a:pt x="1259252" y="702255"/>
                  </a:lnTo>
                  <a:lnTo>
                    <a:pt x="1261319" y="698895"/>
                  </a:lnTo>
                  <a:lnTo>
                    <a:pt x="1263904" y="696052"/>
                  </a:lnTo>
                  <a:lnTo>
                    <a:pt x="1265455" y="694759"/>
                  </a:lnTo>
                  <a:lnTo>
                    <a:pt x="1268556" y="693079"/>
                  </a:lnTo>
                  <a:lnTo>
                    <a:pt x="1270107" y="691916"/>
                  </a:lnTo>
                  <a:lnTo>
                    <a:pt x="1272304" y="689073"/>
                  </a:lnTo>
                  <a:lnTo>
                    <a:pt x="1273726" y="685325"/>
                  </a:lnTo>
                  <a:lnTo>
                    <a:pt x="1274889" y="675762"/>
                  </a:lnTo>
                  <a:lnTo>
                    <a:pt x="1275793" y="672531"/>
                  </a:lnTo>
                  <a:lnTo>
                    <a:pt x="1276052" y="670722"/>
                  </a:lnTo>
                  <a:lnTo>
                    <a:pt x="1275923" y="669817"/>
                  </a:lnTo>
                  <a:lnTo>
                    <a:pt x="1275406" y="668137"/>
                  </a:lnTo>
                  <a:lnTo>
                    <a:pt x="1275276" y="667362"/>
                  </a:lnTo>
                  <a:lnTo>
                    <a:pt x="1275535" y="666586"/>
                  </a:lnTo>
                  <a:lnTo>
                    <a:pt x="1276569" y="665423"/>
                  </a:lnTo>
                  <a:lnTo>
                    <a:pt x="1276827" y="664519"/>
                  </a:lnTo>
                  <a:lnTo>
                    <a:pt x="1276698" y="662063"/>
                  </a:lnTo>
                  <a:lnTo>
                    <a:pt x="1276827" y="661288"/>
                  </a:lnTo>
                  <a:lnTo>
                    <a:pt x="1276957" y="661417"/>
                  </a:lnTo>
                  <a:lnTo>
                    <a:pt x="1277344" y="661029"/>
                  </a:lnTo>
                  <a:lnTo>
                    <a:pt x="1277861" y="660254"/>
                  </a:lnTo>
                  <a:lnTo>
                    <a:pt x="1278249" y="659608"/>
                  </a:lnTo>
                  <a:lnTo>
                    <a:pt x="1277990" y="659220"/>
                  </a:lnTo>
                  <a:lnTo>
                    <a:pt x="1277603" y="658832"/>
                  </a:lnTo>
                  <a:lnTo>
                    <a:pt x="1277474" y="658445"/>
                  </a:lnTo>
                  <a:lnTo>
                    <a:pt x="1277603" y="657282"/>
                  </a:lnTo>
                  <a:lnTo>
                    <a:pt x="1277474" y="656765"/>
                  </a:lnTo>
                  <a:lnTo>
                    <a:pt x="1277474" y="656377"/>
                  </a:lnTo>
                  <a:lnTo>
                    <a:pt x="1278249" y="655343"/>
                  </a:lnTo>
                  <a:lnTo>
                    <a:pt x="1278766" y="655085"/>
                  </a:lnTo>
                  <a:lnTo>
                    <a:pt x="1280575" y="654826"/>
                  </a:lnTo>
                  <a:lnTo>
                    <a:pt x="1281092" y="654697"/>
                  </a:lnTo>
                  <a:lnTo>
                    <a:pt x="1280963" y="653405"/>
                  </a:lnTo>
                  <a:lnTo>
                    <a:pt x="1281867" y="652758"/>
                  </a:lnTo>
                  <a:lnTo>
                    <a:pt x="1283160" y="652371"/>
                  </a:lnTo>
                  <a:lnTo>
                    <a:pt x="1284064" y="651854"/>
                  </a:lnTo>
                  <a:lnTo>
                    <a:pt x="1284323" y="650562"/>
                  </a:lnTo>
                  <a:lnTo>
                    <a:pt x="1284064" y="649398"/>
                  </a:lnTo>
                  <a:lnTo>
                    <a:pt x="1284194" y="648494"/>
                  </a:lnTo>
                  <a:lnTo>
                    <a:pt x="1285486" y="648106"/>
                  </a:lnTo>
                  <a:lnTo>
                    <a:pt x="1285227" y="647072"/>
                  </a:lnTo>
                  <a:lnTo>
                    <a:pt x="1285615" y="645780"/>
                  </a:lnTo>
                  <a:lnTo>
                    <a:pt x="1287037" y="643066"/>
                  </a:lnTo>
                  <a:lnTo>
                    <a:pt x="1286520" y="642291"/>
                  </a:lnTo>
                  <a:lnTo>
                    <a:pt x="1286261" y="641257"/>
                  </a:lnTo>
                  <a:lnTo>
                    <a:pt x="1286261" y="639060"/>
                  </a:lnTo>
                  <a:lnTo>
                    <a:pt x="1286649" y="638155"/>
                  </a:lnTo>
                  <a:lnTo>
                    <a:pt x="1288200" y="636992"/>
                  </a:lnTo>
                  <a:lnTo>
                    <a:pt x="1288588" y="636217"/>
                  </a:lnTo>
                  <a:lnTo>
                    <a:pt x="1289105" y="636346"/>
                  </a:lnTo>
                  <a:lnTo>
                    <a:pt x="1290268" y="635312"/>
                  </a:lnTo>
                  <a:lnTo>
                    <a:pt x="1291948" y="633373"/>
                  </a:lnTo>
                  <a:lnTo>
                    <a:pt x="1293886" y="631952"/>
                  </a:lnTo>
                  <a:lnTo>
                    <a:pt x="1295049" y="631306"/>
                  </a:lnTo>
                  <a:lnTo>
                    <a:pt x="1295695" y="631176"/>
                  </a:lnTo>
                  <a:lnTo>
                    <a:pt x="1296471" y="631435"/>
                  </a:lnTo>
                  <a:lnTo>
                    <a:pt x="1297634" y="631435"/>
                  </a:lnTo>
                  <a:lnTo>
                    <a:pt x="1298926" y="631176"/>
                  </a:lnTo>
                  <a:lnTo>
                    <a:pt x="1299702" y="630918"/>
                  </a:lnTo>
                  <a:lnTo>
                    <a:pt x="1300348" y="630013"/>
                  </a:lnTo>
                  <a:lnTo>
                    <a:pt x="1300735" y="627687"/>
                  </a:lnTo>
                  <a:lnTo>
                    <a:pt x="1301123" y="626395"/>
                  </a:lnTo>
                  <a:lnTo>
                    <a:pt x="1301899" y="625490"/>
                  </a:lnTo>
                  <a:lnTo>
                    <a:pt x="1303837" y="624327"/>
                  </a:lnTo>
                  <a:lnTo>
                    <a:pt x="1304871" y="623552"/>
                  </a:lnTo>
                  <a:lnTo>
                    <a:pt x="1305000" y="623035"/>
                  </a:lnTo>
                  <a:lnTo>
                    <a:pt x="1304871" y="622259"/>
                  </a:lnTo>
                  <a:lnTo>
                    <a:pt x="1304871" y="621613"/>
                  </a:lnTo>
                  <a:lnTo>
                    <a:pt x="1305259" y="621355"/>
                  </a:lnTo>
                  <a:lnTo>
                    <a:pt x="1306163" y="621226"/>
                  </a:lnTo>
                  <a:lnTo>
                    <a:pt x="1306551" y="620967"/>
                  </a:lnTo>
                  <a:lnTo>
                    <a:pt x="1306809" y="620450"/>
                  </a:lnTo>
                  <a:lnTo>
                    <a:pt x="1307197" y="619933"/>
                  </a:lnTo>
                  <a:lnTo>
                    <a:pt x="1306034" y="619675"/>
                  </a:lnTo>
                  <a:lnTo>
                    <a:pt x="1306163" y="619158"/>
                  </a:lnTo>
                  <a:lnTo>
                    <a:pt x="1306293" y="618253"/>
                  </a:lnTo>
                  <a:lnTo>
                    <a:pt x="1306809" y="617219"/>
                  </a:lnTo>
                  <a:lnTo>
                    <a:pt x="1309006" y="616832"/>
                  </a:lnTo>
                  <a:lnTo>
                    <a:pt x="1311074" y="615022"/>
                  </a:lnTo>
                  <a:lnTo>
                    <a:pt x="1311720" y="613213"/>
                  </a:lnTo>
                  <a:lnTo>
                    <a:pt x="1309782" y="612955"/>
                  </a:lnTo>
                  <a:lnTo>
                    <a:pt x="1309782" y="612179"/>
                  </a:lnTo>
                  <a:lnTo>
                    <a:pt x="1311333" y="611404"/>
                  </a:lnTo>
                  <a:lnTo>
                    <a:pt x="1310557" y="611404"/>
                  </a:lnTo>
                  <a:lnTo>
                    <a:pt x="1311462" y="610887"/>
                  </a:lnTo>
                  <a:lnTo>
                    <a:pt x="1312237" y="610887"/>
                  </a:lnTo>
                  <a:lnTo>
                    <a:pt x="1312883" y="611275"/>
                  </a:lnTo>
                  <a:lnTo>
                    <a:pt x="1313400" y="612179"/>
                  </a:lnTo>
                  <a:lnTo>
                    <a:pt x="1314176" y="610370"/>
                  </a:lnTo>
                  <a:lnTo>
                    <a:pt x="1317019" y="606234"/>
                  </a:lnTo>
                  <a:lnTo>
                    <a:pt x="1318182" y="598739"/>
                  </a:lnTo>
                  <a:lnTo>
                    <a:pt x="1318828" y="597447"/>
                  </a:lnTo>
                  <a:lnTo>
                    <a:pt x="1319604" y="597188"/>
                  </a:lnTo>
                  <a:lnTo>
                    <a:pt x="1319991" y="596671"/>
                  </a:lnTo>
                  <a:lnTo>
                    <a:pt x="1320250" y="595767"/>
                  </a:lnTo>
                  <a:lnTo>
                    <a:pt x="1320250" y="594733"/>
                  </a:lnTo>
                  <a:lnTo>
                    <a:pt x="1318828" y="586849"/>
                  </a:lnTo>
                  <a:lnTo>
                    <a:pt x="1319216" y="584652"/>
                  </a:lnTo>
                  <a:lnTo>
                    <a:pt x="1322059" y="585816"/>
                  </a:lnTo>
                  <a:lnTo>
                    <a:pt x="1321542" y="584265"/>
                  </a:lnTo>
                  <a:lnTo>
                    <a:pt x="1321671" y="583360"/>
                  </a:lnTo>
                  <a:lnTo>
                    <a:pt x="1322188" y="582714"/>
                  </a:lnTo>
                  <a:lnTo>
                    <a:pt x="1323093" y="581809"/>
                  </a:lnTo>
                  <a:lnTo>
                    <a:pt x="1323868" y="581292"/>
                  </a:lnTo>
                  <a:lnTo>
                    <a:pt x="1325290" y="580646"/>
                  </a:lnTo>
                  <a:lnTo>
                    <a:pt x="1326582" y="580258"/>
                  </a:lnTo>
                  <a:lnTo>
                    <a:pt x="1327099" y="580517"/>
                  </a:lnTo>
                  <a:lnTo>
                    <a:pt x="1326712" y="579612"/>
                  </a:lnTo>
                  <a:lnTo>
                    <a:pt x="1325936" y="579354"/>
                  </a:lnTo>
                  <a:lnTo>
                    <a:pt x="1324902" y="579225"/>
                  </a:lnTo>
                  <a:lnTo>
                    <a:pt x="1324127" y="578708"/>
                  </a:lnTo>
                  <a:lnTo>
                    <a:pt x="1323868" y="577415"/>
                  </a:lnTo>
                  <a:lnTo>
                    <a:pt x="1323868" y="575994"/>
                  </a:lnTo>
                  <a:lnTo>
                    <a:pt x="1323481" y="575089"/>
                  </a:lnTo>
                  <a:lnTo>
                    <a:pt x="1321930" y="575735"/>
                  </a:lnTo>
                  <a:lnTo>
                    <a:pt x="1316760" y="568498"/>
                  </a:lnTo>
                  <a:lnTo>
                    <a:pt x="1317536" y="566043"/>
                  </a:lnTo>
                  <a:lnTo>
                    <a:pt x="1321671" y="562295"/>
                  </a:lnTo>
                  <a:lnTo>
                    <a:pt x="1322576" y="559581"/>
                  </a:lnTo>
                  <a:lnTo>
                    <a:pt x="1323610" y="560486"/>
                  </a:lnTo>
                  <a:lnTo>
                    <a:pt x="1324256" y="560486"/>
                  </a:lnTo>
                  <a:lnTo>
                    <a:pt x="1324773" y="559969"/>
                  </a:lnTo>
                  <a:lnTo>
                    <a:pt x="1327616" y="558160"/>
                  </a:lnTo>
                  <a:lnTo>
                    <a:pt x="1328133" y="558030"/>
                  </a:lnTo>
                  <a:lnTo>
                    <a:pt x="1329296" y="558160"/>
                  </a:lnTo>
                  <a:lnTo>
                    <a:pt x="1329813" y="558030"/>
                  </a:lnTo>
                  <a:lnTo>
                    <a:pt x="1331881" y="556867"/>
                  </a:lnTo>
                  <a:lnTo>
                    <a:pt x="1332656" y="556221"/>
                  </a:lnTo>
                  <a:lnTo>
                    <a:pt x="1333561" y="555187"/>
                  </a:lnTo>
                  <a:lnTo>
                    <a:pt x="1335241" y="551310"/>
                  </a:lnTo>
                  <a:lnTo>
                    <a:pt x="1335370" y="550664"/>
                  </a:lnTo>
                  <a:lnTo>
                    <a:pt x="1334982" y="550276"/>
                  </a:lnTo>
                  <a:lnTo>
                    <a:pt x="1335112" y="549242"/>
                  </a:lnTo>
                  <a:lnTo>
                    <a:pt x="1335629" y="548209"/>
                  </a:lnTo>
                  <a:lnTo>
                    <a:pt x="1336146" y="547821"/>
                  </a:lnTo>
                  <a:lnTo>
                    <a:pt x="1338601" y="547692"/>
                  </a:lnTo>
                  <a:lnTo>
                    <a:pt x="1339893" y="547433"/>
                  </a:lnTo>
                  <a:lnTo>
                    <a:pt x="1340927" y="547045"/>
                  </a:lnTo>
                  <a:lnTo>
                    <a:pt x="1341961" y="545753"/>
                  </a:lnTo>
                  <a:lnTo>
                    <a:pt x="1342349" y="543944"/>
                  </a:lnTo>
                  <a:lnTo>
                    <a:pt x="1342349" y="540067"/>
                  </a:lnTo>
                  <a:lnTo>
                    <a:pt x="1341573" y="535673"/>
                  </a:lnTo>
                  <a:lnTo>
                    <a:pt x="1341573" y="533347"/>
                  </a:lnTo>
                  <a:lnTo>
                    <a:pt x="1342607" y="532313"/>
                  </a:lnTo>
                  <a:lnTo>
                    <a:pt x="1343124" y="532054"/>
                  </a:lnTo>
                  <a:lnTo>
                    <a:pt x="1343770" y="531408"/>
                  </a:lnTo>
                  <a:lnTo>
                    <a:pt x="1344287" y="530504"/>
                  </a:lnTo>
                  <a:lnTo>
                    <a:pt x="1344546" y="529728"/>
                  </a:lnTo>
                  <a:lnTo>
                    <a:pt x="1344287" y="528048"/>
                  </a:lnTo>
                  <a:lnTo>
                    <a:pt x="1343641" y="528177"/>
                  </a:lnTo>
                  <a:lnTo>
                    <a:pt x="1342736" y="528953"/>
                  </a:lnTo>
                  <a:lnTo>
                    <a:pt x="1341703" y="529470"/>
                  </a:lnTo>
                  <a:lnTo>
                    <a:pt x="1340539" y="529599"/>
                  </a:lnTo>
                  <a:lnTo>
                    <a:pt x="1339764" y="529728"/>
                  </a:lnTo>
                  <a:lnTo>
                    <a:pt x="1339635" y="529340"/>
                  </a:lnTo>
                  <a:lnTo>
                    <a:pt x="1340152" y="527919"/>
                  </a:lnTo>
                  <a:lnTo>
                    <a:pt x="1343641" y="524171"/>
                  </a:lnTo>
                  <a:lnTo>
                    <a:pt x="1343253" y="522491"/>
                  </a:lnTo>
                  <a:lnTo>
                    <a:pt x="1344029" y="520165"/>
                  </a:lnTo>
                  <a:lnTo>
                    <a:pt x="1344287" y="517709"/>
                  </a:lnTo>
                  <a:lnTo>
                    <a:pt x="1342349" y="516288"/>
                  </a:lnTo>
                  <a:lnTo>
                    <a:pt x="1342349" y="515771"/>
                  </a:lnTo>
                  <a:lnTo>
                    <a:pt x="1344029" y="515125"/>
                  </a:lnTo>
                  <a:lnTo>
                    <a:pt x="1345063" y="515512"/>
                  </a:lnTo>
                  <a:lnTo>
                    <a:pt x="1346097" y="516159"/>
                  </a:lnTo>
                  <a:lnTo>
                    <a:pt x="1347647" y="516546"/>
                  </a:lnTo>
                  <a:lnTo>
                    <a:pt x="1348552" y="516159"/>
                  </a:lnTo>
                  <a:lnTo>
                    <a:pt x="1350103" y="514220"/>
                  </a:lnTo>
                  <a:lnTo>
                    <a:pt x="1351007" y="513445"/>
                  </a:lnTo>
                  <a:lnTo>
                    <a:pt x="1350232" y="513445"/>
                  </a:lnTo>
                  <a:lnTo>
                    <a:pt x="1353075" y="511506"/>
                  </a:lnTo>
                  <a:lnTo>
                    <a:pt x="1355789" y="508405"/>
                  </a:lnTo>
                  <a:lnTo>
                    <a:pt x="1357857" y="504528"/>
                  </a:lnTo>
                  <a:lnTo>
                    <a:pt x="1360183" y="495481"/>
                  </a:lnTo>
                  <a:lnTo>
                    <a:pt x="1363801" y="486693"/>
                  </a:lnTo>
                  <a:lnTo>
                    <a:pt x="1364835" y="482041"/>
                  </a:lnTo>
                  <a:lnTo>
                    <a:pt x="1364835" y="477647"/>
                  </a:lnTo>
                  <a:lnTo>
                    <a:pt x="1364706" y="477130"/>
                  </a:lnTo>
                  <a:lnTo>
                    <a:pt x="1364189" y="476096"/>
                  </a:lnTo>
                  <a:lnTo>
                    <a:pt x="1364060" y="475450"/>
                  </a:lnTo>
                  <a:lnTo>
                    <a:pt x="1364319" y="474675"/>
                  </a:lnTo>
                  <a:lnTo>
                    <a:pt x="1365352" y="473512"/>
                  </a:lnTo>
                  <a:lnTo>
                    <a:pt x="1365611" y="472865"/>
                  </a:lnTo>
                  <a:lnTo>
                    <a:pt x="1365482" y="470668"/>
                  </a:lnTo>
                  <a:lnTo>
                    <a:pt x="1364835" y="468988"/>
                  </a:lnTo>
                  <a:lnTo>
                    <a:pt x="1363414" y="467955"/>
                  </a:lnTo>
                  <a:lnTo>
                    <a:pt x="1361217" y="467567"/>
                  </a:lnTo>
                  <a:lnTo>
                    <a:pt x="1357081" y="468730"/>
                  </a:lnTo>
                  <a:lnTo>
                    <a:pt x="1355272" y="468601"/>
                  </a:lnTo>
                  <a:lnTo>
                    <a:pt x="1354497" y="466404"/>
                  </a:lnTo>
                  <a:lnTo>
                    <a:pt x="1353721" y="462010"/>
                  </a:lnTo>
                  <a:lnTo>
                    <a:pt x="1354109" y="460976"/>
                  </a:lnTo>
                  <a:lnTo>
                    <a:pt x="1355014" y="460717"/>
                  </a:lnTo>
                  <a:lnTo>
                    <a:pt x="1357469" y="460847"/>
                  </a:lnTo>
                  <a:lnTo>
                    <a:pt x="1361863" y="460201"/>
                  </a:lnTo>
                  <a:lnTo>
                    <a:pt x="1363414" y="459296"/>
                  </a:lnTo>
                  <a:lnTo>
                    <a:pt x="1364060" y="457616"/>
                  </a:lnTo>
                  <a:lnTo>
                    <a:pt x="1364448" y="456711"/>
                  </a:lnTo>
                  <a:lnTo>
                    <a:pt x="1365869" y="456065"/>
                  </a:lnTo>
                  <a:lnTo>
                    <a:pt x="1366257" y="455419"/>
                  </a:lnTo>
                  <a:lnTo>
                    <a:pt x="1366257" y="450637"/>
                  </a:lnTo>
                  <a:lnTo>
                    <a:pt x="1365998" y="449216"/>
                  </a:lnTo>
                  <a:lnTo>
                    <a:pt x="1365998" y="448182"/>
                  </a:lnTo>
                  <a:lnTo>
                    <a:pt x="1366257" y="447019"/>
                  </a:lnTo>
                  <a:lnTo>
                    <a:pt x="1366903" y="446114"/>
                  </a:lnTo>
                  <a:lnTo>
                    <a:pt x="1367937" y="445080"/>
                  </a:lnTo>
                  <a:lnTo>
                    <a:pt x="1368583" y="444046"/>
                  </a:lnTo>
                  <a:lnTo>
                    <a:pt x="1367420" y="441332"/>
                  </a:lnTo>
                  <a:lnTo>
                    <a:pt x="1366128" y="434612"/>
                  </a:lnTo>
                  <a:lnTo>
                    <a:pt x="1366903" y="432932"/>
                  </a:lnTo>
                  <a:lnTo>
                    <a:pt x="1369359" y="429443"/>
                  </a:lnTo>
                  <a:lnTo>
                    <a:pt x="1369875" y="427117"/>
                  </a:lnTo>
                  <a:lnTo>
                    <a:pt x="1370651" y="424920"/>
                  </a:lnTo>
                  <a:lnTo>
                    <a:pt x="1373882" y="422335"/>
                  </a:lnTo>
                  <a:lnTo>
                    <a:pt x="1374269" y="420138"/>
                  </a:lnTo>
                  <a:lnTo>
                    <a:pt x="1373494" y="418975"/>
                  </a:lnTo>
                  <a:lnTo>
                    <a:pt x="1370522" y="416907"/>
                  </a:lnTo>
                  <a:lnTo>
                    <a:pt x="1369875" y="415486"/>
                  </a:lnTo>
                  <a:lnTo>
                    <a:pt x="1370263" y="414323"/>
                  </a:lnTo>
                  <a:lnTo>
                    <a:pt x="1371039" y="413547"/>
                  </a:lnTo>
                  <a:lnTo>
                    <a:pt x="1371814" y="413030"/>
                  </a:lnTo>
                  <a:lnTo>
                    <a:pt x="1372202" y="412513"/>
                  </a:lnTo>
                  <a:lnTo>
                    <a:pt x="1372202" y="411092"/>
                  </a:lnTo>
                  <a:lnTo>
                    <a:pt x="1372331" y="409929"/>
                  </a:lnTo>
                  <a:lnTo>
                    <a:pt x="1372719" y="408895"/>
                  </a:lnTo>
                  <a:lnTo>
                    <a:pt x="1373623" y="407732"/>
                  </a:lnTo>
                  <a:lnTo>
                    <a:pt x="1374528" y="407215"/>
                  </a:lnTo>
                  <a:lnTo>
                    <a:pt x="1378793" y="405664"/>
                  </a:lnTo>
                  <a:lnTo>
                    <a:pt x="1377630" y="404242"/>
                  </a:lnTo>
                  <a:lnTo>
                    <a:pt x="1377759" y="402304"/>
                  </a:lnTo>
                  <a:lnTo>
                    <a:pt x="1379439" y="400495"/>
                  </a:lnTo>
                  <a:close/>
                  <a:moveTo>
                    <a:pt x="813137" y="325927"/>
                  </a:moveTo>
                  <a:lnTo>
                    <a:pt x="816756" y="323084"/>
                  </a:lnTo>
                  <a:lnTo>
                    <a:pt x="823605" y="319594"/>
                  </a:lnTo>
                  <a:lnTo>
                    <a:pt x="831876" y="313520"/>
                  </a:lnTo>
                  <a:lnTo>
                    <a:pt x="835624" y="309514"/>
                  </a:lnTo>
                  <a:lnTo>
                    <a:pt x="837563" y="305120"/>
                  </a:lnTo>
                  <a:lnTo>
                    <a:pt x="837563" y="301631"/>
                  </a:lnTo>
                  <a:lnTo>
                    <a:pt x="838080" y="299563"/>
                  </a:lnTo>
                  <a:lnTo>
                    <a:pt x="839372" y="298659"/>
                  </a:lnTo>
                  <a:lnTo>
                    <a:pt x="838984" y="297883"/>
                  </a:lnTo>
                  <a:lnTo>
                    <a:pt x="838855" y="296074"/>
                  </a:lnTo>
                  <a:lnTo>
                    <a:pt x="839113" y="294135"/>
                  </a:lnTo>
                  <a:lnTo>
                    <a:pt x="839759" y="292714"/>
                  </a:lnTo>
                  <a:lnTo>
                    <a:pt x="840147" y="292585"/>
                  </a:lnTo>
                  <a:lnTo>
                    <a:pt x="840406" y="292585"/>
                  </a:lnTo>
                  <a:lnTo>
                    <a:pt x="840535" y="292455"/>
                  </a:lnTo>
                  <a:lnTo>
                    <a:pt x="840535" y="291939"/>
                  </a:lnTo>
                  <a:lnTo>
                    <a:pt x="835753" y="291939"/>
                  </a:lnTo>
                  <a:lnTo>
                    <a:pt x="835624" y="292326"/>
                  </a:lnTo>
                  <a:lnTo>
                    <a:pt x="833815" y="294265"/>
                  </a:lnTo>
                  <a:lnTo>
                    <a:pt x="833169" y="294782"/>
                  </a:lnTo>
                  <a:lnTo>
                    <a:pt x="832264" y="295040"/>
                  </a:lnTo>
                  <a:lnTo>
                    <a:pt x="829162" y="295428"/>
                  </a:lnTo>
                  <a:lnTo>
                    <a:pt x="828516" y="296074"/>
                  </a:lnTo>
                  <a:lnTo>
                    <a:pt x="827353" y="298142"/>
                  </a:lnTo>
                  <a:lnTo>
                    <a:pt x="825156" y="300339"/>
                  </a:lnTo>
                  <a:lnTo>
                    <a:pt x="818048" y="315976"/>
                  </a:lnTo>
                  <a:lnTo>
                    <a:pt x="817402" y="316881"/>
                  </a:lnTo>
                  <a:lnTo>
                    <a:pt x="815851" y="317914"/>
                  </a:lnTo>
                  <a:lnTo>
                    <a:pt x="815464" y="318431"/>
                  </a:lnTo>
                  <a:lnTo>
                    <a:pt x="814817" y="320111"/>
                  </a:lnTo>
                  <a:lnTo>
                    <a:pt x="813267" y="321145"/>
                  </a:lnTo>
                  <a:lnTo>
                    <a:pt x="811587" y="321921"/>
                  </a:lnTo>
                  <a:lnTo>
                    <a:pt x="810424" y="323084"/>
                  </a:lnTo>
                  <a:lnTo>
                    <a:pt x="810036" y="325668"/>
                  </a:lnTo>
                  <a:lnTo>
                    <a:pt x="811199" y="326444"/>
                  </a:lnTo>
                  <a:lnTo>
                    <a:pt x="813137" y="325927"/>
                  </a:lnTo>
                  <a:close/>
                  <a:moveTo>
                    <a:pt x="849323" y="298271"/>
                  </a:moveTo>
                  <a:lnTo>
                    <a:pt x="849452" y="302019"/>
                  </a:lnTo>
                  <a:lnTo>
                    <a:pt x="852166" y="306025"/>
                  </a:lnTo>
                  <a:lnTo>
                    <a:pt x="856301" y="307834"/>
                  </a:lnTo>
                  <a:lnTo>
                    <a:pt x="856689" y="308351"/>
                  </a:lnTo>
                  <a:lnTo>
                    <a:pt x="856818" y="309385"/>
                  </a:lnTo>
                  <a:lnTo>
                    <a:pt x="857206" y="310419"/>
                  </a:lnTo>
                  <a:lnTo>
                    <a:pt x="859791" y="311194"/>
                  </a:lnTo>
                  <a:lnTo>
                    <a:pt x="860825" y="311840"/>
                  </a:lnTo>
                  <a:lnTo>
                    <a:pt x="861729" y="312099"/>
                  </a:lnTo>
                  <a:lnTo>
                    <a:pt x="864831" y="309514"/>
                  </a:lnTo>
                  <a:lnTo>
                    <a:pt x="868966" y="306930"/>
                  </a:lnTo>
                  <a:lnTo>
                    <a:pt x="871034" y="305379"/>
                  </a:lnTo>
                  <a:lnTo>
                    <a:pt x="876979" y="299305"/>
                  </a:lnTo>
                  <a:lnTo>
                    <a:pt x="879434" y="297754"/>
                  </a:lnTo>
                  <a:lnTo>
                    <a:pt x="886154" y="294782"/>
                  </a:lnTo>
                  <a:lnTo>
                    <a:pt x="888222" y="293360"/>
                  </a:lnTo>
                  <a:lnTo>
                    <a:pt x="892228" y="289742"/>
                  </a:lnTo>
                  <a:lnTo>
                    <a:pt x="893262" y="287932"/>
                  </a:lnTo>
                  <a:lnTo>
                    <a:pt x="893391" y="285994"/>
                  </a:lnTo>
                  <a:lnTo>
                    <a:pt x="893133" y="285606"/>
                  </a:lnTo>
                  <a:lnTo>
                    <a:pt x="891841" y="283926"/>
                  </a:lnTo>
                  <a:lnTo>
                    <a:pt x="891711" y="283409"/>
                  </a:lnTo>
                  <a:lnTo>
                    <a:pt x="891841" y="282246"/>
                  </a:lnTo>
                  <a:lnTo>
                    <a:pt x="891711" y="281729"/>
                  </a:lnTo>
                  <a:lnTo>
                    <a:pt x="891065" y="280566"/>
                  </a:lnTo>
                  <a:lnTo>
                    <a:pt x="890290" y="279532"/>
                  </a:lnTo>
                  <a:lnTo>
                    <a:pt x="889256" y="278627"/>
                  </a:lnTo>
                  <a:lnTo>
                    <a:pt x="888093" y="278111"/>
                  </a:lnTo>
                  <a:lnTo>
                    <a:pt x="885250" y="277206"/>
                  </a:lnTo>
                  <a:lnTo>
                    <a:pt x="882794" y="276043"/>
                  </a:lnTo>
                  <a:lnTo>
                    <a:pt x="881243" y="273200"/>
                  </a:lnTo>
                  <a:lnTo>
                    <a:pt x="878400" y="271907"/>
                  </a:lnTo>
                  <a:lnTo>
                    <a:pt x="872843" y="273200"/>
                  </a:lnTo>
                  <a:lnTo>
                    <a:pt x="865089" y="276818"/>
                  </a:lnTo>
                  <a:lnTo>
                    <a:pt x="861341" y="277594"/>
                  </a:lnTo>
                  <a:lnTo>
                    <a:pt x="859015" y="278240"/>
                  </a:lnTo>
                  <a:lnTo>
                    <a:pt x="856301" y="281471"/>
                  </a:lnTo>
                  <a:lnTo>
                    <a:pt x="855267" y="285994"/>
                  </a:lnTo>
                  <a:lnTo>
                    <a:pt x="849840" y="294782"/>
                  </a:lnTo>
                  <a:lnTo>
                    <a:pt x="852037" y="296074"/>
                  </a:lnTo>
                  <a:lnTo>
                    <a:pt x="852812" y="296332"/>
                  </a:lnTo>
                  <a:lnTo>
                    <a:pt x="852812" y="296979"/>
                  </a:lnTo>
                  <a:lnTo>
                    <a:pt x="849323" y="298271"/>
                  </a:lnTo>
                  <a:close/>
                  <a:moveTo>
                    <a:pt x="906832" y="256658"/>
                  </a:moveTo>
                  <a:lnTo>
                    <a:pt x="907736" y="257304"/>
                  </a:lnTo>
                  <a:lnTo>
                    <a:pt x="908899" y="257692"/>
                  </a:lnTo>
                  <a:lnTo>
                    <a:pt x="911355" y="257821"/>
                  </a:lnTo>
                  <a:lnTo>
                    <a:pt x="912389" y="258079"/>
                  </a:lnTo>
                  <a:lnTo>
                    <a:pt x="914973" y="259113"/>
                  </a:lnTo>
                  <a:lnTo>
                    <a:pt x="915749" y="259113"/>
                  </a:lnTo>
                  <a:lnTo>
                    <a:pt x="916137" y="258209"/>
                  </a:lnTo>
                  <a:lnTo>
                    <a:pt x="915749" y="256916"/>
                  </a:lnTo>
                  <a:lnTo>
                    <a:pt x="915620" y="255365"/>
                  </a:lnTo>
                  <a:lnTo>
                    <a:pt x="916266" y="252910"/>
                  </a:lnTo>
                  <a:lnTo>
                    <a:pt x="918333" y="251359"/>
                  </a:lnTo>
                  <a:lnTo>
                    <a:pt x="920143" y="250842"/>
                  </a:lnTo>
                  <a:lnTo>
                    <a:pt x="921694" y="250455"/>
                  </a:lnTo>
                  <a:lnTo>
                    <a:pt x="923244" y="249938"/>
                  </a:lnTo>
                  <a:lnTo>
                    <a:pt x="924407" y="247999"/>
                  </a:lnTo>
                  <a:lnTo>
                    <a:pt x="926088" y="246319"/>
                  </a:lnTo>
                  <a:lnTo>
                    <a:pt x="926734" y="243993"/>
                  </a:lnTo>
                  <a:lnTo>
                    <a:pt x="926088" y="240633"/>
                  </a:lnTo>
                  <a:lnTo>
                    <a:pt x="924666" y="237660"/>
                  </a:lnTo>
                  <a:lnTo>
                    <a:pt x="923244" y="235334"/>
                  </a:lnTo>
                  <a:lnTo>
                    <a:pt x="922727" y="234300"/>
                  </a:lnTo>
                  <a:lnTo>
                    <a:pt x="922469" y="233008"/>
                  </a:lnTo>
                  <a:lnTo>
                    <a:pt x="923374" y="220731"/>
                  </a:lnTo>
                  <a:lnTo>
                    <a:pt x="923244" y="216078"/>
                  </a:lnTo>
                  <a:lnTo>
                    <a:pt x="921823" y="212331"/>
                  </a:lnTo>
                  <a:lnTo>
                    <a:pt x="921564" y="211943"/>
                  </a:lnTo>
                  <a:lnTo>
                    <a:pt x="921306" y="211685"/>
                  </a:lnTo>
                  <a:lnTo>
                    <a:pt x="921177" y="211426"/>
                  </a:lnTo>
                  <a:lnTo>
                    <a:pt x="921177" y="210909"/>
                  </a:lnTo>
                  <a:lnTo>
                    <a:pt x="919755" y="211814"/>
                  </a:lnTo>
                  <a:lnTo>
                    <a:pt x="915232" y="216854"/>
                  </a:lnTo>
                  <a:lnTo>
                    <a:pt x="914327" y="218663"/>
                  </a:lnTo>
                  <a:lnTo>
                    <a:pt x="914198" y="220085"/>
                  </a:lnTo>
                  <a:lnTo>
                    <a:pt x="914586" y="223057"/>
                  </a:lnTo>
                  <a:lnTo>
                    <a:pt x="914456" y="226029"/>
                  </a:lnTo>
                  <a:lnTo>
                    <a:pt x="914715" y="227451"/>
                  </a:lnTo>
                  <a:lnTo>
                    <a:pt x="915361" y="229260"/>
                  </a:lnTo>
                  <a:lnTo>
                    <a:pt x="915878" y="230036"/>
                  </a:lnTo>
                  <a:lnTo>
                    <a:pt x="916524" y="230553"/>
                  </a:lnTo>
                  <a:lnTo>
                    <a:pt x="916912" y="231199"/>
                  </a:lnTo>
                  <a:lnTo>
                    <a:pt x="916783" y="232233"/>
                  </a:lnTo>
                  <a:lnTo>
                    <a:pt x="916395" y="232103"/>
                  </a:lnTo>
                  <a:lnTo>
                    <a:pt x="915361" y="232362"/>
                  </a:lnTo>
                  <a:lnTo>
                    <a:pt x="914456" y="232750"/>
                  </a:lnTo>
                  <a:lnTo>
                    <a:pt x="914327" y="232879"/>
                  </a:lnTo>
                  <a:lnTo>
                    <a:pt x="913552" y="234559"/>
                  </a:lnTo>
                  <a:lnTo>
                    <a:pt x="910321" y="247611"/>
                  </a:lnTo>
                  <a:lnTo>
                    <a:pt x="910321" y="248128"/>
                  </a:lnTo>
                  <a:lnTo>
                    <a:pt x="909675" y="248645"/>
                  </a:lnTo>
                  <a:lnTo>
                    <a:pt x="909287" y="248645"/>
                  </a:lnTo>
                  <a:lnTo>
                    <a:pt x="908770" y="248387"/>
                  </a:lnTo>
                  <a:lnTo>
                    <a:pt x="907736" y="248258"/>
                  </a:lnTo>
                  <a:lnTo>
                    <a:pt x="906573" y="248645"/>
                  </a:lnTo>
                  <a:lnTo>
                    <a:pt x="905798" y="249679"/>
                  </a:lnTo>
                  <a:lnTo>
                    <a:pt x="905410" y="251101"/>
                  </a:lnTo>
                  <a:lnTo>
                    <a:pt x="905281" y="254073"/>
                  </a:lnTo>
                  <a:lnTo>
                    <a:pt x="905410" y="254719"/>
                  </a:lnTo>
                  <a:lnTo>
                    <a:pt x="906832" y="256658"/>
                  </a:lnTo>
                  <a:close/>
                  <a:moveTo>
                    <a:pt x="928284" y="237014"/>
                  </a:moveTo>
                  <a:lnTo>
                    <a:pt x="930352" y="239082"/>
                  </a:lnTo>
                  <a:lnTo>
                    <a:pt x="933712" y="238565"/>
                  </a:lnTo>
                  <a:lnTo>
                    <a:pt x="935780" y="236756"/>
                  </a:lnTo>
                  <a:lnTo>
                    <a:pt x="939011" y="235205"/>
                  </a:lnTo>
                  <a:lnTo>
                    <a:pt x="942629" y="233008"/>
                  </a:lnTo>
                  <a:lnTo>
                    <a:pt x="955811" y="222799"/>
                  </a:lnTo>
                  <a:lnTo>
                    <a:pt x="956457" y="221119"/>
                  </a:lnTo>
                  <a:lnTo>
                    <a:pt x="957491" y="220085"/>
                  </a:lnTo>
                  <a:lnTo>
                    <a:pt x="957750" y="219439"/>
                  </a:lnTo>
                  <a:lnTo>
                    <a:pt x="957621" y="218792"/>
                  </a:lnTo>
                  <a:lnTo>
                    <a:pt x="957104" y="217758"/>
                  </a:lnTo>
                  <a:lnTo>
                    <a:pt x="956974" y="217242"/>
                  </a:lnTo>
                  <a:lnTo>
                    <a:pt x="956974" y="214786"/>
                  </a:lnTo>
                  <a:lnTo>
                    <a:pt x="956716" y="213881"/>
                  </a:lnTo>
                  <a:lnTo>
                    <a:pt x="956199" y="212460"/>
                  </a:lnTo>
                  <a:lnTo>
                    <a:pt x="953226" y="208066"/>
                  </a:lnTo>
                  <a:lnTo>
                    <a:pt x="951417" y="208066"/>
                  </a:lnTo>
                  <a:lnTo>
                    <a:pt x="949220" y="208971"/>
                  </a:lnTo>
                  <a:lnTo>
                    <a:pt x="947152" y="210392"/>
                  </a:lnTo>
                  <a:lnTo>
                    <a:pt x="945860" y="211943"/>
                  </a:lnTo>
                  <a:lnTo>
                    <a:pt x="945731" y="213494"/>
                  </a:lnTo>
                  <a:lnTo>
                    <a:pt x="947799" y="214657"/>
                  </a:lnTo>
                  <a:lnTo>
                    <a:pt x="947282" y="216208"/>
                  </a:lnTo>
                  <a:lnTo>
                    <a:pt x="944051" y="213494"/>
                  </a:lnTo>
                  <a:lnTo>
                    <a:pt x="942242" y="212589"/>
                  </a:lnTo>
                  <a:lnTo>
                    <a:pt x="941466" y="213623"/>
                  </a:lnTo>
                  <a:lnTo>
                    <a:pt x="940174" y="214011"/>
                  </a:lnTo>
                  <a:lnTo>
                    <a:pt x="934229" y="213881"/>
                  </a:lnTo>
                  <a:lnTo>
                    <a:pt x="932549" y="214657"/>
                  </a:lnTo>
                  <a:lnTo>
                    <a:pt x="933195" y="215691"/>
                  </a:lnTo>
                  <a:lnTo>
                    <a:pt x="932678" y="216337"/>
                  </a:lnTo>
                  <a:lnTo>
                    <a:pt x="930352" y="217500"/>
                  </a:lnTo>
                  <a:lnTo>
                    <a:pt x="927767" y="220472"/>
                  </a:lnTo>
                  <a:lnTo>
                    <a:pt x="926475" y="224091"/>
                  </a:lnTo>
                  <a:lnTo>
                    <a:pt x="926217" y="228226"/>
                  </a:lnTo>
                  <a:lnTo>
                    <a:pt x="926734" y="232879"/>
                  </a:lnTo>
                  <a:lnTo>
                    <a:pt x="928284" y="237014"/>
                  </a:lnTo>
                  <a:close/>
                  <a:moveTo>
                    <a:pt x="892228" y="264541"/>
                  </a:moveTo>
                  <a:lnTo>
                    <a:pt x="892616" y="265833"/>
                  </a:lnTo>
                  <a:lnTo>
                    <a:pt x="892616" y="266867"/>
                  </a:lnTo>
                  <a:lnTo>
                    <a:pt x="892358" y="267643"/>
                  </a:lnTo>
                  <a:lnTo>
                    <a:pt x="892228" y="268418"/>
                  </a:lnTo>
                  <a:lnTo>
                    <a:pt x="892616" y="269452"/>
                  </a:lnTo>
                  <a:lnTo>
                    <a:pt x="893779" y="270486"/>
                  </a:lnTo>
                  <a:lnTo>
                    <a:pt x="894684" y="270744"/>
                  </a:lnTo>
                  <a:lnTo>
                    <a:pt x="895330" y="271261"/>
                  </a:lnTo>
                  <a:lnTo>
                    <a:pt x="895588" y="273329"/>
                  </a:lnTo>
                  <a:lnTo>
                    <a:pt x="896235" y="274363"/>
                  </a:lnTo>
                  <a:lnTo>
                    <a:pt x="897656" y="275655"/>
                  </a:lnTo>
                  <a:lnTo>
                    <a:pt x="899336" y="276818"/>
                  </a:lnTo>
                  <a:lnTo>
                    <a:pt x="900629" y="277464"/>
                  </a:lnTo>
                  <a:lnTo>
                    <a:pt x="904506" y="277464"/>
                  </a:lnTo>
                  <a:lnTo>
                    <a:pt x="905152" y="277852"/>
                  </a:lnTo>
                  <a:lnTo>
                    <a:pt x="905539" y="278240"/>
                  </a:lnTo>
                  <a:lnTo>
                    <a:pt x="906444" y="278627"/>
                  </a:lnTo>
                  <a:lnTo>
                    <a:pt x="907478" y="278886"/>
                  </a:lnTo>
                  <a:lnTo>
                    <a:pt x="908382" y="279015"/>
                  </a:lnTo>
                  <a:lnTo>
                    <a:pt x="912647" y="278757"/>
                  </a:lnTo>
                  <a:lnTo>
                    <a:pt x="913681" y="277206"/>
                  </a:lnTo>
                  <a:lnTo>
                    <a:pt x="914198" y="275397"/>
                  </a:lnTo>
                  <a:lnTo>
                    <a:pt x="914198" y="273329"/>
                  </a:lnTo>
                  <a:lnTo>
                    <a:pt x="913423" y="270615"/>
                  </a:lnTo>
                  <a:lnTo>
                    <a:pt x="913035" y="268547"/>
                  </a:lnTo>
                  <a:lnTo>
                    <a:pt x="913035" y="265575"/>
                  </a:lnTo>
                  <a:lnTo>
                    <a:pt x="912777" y="263766"/>
                  </a:lnTo>
                  <a:lnTo>
                    <a:pt x="910321" y="261698"/>
                  </a:lnTo>
                  <a:lnTo>
                    <a:pt x="908124" y="260147"/>
                  </a:lnTo>
                  <a:lnTo>
                    <a:pt x="905539" y="259501"/>
                  </a:lnTo>
                  <a:lnTo>
                    <a:pt x="902309" y="258984"/>
                  </a:lnTo>
                  <a:lnTo>
                    <a:pt x="900499" y="258467"/>
                  </a:lnTo>
                  <a:lnTo>
                    <a:pt x="898173" y="257692"/>
                  </a:lnTo>
                  <a:lnTo>
                    <a:pt x="895201" y="257821"/>
                  </a:lnTo>
                  <a:lnTo>
                    <a:pt x="892358" y="259759"/>
                  </a:lnTo>
                  <a:lnTo>
                    <a:pt x="891065" y="261310"/>
                  </a:lnTo>
                  <a:lnTo>
                    <a:pt x="891324" y="262603"/>
                  </a:lnTo>
                  <a:lnTo>
                    <a:pt x="892228" y="264541"/>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7" name="Graphic 2">
              <a:extLst>
                <a:ext uri="{FF2B5EF4-FFF2-40B4-BE49-F238E27FC236}">
                  <a16:creationId xmlns:a16="http://schemas.microsoft.com/office/drawing/2014/main" id="{5A915B16-A479-6393-2016-F88376F21183}"/>
                </a:ext>
              </a:extLst>
            </p:cNvPr>
            <p:cNvSpPr/>
            <p:nvPr/>
          </p:nvSpPr>
          <p:spPr>
            <a:xfrm>
              <a:off x="6142007" y="3330911"/>
              <a:ext cx="1195280" cy="972482"/>
            </a:xfrm>
            <a:custGeom>
              <a:avLst/>
              <a:gdLst>
                <a:gd name="connsiteX0" fmla="*/ 1195152 w 1195280"/>
                <a:gd name="connsiteY0" fmla="*/ 207549 h 972482"/>
                <a:gd name="connsiteX1" fmla="*/ 1194764 w 1195280"/>
                <a:gd name="connsiteY1" fmla="*/ 206386 h 972482"/>
                <a:gd name="connsiteX2" fmla="*/ 1193730 w 1195280"/>
                <a:gd name="connsiteY2" fmla="*/ 204447 h 972482"/>
                <a:gd name="connsiteX3" fmla="*/ 1193342 w 1195280"/>
                <a:gd name="connsiteY3" fmla="*/ 203930 h 972482"/>
                <a:gd name="connsiteX4" fmla="*/ 1192955 w 1195280"/>
                <a:gd name="connsiteY4" fmla="*/ 202380 h 972482"/>
                <a:gd name="connsiteX5" fmla="*/ 1192696 w 1195280"/>
                <a:gd name="connsiteY5" fmla="*/ 201734 h 972482"/>
                <a:gd name="connsiteX6" fmla="*/ 1192438 w 1195280"/>
                <a:gd name="connsiteY6" fmla="*/ 201216 h 972482"/>
                <a:gd name="connsiteX7" fmla="*/ 1192179 w 1195280"/>
                <a:gd name="connsiteY7" fmla="*/ 200700 h 972482"/>
                <a:gd name="connsiteX8" fmla="*/ 1190370 w 1195280"/>
                <a:gd name="connsiteY8" fmla="*/ 199407 h 972482"/>
                <a:gd name="connsiteX9" fmla="*/ 1189724 w 1195280"/>
                <a:gd name="connsiteY9" fmla="*/ 198632 h 972482"/>
                <a:gd name="connsiteX10" fmla="*/ 1188819 w 1195280"/>
                <a:gd name="connsiteY10" fmla="*/ 197210 h 972482"/>
                <a:gd name="connsiteX11" fmla="*/ 1188303 w 1195280"/>
                <a:gd name="connsiteY11" fmla="*/ 195918 h 972482"/>
                <a:gd name="connsiteX12" fmla="*/ 1188044 w 1195280"/>
                <a:gd name="connsiteY12" fmla="*/ 195272 h 972482"/>
                <a:gd name="connsiteX13" fmla="*/ 1187398 w 1195280"/>
                <a:gd name="connsiteY13" fmla="*/ 194238 h 972482"/>
                <a:gd name="connsiteX14" fmla="*/ 1184942 w 1195280"/>
                <a:gd name="connsiteY14" fmla="*/ 193463 h 972482"/>
                <a:gd name="connsiteX15" fmla="*/ 1183133 w 1195280"/>
                <a:gd name="connsiteY15" fmla="*/ 193592 h 972482"/>
                <a:gd name="connsiteX16" fmla="*/ 1181970 w 1195280"/>
                <a:gd name="connsiteY16" fmla="*/ 193850 h 972482"/>
                <a:gd name="connsiteX17" fmla="*/ 1181194 w 1195280"/>
                <a:gd name="connsiteY17" fmla="*/ 193850 h 972482"/>
                <a:gd name="connsiteX18" fmla="*/ 1180678 w 1195280"/>
                <a:gd name="connsiteY18" fmla="*/ 193721 h 972482"/>
                <a:gd name="connsiteX19" fmla="*/ 1179902 w 1195280"/>
                <a:gd name="connsiteY19" fmla="*/ 193463 h 972482"/>
                <a:gd name="connsiteX20" fmla="*/ 1176930 w 1195280"/>
                <a:gd name="connsiteY20" fmla="*/ 191782 h 972482"/>
                <a:gd name="connsiteX21" fmla="*/ 1176284 w 1195280"/>
                <a:gd name="connsiteY21" fmla="*/ 191266 h 972482"/>
                <a:gd name="connsiteX22" fmla="*/ 1175767 w 1195280"/>
                <a:gd name="connsiteY22" fmla="*/ 190878 h 972482"/>
                <a:gd name="connsiteX23" fmla="*/ 1175120 w 1195280"/>
                <a:gd name="connsiteY23" fmla="*/ 189844 h 972482"/>
                <a:gd name="connsiteX24" fmla="*/ 1174604 w 1195280"/>
                <a:gd name="connsiteY24" fmla="*/ 188164 h 972482"/>
                <a:gd name="connsiteX25" fmla="*/ 1173828 w 1195280"/>
                <a:gd name="connsiteY25" fmla="*/ 187259 h 972482"/>
                <a:gd name="connsiteX26" fmla="*/ 1172536 w 1195280"/>
                <a:gd name="connsiteY26" fmla="*/ 186096 h 972482"/>
                <a:gd name="connsiteX27" fmla="*/ 1169434 w 1195280"/>
                <a:gd name="connsiteY27" fmla="*/ 183770 h 972482"/>
                <a:gd name="connsiteX28" fmla="*/ 1167754 w 1195280"/>
                <a:gd name="connsiteY28" fmla="*/ 182865 h 972482"/>
                <a:gd name="connsiteX29" fmla="*/ 1166333 w 1195280"/>
                <a:gd name="connsiteY29" fmla="*/ 182219 h 972482"/>
                <a:gd name="connsiteX30" fmla="*/ 1165557 w 1195280"/>
                <a:gd name="connsiteY30" fmla="*/ 182219 h 972482"/>
                <a:gd name="connsiteX31" fmla="*/ 1164911 w 1195280"/>
                <a:gd name="connsiteY31" fmla="*/ 182219 h 972482"/>
                <a:gd name="connsiteX32" fmla="*/ 1163748 w 1195280"/>
                <a:gd name="connsiteY32" fmla="*/ 182607 h 972482"/>
                <a:gd name="connsiteX33" fmla="*/ 1162972 w 1195280"/>
                <a:gd name="connsiteY33" fmla="*/ 182736 h 972482"/>
                <a:gd name="connsiteX34" fmla="*/ 1162197 w 1195280"/>
                <a:gd name="connsiteY34" fmla="*/ 182736 h 972482"/>
                <a:gd name="connsiteX35" fmla="*/ 1161809 w 1195280"/>
                <a:gd name="connsiteY35" fmla="*/ 182348 h 972482"/>
                <a:gd name="connsiteX36" fmla="*/ 1161680 w 1195280"/>
                <a:gd name="connsiteY36" fmla="*/ 181831 h 972482"/>
                <a:gd name="connsiteX37" fmla="*/ 1161809 w 1195280"/>
                <a:gd name="connsiteY37" fmla="*/ 180668 h 972482"/>
                <a:gd name="connsiteX38" fmla="*/ 1161551 w 1195280"/>
                <a:gd name="connsiteY38" fmla="*/ 180022 h 972482"/>
                <a:gd name="connsiteX39" fmla="*/ 1160905 w 1195280"/>
                <a:gd name="connsiteY39" fmla="*/ 179635 h 972482"/>
                <a:gd name="connsiteX40" fmla="*/ 1159225 w 1195280"/>
                <a:gd name="connsiteY40" fmla="*/ 179247 h 972482"/>
                <a:gd name="connsiteX41" fmla="*/ 1158579 w 1195280"/>
                <a:gd name="connsiteY41" fmla="*/ 178859 h 972482"/>
                <a:gd name="connsiteX42" fmla="*/ 1158062 w 1195280"/>
                <a:gd name="connsiteY42" fmla="*/ 178471 h 972482"/>
                <a:gd name="connsiteX43" fmla="*/ 1157933 w 1195280"/>
                <a:gd name="connsiteY43" fmla="*/ 177954 h 972482"/>
                <a:gd name="connsiteX44" fmla="*/ 1158062 w 1195280"/>
                <a:gd name="connsiteY44" fmla="*/ 177567 h 972482"/>
                <a:gd name="connsiteX45" fmla="*/ 1158191 w 1195280"/>
                <a:gd name="connsiteY45" fmla="*/ 176921 h 972482"/>
                <a:gd name="connsiteX46" fmla="*/ 1158191 w 1195280"/>
                <a:gd name="connsiteY46" fmla="*/ 176145 h 972482"/>
                <a:gd name="connsiteX47" fmla="*/ 1157545 w 1195280"/>
                <a:gd name="connsiteY47" fmla="*/ 175111 h 972482"/>
                <a:gd name="connsiteX48" fmla="*/ 1157028 w 1195280"/>
                <a:gd name="connsiteY48" fmla="*/ 174594 h 972482"/>
                <a:gd name="connsiteX49" fmla="*/ 1156382 w 1195280"/>
                <a:gd name="connsiteY49" fmla="*/ 174207 h 972482"/>
                <a:gd name="connsiteX50" fmla="*/ 1155089 w 1195280"/>
                <a:gd name="connsiteY50" fmla="*/ 173948 h 972482"/>
                <a:gd name="connsiteX51" fmla="*/ 1149532 w 1195280"/>
                <a:gd name="connsiteY51" fmla="*/ 174078 h 972482"/>
                <a:gd name="connsiteX52" fmla="*/ 1148886 w 1195280"/>
                <a:gd name="connsiteY52" fmla="*/ 174207 h 972482"/>
                <a:gd name="connsiteX53" fmla="*/ 1147077 w 1195280"/>
                <a:gd name="connsiteY53" fmla="*/ 174724 h 972482"/>
                <a:gd name="connsiteX54" fmla="*/ 1145009 w 1195280"/>
                <a:gd name="connsiteY54" fmla="*/ 174724 h 972482"/>
                <a:gd name="connsiteX55" fmla="*/ 1142554 w 1195280"/>
                <a:gd name="connsiteY55" fmla="*/ 174207 h 972482"/>
                <a:gd name="connsiteX56" fmla="*/ 1139194 w 1195280"/>
                <a:gd name="connsiteY56" fmla="*/ 173173 h 972482"/>
                <a:gd name="connsiteX57" fmla="*/ 1130793 w 1195280"/>
                <a:gd name="connsiteY57" fmla="*/ 169425 h 972482"/>
                <a:gd name="connsiteX58" fmla="*/ 1129630 w 1195280"/>
                <a:gd name="connsiteY58" fmla="*/ 169167 h 972482"/>
                <a:gd name="connsiteX59" fmla="*/ 1129113 w 1195280"/>
                <a:gd name="connsiteY59" fmla="*/ 169296 h 972482"/>
                <a:gd name="connsiteX60" fmla="*/ 1127175 w 1195280"/>
                <a:gd name="connsiteY60" fmla="*/ 170201 h 972482"/>
                <a:gd name="connsiteX61" fmla="*/ 1126787 w 1195280"/>
                <a:gd name="connsiteY61" fmla="*/ 170330 h 972482"/>
                <a:gd name="connsiteX62" fmla="*/ 1125107 w 1195280"/>
                <a:gd name="connsiteY62" fmla="*/ 170588 h 972482"/>
                <a:gd name="connsiteX63" fmla="*/ 1124590 w 1195280"/>
                <a:gd name="connsiteY63" fmla="*/ 170717 h 972482"/>
                <a:gd name="connsiteX64" fmla="*/ 1124202 w 1195280"/>
                <a:gd name="connsiteY64" fmla="*/ 171105 h 972482"/>
                <a:gd name="connsiteX65" fmla="*/ 1123686 w 1195280"/>
                <a:gd name="connsiteY65" fmla="*/ 171493 h 972482"/>
                <a:gd name="connsiteX66" fmla="*/ 1123039 w 1195280"/>
                <a:gd name="connsiteY66" fmla="*/ 171751 h 972482"/>
                <a:gd name="connsiteX67" fmla="*/ 1122135 w 1195280"/>
                <a:gd name="connsiteY67" fmla="*/ 171881 h 972482"/>
                <a:gd name="connsiteX68" fmla="*/ 1121489 w 1195280"/>
                <a:gd name="connsiteY68" fmla="*/ 171622 h 972482"/>
                <a:gd name="connsiteX69" fmla="*/ 1121101 w 1195280"/>
                <a:gd name="connsiteY69" fmla="*/ 171234 h 972482"/>
                <a:gd name="connsiteX70" fmla="*/ 1118904 w 1195280"/>
                <a:gd name="connsiteY70" fmla="*/ 167357 h 972482"/>
                <a:gd name="connsiteX71" fmla="*/ 1117870 w 1195280"/>
                <a:gd name="connsiteY71" fmla="*/ 166582 h 972482"/>
                <a:gd name="connsiteX72" fmla="*/ 1112443 w 1195280"/>
                <a:gd name="connsiteY72" fmla="*/ 163739 h 972482"/>
                <a:gd name="connsiteX73" fmla="*/ 1110762 w 1195280"/>
                <a:gd name="connsiteY73" fmla="*/ 162963 h 972482"/>
                <a:gd name="connsiteX74" fmla="*/ 1109341 w 1195280"/>
                <a:gd name="connsiteY74" fmla="*/ 162705 h 972482"/>
                <a:gd name="connsiteX75" fmla="*/ 1108695 w 1195280"/>
                <a:gd name="connsiteY75" fmla="*/ 162834 h 972482"/>
                <a:gd name="connsiteX76" fmla="*/ 1105722 w 1195280"/>
                <a:gd name="connsiteY76" fmla="*/ 163610 h 972482"/>
                <a:gd name="connsiteX77" fmla="*/ 1104688 w 1195280"/>
                <a:gd name="connsiteY77" fmla="*/ 163997 h 972482"/>
                <a:gd name="connsiteX78" fmla="*/ 1102750 w 1195280"/>
                <a:gd name="connsiteY78" fmla="*/ 165160 h 972482"/>
                <a:gd name="connsiteX79" fmla="*/ 1101328 w 1195280"/>
                <a:gd name="connsiteY79" fmla="*/ 165548 h 972482"/>
                <a:gd name="connsiteX80" fmla="*/ 1100165 w 1195280"/>
                <a:gd name="connsiteY80" fmla="*/ 165677 h 972482"/>
                <a:gd name="connsiteX81" fmla="*/ 1099390 w 1195280"/>
                <a:gd name="connsiteY81" fmla="*/ 165419 h 972482"/>
                <a:gd name="connsiteX82" fmla="*/ 1098873 w 1195280"/>
                <a:gd name="connsiteY82" fmla="*/ 165160 h 972482"/>
                <a:gd name="connsiteX83" fmla="*/ 1096288 w 1195280"/>
                <a:gd name="connsiteY83" fmla="*/ 161671 h 972482"/>
                <a:gd name="connsiteX84" fmla="*/ 1095771 w 1195280"/>
                <a:gd name="connsiteY84" fmla="*/ 161154 h 972482"/>
                <a:gd name="connsiteX85" fmla="*/ 1094996 w 1195280"/>
                <a:gd name="connsiteY85" fmla="*/ 160508 h 972482"/>
                <a:gd name="connsiteX86" fmla="*/ 1093316 w 1195280"/>
                <a:gd name="connsiteY86" fmla="*/ 159474 h 972482"/>
                <a:gd name="connsiteX87" fmla="*/ 1092282 w 1195280"/>
                <a:gd name="connsiteY87" fmla="*/ 159216 h 972482"/>
                <a:gd name="connsiteX88" fmla="*/ 1091506 w 1195280"/>
                <a:gd name="connsiteY88" fmla="*/ 158957 h 972482"/>
                <a:gd name="connsiteX89" fmla="*/ 1090860 w 1195280"/>
                <a:gd name="connsiteY89" fmla="*/ 159086 h 972482"/>
                <a:gd name="connsiteX90" fmla="*/ 1090343 w 1195280"/>
                <a:gd name="connsiteY90" fmla="*/ 159216 h 972482"/>
                <a:gd name="connsiteX91" fmla="*/ 1088276 w 1195280"/>
                <a:gd name="connsiteY91" fmla="*/ 160120 h 972482"/>
                <a:gd name="connsiteX92" fmla="*/ 1086983 w 1195280"/>
                <a:gd name="connsiteY92" fmla="*/ 160508 h 972482"/>
                <a:gd name="connsiteX93" fmla="*/ 1086208 w 1195280"/>
                <a:gd name="connsiteY93" fmla="*/ 160637 h 972482"/>
                <a:gd name="connsiteX94" fmla="*/ 1084916 w 1195280"/>
                <a:gd name="connsiteY94" fmla="*/ 160508 h 972482"/>
                <a:gd name="connsiteX95" fmla="*/ 1083882 w 1195280"/>
                <a:gd name="connsiteY95" fmla="*/ 160120 h 972482"/>
                <a:gd name="connsiteX96" fmla="*/ 1081168 w 1195280"/>
                <a:gd name="connsiteY96" fmla="*/ 158440 h 972482"/>
                <a:gd name="connsiteX97" fmla="*/ 1080134 w 1195280"/>
                <a:gd name="connsiteY97" fmla="*/ 158053 h 972482"/>
                <a:gd name="connsiteX98" fmla="*/ 1079229 w 1195280"/>
                <a:gd name="connsiteY98" fmla="*/ 158053 h 972482"/>
                <a:gd name="connsiteX99" fmla="*/ 1078712 w 1195280"/>
                <a:gd name="connsiteY99" fmla="*/ 158182 h 972482"/>
                <a:gd name="connsiteX100" fmla="*/ 1078195 w 1195280"/>
                <a:gd name="connsiteY100" fmla="*/ 158440 h 972482"/>
                <a:gd name="connsiteX101" fmla="*/ 1077291 w 1195280"/>
                <a:gd name="connsiteY101" fmla="*/ 159086 h 972482"/>
                <a:gd name="connsiteX102" fmla="*/ 1076774 w 1195280"/>
                <a:gd name="connsiteY102" fmla="*/ 159216 h 972482"/>
                <a:gd name="connsiteX103" fmla="*/ 1075611 w 1195280"/>
                <a:gd name="connsiteY103" fmla="*/ 159603 h 972482"/>
                <a:gd name="connsiteX104" fmla="*/ 1075094 w 1195280"/>
                <a:gd name="connsiteY104" fmla="*/ 159862 h 972482"/>
                <a:gd name="connsiteX105" fmla="*/ 1074706 w 1195280"/>
                <a:gd name="connsiteY105" fmla="*/ 160249 h 972482"/>
                <a:gd name="connsiteX106" fmla="*/ 1073801 w 1195280"/>
                <a:gd name="connsiteY106" fmla="*/ 161542 h 972482"/>
                <a:gd name="connsiteX107" fmla="*/ 1070183 w 1195280"/>
                <a:gd name="connsiteY107" fmla="*/ 164773 h 972482"/>
                <a:gd name="connsiteX108" fmla="*/ 1067469 w 1195280"/>
                <a:gd name="connsiteY108" fmla="*/ 165807 h 972482"/>
                <a:gd name="connsiteX109" fmla="*/ 1063334 w 1195280"/>
                <a:gd name="connsiteY109" fmla="*/ 166841 h 972482"/>
                <a:gd name="connsiteX110" fmla="*/ 1058423 w 1195280"/>
                <a:gd name="connsiteY110" fmla="*/ 169683 h 972482"/>
                <a:gd name="connsiteX111" fmla="*/ 1056484 w 1195280"/>
                <a:gd name="connsiteY111" fmla="*/ 169942 h 972482"/>
                <a:gd name="connsiteX112" fmla="*/ 1053253 w 1195280"/>
                <a:gd name="connsiteY112" fmla="*/ 167745 h 972482"/>
                <a:gd name="connsiteX113" fmla="*/ 1052736 w 1195280"/>
                <a:gd name="connsiteY113" fmla="*/ 167487 h 972482"/>
                <a:gd name="connsiteX114" fmla="*/ 1051832 w 1195280"/>
                <a:gd name="connsiteY114" fmla="*/ 167228 h 972482"/>
                <a:gd name="connsiteX115" fmla="*/ 1046792 w 1195280"/>
                <a:gd name="connsiteY115" fmla="*/ 166453 h 972482"/>
                <a:gd name="connsiteX116" fmla="*/ 1041881 w 1195280"/>
                <a:gd name="connsiteY116" fmla="*/ 165031 h 972482"/>
                <a:gd name="connsiteX117" fmla="*/ 1038779 w 1195280"/>
                <a:gd name="connsiteY117" fmla="*/ 165548 h 972482"/>
                <a:gd name="connsiteX118" fmla="*/ 1037874 w 1195280"/>
                <a:gd name="connsiteY118" fmla="*/ 162834 h 972482"/>
                <a:gd name="connsiteX119" fmla="*/ 1034773 w 1195280"/>
                <a:gd name="connsiteY119" fmla="*/ 138280 h 972482"/>
                <a:gd name="connsiteX120" fmla="*/ 1019782 w 1195280"/>
                <a:gd name="connsiteY120" fmla="*/ 124323 h 972482"/>
                <a:gd name="connsiteX121" fmla="*/ 987603 w 1195280"/>
                <a:gd name="connsiteY121" fmla="*/ 95762 h 972482"/>
                <a:gd name="connsiteX122" fmla="*/ 986052 w 1195280"/>
                <a:gd name="connsiteY122" fmla="*/ 96537 h 972482"/>
                <a:gd name="connsiteX123" fmla="*/ 985535 w 1195280"/>
                <a:gd name="connsiteY123" fmla="*/ 96796 h 972482"/>
                <a:gd name="connsiteX124" fmla="*/ 985018 w 1195280"/>
                <a:gd name="connsiteY124" fmla="*/ 96925 h 972482"/>
                <a:gd name="connsiteX125" fmla="*/ 982304 w 1195280"/>
                <a:gd name="connsiteY125" fmla="*/ 97054 h 972482"/>
                <a:gd name="connsiteX126" fmla="*/ 981787 w 1195280"/>
                <a:gd name="connsiteY126" fmla="*/ 97183 h 972482"/>
                <a:gd name="connsiteX127" fmla="*/ 981399 w 1195280"/>
                <a:gd name="connsiteY127" fmla="*/ 97571 h 972482"/>
                <a:gd name="connsiteX128" fmla="*/ 981012 w 1195280"/>
                <a:gd name="connsiteY128" fmla="*/ 97959 h 972482"/>
                <a:gd name="connsiteX129" fmla="*/ 980236 w 1195280"/>
                <a:gd name="connsiteY129" fmla="*/ 98734 h 972482"/>
                <a:gd name="connsiteX130" fmla="*/ 978556 w 1195280"/>
                <a:gd name="connsiteY130" fmla="*/ 99897 h 972482"/>
                <a:gd name="connsiteX131" fmla="*/ 974938 w 1195280"/>
                <a:gd name="connsiteY131" fmla="*/ 101578 h 972482"/>
                <a:gd name="connsiteX132" fmla="*/ 974421 w 1195280"/>
                <a:gd name="connsiteY132" fmla="*/ 101836 h 972482"/>
                <a:gd name="connsiteX133" fmla="*/ 973387 w 1195280"/>
                <a:gd name="connsiteY133" fmla="*/ 102353 h 972482"/>
                <a:gd name="connsiteX134" fmla="*/ 972870 w 1195280"/>
                <a:gd name="connsiteY134" fmla="*/ 102611 h 972482"/>
                <a:gd name="connsiteX135" fmla="*/ 972224 w 1195280"/>
                <a:gd name="connsiteY135" fmla="*/ 102741 h 972482"/>
                <a:gd name="connsiteX136" fmla="*/ 971319 w 1195280"/>
                <a:gd name="connsiteY136" fmla="*/ 102870 h 972482"/>
                <a:gd name="connsiteX137" fmla="*/ 967830 w 1195280"/>
                <a:gd name="connsiteY137" fmla="*/ 102094 h 972482"/>
                <a:gd name="connsiteX138" fmla="*/ 966667 w 1195280"/>
                <a:gd name="connsiteY138" fmla="*/ 102094 h 972482"/>
                <a:gd name="connsiteX139" fmla="*/ 963824 w 1195280"/>
                <a:gd name="connsiteY139" fmla="*/ 102611 h 972482"/>
                <a:gd name="connsiteX140" fmla="*/ 962532 w 1195280"/>
                <a:gd name="connsiteY140" fmla="*/ 102611 h 972482"/>
                <a:gd name="connsiteX141" fmla="*/ 961627 w 1195280"/>
                <a:gd name="connsiteY141" fmla="*/ 102611 h 972482"/>
                <a:gd name="connsiteX142" fmla="*/ 960981 w 1195280"/>
                <a:gd name="connsiteY142" fmla="*/ 102741 h 972482"/>
                <a:gd name="connsiteX143" fmla="*/ 958784 w 1195280"/>
                <a:gd name="connsiteY143" fmla="*/ 103645 h 972482"/>
                <a:gd name="connsiteX144" fmla="*/ 958008 w 1195280"/>
                <a:gd name="connsiteY144" fmla="*/ 103774 h 972482"/>
                <a:gd name="connsiteX145" fmla="*/ 956974 w 1195280"/>
                <a:gd name="connsiteY145" fmla="*/ 103774 h 972482"/>
                <a:gd name="connsiteX146" fmla="*/ 956458 w 1195280"/>
                <a:gd name="connsiteY146" fmla="*/ 103387 h 972482"/>
                <a:gd name="connsiteX147" fmla="*/ 956070 w 1195280"/>
                <a:gd name="connsiteY147" fmla="*/ 102870 h 972482"/>
                <a:gd name="connsiteX148" fmla="*/ 955811 w 1195280"/>
                <a:gd name="connsiteY148" fmla="*/ 102353 h 972482"/>
                <a:gd name="connsiteX149" fmla="*/ 955553 w 1195280"/>
                <a:gd name="connsiteY149" fmla="*/ 101965 h 972482"/>
                <a:gd name="connsiteX150" fmla="*/ 954131 w 1195280"/>
                <a:gd name="connsiteY150" fmla="*/ 100285 h 972482"/>
                <a:gd name="connsiteX151" fmla="*/ 953485 w 1195280"/>
                <a:gd name="connsiteY151" fmla="*/ 99897 h 972482"/>
                <a:gd name="connsiteX152" fmla="*/ 951288 w 1195280"/>
                <a:gd name="connsiteY152" fmla="*/ 98605 h 972482"/>
                <a:gd name="connsiteX153" fmla="*/ 950512 w 1195280"/>
                <a:gd name="connsiteY153" fmla="*/ 98088 h 972482"/>
                <a:gd name="connsiteX154" fmla="*/ 949996 w 1195280"/>
                <a:gd name="connsiteY154" fmla="*/ 97571 h 972482"/>
                <a:gd name="connsiteX155" fmla="*/ 949349 w 1195280"/>
                <a:gd name="connsiteY155" fmla="*/ 96408 h 972482"/>
                <a:gd name="connsiteX156" fmla="*/ 948574 w 1195280"/>
                <a:gd name="connsiteY156" fmla="*/ 95633 h 972482"/>
                <a:gd name="connsiteX157" fmla="*/ 947928 w 1195280"/>
                <a:gd name="connsiteY157" fmla="*/ 95374 h 972482"/>
                <a:gd name="connsiteX158" fmla="*/ 947411 w 1195280"/>
                <a:gd name="connsiteY158" fmla="*/ 95374 h 972482"/>
                <a:gd name="connsiteX159" fmla="*/ 945602 w 1195280"/>
                <a:gd name="connsiteY159" fmla="*/ 96667 h 972482"/>
                <a:gd name="connsiteX160" fmla="*/ 945085 w 1195280"/>
                <a:gd name="connsiteY160" fmla="*/ 96796 h 972482"/>
                <a:gd name="connsiteX161" fmla="*/ 943922 w 1195280"/>
                <a:gd name="connsiteY161" fmla="*/ 96796 h 972482"/>
                <a:gd name="connsiteX162" fmla="*/ 938494 w 1195280"/>
                <a:gd name="connsiteY162" fmla="*/ 95633 h 972482"/>
                <a:gd name="connsiteX163" fmla="*/ 935780 w 1195280"/>
                <a:gd name="connsiteY163" fmla="*/ 94599 h 972482"/>
                <a:gd name="connsiteX164" fmla="*/ 933454 w 1195280"/>
                <a:gd name="connsiteY164" fmla="*/ 93177 h 972482"/>
                <a:gd name="connsiteX165" fmla="*/ 920272 w 1195280"/>
                <a:gd name="connsiteY165" fmla="*/ 87362 h 972482"/>
                <a:gd name="connsiteX166" fmla="*/ 916912 w 1195280"/>
                <a:gd name="connsiteY166" fmla="*/ 84519 h 972482"/>
                <a:gd name="connsiteX167" fmla="*/ 915490 w 1195280"/>
                <a:gd name="connsiteY167" fmla="*/ 83743 h 972482"/>
                <a:gd name="connsiteX168" fmla="*/ 914198 w 1195280"/>
                <a:gd name="connsiteY168" fmla="*/ 82193 h 972482"/>
                <a:gd name="connsiteX169" fmla="*/ 913423 w 1195280"/>
                <a:gd name="connsiteY169" fmla="*/ 81417 h 972482"/>
                <a:gd name="connsiteX170" fmla="*/ 910450 w 1195280"/>
                <a:gd name="connsiteY170" fmla="*/ 79349 h 972482"/>
                <a:gd name="connsiteX171" fmla="*/ 906832 w 1195280"/>
                <a:gd name="connsiteY171" fmla="*/ 77928 h 972482"/>
                <a:gd name="connsiteX172" fmla="*/ 905410 w 1195280"/>
                <a:gd name="connsiteY172" fmla="*/ 76506 h 972482"/>
                <a:gd name="connsiteX173" fmla="*/ 904764 w 1195280"/>
                <a:gd name="connsiteY173" fmla="*/ 76248 h 972482"/>
                <a:gd name="connsiteX174" fmla="*/ 904118 w 1195280"/>
                <a:gd name="connsiteY174" fmla="*/ 76119 h 972482"/>
                <a:gd name="connsiteX175" fmla="*/ 900241 w 1195280"/>
                <a:gd name="connsiteY175" fmla="*/ 77023 h 972482"/>
                <a:gd name="connsiteX176" fmla="*/ 898819 w 1195280"/>
                <a:gd name="connsiteY176" fmla="*/ 77023 h 972482"/>
                <a:gd name="connsiteX177" fmla="*/ 897785 w 1195280"/>
                <a:gd name="connsiteY177" fmla="*/ 76765 h 972482"/>
                <a:gd name="connsiteX178" fmla="*/ 896881 w 1195280"/>
                <a:gd name="connsiteY178" fmla="*/ 76248 h 972482"/>
                <a:gd name="connsiteX179" fmla="*/ 894813 w 1195280"/>
                <a:gd name="connsiteY179" fmla="*/ 74955 h 972482"/>
                <a:gd name="connsiteX180" fmla="*/ 894296 w 1195280"/>
                <a:gd name="connsiteY180" fmla="*/ 74438 h 972482"/>
                <a:gd name="connsiteX181" fmla="*/ 893391 w 1195280"/>
                <a:gd name="connsiteY181" fmla="*/ 73146 h 972482"/>
                <a:gd name="connsiteX182" fmla="*/ 892616 w 1195280"/>
                <a:gd name="connsiteY182" fmla="*/ 72500 h 972482"/>
                <a:gd name="connsiteX183" fmla="*/ 887317 w 1195280"/>
                <a:gd name="connsiteY183" fmla="*/ 69140 h 972482"/>
                <a:gd name="connsiteX184" fmla="*/ 886154 w 1195280"/>
                <a:gd name="connsiteY184" fmla="*/ 67848 h 972482"/>
                <a:gd name="connsiteX185" fmla="*/ 881243 w 1195280"/>
                <a:gd name="connsiteY185" fmla="*/ 64100 h 972482"/>
                <a:gd name="connsiteX186" fmla="*/ 879305 w 1195280"/>
                <a:gd name="connsiteY186" fmla="*/ 62161 h 972482"/>
                <a:gd name="connsiteX187" fmla="*/ 870905 w 1195280"/>
                <a:gd name="connsiteY187" fmla="*/ 56216 h 972482"/>
                <a:gd name="connsiteX188" fmla="*/ 870259 w 1195280"/>
                <a:gd name="connsiteY188" fmla="*/ 55312 h 972482"/>
                <a:gd name="connsiteX189" fmla="*/ 869871 w 1195280"/>
                <a:gd name="connsiteY189" fmla="*/ 54924 h 972482"/>
                <a:gd name="connsiteX190" fmla="*/ 868708 w 1195280"/>
                <a:gd name="connsiteY190" fmla="*/ 52340 h 972482"/>
                <a:gd name="connsiteX191" fmla="*/ 868191 w 1195280"/>
                <a:gd name="connsiteY191" fmla="*/ 51693 h 972482"/>
                <a:gd name="connsiteX192" fmla="*/ 867415 w 1195280"/>
                <a:gd name="connsiteY192" fmla="*/ 50918 h 972482"/>
                <a:gd name="connsiteX193" fmla="*/ 865994 w 1195280"/>
                <a:gd name="connsiteY193" fmla="*/ 49496 h 972482"/>
                <a:gd name="connsiteX194" fmla="*/ 865089 w 1195280"/>
                <a:gd name="connsiteY194" fmla="*/ 48850 h 972482"/>
                <a:gd name="connsiteX195" fmla="*/ 864314 w 1195280"/>
                <a:gd name="connsiteY195" fmla="*/ 48463 h 972482"/>
                <a:gd name="connsiteX196" fmla="*/ 863022 w 1195280"/>
                <a:gd name="connsiteY196" fmla="*/ 48333 h 972482"/>
                <a:gd name="connsiteX197" fmla="*/ 861083 w 1195280"/>
                <a:gd name="connsiteY197" fmla="*/ 48592 h 972482"/>
                <a:gd name="connsiteX198" fmla="*/ 860178 w 1195280"/>
                <a:gd name="connsiteY198" fmla="*/ 48463 h 972482"/>
                <a:gd name="connsiteX199" fmla="*/ 855526 w 1195280"/>
                <a:gd name="connsiteY199" fmla="*/ 46524 h 972482"/>
                <a:gd name="connsiteX200" fmla="*/ 854234 w 1195280"/>
                <a:gd name="connsiteY200" fmla="*/ 46395 h 972482"/>
                <a:gd name="connsiteX201" fmla="*/ 853071 w 1195280"/>
                <a:gd name="connsiteY201" fmla="*/ 46524 h 972482"/>
                <a:gd name="connsiteX202" fmla="*/ 852424 w 1195280"/>
                <a:gd name="connsiteY202" fmla="*/ 46524 h 972482"/>
                <a:gd name="connsiteX203" fmla="*/ 847643 w 1195280"/>
                <a:gd name="connsiteY203" fmla="*/ 45619 h 972482"/>
                <a:gd name="connsiteX204" fmla="*/ 845058 w 1195280"/>
                <a:gd name="connsiteY204" fmla="*/ 44456 h 972482"/>
                <a:gd name="connsiteX205" fmla="*/ 842215 w 1195280"/>
                <a:gd name="connsiteY205" fmla="*/ 43552 h 972482"/>
                <a:gd name="connsiteX206" fmla="*/ 840276 w 1195280"/>
                <a:gd name="connsiteY206" fmla="*/ 43293 h 972482"/>
                <a:gd name="connsiteX207" fmla="*/ 836787 w 1195280"/>
                <a:gd name="connsiteY207" fmla="*/ 43552 h 972482"/>
                <a:gd name="connsiteX208" fmla="*/ 835495 w 1195280"/>
                <a:gd name="connsiteY208" fmla="*/ 43681 h 972482"/>
                <a:gd name="connsiteX209" fmla="*/ 834849 w 1195280"/>
                <a:gd name="connsiteY209" fmla="*/ 43810 h 972482"/>
                <a:gd name="connsiteX210" fmla="*/ 832652 w 1195280"/>
                <a:gd name="connsiteY210" fmla="*/ 44715 h 972482"/>
                <a:gd name="connsiteX211" fmla="*/ 829162 w 1195280"/>
                <a:gd name="connsiteY211" fmla="*/ 45490 h 972482"/>
                <a:gd name="connsiteX212" fmla="*/ 817919 w 1195280"/>
                <a:gd name="connsiteY212" fmla="*/ 50789 h 972482"/>
                <a:gd name="connsiteX213" fmla="*/ 817531 w 1195280"/>
                <a:gd name="connsiteY213" fmla="*/ 51176 h 972482"/>
                <a:gd name="connsiteX214" fmla="*/ 817144 w 1195280"/>
                <a:gd name="connsiteY214" fmla="*/ 51564 h 972482"/>
                <a:gd name="connsiteX215" fmla="*/ 816756 w 1195280"/>
                <a:gd name="connsiteY215" fmla="*/ 51952 h 972482"/>
                <a:gd name="connsiteX216" fmla="*/ 816627 w 1195280"/>
                <a:gd name="connsiteY216" fmla="*/ 52469 h 972482"/>
                <a:gd name="connsiteX217" fmla="*/ 816239 w 1195280"/>
                <a:gd name="connsiteY217" fmla="*/ 53761 h 972482"/>
                <a:gd name="connsiteX218" fmla="*/ 816110 w 1195280"/>
                <a:gd name="connsiteY218" fmla="*/ 54278 h 972482"/>
                <a:gd name="connsiteX219" fmla="*/ 815722 w 1195280"/>
                <a:gd name="connsiteY219" fmla="*/ 54666 h 972482"/>
                <a:gd name="connsiteX220" fmla="*/ 815334 w 1195280"/>
                <a:gd name="connsiteY220" fmla="*/ 55053 h 972482"/>
                <a:gd name="connsiteX221" fmla="*/ 814042 w 1195280"/>
                <a:gd name="connsiteY221" fmla="*/ 56087 h 972482"/>
                <a:gd name="connsiteX222" fmla="*/ 813396 w 1195280"/>
                <a:gd name="connsiteY222" fmla="*/ 56863 h 972482"/>
                <a:gd name="connsiteX223" fmla="*/ 813008 w 1195280"/>
                <a:gd name="connsiteY223" fmla="*/ 57250 h 972482"/>
                <a:gd name="connsiteX224" fmla="*/ 812233 w 1195280"/>
                <a:gd name="connsiteY224" fmla="*/ 58672 h 972482"/>
                <a:gd name="connsiteX225" fmla="*/ 811845 w 1195280"/>
                <a:gd name="connsiteY225" fmla="*/ 58930 h 972482"/>
                <a:gd name="connsiteX226" fmla="*/ 811328 w 1195280"/>
                <a:gd name="connsiteY226" fmla="*/ 59318 h 972482"/>
                <a:gd name="connsiteX227" fmla="*/ 806547 w 1195280"/>
                <a:gd name="connsiteY227" fmla="*/ 60481 h 972482"/>
                <a:gd name="connsiteX228" fmla="*/ 783672 w 1195280"/>
                <a:gd name="connsiteY228" fmla="*/ 54666 h 972482"/>
                <a:gd name="connsiteX229" fmla="*/ 783284 w 1195280"/>
                <a:gd name="connsiteY229" fmla="*/ 54537 h 972482"/>
                <a:gd name="connsiteX230" fmla="*/ 782380 w 1195280"/>
                <a:gd name="connsiteY230" fmla="*/ 53244 h 972482"/>
                <a:gd name="connsiteX231" fmla="*/ 781217 w 1195280"/>
                <a:gd name="connsiteY231" fmla="*/ 52340 h 972482"/>
                <a:gd name="connsiteX232" fmla="*/ 780312 w 1195280"/>
                <a:gd name="connsiteY232" fmla="*/ 51952 h 972482"/>
                <a:gd name="connsiteX233" fmla="*/ 770878 w 1195280"/>
                <a:gd name="connsiteY233" fmla="*/ 50013 h 972482"/>
                <a:gd name="connsiteX234" fmla="*/ 769844 w 1195280"/>
                <a:gd name="connsiteY234" fmla="*/ 49626 h 972482"/>
                <a:gd name="connsiteX235" fmla="*/ 768940 w 1195280"/>
                <a:gd name="connsiteY235" fmla="*/ 49109 h 972482"/>
                <a:gd name="connsiteX236" fmla="*/ 768423 w 1195280"/>
                <a:gd name="connsiteY236" fmla="*/ 48721 h 972482"/>
                <a:gd name="connsiteX237" fmla="*/ 767259 w 1195280"/>
                <a:gd name="connsiteY237" fmla="*/ 47429 h 972482"/>
                <a:gd name="connsiteX238" fmla="*/ 766743 w 1195280"/>
                <a:gd name="connsiteY238" fmla="*/ 46912 h 972482"/>
                <a:gd name="connsiteX239" fmla="*/ 766484 w 1195280"/>
                <a:gd name="connsiteY239" fmla="*/ 46266 h 972482"/>
                <a:gd name="connsiteX240" fmla="*/ 766226 w 1195280"/>
                <a:gd name="connsiteY240" fmla="*/ 45102 h 972482"/>
                <a:gd name="connsiteX241" fmla="*/ 766226 w 1195280"/>
                <a:gd name="connsiteY241" fmla="*/ 44456 h 972482"/>
                <a:gd name="connsiteX242" fmla="*/ 766226 w 1195280"/>
                <a:gd name="connsiteY242" fmla="*/ 43810 h 972482"/>
                <a:gd name="connsiteX243" fmla="*/ 766355 w 1195280"/>
                <a:gd name="connsiteY243" fmla="*/ 43293 h 972482"/>
                <a:gd name="connsiteX244" fmla="*/ 766613 w 1195280"/>
                <a:gd name="connsiteY244" fmla="*/ 42776 h 972482"/>
                <a:gd name="connsiteX245" fmla="*/ 766743 w 1195280"/>
                <a:gd name="connsiteY245" fmla="*/ 42130 h 972482"/>
                <a:gd name="connsiteX246" fmla="*/ 766743 w 1195280"/>
                <a:gd name="connsiteY246" fmla="*/ 41484 h 972482"/>
                <a:gd name="connsiteX247" fmla="*/ 766613 w 1195280"/>
                <a:gd name="connsiteY247" fmla="*/ 40192 h 972482"/>
                <a:gd name="connsiteX248" fmla="*/ 766484 w 1195280"/>
                <a:gd name="connsiteY248" fmla="*/ 39545 h 972482"/>
                <a:gd name="connsiteX249" fmla="*/ 766226 w 1195280"/>
                <a:gd name="connsiteY249" fmla="*/ 38899 h 972482"/>
                <a:gd name="connsiteX250" fmla="*/ 765321 w 1195280"/>
                <a:gd name="connsiteY250" fmla="*/ 37478 h 972482"/>
                <a:gd name="connsiteX251" fmla="*/ 765062 w 1195280"/>
                <a:gd name="connsiteY251" fmla="*/ 36831 h 972482"/>
                <a:gd name="connsiteX252" fmla="*/ 764804 w 1195280"/>
                <a:gd name="connsiteY252" fmla="*/ 35539 h 972482"/>
                <a:gd name="connsiteX253" fmla="*/ 765838 w 1195280"/>
                <a:gd name="connsiteY253" fmla="*/ 31791 h 972482"/>
                <a:gd name="connsiteX254" fmla="*/ 765967 w 1195280"/>
                <a:gd name="connsiteY254" fmla="*/ 30370 h 972482"/>
                <a:gd name="connsiteX255" fmla="*/ 766484 w 1195280"/>
                <a:gd name="connsiteY255" fmla="*/ 28690 h 972482"/>
                <a:gd name="connsiteX256" fmla="*/ 768423 w 1195280"/>
                <a:gd name="connsiteY256" fmla="*/ 25200 h 972482"/>
                <a:gd name="connsiteX257" fmla="*/ 769586 w 1195280"/>
                <a:gd name="connsiteY257" fmla="*/ 20548 h 972482"/>
                <a:gd name="connsiteX258" fmla="*/ 771136 w 1195280"/>
                <a:gd name="connsiteY258" fmla="*/ 17188 h 972482"/>
                <a:gd name="connsiteX259" fmla="*/ 773075 w 1195280"/>
                <a:gd name="connsiteY259" fmla="*/ 13957 h 972482"/>
                <a:gd name="connsiteX260" fmla="*/ 774497 w 1195280"/>
                <a:gd name="connsiteY260" fmla="*/ 11631 h 972482"/>
                <a:gd name="connsiteX261" fmla="*/ 774238 w 1195280"/>
                <a:gd name="connsiteY261" fmla="*/ 11243 h 972482"/>
                <a:gd name="connsiteX262" fmla="*/ 772558 w 1195280"/>
                <a:gd name="connsiteY262" fmla="*/ 10339 h 972482"/>
                <a:gd name="connsiteX263" fmla="*/ 771266 w 1195280"/>
                <a:gd name="connsiteY263" fmla="*/ 9305 h 972482"/>
                <a:gd name="connsiteX264" fmla="*/ 770361 w 1195280"/>
                <a:gd name="connsiteY264" fmla="*/ 8788 h 972482"/>
                <a:gd name="connsiteX265" fmla="*/ 769586 w 1195280"/>
                <a:gd name="connsiteY265" fmla="*/ 8529 h 972482"/>
                <a:gd name="connsiteX266" fmla="*/ 768940 w 1195280"/>
                <a:gd name="connsiteY266" fmla="*/ 8529 h 972482"/>
                <a:gd name="connsiteX267" fmla="*/ 768423 w 1195280"/>
                <a:gd name="connsiteY267" fmla="*/ 8659 h 972482"/>
                <a:gd name="connsiteX268" fmla="*/ 767647 w 1195280"/>
                <a:gd name="connsiteY268" fmla="*/ 8659 h 972482"/>
                <a:gd name="connsiteX269" fmla="*/ 766872 w 1195280"/>
                <a:gd name="connsiteY269" fmla="*/ 8529 h 972482"/>
                <a:gd name="connsiteX270" fmla="*/ 764933 w 1195280"/>
                <a:gd name="connsiteY270" fmla="*/ 7496 h 972482"/>
                <a:gd name="connsiteX271" fmla="*/ 764287 w 1195280"/>
                <a:gd name="connsiteY271" fmla="*/ 7237 h 972482"/>
                <a:gd name="connsiteX272" fmla="*/ 763641 w 1195280"/>
                <a:gd name="connsiteY272" fmla="*/ 7108 h 972482"/>
                <a:gd name="connsiteX273" fmla="*/ 762995 w 1195280"/>
                <a:gd name="connsiteY273" fmla="*/ 6979 h 972482"/>
                <a:gd name="connsiteX274" fmla="*/ 762349 w 1195280"/>
                <a:gd name="connsiteY274" fmla="*/ 7108 h 972482"/>
                <a:gd name="connsiteX275" fmla="*/ 761056 w 1195280"/>
                <a:gd name="connsiteY275" fmla="*/ 7366 h 972482"/>
                <a:gd name="connsiteX276" fmla="*/ 760410 w 1195280"/>
                <a:gd name="connsiteY276" fmla="*/ 7366 h 972482"/>
                <a:gd name="connsiteX277" fmla="*/ 757825 w 1195280"/>
                <a:gd name="connsiteY277" fmla="*/ 7237 h 972482"/>
                <a:gd name="connsiteX278" fmla="*/ 757179 w 1195280"/>
                <a:gd name="connsiteY278" fmla="*/ 6979 h 972482"/>
                <a:gd name="connsiteX279" fmla="*/ 754724 w 1195280"/>
                <a:gd name="connsiteY279" fmla="*/ 5169 h 972482"/>
                <a:gd name="connsiteX280" fmla="*/ 753302 w 1195280"/>
                <a:gd name="connsiteY280" fmla="*/ 4265 h 972482"/>
                <a:gd name="connsiteX281" fmla="*/ 752527 w 1195280"/>
                <a:gd name="connsiteY281" fmla="*/ 4006 h 972482"/>
                <a:gd name="connsiteX282" fmla="*/ 752010 w 1195280"/>
                <a:gd name="connsiteY282" fmla="*/ 3877 h 972482"/>
                <a:gd name="connsiteX283" fmla="*/ 751493 w 1195280"/>
                <a:gd name="connsiteY283" fmla="*/ 4006 h 972482"/>
                <a:gd name="connsiteX284" fmla="*/ 751105 w 1195280"/>
                <a:gd name="connsiteY284" fmla="*/ 4135 h 972482"/>
                <a:gd name="connsiteX285" fmla="*/ 749684 w 1195280"/>
                <a:gd name="connsiteY285" fmla="*/ 5040 h 972482"/>
                <a:gd name="connsiteX286" fmla="*/ 749167 w 1195280"/>
                <a:gd name="connsiteY286" fmla="*/ 5299 h 972482"/>
                <a:gd name="connsiteX287" fmla="*/ 748391 w 1195280"/>
                <a:gd name="connsiteY287" fmla="*/ 5299 h 972482"/>
                <a:gd name="connsiteX288" fmla="*/ 747487 w 1195280"/>
                <a:gd name="connsiteY288" fmla="*/ 5040 h 972482"/>
                <a:gd name="connsiteX289" fmla="*/ 745807 w 1195280"/>
                <a:gd name="connsiteY289" fmla="*/ 4394 h 972482"/>
                <a:gd name="connsiteX290" fmla="*/ 744644 w 1195280"/>
                <a:gd name="connsiteY290" fmla="*/ 4006 h 972482"/>
                <a:gd name="connsiteX291" fmla="*/ 743739 w 1195280"/>
                <a:gd name="connsiteY291" fmla="*/ 3877 h 972482"/>
                <a:gd name="connsiteX292" fmla="*/ 742576 w 1195280"/>
                <a:gd name="connsiteY292" fmla="*/ 3619 h 972482"/>
                <a:gd name="connsiteX293" fmla="*/ 741671 w 1195280"/>
                <a:gd name="connsiteY293" fmla="*/ 3489 h 972482"/>
                <a:gd name="connsiteX294" fmla="*/ 740896 w 1195280"/>
                <a:gd name="connsiteY294" fmla="*/ 3489 h 972482"/>
                <a:gd name="connsiteX295" fmla="*/ 740379 w 1195280"/>
                <a:gd name="connsiteY295" fmla="*/ 3619 h 972482"/>
                <a:gd name="connsiteX296" fmla="*/ 739474 w 1195280"/>
                <a:gd name="connsiteY296" fmla="*/ 4265 h 972482"/>
                <a:gd name="connsiteX297" fmla="*/ 738957 w 1195280"/>
                <a:gd name="connsiteY297" fmla="*/ 4394 h 972482"/>
                <a:gd name="connsiteX298" fmla="*/ 738182 w 1195280"/>
                <a:gd name="connsiteY298" fmla="*/ 4265 h 972482"/>
                <a:gd name="connsiteX299" fmla="*/ 737536 w 1195280"/>
                <a:gd name="connsiteY299" fmla="*/ 3619 h 972482"/>
                <a:gd name="connsiteX300" fmla="*/ 736890 w 1195280"/>
                <a:gd name="connsiteY300" fmla="*/ 3489 h 972482"/>
                <a:gd name="connsiteX301" fmla="*/ 736373 w 1195280"/>
                <a:gd name="connsiteY301" fmla="*/ 3360 h 972482"/>
                <a:gd name="connsiteX302" fmla="*/ 735080 w 1195280"/>
                <a:gd name="connsiteY302" fmla="*/ 3619 h 972482"/>
                <a:gd name="connsiteX303" fmla="*/ 734305 w 1195280"/>
                <a:gd name="connsiteY303" fmla="*/ 3489 h 972482"/>
                <a:gd name="connsiteX304" fmla="*/ 733271 w 1195280"/>
                <a:gd name="connsiteY304" fmla="*/ 2972 h 972482"/>
                <a:gd name="connsiteX305" fmla="*/ 731333 w 1195280"/>
                <a:gd name="connsiteY305" fmla="*/ 1938 h 972482"/>
                <a:gd name="connsiteX306" fmla="*/ 730299 w 1195280"/>
                <a:gd name="connsiteY306" fmla="*/ 1163 h 972482"/>
                <a:gd name="connsiteX307" fmla="*/ 729394 w 1195280"/>
                <a:gd name="connsiteY307" fmla="*/ 258 h 972482"/>
                <a:gd name="connsiteX308" fmla="*/ 728877 w 1195280"/>
                <a:gd name="connsiteY308" fmla="*/ 0 h 972482"/>
                <a:gd name="connsiteX309" fmla="*/ 728489 w 1195280"/>
                <a:gd name="connsiteY309" fmla="*/ 258 h 972482"/>
                <a:gd name="connsiteX310" fmla="*/ 728102 w 1195280"/>
                <a:gd name="connsiteY310" fmla="*/ 517 h 972482"/>
                <a:gd name="connsiteX311" fmla="*/ 727585 w 1195280"/>
                <a:gd name="connsiteY311" fmla="*/ 646 h 972482"/>
                <a:gd name="connsiteX312" fmla="*/ 727326 w 1195280"/>
                <a:gd name="connsiteY312" fmla="*/ 1034 h 972482"/>
                <a:gd name="connsiteX313" fmla="*/ 727068 w 1195280"/>
                <a:gd name="connsiteY313" fmla="*/ 1551 h 972482"/>
                <a:gd name="connsiteX314" fmla="*/ 726809 w 1195280"/>
                <a:gd name="connsiteY314" fmla="*/ 1938 h 972482"/>
                <a:gd name="connsiteX315" fmla="*/ 726163 w 1195280"/>
                <a:gd name="connsiteY315" fmla="*/ 2068 h 972482"/>
                <a:gd name="connsiteX316" fmla="*/ 725517 w 1195280"/>
                <a:gd name="connsiteY316" fmla="*/ 2068 h 972482"/>
                <a:gd name="connsiteX317" fmla="*/ 723708 w 1195280"/>
                <a:gd name="connsiteY317" fmla="*/ 1292 h 972482"/>
                <a:gd name="connsiteX318" fmla="*/ 723062 w 1195280"/>
                <a:gd name="connsiteY318" fmla="*/ 1163 h 972482"/>
                <a:gd name="connsiteX319" fmla="*/ 722416 w 1195280"/>
                <a:gd name="connsiteY319" fmla="*/ 1163 h 972482"/>
                <a:gd name="connsiteX320" fmla="*/ 721252 w 1195280"/>
                <a:gd name="connsiteY320" fmla="*/ 1551 h 972482"/>
                <a:gd name="connsiteX321" fmla="*/ 720477 w 1195280"/>
                <a:gd name="connsiteY321" fmla="*/ 1551 h 972482"/>
                <a:gd name="connsiteX322" fmla="*/ 718539 w 1195280"/>
                <a:gd name="connsiteY322" fmla="*/ 905 h 972482"/>
                <a:gd name="connsiteX323" fmla="*/ 717892 w 1195280"/>
                <a:gd name="connsiteY323" fmla="*/ 775 h 972482"/>
                <a:gd name="connsiteX324" fmla="*/ 717375 w 1195280"/>
                <a:gd name="connsiteY324" fmla="*/ 1034 h 972482"/>
                <a:gd name="connsiteX325" fmla="*/ 716471 w 1195280"/>
                <a:gd name="connsiteY325" fmla="*/ 1551 h 972482"/>
                <a:gd name="connsiteX326" fmla="*/ 714532 w 1195280"/>
                <a:gd name="connsiteY326" fmla="*/ 3231 h 972482"/>
                <a:gd name="connsiteX327" fmla="*/ 713628 w 1195280"/>
                <a:gd name="connsiteY327" fmla="*/ 3877 h 972482"/>
                <a:gd name="connsiteX328" fmla="*/ 712335 w 1195280"/>
                <a:gd name="connsiteY328" fmla="*/ 4006 h 972482"/>
                <a:gd name="connsiteX329" fmla="*/ 708846 w 1195280"/>
                <a:gd name="connsiteY329" fmla="*/ 4911 h 972482"/>
                <a:gd name="connsiteX330" fmla="*/ 702126 w 1195280"/>
                <a:gd name="connsiteY330" fmla="*/ 8400 h 972482"/>
                <a:gd name="connsiteX331" fmla="*/ 691916 w 1195280"/>
                <a:gd name="connsiteY331" fmla="*/ 11760 h 972482"/>
                <a:gd name="connsiteX332" fmla="*/ 690624 w 1195280"/>
                <a:gd name="connsiteY332" fmla="*/ 12536 h 972482"/>
                <a:gd name="connsiteX333" fmla="*/ 689590 w 1195280"/>
                <a:gd name="connsiteY333" fmla="*/ 13182 h 972482"/>
                <a:gd name="connsiteX334" fmla="*/ 686488 w 1195280"/>
                <a:gd name="connsiteY334" fmla="*/ 14862 h 972482"/>
                <a:gd name="connsiteX335" fmla="*/ 683904 w 1195280"/>
                <a:gd name="connsiteY335" fmla="*/ 16930 h 972482"/>
                <a:gd name="connsiteX336" fmla="*/ 682224 w 1195280"/>
                <a:gd name="connsiteY336" fmla="*/ 17576 h 972482"/>
                <a:gd name="connsiteX337" fmla="*/ 681448 w 1195280"/>
                <a:gd name="connsiteY337" fmla="*/ 18093 h 972482"/>
                <a:gd name="connsiteX338" fmla="*/ 680802 w 1195280"/>
                <a:gd name="connsiteY338" fmla="*/ 18610 h 972482"/>
                <a:gd name="connsiteX339" fmla="*/ 680415 w 1195280"/>
                <a:gd name="connsiteY339" fmla="*/ 19256 h 972482"/>
                <a:gd name="connsiteX340" fmla="*/ 678476 w 1195280"/>
                <a:gd name="connsiteY340" fmla="*/ 20677 h 972482"/>
                <a:gd name="connsiteX341" fmla="*/ 676667 w 1195280"/>
                <a:gd name="connsiteY341" fmla="*/ 22487 h 972482"/>
                <a:gd name="connsiteX342" fmla="*/ 665940 w 1195280"/>
                <a:gd name="connsiteY342" fmla="*/ 29336 h 972482"/>
                <a:gd name="connsiteX343" fmla="*/ 664648 w 1195280"/>
                <a:gd name="connsiteY343" fmla="*/ 29982 h 972482"/>
                <a:gd name="connsiteX344" fmla="*/ 663356 w 1195280"/>
                <a:gd name="connsiteY344" fmla="*/ 30370 h 972482"/>
                <a:gd name="connsiteX345" fmla="*/ 662710 w 1195280"/>
                <a:gd name="connsiteY345" fmla="*/ 30757 h 972482"/>
                <a:gd name="connsiteX346" fmla="*/ 662451 w 1195280"/>
                <a:gd name="connsiteY346" fmla="*/ 31274 h 972482"/>
                <a:gd name="connsiteX347" fmla="*/ 662580 w 1195280"/>
                <a:gd name="connsiteY347" fmla="*/ 31791 h 972482"/>
                <a:gd name="connsiteX348" fmla="*/ 662322 w 1195280"/>
                <a:gd name="connsiteY348" fmla="*/ 32825 h 972482"/>
                <a:gd name="connsiteX349" fmla="*/ 660642 w 1195280"/>
                <a:gd name="connsiteY349" fmla="*/ 35281 h 972482"/>
                <a:gd name="connsiteX350" fmla="*/ 660513 w 1195280"/>
                <a:gd name="connsiteY350" fmla="*/ 35798 h 972482"/>
                <a:gd name="connsiteX351" fmla="*/ 660383 w 1195280"/>
                <a:gd name="connsiteY351" fmla="*/ 36831 h 972482"/>
                <a:gd name="connsiteX352" fmla="*/ 660254 w 1195280"/>
                <a:gd name="connsiteY352" fmla="*/ 37348 h 972482"/>
                <a:gd name="connsiteX353" fmla="*/ 657799 w 1195280"/>
                <a:gd name="connsiteY353" fmla="*/ 39545 h 972482"/>
                <a:gd name="connsiteX354" fmla="*/ 634278 w 1195280"/>
                <a:gd name="connsiteY354" fmla="*/ 52856 h 972482"/>
                <a:gd name="connsiteX355" fmla="*/ 632210 w 1195280"/>
                <a:gd name="connsiteY355" fmla="*/ 53503 h 972482"/>
                <a:gd name="connsiteX356" fmla="*/ 631564 w 1195280"/>
                <a:gd name="connsiteY356" fmla="*/ 53632 h 972482"/>
                <a:gd name="connsiteX357" fmla="*/ 630918 w 1195280"/>
                <a:gd name="connsiteY357" fmla="*/ 53503 h 972482"/>
                <a:gd name="connsiteX358" fmla="*/ 630272 w 1195280"/>
                <a:gd name="connsiteY358" fmla="*/ 53373 h 972482"/>
                <a:gd name="connsiteX359" fmla="*/ 629626 w 1195280"/>
                <a:gd name="connsiteY359" fmla="*/ 53373 h 972482"/>
                <a:gd name="connsiteX360" fmla="*/ 628463 w 1195280"/>
                <a:gd name="connsiteY360" fmla="*/ 53503 h 972482"/>
                <a:gd name="connsiteX361" fmla="*/ 626783 w 1195280"/>
                <a:gd name="connsiteY361" fmla="*/ 54149 h 972482"/>
                <a:gd name="connsiteX362" fmla="*/ 626266 w 1195280"/>
                <a:gd name="connsiteY362" fmla="*/ 54149 h 972482"/>
                <a:gd name="connsiteX363" fmla="*/ 623939 w 1195280"/>
                <a:gd name="connsiteY363" fmla="*/ 54149 h 972482"/>
                <a:gd name="connsiteX364" fmla="*/ 622647 w 1195280"/>
                <a:gd name="connsiteY364" fmla="*/ 54407 h 972482"/>
                <a:gd name="connsiteX365" fmla="*/ 621743 w 1195280"/>
                <a:gd name="connsiteY365" fmla="*/ 54795 h 972482"/>
                <a:gd name="connsiteX366" fmla="*/ 621226 w 1195280"/>
                <a:gd name="connsiteY366" fmla="*/ 55183 h 972482"/>
                <a:gd name="connsiteX367" fmla="*/ 620709 w 1195280"/>
                <a:gd name="connsiteY367" fmla="*/ 55570 h 972482"/>
                <a:gd name="connsiteX368" fmla="*/ 620450 w 1195280"/>
                <a:gd name="connsiteY368" fmla="*/ 55958 h 972482"/>
                <a:gd name="connsiteX369" fmla="*/ 619933 w 1195280"/>
                <a:gd name="connsiteY369" fmla="*/ 57121 h 972482"/>
                <a:gd name="connsiteX370" fmla="*/ 619675 w 1195280"/>
                <a:gd name="connsiteY370" fmla="*/ 57638 h 972482"/>
                <a:gd name="connsiteX371" fmla="*/ 619416 w 1195280"/>
                <a:gd name="connsiteY371" fmla="*/ 58026 h 972482"/>
                <a:gd name="connsiteX372" fmla="*/ 615410 w 1195280"/>
                <a:gd name="connsiteY372" fmla="*/ 61386 h 972482"/>
                <a:gd name="connsiteX373" fmla="*/ 615022 w 1195280"/>
                <a:gd name="connsiteY373" fmla="*/ 61903 h 972482"/>
                <a:gd name="connsiteX374" fmla="*/ 614376 w 1195280"/>
                <a:gd name="connsiteY374" fmla="*/ 63454 h 972482"/>
                <a:gd name="connsiteX375" fmla="*/ 614118 w 1195280"/>
                <a:gd name="connsiteY375" fmla="*/ 63971 h 972482"/>
                <a:gd name="connsiteX376" fmla="*/ 613213 w 1195280"/>
                <a:gd name="connsiteY376" fmla="*/ 64875 h 972482"/>
                <a:gd name="connsiteX377" fmla="*/ 612438 w 1195280"/>
                <a:gd name="connsiteY377" fmla="*/ 65651 h 972482"/>
                <a:gd name="connsiteX378" fmla="*/ 611921 w 1195280"/>
                <a:gd name="connsiteY378" fmla="*/ 66297 h 972482"/>
                <a:gd name="connsiteX379" fmla="*/ 610887 w 1195280"/>
                <a:gd name="connsiteY379" fmla="*/ 67848 h 972482"/>
                <a:gd name="connsiteX380" fmla="*/ 610241 w 1195280"/>
                <a:gd name="connsiteY380" fmla="*/ 68235 h 972482"/>
                <a:gd name="connsiteX381" fmla="*/ 609465 w 1195280"/>
                <a:gd name="connsiteY381" fmla="*/ 68494 h 972482"/>
                <a:gd name="connsiteX382" fmla="*/ 607527 w 1195280"/>
                <a:gd name="connsiteY382" fmla="*/ 69011 h 972482"/>
                <a:gd name="connsiteX383" fmla="*/ 606881 w 1195280"/>
                <a:gd name="connsiteY383" fmla="*/ 69398 h 972482"/>
                <a:gd name="connsiteX384" fmla="*/ 606364 w 1195280"/>
                <a:gd name="connsiteY384" fmla="*/ 69786 h 972482"/>
                <a:gd name="connsiteX385" fmla="*/ 604684 w 1195280"/>
                <a:gd name="connsiteY385" fmla="*/ 71466 h 972482"/>
                <a:gd name="connsiteX386" fmla="*/ 601711 w 1195280"/>
                <a:gd name="connsiteY386" fmla="*/ 73922 h 972482"/>
                <a:gd name="connsiteX387" fmla="*/ 597834 w 1195280"/>
                <a:gd name="connsiteY387" fmla="*/ 76248 h 972482"/>
                <a:gd name="connsiteX388" fmla="*/ 595767 w 1195280"/>
                <a:gd name="connsiteY388" fmla="*/ 77152 h 972482"/>
                <a:gd name="connsiteX389" fmla="*/ 592536 w 1195280"/>
                <a:gd name="connsiteY389" fmla="*/ 77669 h 972482"/>
                <a:gd name="connsiteX390" fmla="*/ 592019 w 1195280"/>
                <a:gd name="connsiteY390" fmla="*/ 77669 h 972482"/>
                <a:gd name="connsiteX391" fmla="*/ 591631 w 1195280"/>
                <a:gd name="connsiteY391" fmla="*/ 77540 h 972482"/>
                <a:gd name="connsiteX392" fmla="*/ 590339 w 1195280"/>
                <a:gd name="connsiteY392" fmla="*/ 76894 h 972482"/>
                <a:gd name="connsiteX393" fmla="*/ 589693 w 1195280"/>
                <a:gd name="connsiteY393" fmla="*/ 76765 h 972482"/>
                <a:gd name="connsiteX394" fmla="*/ 589176 w 1195280"/>
                <a:gd name="connsiteY394" fmla="*/ 76506 h 972482"/>
                <a:gd name="connsiteX395" fmla="*/ 588530 w 1195280"/>
                <a:gd name="connsiteY395" fmla="*/ 76506 h 972482"/>
                <a:gd name="connsiteX396" fmla="*/ 585945 w 1195280"/>
                <a:gd name="connsiteY396" fmla="*/ 76635 h 972482"/>
                <a:gd name="connsiteX397" fmla="*/ 585428 w 1195280"/>
                <a:gd name="connsiteY397" fmla="*/ 77023 h 972482"/>
                <a:gd name="connsiteX398" fmla="*/ 585169 w 1195280"/>
                <a:gd name="connsiteY398" fmla="*/ 77540 h 972482"/>
                <a:gd name="connsiteX399" fmla="*/ 584911 w 1195280"/>
                <a:gd name="connsiteY399" fmla="*/ 78057 h 972482"/>
                <a:gd name="connsiteX400" fmla="*/ 584653 w 1195280"/>
                <a:gd name="connsiteY400" fmla="*/ 78574 h 972482"/>
                <a:gd name="connsiteX401" fmla="*/ 583619 w 1195280"/>
                <a:gd name="connsiteY401" fmla="*/ 79737 h 972482"/>
                <a:gd name="connsiteX402" fmla="*/ 582714 w 1195280"/>
                <a:gd name="connsiteY402" fmla="*/ 80900 h 972482"/>
                <a:gd name="connsiteX403" fmla="*/ 581551 w 1195280"/>
                <a:gd name="connsiteY403" fmla="*/ 82193 h 972482"/>
                <a:gd name="connsiteX404" fmla="*/ 581163 w 1195280"/>
                <a:gd name="connsiteY404" fmla="*/ 82709 h 972482"/>
                <a:gd name="connsiteX405" fmla="*/ 580776 w 1195280"/>
                <a:gd name="connsiteY405" fmla="*/ 83743 h 972482"/>
                <a:gd name="connsiteX406" fmla="*/ 580646 w 1195280"/>
                <a:gd name="connsiteY406" fmla="*/ 84002 h 972482"/>
                <a:gd name="connsiteX407" fmla="*/ 580259 w 1195280"/>
                <a:gd name="connsiteY407" fmla="*/ 84389 h 972482"/>
                <a:gd name="connsiteX408" fmla="*/ 578320 w 1195280"/>
                <a:gd name="connsiteY408" fmla="*/ 86328 h 972482"/>
                <a:gd name="connsiteX409" fmla="*/ 576769 w 1195280"/>
                <a:gd name="connsiteY409" fmla="*/ 87103 h 972482"/>
                <a:gd name="connsiteX410" fmla="*/ 574960 w 1195280"/>
                <a:gd name="connsiteY410" fmla="*/ 88396 h 972482"/>
                <a:gd name="connsiteX411" fmla="*/ 574572 w 1195280"/>
                <a:gd name="connsiteY411" fmla="*/ 88913 h 972482"/>
                <a:gd name="connsiteX412" fmla="*/ 574185 w 1195280"/>
                <a:gd name="connsiteY412" fmla="*/ 90076 h 972482"/>
                <a:gd name="connsiteX413" fmla="*/ 573668 w 1195280"/>
                <a:gd name="connsiteY413" fmla="*/ 92531 h 972482"/>
                <a:gd name="connsiteX414" fmla="*/ 572505 w 1195280"/>
                <a:gd name="connsiteY414" fmla="*/ 94082 h 972482"/>
                <a:gd name="connsiteX415" fmla="*/ 568628 w 1195280"/>
                <a:gd name="connsiteY415" fmla="*/ 97442 h 972482"/>
                <a:gd name="connsiteX416" fmla="*/ 565268 w 1195280"/>
                <a:gd name="connsiteY416" fmla="*/ 99639 h 972482"/>
                <a:gd name="connsiteX417" fmla="*/ 564621 w 1195280"/>
                <a:gd name="connsiteY417" fmla="*/ 99768 h 972482"/>
                <a:gd name="connsiteX418" fmla="*/ 563329 w 1195280"/>
                <a:gd name="connsiteY418" fmla="*/ 99768 h 972482"/>
                <a:gd name="connsiteX419" fmla="*/ 555446 w 1195280"/>
                <a:gd name="connsiteY419" fmla="*/ 98605 h 972482"/>
                <a:gd name="connsiteX420" fmla="*/ 554153 w 1195280"/>
                <a:gd name="connsiteY420" fmla="*/ 98217 h 972482"/>
                <a:gd name="connsiteX421" fmla="*/ 548338 w 1195280"/>
                <a:gd name="connsiteY421" fmla="*/ 97442 h 972482"/>
                <a:gd name="connsiteX422" fmla="*/ 547046 w 1195280"/>
                <a:gd name="connsiteY422" fmla="*/ 97442 h 972482"/>
                <a:gd name="connsiteX423" fmla="*/ 546012 w 1195280"/>
                <a:gd name="connsiteY423" fmla="*/ 97701 h 972482"/>
                <a:gd name="connsiteX424" fmla="*/ 545624 w 1195280"/>
                <a:gd name="connsiteY424" fmla="*/ 98088 h 972482"/>
                <a:gd name="connsiteX425" fmla="*/ 544978 w 1195280"/>
                <a:gd name="connsiteY425" fmla="*/ 98993 h 972482"/>
                <a:gd name="connsiteX426" fmla="*/ 543944 w 1195280"/>
                <a:gd name="connsiteY426" fmla="*/ 100931 h 972482"/>
                <a:gd name="connsiteX427" fmla="*/ 543427 w 1195280"/>
                <a:gd name="connsiteY427" fmla="*/ 101836 h 972482"/>
                <a:gd name="connsiteX428" fmla="*/ 543039 w 1195280"/>
                <a:gd name="connsiteY428" fmla="*/ 102224 h 972482"/>
                <a:gd name="connsiteX429" fmla="*/ 541747 w 1195280"/>
                <a:gd name="connsiteY429" fmla="*/ 104033 h 972482"/>
                <a:gd name="connsiteX430" fmla="*/ 541489 w 1195280"/>
                <a:gd name="connsiteY430" fmla="*/ 104550 h 972482"/>
                <a:gd name="connsiteX431" fmla="*/ 540842 w 1195280"/>
                <a:gd name="connsiteY431" fmla="*/ 104938 h 972482"/>
                <a:gd name="connsiteX432" fmla="*/ 540196 w 1195280"/>
                <a:gd name="connsiteY432" fmla="*/ 105325 h 972482"/>
                <a:gd name="connsiteX433" fmla="*/ 534768 w 1195280"/>
                <a:gd name="connsiteY433" fmla="*/ 107522 h 972482"/>
                <a:gd name="connsiteX434" fmla="*/ 534122 w 1195280"/>
                <a:gd name="connsiteY434" fmla="*/ 108039 h 972482"/>
                <a:gd name="connsiteX435" fmla="*/ 533347 w 1195280"/>
                <a:gd name="connsiteY435" fmla="*/ 108685 h 972482"/>
                <a:gd name="connsiteX436" fmla="*/ 531925 w 1195280"/>
                <a:gd name="connsiteY436" fmla="*/ 110365 h 972482"/>
                <a:gd name="connsiteX437" fmla="*/ 531021 w 1195280"/>
                <a:gd name="connsiteY437" fmla="*/ 110882 h 972482"/>
                <a:gd name="connsiteX438" fmla="*/ 530245 w 1195280"/>
                <a:gd name="connsiteY438" fmla="*/ 111012 h 972482"/>
                <a:gd name="connsiteX439" fmla="*/ 529599 w 1195280"/>
                <a:gd name="connsiteY439" fmla="*/ 110495 h 972482"/>
                <a:gd name="connsiteX440" fmla="*/ 529341 w 1195280"/>
                <a:gd name="connsiteY440" fmla="*/ 109978 h 972482"/>
                <a:gd name="connsiteX441" fmla="*/ 529082 w 1195280"/>
                <a:gd name="connsiteY441" fmla="*/ 109461 h 972482"/>
                <a:gd name="connsiteX442" fmla="*/ 529211 w 1195280"/>
                <a:gd name="connsiteY442" fmla="*/ 108815 h 972482"/>
                <a:gd name="connsiteX443" fmla="*/ 529341 w 1195280"/>
                <a:gd name="connsiteY443" fmla="*/ 108168 h 972482"/>
                <a:gd name="connsiteX444" fmla="*/ 530245 w 1195280"/>
                <a:gd name="connsiteY444" fmla="*/ 106101 h 972482"/>
                <a:gd name="connsiteX445" fmla="*/ 530633 w 1195280"/>
                <a:gd name="connsiteY445" fmla="*/ 105584 h 972482"/>
                <a:gd name="connsiteX446" fmla="*/ 531925 w 1195280"/>
                <a:gd name="connsiteY446" fmla="*/ 103904 h 972482"/>
                <a:gd name="connsiteX447" fmla="*/ 534122 w 1195280"/>
                <a:gd name="connsiteY447" fmla="*/ 100027 h 972482"/>
                <a:gd name="connsiteX448" fmla="*/ 536061 w 1195280"/>
                <a:gd name="connsiteY448" fmla="*/ 94987 h 972482"/>
                <a:gd name="connsiteX449" fmla="*/ 536836 w 1195280"/>
                <a:gd name="connsiteY449" fmla="*/ 91239 h 972482"/>
                <a:gd name="connsiteX450" fmla="*/ 538645 w 1195280"/>
                <a:gd name="connsiteY450" fmla="*/ 86845 h 972482"/>
                <a:gd name="connsiteX451" fmla="*/ 539162 w 1195280"/>
                <a:gd name="connsiteY451" fmla="*/ 85940 h 972482"/>
                <a:gd name="connsiteX452" fmla="*/ 540584 w 1195280"/>
                <a:gd name="connsiteY452" fmla="*/ 84260 h 972482"/>
                <a:gd name="connsiteX453" fmla="*/ 540713 w 1195280"/>
                <a:gd name="connsiteY453" fmla="*/ 83872 h 972482"/>
                <a:gd name="connsiteX454" fmla="*/ 540842 w 1195280"/>
                <a:gd name="connsiteY454" fmla="*/ 83485 h 972482"/>
                <a:gd name="connsiteX455" fmla="*/ 540842 w 1195280"/>
                <a:gd name="connsiteY455" fmla="*/ 82968 h 972482"/>
                <a:gd name="connsiteX456" fmla="*/ 540713 w 1195280"/>
                <a:gd name="connsiteY456" fmla="*/ 82451 h 972482"/>
                <a:gd name="connsiteX457" fmla="*/ 540584 w 1195280"/>
                <a:gd name="connsiteY457" fmla="*/ 81934 h 972482"/>
                <a:gd name="connsiteX458" fmla="*/ 537870 w 1195280"/>
                <a:gd name="connsiteY458" fmla="*/ 77928 h 972482"/>
                <a:gd name="connsiteX459" fmla="*/ 537612 w 1195280"/>
                <a:gd name="connsiteY459" fmla="*/ 77411 h 972482"/>
                <a:gd name="connsiteX460" fmla="*/ 537482 w 1195280"/>
                <a:gd name="connsiteY460" fmla="*/ 76765 h 972482"/>
                <a:gd name="connsiteX461" fmla="*/ 537353 w 1195280"/>
                <a:gd name="connsiteY461" fmla="*/ 74697 h 972482"/>
                <a:gd name="connsiteX462" fmla="*/ 537353 w 1195280"/>
                <a:gd name="connsiteY462" fmla="*/ 74051 h 972482"/>
                <a:gd name="connsiteX463" fmla="*/ 536061 w 1195280"/>
                <a:gd name="connsiteY463" fmla="*/ 71466 h 972482"/>
                <a:gd name="connsiteX464" fmla="*/ 535802 w 1195280"/>
                <a:gd name="connsiteY464" fmla="*/ 70432 h 972482"/>
                <a:gd name="connsiteX465" fmla="*/ 535673 w 1195280"/>
                <a:gd name="connsiteY465" fmla="*/ 69269 h 972482"/>
                <a:gd name="connsiteX466" fmla="*/ 532571 w 1195280"/>
                <a:gd name="connsiteY466" fmla="*/ 70949 h 972482"/>
                <a:gd name="connsiteX467" fmla="*/ 531538 w 1195280"/>
                <a:gd name="connsiteY467" fmla="*/ 71983 h 972482"/>
                <a:gd name="connsiteX468" fmla="*/ 530762 w 1195280"/>
                <a:gd name="connsiteY468" fmla="*/ 73792 h 972482"/>
                <a:gd name="connsiteX469" fmla="*/ 529858 w 1195280"/>
                <a:gd name="connsiteY469" fmla="*/ 75214 h 972482"/>
                <a:gd name="connsiteX470" fmla="*/ 528694 w 1195280"/>
                <a:gd name="connsiteY470" fmla="*/ 75989 h 972482"/>
                <a:gd name="connsiteX471" fmla="*/ 527919 w 1195280"/>
                <a:gd name="connsiteY471" fmla="*/ 76248 h 972482"/>
                <a:gd name="connsiteX472" fmla="*/ 527273 w 1195280"/>
                <a:gd name="connsiteY472" fmla="*/ 76248 h 972482"/>
                <a:gd name="connsiteX473" fmla="*/ 525722 w 1195280"/>
                <a:gd name="connsiteY473" fmla="*/ 75472 h 972482"/>
                <a:gd name="connsiteX474" fmla="*/ 524688 w 1195280"/>
                <a:gd name="connsiteY474" fmla="*/ 75472 h 972482"/>
                <a:gd name="connsiteX475" fmla="*/ 523267 w 1195280"/>
                <a:gd name="connsiteY475" fmla="*/ 75601 h 972482"/>
                <a:gd name="connsiteX476" fmla="*/ 518614 w 1195280"/>
                <a:gd name="connsiteY476" fmla="*/ 76635 h 972482"/>
                <a:gd name="connsiteX477" fmla="*/ 517580 w 1195280"/>
                <a:gd name="connsiteY477" fmla="*/ 76635 h 972482"/>
                <a:gd name="connsiteX478" fmla="*/ 517063 w 1195280"/>
                <a:gd name="connsiteY478" fmla="*/ 76377 h 972482"/>
                <a:gd name="connsiteX479" fmla="*/ 515383 w 1195280"/>
                <a:gd name="connsiteY479" fmla="*/ 74955 h 972482"/>
                <a:gd name="connsiteX480" fmla="*/ 514996 w 1195280"/>
                <a:gd name="connsiteY480" fmla="*/ 74697 h 972482"/>
                <a:gd name="connsiteX481" fmla="*/ 514479 w 1195280"/>
                <a:gd name="connsiteY481" fmla="*/ 74438 h 972482"/>
                <a:gd name="connsiteX482" fmla="*/ 511765 w 1195280"/>
                <a:gd name="connsiteY482" fmla="*/ 74180 h 972482"/>
                <a:gd name="connsiteX483" fmla="*/ 508663 w 1195280"/>
                <a:gd name="connsiteY483" fmla="*/ 74309 h 972482"/>
                <a:gd name="connsiteX484" fmla="*/ 507242 w 1195280"/>
                <a:gd name="connsiteY484" fmla="*/ 74051 h 972482"/>
                <a:gd name="connsiteX485" fmla="*/ 506337 w 1195280"/>
                <a:gd name="connsiteY485" fmla="*/ 73792 h 972482"/>
                <a:gd name="connsiteX486" fmla="*/ 506079 w 1195280"/>
                <a:gd name="connsiteY486" fmla="*/ 73275 h 972482"/>
                <a:gd name="connsiteX487" fmla="*/ 504140 w 1195280"/>
                <a:gd name="connsiteY487" fmla="*/ 67072 h 972482"/>
                <a:gd name="connsiteX488" fmla="*/ 503752 w 1195280"/>
                <a:gd name="connsiteY488" fmla="*/ 66038 h 972482"/>
                <a:gd name="connsiteX489" fmla="*/ 503365 w 1195280"/>
                <a:gd name="connsiteY489" fmla="*/ 65651 h 972482"/>
                <a:gd name="connsiteX490" fmla="*/ 500392 w 1195280"/>
                <a:gd name="connsiteY490" fmla="*/ 61774 h 972482"/>
                <a:gd name="connsiteX491" fmla="*/ 498454 w 1195280"/>
                <a:gd name="connsiteY491" fmla="*/ 59964 h 972482"/>
                <a:gd name="connsiteX492" fmla="*/ 496645 w 1195280"/>
                <a:gd name="connsiteY492" fmla="*/ 58801 h 972482"/>
                <a:gd name="connsiteX493" fmla="*/ 488115 w 1195280"/>
                <a:gd name="connsiteY493" fmla="*/ 54407 h 972482"/>
                <a:gd name="connsiteX494" fmla="*/ 485789 w 1195280"/>
                <a:gd name="connsiteY494" fmla="*/ 52727 h 972482"/>
                <a:gd name="connsiteX495" fmla="*/ 484238 w 1195280"/>
                <a:gd name="connsiteY495" fmla="*/ 52081 h 972482"/>
                <a:gd name="connsiteX496" fmla="*/ 483463 w 1195280"/>
                <a:gd name="connsiteY496" fmla="*/ 51952 h 972482"/>
                <a:gd name="connsiteX497" fmla="*/ 482816 w 1195280"/>
                <a:gd name="connsiteY497" fmla="*/ 52210 h 972482"/>
                <a:gd name="connsiteX498" fmla="*/ 477260 w 1195280"/>
                <a:gd name="connsiteY498" fmla="*/ 58672 h 972482"/>
                <a:gd name="connsiteX499" fmla="*/ 476096 w 1195280"/>
                <a:gd name="connsiteY499" fmla="*/ 60740 h 972482"/>
                <a:gd name="connsiteX500" fmla="*/ 475967 w 1195280"/>
                <a:gd name="connsiteY500" fmla="*/ 61257 h 972482"/>
                <a:gd name="connsiteX501" fmla="*/ 475838 w 1195280"/>
                <a:gd name="connsiteY501" fmla="*/ 61903 h 972482"/>
                <a:gd name="connsiteX502" fmla="*/ 475838 w 1195280"/>
                <a:gd name="connsiteY502" fmla="*/ 62549 h 972482"/>
                <a:gd name="connsiteX503" fmla="*/ 476096 w 1195280"/>
                <a:gd name="connsiteY503" fmla="*/ 64487 h 972482"/>
                <a:gd name="connsiteX504" fmla="*/ 476226 w 1195280"/>
                <a:gd name="connsiteY504" fmla="*/ 65004 h 972482"/>
                <a:gd name="connsiteX505" fmla="*/ 476484 w 1195280"/>
                <a:gd name="connsiteY505" fmla="*/ 65521 h 972482"/>
                <a:gd name="connsiteX506" fmla="*/ 478164 w 1195280"/>
                <a:gd name="connsiteY506" fmla="*/ 67718 h 972482"/>
                <a:gd name="connsiteX507" fmla="*/ 478293 w 1195280"/>
                <a:gd name="connsiteY507" fmla="*/ 68235 h 972482"/>
                <a:gd name="connsiteX508" fmla="*/ 478423 w 1195280"/>
                <a:gd name="connsiteY508" fmla="*/ 68752 h 972482"/>
                <a:gd name="connsiteX509" fmla="*/ 478552 w 1195280"/>
                <a:gd name="connsiteY509" fmla="*/ 69398 h 972482"/>
                <a:gd name="connsiteX510" fmla="*/ 478423 w 1195280"/>
                <a:gd name="connsiteY510" fmla="*/ 69915 h 972482"/>
                <a:gd name="connsiteX511" fmla="*/ 478164 w 1195280"/>
                <a:gd name="connsiteY511" fmla="*/ 70432 h 972482"/>
                <a:gd name="connsiteX512" fmla="*/ 476613 w 1195280"/>
                <a:gd name="connsiteY512" fmla="*/ 72629 h 972482"/>
                <a:gd name="connsiteX513" fmla="*/ 476355 w 1195280"/>
                <a:gd name="connsiteY513" fmla="*/ 73275 h 972482"/>
                <a:gd name="connsiteX514" fmla="*/ 476355 w 1195280"/>
                <a:gd name="connsiteY514" fmla="*/ 73922 h 972482"/>
                <a:gd name="connsiteX515" fmla="*/ 476226 w 1195280"/>
                <a:gd name="connsiteY515" fmla="*/ 74568 h 972482"/>
                <a:gd name="connsiteX516" fmla="*/ 476484 w 1195280"/>
                <a:gd name="connsiteY516" fmla="*/ 75085 h 972482"/>
                <a:gd name="connsiteX517" fmla="*/ 477001 w 1195280"/>
                <a:gd name="connsiteY517" fmla="*/ 75989 h 972482"/>
                <a:gd name="connsiteX518" fmla="*/ 478035 w 1195280"/>
                <a:gd name="connsiteY518" fmla="*/ 77152 h 972482"/>
                <a:gd name="connsiteX519" fmla="*/ 478423 w 1195280"/>
                <a:gd name="connsiteY519" fmla="*/ 77540 h 972482"/>
                <a:gd name="connsiteX520" fmla="*/ 478552 w 1195280"/>
                <a:gd name="connsiteY520" fmla="*/ 78057 h 972482"/>
                <a:gd name="connsiteX521" fmla="*/ 478681 w 1195280"/>
                <a:gd name="connsiteY521" fmla="*/ 78703 h 972482"/>
                <a:gd name="connsiteX522" fmla="*/ 478423 w 1195280"/>
                <a:gd name="connsiteY522" fmla="*/ 81417 h 972482"/>
                <a:gd name="connsiteX523" fmla="*/ 478939 w 1195280"/>
                <a:gd name="connsiteY523" fmla="*/ 84777 h 972482"/>
                <a:gd name="connsiteX524" fmla="*/ 479715 w 1195280"/>
                <a:gd name="connsiteY524" fmla="*/ 86845 h 972482"/>
                <a:gd name="connsiteX525" fmla="*/ 479715 w 1195280"/>
                <a:gd name="connsiteY525" fmla="*/ 87491 h 972482"/>
                <a:gd name="connsiteX526" fmla="*/ 479456 w 1195280"/>
                <a:gd name="connsiteY526" fmla="*/ 88008 h 972482"/>
                <a:gd name="connsiteX527" fmla="*/ 477518 w 1195280"/>
                <a:gd name="connsiteY527" fmla="*/ 89946 h 972482"/>
                <a:gd name="connsiteX528" fmla="*/ 474804 w 1195280"/>
                <a:gd name="connsiteY528" fmla="*/ 91756 h 972482"/>
                <a:gd name="connsiteX529" fmla="*/ 473770 w 1195280"/>
                <a:gd name="connsiteY529" fmla="*/ 92143 h 972482"/>
                <a:gd name="connsiteX530" fmla="*/ 472865 w 1195280"/>
                <a:gd name="connsiteY530" fmla="*/ 92273 h 972482"/>
                <a:gd name="connsiteX531" fmla="*/ 472219 w 1195280"/>
                <a:gd name="connsiteY531" fmla="*/ 92143 h 972482"/>
                <a:gd name="connsiteX532" fmla="*/ 470022 w 1195280"/>
                <a:gd name="connsiteY532" fmla="*/ 91368 h 972482"/>
                <a:gd name="connsiteX533" fmla="*/ 459425 w 1195280"/>
                <a:gd name="connsiteY533" fmla="*/ 85811 h 972482"/>
                <a:gd name="connsiteX534" fmla="*/ 458391 w 1195280"/>
                <a:gd name="connsiteY534" fmla="*/ 85423 h 972482"/>
                <a:gd name="connsiteX535" fmla="*/ 455807 w 1195280"/>
                <a:gd name="connsiteY535" fmla="*/ 84777 h 972482"/>
                <a:gd name="connsiteX536" fmla="*/ 453222 w 1195280"/>
                <a:gd name="connsiteY536" fmla="*/ 84648 h 972482"/>
                <a:gd name="connsiteX537" fmla="*/ 448957 w 1195280"/>
                <a:gd name="connsiteY537" fmla="*/ 85165 h 972482"/>
                <a:gd name="connsiteX538" fmla="*/ 447794 w 1195280"/>
                <a:gd name="connsiteY538" fmla="*/ 85423 h 972482"/>
                <a:gd name="connsiteX539" fmla="*/ 445727 w 1195280"/>
                <a:gd name="connsiteY539" fmla="*/ 86199 h 972482"/>
                <a:gd name="connsiteX540" fmla="*/ 444822 w 1195280"/>
                <a:gd name="connsiteY540" fmla="*/ 86716 h 972482"/>
                <a:gd name="connsiteX541" fmla="*/ 444046 w 1195280"/>
                <a:gd name="connsiteY541" fmla="*/ 87491 h 972482"/>
                <a:gd name="connsiteX542" fmla="*/ 443400 w 1195280"/>
                <a:gd name="connsiteY542" fmla="*/ 88267 h 972482"/>
                <a:gd name="connsiteX543" fmla="*/ 443013 w 1195280"/>
                <a:gd name="connsiteY543" fmla="*/ 88654 h 972482"/>
                <a:gd name="connsiteX544" fmla="*/ 442754 w 1195280"/>
                <a:gd name="connsiteY544" fmla="*/ 89171 h 972482"/>
                <a:gd name="connsiteX545" fmla="*/ 442366 w 1195280"/>
                <a:gd name="connsiteY545" fmla="*/ 90205 h 972482"/>
                <a:gd name="connsiteX546" fmla="*/ 442366 w 1195280"/>
                <a:gd name="connsiteY546" fmla="*/ 90980 h 972482"/>
                <a:gd name="connsiteX547" fmla="*/ 438619 w 1195280"/>
                <a:gd name="connsiteY547" fmla="*/ 108944 h 972482"/>
                <a:gd name="connsiteX548" fmla="*/ 438748 w 1195280"/>
                <a:gd name="connsiteY548" fmla="*/ 110236 h 972482"/>
                <a:gd name="connsiteX549" fmla="*/ 439394 w 1195280"/>
                <a:gd name="connsiteY549" fmla="*/ 110365 h 972482"/>
                <a:gd name="connsiteX550" fmla="*/ 441074 w 1195280"/>
                <a:gd name="connsiteY550" fmla="*/ 109978 h 972482"/>
                <a:gd name="connsiteX551" fmla="*/ 442366 w 1195280"/>
                <a:gd name="connsiteY551" fmla="*/ 109848 h 972482"/>
                <a:gd name="connsiteX552" fmla="*/ 443013 w 1195280"/>
                <a:gd name="connsiteY552" fmla="*/ 109978 h 972482"/>
                <a:gd name="connsiteX553" fmla="*/ 443400 w 1195280"/>
                <a:gd name="connsiteY553" fmla="*/ 110365 h 972482"/>
                <a:gd name="connsiteX554" fmla="*/ 443788 w 1195280"/>
                <a:gd name="connsiteY554" fmla="*/ 111141 h 972482"/>
                <a:gd name="connsiteX555" fmla="*/ 444563 w 1195280"/>
                <a:gd name="connsiteY555" fmla="*/ 113208 h 972482"/>
                <a:gd name="connsiteX556" fmla="*/ 445985 w 1195280"/>
                <a:gd name="connsiteY556" fmla="*/ 115922 h 972482"/>
                <a:gd name="connsiteX557" fmla="*/ 446631 w 1195280"/>
                <a:gd name="connsiteY557" fmla="*/ 117602 h 972482"/>
                <a:gd name="connsiteX558" fmla="*/ 446760 w 1195280"/>
                <a:gd name="connsiteY558" fmla="*/ 118636 h 972482"/>
                <a:gd name="connsiteX559" fmla="*/ 446631 w 1195280"/>
                <a:gd name="connsiteY559" fmla="*/ 119412 h 972482"/>
                <a:gd name="connsiteX560" fmla="*/ 445339 w 1195280"/>
                <a:gd name="connsiteY560" fmla="*/ 121221 h 972482"/>
                <a:gd name="connsiteX561" fmla="*/ 444305 w 1195280"/>
                <a:gd name="connsiteY561" fmla="*/ 122384 h 972482"/>
                <a:gd name="connsiteX562" fmla="*/ 443013 w 1195280"/>
                <a:gd name="connsiteY562" fmla="*/ 124840 h 972482"/>
                <a:gd name="connsiteX563" fmla="*/ 442366 w 1195280"/>
                <a:gd name="connsiteY563" fmla="*/ 125744 h 972482"/>
                <a:gd name="connsiteX564" fmla="*/ 441591 w 1195280"/>
                <a:gd name="connsiteY564" fmla="*/ 126520 h 972482"/>
                <a:gd name="connsiteX565" fmla="*/ 439523 w 1195280"/>
                <a:gd name="connsiteY565" fmla="*/ 128200 h 972482"/>
                <a:gd name="connsiteX566" fmla="*/ 439006 w 1195280"/>
                <a:gd name="connsiteY566" fmla="*/ 128716 h 972482"/>
                <a:gd name="connsiteX567" fmla="*/ 438489 w 1195280"/>
                <a:gd name="connsiteY567" fmla="*/ 129363 h 972482"/>
                <a:gd name="connsiteX568" fmla="*/ 437972 w 1195280"/>
                <a:gd name="connsiteY568" fmla="*/ 130526 h 972482"/>
                <a:gd name="connsiteX569" fmla="*/ 437843 w 1195280"/>
                <a:gd name="connsiteY569" fmla="*/ 131301 h 972482"/>
                <a:gd name="connsiteX570" fmla="*/ 438489 w 1195280"/>
                <a:gd name="connsiteY570" fmla="*/ 143966 h 972482"/>
                <a:gd name="connsiteX571" fmla="*/ 438748 w 1195280"/>
                <a:gd name="connsiteY571" fmla="*/ 144483 h 972482"/>
                <a:gd name="connsiteX572" fmla="*/ 439006 w 1195280"/>
                <a:gd name="connsiteY572" fmla="*/ 144871 h 972482"/>
                <a:gd name="connsiteX573" fmla="*/ 439265 w 1195280"/>
                <a:gd name="connsiteY573" fmla="*/ 145388 h 972482"/>
                <a:gd name="connsiteX574" fmla="*/ 439653 w 1195280"/>
                <a:gd name="connsiteY574" fmla="*/ 145775 h 972482"/>
                <a:gd name="connsiteX575" fmla="*/ 440945 w 1195280"/>
                <a:gd name="connsiteY575" fmla="*/ 146809 h 972482"/>
                <a:gd name="connsiteX576" fmla="*/ 441462 w 1195280"/>
                <a:gd name="connsiteY576" fmla="*/ 146938 h 972482"/>
                <a:gd name="connsiteX577" fmla="*/ 444046 w 1195280"/>
                <a:gd name="connsiteY577" fmla="*/ 147585 h 972482"/>
                <a:gd name="connsiteX578" fmla="*/ 444563 w 1195280"/>
                <a:gd name="connsiteY578" fmla="*/ 147843 h 972482"/>
                <a:gd name="connsiteX579" fmla="*/ 444951 w 1195280"/>
                <a:gd name="connsiteY579" fmla="*/ 147972 h 972482"/>
                <a:gd name="connsiteX580" fmla="*/ 445209 w 1195280"/>
                <a:gd name="connsiteY580" fmla="*/ 148877 h 972482"/>
                <a:gd name="connsiteX581" fmla="*/ 446760 w 1195280"/>
                <a:gd name="connsiteY581" fmla="*/ 163093 h 972482"/>
                <a:gd name="connsiteX582" fmla="*/ 447148 w 1195280"/>
                <a:gd name="connsiteY582" fmla="*/ 164256 h 972482"/>
                <a:gd name="connsiteX583" fmla="*/ 448182 w 1195280"/>
                <a:gd name="connsiteY583" fmla="*/ 167228 h 972482"/>
                <a:gd name="connsiteX584" fmla="*/ 448570 w 1195280"/>
                <a:gd name="connsiteY584" fmla="*/ 168520 h 972482"/>
                <a:gd name="connsiteX585" fmla="*/ 448570 w 1195280"/>
                <a:gd name="connsiteY585" fmla="*/ 169554 h 972482"/>
                <a:gd name="connsiteX586" fmla="*/ 448440 w 1195280"/>
                <a:gd name="connsiteY586" fmla="*/ 172139 h 972482"/>
                <a:gd name="connsiteX587" fmla="*/ 449087 w 1195280"/>
                <a:gd name="connsiteY587" fmla="*/ 176921 h 972482"/>
                <a:gd name="connsiteX588" fmla="*/ 448957 w 1195280"/>
                <a:gd name="connsiteY588" fmla="*/ 178084 h 972482"/>
                <a:gd name="connsiteX589" fmla="*/ 448699 w 1195280"/>
                <a:gd name="connsiteY589" fmla="*/ 179118 h 972482"/>
                <a:gd name="connsiteX590" fmla="*/ 448182 w 1195280"/>
                <a:gd name="connsiteY590" fmla="*/ 179635 h 972482"/>
                <a:gd name="connsiteX591" fmla="*/ 445727 w 1195280"/>
                <a:gd name="connsiteY591" fmla="*/ 180927 h 972482"/>
                <a:gd name="connsiteX592" fmla="*/ 444046 w 1195280"/>
                <a:gd name="connsiteY592" fmla="*/ 181315 h 972482"/>
                <a:gd name="connsiteX593" fmla="*/ 443400 w 1195280"/>
                <a:gd name="connsiteY593" fmla="*/ 181444 h 972482"/>
                <a:gd name="connsiteX594" fmla="*/ 441591 w 1195280"/>
                <a:gd name="connsiteY594" fmla="*/ 182607 h 972482"/>
                <a:gd name="connsiteX595" fmla="*/ 440428 w 1195280"/>
                <a:gd name="connsiteY595" fmla="*/ 182995 h 972482"/>
                <a:gd name="connsiteX596" fmla="*/ 439911 w 1195280"/>
                <a:gd name="connsiteY596" fmla="*/ 183124 h 972482"/>
                <a:gd name="connsiteX597" fmla="*/ 437843 w 1195280"/>
                <a:gd name="connsiteY597" fmla="*/ 183382 h 972482"/>
                <a:gd name="connsiteX598" fmla="*/ 437197 w 1195280"/>
                <a:gd name="connsiteY598" fmla="*/ 183512 h 972482"/>
                <a:gd name="connsiteX599" fmla="*/ 436680 w 1195280"/>
                <a:gd name="connsiteY599" fmla="*/ 183641 h 972482"/>
                <a:gd name="connsiteX600" fmla="*/ 435259 w 1195280"/>
                <a:gd name="connsiteY600" fmla="*/ 184416 h 972482"/>
                <a:gd name="connsiteX601" fmla="*/ 434612 w 1195280"/>
                <a:gd name="connsiteY601" fmla="*/ 184545 h 972482"/>
                <a:gd name="connsiteX602" fmla="*/ 433966 w 1195280"/>
                <a:gd name="connsiteY602" fmla="*/ 184675 h 972482"/>
                <a:gd name="connsiteX603" fmla="*/ 428926 w 1195280"/>
                <a:gd name="connsiteY603" fmla="*/ 184416 h 972482"/>
                <a:gd name="connsiteX604" fmla="*/ 428280 w 1195280"/>
                <a:gd name="connsiteY604" fmla="*/ 184545 h 972482"/>
                <a:gd name="connsiteX605" fmla="*/ 427634 w 1195280"/>
                <a:gd name="connsiteY605" fmla="*/ 184675 h 972482"/>
                <a:gd name="connsiteX606" fmla="*/ 427117 w 1195280"/>
                <a:gd name="connsiteY606" fmla="*/ 184933 h 972482"/>
                <a:gd name="connsiteX607" fmla="*/ 426729 w 1195280"/>
                <a:gd name="connsiteY607" fmla="*/ 185192 h 972482"/>
                <a:gd name="connsiteX608" fmla="*/ 426342 w 1195280"/>
                <a:gd name="connsiteY608" fmla="*/ 185579 h 972482"/>
                <a:gd name="connsiteX609" fmla="*/ 425437 w 1195280"/>
                <a:gd name="connsiteY609" fmla="*/ 186096 h 972482"/>
                <a:gd name="connsiteX610" fmla="*/ 424403 w 1195280"/>
                <a:gd name="connsiteY610" fmla="*/ 186613 h 972482"/>
                <a:gd name="connsiteX611" fmla="*/ 422723 w 1195280"/>
                <a:gd name="connsiteY611" fmla="*/ 187259 h 972482"/>
                <a:gd name="connsiteX612" fmla="*/ 422077 w 1195280"/>
                <a:gd name="connsiteY612" fmla="*/ 187389 h 972482"/>
                <a:gd name="connsiteX613" fmla="*/ 421431 w 1195280"/>
                <a:gd name="connsiteY613" fmla="*/ 187389 h 972482"/>
                <a:gd name="connsiteX614" fmla="*/ 420784 w 1195280"/>
                <a:gd name="connsiteY614" fmla="*/ 187259 h 972482"/>
                <a:gd name="connsiteX615" fmla="*/ 420268 w 1195280"/>
                <a:gd name="connsiteY615" fmla="*/ 187130 h 972482"/>
                <a:gd name="connsiteX616" fmla="*/ 419234 w 1195280"/>
                <a:gd name="connsiteY616" fmla="*/ 186742 h 972482"/>
                <a:gd name="connsiteX617" fmla="*/ 418846 w 1195280"/>
                <a:gd name="connsiteY617" fmla="*/ 186484 h 972482"/>
                <a:gd name="connsiteX618" fmla="*/ 418587 w 1195280"/>
                <a:gd name="connsiteY618" fmla="*/ 186226 h 972482"/>
                <a:gd name="connsiteX619" fmla="*/ 418458 w 1195280"/>
                <a:gd name="connsiteY619" fmla="*/ 185967 h 972482"/>
                <a:gd name="connsiteX620" fmla="*/ 418200 w 1195280"/>
                <a:gd name="connsiteY620" fmla="*/ 185579 h 972482"/>
                <a:gd name="connsiteX621" fmla="*/ 417812 w 1195280"/>
                <a:gd name="connsiteY621" fmla="*/ 185321 h 972482"/>
                <a:gd name="connsiteX622" fmla="*/ 417295 w 1195280"/>
                <a:gd name="connsiteY622" fmla="*/ 185450 h 972482"/>
                <a:gd name="connsiteX623" fmla="*/ 416778 w 1195280"/>
                <a:gd name="connsiteY623" fmla="*/ 185708 h 972482"/>
                <a:gd name="connsiteX624" fmla="*/ 416390 w 1195280"/>
                <a:gd name="connsiteY624" fmla="*/ 186096 h 972482"/>
                <a:gd name="connsiteX625" fmla="*/ 415744 w 1195280"/>
                <a:gd name="connsiteY625" fmla="*/ 187001 h 972482"/>
                <a:gd name="connsiteX626" fmla="*/ 413418 w 1195280"/>
                <a:gd name="connsiteY626" fmla="*/ 191653 h 972482"/>
                <a:gd name="connsiteX627" fmla="*/ 413160 w 1195280"/>
                <a:gd name="connsiteY627" fmla="*/ 192170 h 972482"/>
                <a:gd name="connsiteX628" fmla="*/ 412772 w 1195280"/>
                <a:gd name="connsiteY628" fmla="*/ 192429 h 972482"/>
                <a:gd name="connsiteX629" fmla="*/ 411221 w 1195280"/>
                <a:gd name="connsiteY629" fmla="*/ 193333 h 972482"/>
                <a:gd name="connsiteX630" fmla="*/ 410963 w 1195280"/>
                <a:gd name="connsiteY630" fmla="*/ 193721 h 972482"/>
                <a:gd name="connsiteX631" fmla="*/ 410446 w 1195280"/>
                <a:gd name="connsiteY631" fmla="*/ 194109 h 972482"/>
                <a:gd name="connsiteX632" fmla="*/ 409541 w 1195280"/>
                <a:gd name="connsiteY632" fmla="*/ 195530 h 972482"/>
                <a:gd name="connsiteX633" fmla="*/ 408895 w 1195280"/>
                <a:gd name="connsiteY633" fmla="*/ 196306 h 972482"/>
                <a:gd name="connsiteX634" fmla="*/ 408120 w 1195280"/>
                <a:gd name="connsiteY634" fmla="*/ 197081 h 972482"/>
                <a:gd name="connsiteX635" fmla="*/ 407603 w 1195280"/>
                <a:gd name="connsiteY635" fmla="*/ 197339 h 972482"/>
                <a:gd name="connsiteX636" fmla="*/ 407086 w 1195280"/>
                <a:gd name="connsiteY636" fmla="*/ 197598 h 972482"/>
                <a:gd name="connsiteX637" fmla="*/ 406569 w 1195280"/>
                <a:gd name="connsiteY637" fmla="*/ 197727 h 972482"/>
                <a:gd name="connsiteX638" fmla="*/ 405793 w 1195280"/>
                <a:gd name="connsiteY638" fmla="*/ 197727 h 972482"/>
                <a:gd name="connsiteX639" fmla="*/ 405147 w 1195280"/>
                <a:gd name="connsiteY639" fmla="*/ 197727 h 972482"/>
                <a:gd name="connsiteX640" fmla="*/ 402692 w 1195280"/>
                <a:gd name="connsiteY640" fmla="*/ 197081 h 972482"/>
                <a:gd name="connsiteX641" fmla="*/ 402175 w 1195280"/>
                <a:gd name="connsiteY641" fmla="*/ 197081 h 972482"/>
                <a:gd name="connsiteX642" fmla="*/ 398686 w 1195280"/>
                <a:gd name="connsiteY642" fmla="*/ 198503 h 972482"/>
                <a:gd name="connsiteX643" fmla="*/ 398298 w 1195280"/>
                <a:gd name="connsiteY643" fmla="*/ 202121 h 972482"/>
                <a:gd name="connsiteX644" fmla="*/ 395584 w 1195280"/>
                <a:gd name="connsiteY644" fmla="*/ 207808 h 972482"/>
                <a:gd name="connsiteX645" fmla="*/ 395067 w 1195280"/>
                <a:gd name="connsiteY645" fmla="*/ 209229 h 972482"/>
                <a:gd name="connsiteX646" fmla="*/ 394938 w 1195280"/>
                <a:gd name="connsiteY646" fmla="*/ 210392 h 972482"/>
                <a:gd name="connsiteX647" fmla="*/ 396489 w 1195280"/>
                <a:gd name="connsiteY647" fmla="*/ 219438 h 972482"/>
                <a:gd name="connsiteX648" fmla="*/ 396359 w 1195280"/>
                <a:gd name="connsiteY648" fmla="*/ 220472 h 972482"/>
                <a:gd name="connsiteX649" fmla="*/ 396101 w 1195280"/>
                <a:gd name="connsiteY649" fmla="*/ 221506 h 972482"/>
                <a:gd name="connsiteX650" fmla="*/ 393775 w 1195280"/>
                <a:gd name="connsiteY650" fmla="*/ 227451 h 972482"/>
                <a:gd name="connsiteX651" fmla="*/ 391965 w 1195280"/>
                <a:gd name="connsiteY651" fmla="*/ 230811 h 972482"/>
                <a:gd name="connsiteX652" fmla="*/ 391578 w 1195280"/>
                <a:gd name="connsiteY652" fmla="*/ 231328 h 972482"/>
                <a:gd name="connsiteX653" fmla="*/ 391190 w 1195280"/>
                <a:gd name="connsiteY653" fmla="*/ 231716 h 972482"/>
                <a:gd name="connsiteX654" fmla="*/ 390802 w 1195280"/>
                <a:gd name="connsiteY654" fmla="*/ 232233 h 972482"/>
                <a:gd name="connsiteX655" fmla="*/ 390415 w 1195280"/>
                <a:gd name="connsiteY655" fmla="*/ 232749 h 972482"/>
                <a:gd name="connsiteX656" fmla="*/ 389251 w 1195280"/>
                <a:gd name="connsiteY656" fmla="*/ 235334 h 972482"/>
                <a:gd name="connsiteX657" fmla="*/ 388605 w 1195280"/>
                <a:gd name="connsiteY657" fmla="*/ 236239 h 972482"/>
                <a:gd name="connsiteX658" fmla="*/ 384728 w 1195280"/>
                <a:gd name="connsiteY658" fmla="*/ 239599 h 972482"/>
                <a:gd name="connsiteX659" fmla="*/ 384341 w 1195280"/>
                <a:gd name="connsiteY659" fmla="*/ 240374 h 972482"/>
                <a:gd name="connsiteX660" fmla="*/ 382531 w 1195280"/>
                <a:gd name="connsiteY660" fmla="*/ 248645 h 972482"/>
                <a:gd name="connsiteX661" fmla="*/ 382531 w 1195280"/>
                <a:gd name="connsiteY661" fmla="*/ 249421 h 972482"/>
                <a:gd name="connsiteX662" fmla="*/ 382661 w 1195280"/>
                <a:gd name="connsiteY662" fmla="*/ 249550 h 972482"/>
                <a:gd name="connsiteX663" fmla="*/ 382661 w 1195280"/>
                <a:gd name="connsiteY663" fmla="*/ 249550 h 972482"/>
                <a:gd name="connsiteX664" fmla="*/ 382661 w 1195280"/>
                <a:gd name="connsiteY664" fmla="*/ 249550 h 972482"/>
                <a:gd name="connsiteX665" fmla="*/ 383824 w 1195280"/>
                <a:gd name="connsiteY665" fmla="*/ 252135 h 972482"/>
                <a:gd name="connsiteX666" fmla="*/ 384341 w 1195280"/>
                <a:gd name="connsiteY666" fmla="*/ 253039 h 972482"/>
                <a:gd name="connsiteX667" fmla="*/ 387830 w 1195280"/>
                <a:gd name="connsiteY667" fmla="*/ 257175 h 972482"/>
                <a:gd name="connsiteX668" fmla="*/ 388734 w 1195280"/>
                <a:gd name="connsiteY668" fmla="*/ 257950 h 972482"/>
                <a:gd name="connsiteX669" fmla="*/ 390802 w 1195280"/>
                <a:gd name="connsiteY669" fmla="*/ 258984 h 972482"/>
                <a:gd name="connsiteX670" fmla="*/ 392741 w 1195280"/>
                <a:gd name="connsiteY670" fmla="*/ 259372 h 972482"/>
                <a:gd name="connsiteX671" fmla="*/ 393904 w 1195280"/>
                <a:gd name="connsiteY671" fmla="*/ 259889 h 972482"/>
                <a:gd name="connsiteX672" fmla="*/ 394808 w 1195280"/>
                <a:gd name="connsiteY672" fmla="*/ 260535 h 972482"/>
                <a:gd name="connsiteX673" fmla="*/ 395067 w 1195280"/>
                <a:gd name="connsiteY673" fmla="*/ 260922 h 972482"/>
                <a:gd name="connsiteX674" fmla="*/ 395584 w 1195280"/>
                <a:gd name="connsiteY674" fmla="*/ 261956 h 972482"/>
                <a:gd name="connsiteX675" fmla="*/ 395972 w 1195280"/>
                <a:gd name="connsiteY675" fmla="*/ 262344 h 972482"/>
                <a:gd name="connsiteX676" fmla="*/ 396489 w 1195280"/>
                <a:gd name="connsiteY676" fmla="*/ 262602 h 972482"/>
                <a:gd name="connsiteX677" fmla="*/ 398298 w 1195280"/>
                <a:gd name="connsiteY677" fmla="*/ 263249 h 972482"/>
                <a:gd name="connsiteX678" fmla="*/ 398686 w 1195280"/>
                <a:gd name="connsiteY678" fmla="*/ 263507 h 972482"/>
                <a:gd name="connsiteX679" fmla="*/ 399202 w 1195280"/>
                <a:gd name="connsiteY679" fmla="*/ 263895 h 972482"/>
                <a:gd name="connsiteX680" fmla="*/ 399461 w 1195280"/>
                <a:gd name="connsiteY680" fmla="*/ 264283 h 972482"/>
                <a:gd name="connsiteX681" fmla="*/ 400236 w 1195280"/>
                <a:gd name="connsiteY681" fmla="*/ 265833 h 972482"/>
                <a:gd name="connsiteX682" fmla="*/ 400624 w 1195280"/>
                <a:gd name="connsiteY682" fmla="*/ 266221 h 972482"/>
                <a:gd name="connsiteX683" fmla="*/ 401141 w 1195280"/>
                <a:gd name="connsiteY683" fmla="*/ 266350 h 972482"/>
                <a:gd name="connsiteX684" fmla="*/ 401916 w 1195280"/>
                <a:gd name="connsiteY684" fmla="*/ 266867 h 972482"/>
                <a:gd name="connsiteX685" fmla="*/ 402563 w 1195280"/>
                <a:gd name="connsiteY685" fmla="*/ 267513 h 972482"/>
                <a:gd name="connsiteX686" fmla="*/ 404113 w 1195280"/>
                <a:gd name="connsiteY686" fmla="*/ 271003 h 972482"/>
                <a:gd name="connsiteX687" fmla="*/ 404760 w 1195280"/>
                <a:gd name="connsiteY687" fmla="*/ 271907 h 972482"/>
                <a:gd name="connsiteX688" fmla="*/ 406439 w 1195280"/>
                <a:gd name="connsiteY688" fmla="*/ 275397 h 972482"/>
                <a:gd name="connsiteX689" fmla="*/ 408249 w 1195280"/>
                <a:gd name="connsiteY689" fmla="*/ 282892 h 972482"/>
                <a:gd name="connsiteX690" fmla="*/ 408895 w 1195280"/>
                <a:gd name="connsiteY690" fmla="*/ 284184 h 972482"/>
                <a:gd name="connsiteX691" fmla="*/ 410187 w 1195280"/>
                <a:gd name="connsiteY691" fmla="*/ 285864 h 972482"/>
                <a:gd name="connsiteX692" fmla="*/ 410446 w 1195280"/>
                <a:gd name="connsiteY692" fmla="*/ 286640 h 972482"/>
                <a:gd name="connsiteX693" fmla="*/ 410834 w 1195280"/>
                <a:gd name="connsiteY693" fmla="*/ 287545 h 972482"/>
                <a:gd name="connsiteX694" fmla="*/ 411738 w 1195280"/>
                <a:gd name="connsiteY694" fmla="*/ 291551 h 972482"/>
                <a:gd name="connsiteX695" fmla="*/ 412126 w 1195280"/>
                <a:gd name="connsiteY695" fmla="*/ 292714 h 972482"/>
                <a:gd name="connsiteX696" fmla="*/ 412772 w 1195280"/>
                <a:gd name="connsiteY696" fmla="*/ 293619 h 972482"/>
                <a:gd name="connsiteX697" fmla="*/ 413806 w 1195280"/>
                <a:gd name="connsiteY697" fmla="*/ 296203 h 972482"/>
                <a:gd name="connsiteX698" fmla="*/ 414710 w 1195280"/>
                <a:gd name="connsiteY698" fmla="*/ 299693 h 972482"/>
                <a:gd name="connsiteX699" fmla="*/ 414969 w 1195280"/>
                <a:gd name="connsiteY699" fmla="*/ 301372 h 972482"/>
                <a:gd name="connsiteX700" fmla="*/ 414969 w 1195280"/>
                <a:gd name="connsiteY700" fmla="*/ 302536 h 972482"/>
                <a:gd name="connsiteX701" fmla="*/ 414581 w 1195280"/>
                <a:gd name="connsiteY701" fmla="*/ 303053 h 972482"/>
                <a:gd name="connsiteX702" fmla="*/ 414323 w 1195280"/>
                <a:gd name="connsiteY702" fmla="*/ 303569 h 972482"/>
                <a:gd name="connsiteX703" fmla="*/ 413806 w 1195280"/>
                <a:gd name="connsiteY703" fmla="*/ 303828 h 972482"/>
                <a:gd name="connsiteX704" fmla="*/ 413418 w 1195280"/>
                <a:gd name="connsiteY704" fmla="*/ 304086 h 972482"/>
                <a:gd name="connsiteX705" fmla="*/ 412772 w 1195280"/>
                <a:gd name="connsiteY705" fmla="*/ 304086 h 972482"/>
                <a:gd name="connsiteX706" fmla="*/ 412255 w 1195280"/>
                <a:gd name="connsiteY706" fmla="*/ 303957 h 972482"/>
                <a:gd name="connsiteX707" fmla="*/ 411738 w 1195280"/>
                <a:gd name="connsiteY707" fmla="*/ 303699 h 972482"/>
                <a:gd name="connsiteX708" fmla="*/ 411221 w 1195280"/>
                <a:gd name="connsiteY708" fmla="*/ 303569 h 972482"/>
                <a:gd name="connsiteX709" fmla="*/ 410575 w 1195280"/>
                <a:gd name="connsiteY709" fmla="*/ 303569 h 972482"/>
                <a:gd name="connsiteX710" fmla="*/ 410058 w 1195280"/>
                <a:gd name="connsiteY710" fmla="*/ 303699 h 972482"/>
                <a:gd name="connsiteX711" fmla="*/ 409541 w 1195280"/>
                <a:gd name="connsiteY711" fmla="*/ 303957 h 972482"/>
                <a:gd name="connsiteX712" fmla="*/ 408507 w 1195280"/>
                <a:gd name="connsiteY712" fmla="*/ 305120 h 972482"/>
                <a:gd name="connsiteX713" fmla="*/ 408120 w 1195280"/>
                <a:gd name="connsiteY713" fmla="*/ 305637 h 972482"/>
                <a:gd name="connsiteX714" fmla="*/ 407215 w 1195280"/>
                <a:gd name="connsiteY714" fmla="*/ 306413 h 972482"/>
                <a:gd name="connsiteX715" fmla="*/ 406956 w 1195280"/>
                <a:gd name="connsiteY715" fmla="*/ 306800 h 972482"/>
                <a:gd name="connsiteX716" fmla="*/ 406569 w 1195280"/>
                <a:gd name="connsiteY716" fmla="*/ 307446 h 972482"/>
                <a:gd name="connsiteX717" fmla="*/ 406310 w 1195280"/>
                <a:gd name="connsiteY717" fmla="*/ 308222 h 972482"/>
                <a:gd name="connsiteX718" fmla="*/ 406310 w 1195280"/>
                <a:gd name="connsiteY718" fmla="*/ 308868 h 972482"/>
                <a:gd name="connsiteX719" fmla="*/ 406439 w 1195280"/>
                <a:gd name="connsiteY719" fmla="*/ 309385 h 972482"/>
                <a:gd name="connsiteX720" fmla="*/ 406698 w 1195280"/>
                <a:gd name="connsiteY720" fmla="*/ 309902 h 972482"/>
                <a:gd name="connsiteX721" fmla="*/ 408378 w 1195280"/>
                <a:gd name="connsiteY721" fmla="*/ 312357 h 972482"/>
                <a:gd name="connsiteX722" fmla="*/ 408766 w 1195280"/>
                <a:gd name="connsiteY722" fmla="*/ 313133 h 972482"/>
                <a:gd name="connsiteX723" fmla="*/ 408507 w 1195280"/>
                <a:gd name="connsiteY723" fmla="*/ 313520 h 972482"/>
                <a:gd name="connsiteX724" fmla="*/ 408120 w 1195280"/>
                <a:gd name="connsiteY724" fmla="*/ 313650 h 972482"/>
                <a:gd name="connsiteX725" fmla="*/ 407603 w 1195280"/>
                <a:gd name="connsiteY725" fmla="*/ 313650 h 972482"/>
                <a:gd name="connsiteX726" fmla="*/ 406439 w 1195280"/>
                <a:gd name="connsiteY726" fmla="*/ 313908 h 972482"/>
                <a:gd name="connsiteX727" fmla="*/ 405406 w 1195280"/>
                <a:gd name="connsiteY727" fmla="*/ 314554 h 972482"/>
                <a:gd name="connsiteX728" fmla="*/ 405147 w 1195280"/>
                <a:gd name="connsiteY728" fmla="*/ 314942 h 972482"/>
                <a:gd name="connsiteX729" fmla="*/ 403338 w 1195280"/>
                <a:gd name="connsiteY729" fmla="*/ 316234 h 972482"/>
                <a:gd name="connsiteX730" fmla="*/ 402950 w 1195280"/>
                <a:gd name="connsiteY730" fmla="*/ 316751 h 972482"/>
                <a:gd name="connsiteX731" fmla="*/ 402692 w 1195280"/>
                <a:gd name="connsiteY731" fmla="*/ 317268 h 972482"/>
                <a:gd name="connsiteX732" fmla="*/ 402046 w 1195280"/>
                <a:gd name="connsiteY732" fmla="*/ 319594 h 972482"/>
                <a:gd name="connsiteX733" fmla="*/ 401658 w 1195280"/>
                <a:gd name="connsiteY733" fmla="*/ 320111 h 972482"/>
                <a:gd name="connsiteX734" fmla="*/ 400882 w 1195280"/>
                <a:gd name="connsiteY734" fmla="*/ 320757 h 972482"/>
                <a:gd name="connsiteX735" fmla="*/ 400365 w 1195280"/>
                <a:gd name="connsiteY735" fmla="*/ 321016 h 972482"/>
                <a:gd name="connsiteX736" fmla="*/ 399978 w 1195280"/>
                <a:gd name="connsiteY736" fmla="*/ 321275 h 972482"/>
                <a:gd name="connsiteX737" fmla="*/ 399461 w 1195280"/>
                <a:gd name="connsiteY737" fmla="*/ 321275 h 972482"/>
                <a:gd name="connsiteX738" fmla="*/ 399073 w 1195280"/>
                <a:gd name="connsiteY738" fmla="*/ 320887 h 972482"/>
                <a:gd name="connsiteX739" fmla="*/ 398556 w 1195280"/>
                <a:gd name="connsiteY739" fmla="*/ 320757 h 972482"/>
                <a:gd name="connsiteX740" fmla="*/ 398039 w 1195280"/>
                <a:gd name="connsiteY740" fmla="*/ 320757 h 972482"/>
                <a:gd name="connsiteX741" fmla="*/ 397652 w 1195280"/>
                <a:gd name="connsiteY741" fmla="*/ 321016 h 972482"/>
                <a:gd name="connsiteX742" fmla="*/ 397264 w 1195280"/>
                <a:gd name="connsiteY742" fmla="*/ 321404 h 972482"/>
                <a:gd name="connsiteX743" fmla="*/ 396876 w 1195280"/>
                <a:gd name="connsiteY743" fmla="*/ 321791 h 972482"/>
                <a:gd name="connsiteX744" fmla="*/ 396489 w 1195280"/>
                <a:gd name="connsiteY744" fmla="*/ 322179 h 972482"/>
                <a:gd name="connsiteX745" fmla="*/ 395325 w 1195280"/>
                <a:gd name="connsiteY745" fmla="*/ 322696 h 972482"/>
                <a:gd name="connsiteX746" fmla="*/ 395067 w 1195280"/>
                <a:gd name="connsiteY746" fmla="*/ 323213 h 972482"/>
                <a:gd name="connsiteX747" fmla="*/ 395196 w 1195280"/>
                <a:gd name="connsiteY747" fmla="*/ 323730 h 972482"/>
                <a:gd name="connsiteX748" fmla="*/ 395325 w 1195280"/>
                <a:gd name="connsiteY748" fmla="*/ 324505 h 972482"/>
                <a:gd name="connsiteX749" fmla="*/ 395067 w 1195280"/>
                <a:gd name="connsiteY749" fmla="*/ 324764 h 972482"/>
                <a:gd name="connsiteX750" fmla="*/ 394033 w 1195280"/>
                <a:gd name="connsiteY750" fmla="*/ 324893 h 972482"/>
                <a:gd name="connsiteX751" fmla="*/ 393904 w 1195280"/>
                <a:gd name="connsiteY751" fmla="*/ 325281 h 972482"/>
                <a:gd name="connsiteX752" fmla="*/ 394421 w 1195280"/>
                <a:gd name="connsiteY752" fmla="*/ 326315 h 972482"/>
                <a:gd name="connsiteX753" fmla="*/ 394292 w 1195280"/>
                <a:gd name="connsiteY753" fmla="*/ 326961 h 972482"/>
                <a:gd name="connsiteX754" fmla="*/ 393904 w 1195280"/>
                <a:gd name="connsiteY754" fmla="*/ 327478 h 972482"/>
                <a:gd name="connsiteX755" fmla="*/ 393387 w 1195280"/>
                <a:gd name="connsiteY755" fmla="*/ 328382 h 972482"/>
                <a:gd name="connsiteX756" fmla="*/ 391836 w 1195280"/>
                <a:gd name="connsiteY756" fmla="*/ 329545 h 972482"/>
                <a:gd name="connsiteX757" fmla="*/ 390931 w 1195280"/>
                <a:gd name="connsiteY757" fmla="*/ 331355 h 972482"/>
                <a:gd name="connsiteX758" fmla="*/ 390415 w 1195280"/>
                <a:gd name="connsiteY758" fmla="*/ 331742 h 972482"/>
                <a:gd name="connsiteX759" fmla="*/ 389898 w 1195280"/>
                <a:gd name="connsiteY759" fmla="*/ 331742 h 972482"/>
                <a:gd name="connsiteX760" fmla="*/ 389510 w 1195280"/>
                <a:gd name="connsiteY760" fmla="*/ 331613 h 972482"/>
                <a:gd name="connsiteX761" fmla="*/ 388993 w 1195280"/>
                <a:gd name="connsiteY761" fmla="*/ 331484 h 972482"/>
                <a:gd name="connsiteX762" fmla="*/ 388605 w 1195280"/>
                <a:gd name="connsiteY762" fmla="*/ 331613 h 972482"/>
                <a:gd name="connsiteX763" fmla="*/ 388088 w 1195280"/>
                <a:gd name="connsiteY763" fmla="*/ 332389 h 972482"/>
                <a:gd name="connsiteX764" fmla="*/ 387701 w 1195280"/>
                <a:gd name="connsiteY764" fmla="*/ 332647 h 972482"/>
                <a:gd name="connsiteX765" fmla="*/ 387313 w 1195280"/>
                <a:gd name="connsiteY765" fmla="*/ 333035 h 972482"/>
                <a:gd name="connsiteX766" fmla="*/ 386538 w 1195280"/>
                <a:gd name="connsiteY766" fmla="*/ 334586 h 972482"/>
                <a:gd name="connsiteX767" fmla="*/ 385891 w 1195280"/>
                <a:gd name="connsiteY767" fmla="*/ 335361 h 972482"/>
                <a:gd name="connsiteX768" fmla="*/ 386021 w 1195280"/>
                <a:gd name="connsiteY768" fmla="*/ 335878 h 972482"/>
                <a:gd name="connsiteX769" fmla="*/ 386279 w 1195280"/>
                <a:gd name="connsiteY769" fmla="*/ 336395 h 972482"/>
                <a:gd name="connsiteX770" fmla="*/ 386538 w 1195280"/>
                <a:gd name="connsiteY770" fmla="*/ 337429 h 972482"/>
                <a:gd name="connsiteX771" fmla="*/ 386408 w 1195280"/>
                <a:gd name="connsiteY771" fmla="*/ 338333 h 972482"/>
                <a:gd name="connsiteX772" fmla="*/ 386021 w 1195280"/>
                <a:gd name="connsiteY772" fmla="*/ 339367 h 972482"/>
                <a:gd name="connsiteX773" fmla="*/ 385504 w 1195280"/>
                <a:gd name="connsiteY773" fmla="*/ 339884 h 972482"/>
                <a:gd name="connsiteX774" fmla="*/ 384857 w 1195280"/>
                <a:gd name="connsiteY774" fmla="*/ 340143 h 972482"/>
                <a:gd name="connsiteX775" fmla="*/ 384341 w 1195280"/>
                <a:gd name="connsiteY775" fmla="*/ 340530 h 972482"/>
                <a:gd name="connsiteX776" fmla="*/ 383953 w 1195280"/>
                <a:gd name="connsiteY776" fmla="*/ 341306 h 972482"/>
                <a:gd name="connsiteX777" fmla="*/ 384082 w 1195280"/>
                <a:gd name="connsiteY777" fmla="*/ 341823 h 972482"/>
                <a:gd name="connsiteX778" fmla="*/ 384211 w 1195280"/>
                <a:gd name="connsiteY778" fmla="*/ 342469 h 972482"/>
                <a:gd name="connsiteX779" fmla="*/ 384211 w 1195280"/>
                <a:gd name="connsiteY779" fmla="*/ 342857 h 972482"/>
                <a:gd name="connsiteX780" fmla="*/ 383824 w 1195280"/>
                <a:gd name="connsiteY780" fmla="*/ 343115 h 972482"/>
                <a:gd name="connsiteX781" fmla="*/ 383436 w 1195280"/>
                <a:gd name="connsiteY781" fmla="*/ 343244 h 972482"/>
                <a:gd name="connsiteX782" fmla="*/ 383048 w 1195280"/>
                <a:gd name="connsiteY782" fmla="*/ 343503 h 972482"/>
                <a:gd name="connsiteX783" fmla="*/ 382531 w 1195280"/>
                <a:gd name="connsiteY783" fmla="*/ 343632 h 972482"/>
                <a:gd name="connsiteX784" fmla="*/ 382014 w 1195280"/>
                <a:gd name="connsiteY784" fmla="*/ 343503 h 972482"/>
                <a:gd name="connsiteX785" fmla="*/ 380980 w 1195280"/>
                <a:gd name="connsiteY785" fmla="*/ 342986 h 972482"/>
                <a:gd name="connsiteX786" fmla="*/ 380464 w 1195280"/>
                <a:gd name="connsiteY786" fmla="*/ 342857 h 972482"/>
                <a:gd name="connsiteX787" fmla="*/ 380076 w 1195280"/>
                <a:gd name="connsiteY787" fmla="*/ 342598 h 972482"/>
                <a:gd name="connsiteX788" fmla="*/ 378783 w 1195280"/>
                <a:gd name="connsiteY788" fmla="*/ 341564 h 972482"/>
                <a:gd name="connsiteX789" fmla="*/ 378267 w 1195280"/>
                <a:gd name="connsiteY789" fmla="*/ 341435 h 972482"/>
                <a:gd name="connsiteX790" fmla="*/ 377620 w 1195280"/>
                <a:gd name="connsiteY790" fmla="*/ 341823 h 972482"/>
                <a:gd name="connsiteX791" fmla="*/ 376328 w 1195280"/>
                <a:gd name="connsiteY791" fmla="*/ 344278 h 972482"/>
                <a:gd name="connsiteX792" fmla="*/ 376199 w 1195280"/>
                <a:gd name="connsiteY792" fmla="*/ 345312 h 972482"/>
                <a:gd name="connsiteX793" fmla="*/ 375553 w 1195280"/>
                <a:gd name="connsiteY793" fmla="*/ 347250 h 972482"/>
                <a:gd name="connsiteX794" fmla="*/ 374777 w 1195280"/>
                <a:gd name="connsiteY794" fmla="*/ 348413 h 972482"/>
                <a:gd name="connsiteX795" fmla="*/ 374907 w 1195280"/>
                <a:gd name="connsiteY795" fmla="*/ 349706 h 972482"/>
                <a:gd name="connsiteX796" fmla="*/ 375036 w 1195280"/>
                <a:gd name="connsiteY796" fmla="*/ 350352 h 972482"/>
                <a:gd name="connsiteX797" fmla="*/ 374519 w 1195280"/>
                <a:gd name="connsiteY797" fmla="*/ 351386 h 972482"/>
                <a:gd name="connsiteX798" fmla="*/ 374390 w 1195280"/>
                <a:gd name="connsiteY798" fmla="*/ 352808 h 972482"/>
                <a:gd name="connsiteX799" fmla="*/ 374260 w 1195280"/>
                <a:gd name="connsiteY799" fmla="*/ 355780 h 972482"/>
                <a:gd name="connsiteX800" fmla="*/ 374777 w 1195280"/>
                <a:gd name="connsiteY800" fmla="*/ 357331 h 972482"/>
                <a:gd name="connsiteX801" fmla="*/ 375165 w 1195280"/>
                <a:gd name="connsiteY801" fmla="*/ 358235 h 972482"/>
                <a:gd name="connsiteX802" fmla="*/ 378913 w 1195280"/>
                <a:gd name="connsiteY802" fmla="*/ 362629 h 972482"/>
                <a:gd name="connsiteX803" fmla="*/ 379947 w 1195280"/>
                <a:gd name="connsiteY803" fmla="*/ 363534 h 972482"/>
                <a:gd name="connsiteX804" fmla="*/ 380464 w 1195280"/>
                <a:gd name="connsiteY804" fmla="*/ 363792 h 972482"/>
                <a:gd name="connsiteX805" fmla="*/ 380980 w 1195280"/>
                <a:gd name="connsiteY805" fmla="*/ 364051 h 972482"/>
                <a:gd name="connsiteX806" fmla="*/ 381497 w 1195280"/>
                <a:gd name="connsiteY806" fmla="*/ 364051 h 972482"/>
                <a:gd name="connsiteX807" fmla="*/ 382144 w 1195280"/>
                <a:gd name="connsiteY807" fmla="*/ 363922 h 972482"/>
                <a:gd name="connsiteX808" fmla="*/ 382531 w 1195280"/>
                <a:gd name="connsiteY808" fmla="*/ 363534 h 972482"/>
                <a:gd name="connsiteX809" fmla="*/ 383565 w 1195280"/>
                <a:gd name="connsiteY809" fmla="*/ 362371 h 972482"/>
                <a:gd name="connsiteX810" fmla="*/ 384082 w 1195280"/>
                <a:gd name="connsiteY810" fmla="*/ 361983 h 972482"/>
                <a:gd name="connsiteX811" fmla="*/ 384470 w 1195280"/>
                <a:gd name="connsiteY811" fmla="*/ 361595 h 972482"/>
                <a:gd name="connsiteX812" fmla="*/ 384987 w 1195280"/>
                <a:gd name="connsiteY812" fmla="*/ 361337 h 972482"/>
                <a:gd name="connsiteX813" fmla="*/ 386538 w 1195280"/>
                <a:gd name="connsiteY813" fmla="*/ 360691 h 972482"/>
                <a:gd name="connsiteX814" fmla="*/ 387184 w 1195280"/>
                <a:gd name="connsiteY814" fmla="*/ 360561 h 972482"/>
                <a:gd name="connsiteX815" fmla="*/ 387830 w 1195280"/>
                <a:gd name="connsiteY815" fmla="*/ 360691 h 972482"/>
                <a:gd name="connsiteX816" fmla="*/ 388476 w 1195280"/>
                <a:gd name="connsiteY816" fmla="*/ 360820 h 972482"/>
                <a:gd name="connsiteX817" fmla="*/ 388476 w 1195280"/>
                <a:gd name="connsiteY817" fmla="*/ 360820 h 972482"/>
                <a:gd name="connsiteX818" fmla="*/ 390415 w 1195280"/>
                <a:gd name="connsiteY818" fmla="*/ 361983 h 972482"/>
                <a:gd name="connsiteX819" fmla="*/ 391061 w 1195280"/>
                <a:gd name="connsiteY819" fmla="*/ 362242 h 972482"/>
                <a:gd name="connsiteX820" fmla="*/ 391707 w 1195280"/>
                <a:gd name="connsiteY820" fmla="*/ 362242 h 972482"/>
                <a:gd name="connsiteX821" fmla="*/ 393128 w 1195280"/>
                <a:gd name="connsiteY821" fmla="*/ 362242 h 972482"/>
                <a:gd name="connsiteX822" fmla="*/ 393775 w 1195280"/>
                <a:gd name="connsiteY822" fmla="*/ 362371 h 972482"/>
                <a:gd name="connsiteX823" fmla="*/ 394808 w 1195280"/>
                <a:gd name="connsiteY823" fmla="*/ 362758 h 972482"/>
                <a:gd name="connsiteX824" fmla="*/ 398427 w 1195280"/>
                <a:gd name="connsiteY824" fmla="*/ 364697 h 972482"/>
                <a:gd name="connsiteX825" fmla="*/ 399461 w 1195280"/>
                <a:gd name="connsiteY825" fmla="*/ 365472 h 972482"/>
                <a:gd name="connsiteX826" fmla="*/ 400236 w 1195280"/>
                <a:gd name="connsiteY826" fmla="*/ 366119 h 972482"/>
                <a:gd name="connsiteX827" fmla="*/ 400882 w 1195280"/>
                <a:gd name="connsiteY827" fmla="*/ 367023 h 972482"/>
                <a:gd name="connsiteX828" fmla="*/ 402046 w 1195280"/>
                <a:gd name="connsiteY828" fmla="*/ 369866 h 972482"/>
                <a:gd name="connsiteX829" fmla="*/ 402563 w 1195280"/>
                <a:gd name="connsiteY829" fmla="*/ 371417 h 972482"/>
                <a:gd name="connsiteX830" fmla="*/ 402821 w 1195280"/>
                <a:gd name="connsiteY830" fmla="*/ 374131 h 972482"/>
                <a:gd name="connsiteX831" fmla="*/ 402563 w 1195280"/>
                <a:gd name="connsiteY831" fmla="*/ 378525 h 972482"/>
                <a:gd name="connsiteX832" fmla="*/ 402433 w 1195280"/>
                <a:gd name="connsiteY832" fmla="*/ 379171 h 972482"/>
                <a:gd name="connsiteX833" fmla="*/ 402175 w 1195280"/>
                <a:gd name="connsiteY833" fmla="*/ 379817 h 972482"/>
                <a:gd name="connsiteX834" fmla="*/ 401658 w 1195280"/>
                <a:gd name="connsiteY834" fmla="*/ 380205 h 972482"/>
                <a:gd name="connsiteX835" fmla="*/ 400753 w 1195280"/>
                <a:gd name="connsiteY835" fmla="*/ 380851 h 972482"/>
                <a:gd name="connsiteX836" fmla="*/ 399978 w 1195280"/>
                <a:gd name="connsiteY836" fmla="*/ 381497 h 972482"/>
                <a:gd name="connsiteX837" fmla="*/ 399590 w 1195280"/>
                <a:gd name="connsiteY837" fmla="*/ 381885 h 972482"/>
                <a:gd name="connsiteX838" fmla="*/ 398427 w 1195280"/>
                <a:gd name="connsiteY838" fmla="*/ 383953 h 972482"/>
                <a:gd name="connsiteX839" fmla="*/ 397135 w 1195280"/>
                <a:gd name="connsiteY839" fmla="*/ 385762 h 972482"/>
                <a:gd name="connsiteX840" fmla="*/ 396618 w 1195280"/>
                <a:gd name="connsiteY840" fmla="*/ 386796 h 972482"/>
                <a:gd name="connsiteX841" fmla="*/ 396359 w 1195280"/>
                <a:gd name="connsiteY841" fmla="*/ 387442 h 972482"/>
                <a:gd name="connsiteX842" fmla="*/ 396101 w 1195280"/>
                <a:gd name="connsiteY842" fmla="*/ 387959 h 972482"/>
                <a:gd name="connsiteX843" fmla="*/ 395842 w 1195280"/>
                <a:gd name="connsiteY843" fmla="*/ 390156 h 972482"/>
                <a:gd name="connsiteX844" fmla="*/ 395584 w 1195280"/>
                <a:gd name="connsiteY844" fmla="*/ 390673 h 972482"/>
                <a:gd name="connsiteX845" fmla="*/ 394679 w 1195280"/>
                <a:gd name="connsiteY845" fmla="*/ 392094 h 972482"/>
                <a:gd name="connsiteX846" fmla="*/ 394421 w 1195280"/>
                <a:gd name="connsiteY846" fmla="*/ 392741 h 972482"/>
                <a:gd name="connsiteX847" fmla="*/ 394292 w 1195280"/>
                <a:gd name="connsiteY847" fmla="*/ 393387 h 972482"/>
                <a:gd name="connsiteX848" fmla="*/ 394162 w 1195280"/>
                <a:gd name="connsiteY848" fmla="*/ 394679 h 972482"/>
                <a:gd name="connsiteX849" fmla="*/ 394033 w 1195280"/>
                <a:gd name="connsiteY849" fmla="*/ 395325 h 972482"/>
                <a:gd name="connsiteX850" fmla="*/ 393775 w 1195280"/>
                <a:gd name="connsiteY850" fmla="*/ 395842 h 972482"/>
                <a:gd name="connsiteX851" fmla="*/ 393128 w 1195280"/>
                <a:gd name="connsiteY851" fmla="*/ 396876 h 972482"/>
                <a:gd name="connsiteX852" fmla="*/ 392999 w 1195280"/>
                <a:gd name="connsiteY852" fmla="*/ 397651 h 972482"/>
                <a:gd name="connsiteX853" fmla="*/ 392999 w 1195280"/>
                <a:gd name="connsiteY853" fmla="*/ 399073 h 972482"/>
                <a:gd name="connsiteX854" fmla="*/ 393516 w 1195280"/>
                <a:gd name="connsiteY854" fmla="*/ 400624 h 972482"/>
                <a:gd name="connsiteX855" fmla="*/ 393904 w 1195280"/>
                <a:gd name="connsiteY855" fmla="*/ 403209 h 972482"/>
                <a:gd name="connsiteX856" fmla="*/ 394292 w 1195280"/>
                <a:gd name="connsiteY856" fmla="*/ 404242 h 972482"/>
                <a:gd name="connsiteX857" fmla="*/ 395196 w 1195280"/>
                <a:gd name="connsiteY857" fmla="*/ 405535 h 972482"/>
                <a:gd name="connsiteX858" fmla="*/ 395455 w 1195280"/>
                <a:gd name="connsiteY858" fmla="*/ 406569 h 972482"/>
                <a:gd name="connsiteX859" fmla="*/ 395713 w 1195280"/>
                <a:gd name="connsiteY859" fmla="*/ 408119 h 972482"/>
                <a:gd name="connsiteX860" fmla="*/ 396230 w 1195280"/>
                <a:gd name="connsiteY860" fmla="*/ 409929 h 972482"/>
                <a:gd name="connsiteX861" fmla="*/ 396489 w 1195280"/>
                <a:gd name="connsiteY861" fmla="*/ 410575 h 972482"/>
                <a:gd name="connsiteX862" fmla="*/ 398039 w 1195280"/>
                <a:gd name="connsiteY862" fmla="*/ 411996 h 972482"/>
                <a:gd name="connsiteX863" fmla="*/ 398298 w 1195280"/>
                <a:gd name="connsiteY863" fmla="*/ 412513 h 972482"/>
                <a:gd name="connsiteX864" fmla="*/ 398298 w 1195280"/>
                <a:gd name="connsiteY864" fmla="*/ 413289 h 972482"/>
                <a:gd name="connsiteX865" fmla="*/ 398168 w 1195280"/>
                <a:gd name="connsiteY865" fmla="*/ 415357 h 972482"/>
                <a:gd name="connsiteX866" fmla="*/ 398944 w 1195280"/>
                <a:gd name="connsiteY866" fmla="*/ 417553 h 972482"/>
                <a:gd name="connsiteX867" fmla="*/ 401399 w 1195280"/>
                <a:gd name="connsiteY867" fmla="*/ 423369 h 972482"/>
                <a:gd name="connsiteX868" fmla="*/ 399461 w 1195280"/>
                <a:gd name="connsiteY868" fmla="*/ 423627 h 972482"/>
                <a:gd name="connsiteX869" fmla="*/ 398944 w 1195280"/>
                <a:gd name="connsiteY869" fmla="*/ 423886 h 972482"/>
                <a:gd name="connsiteX870" fmla="*/ 398168 w 1195280"/>
                <a:gd name="connsiteY870" fmla="*/ 424532 h 972482"/>
                <a:gd name="connsiteX871" fmla="*/ 396747 w 1195280"/>
                <a:gd name="connsiteY871" fmla="*/ 424920 h 972482"/>
                <a:gd name="connsiteX872" fmla="*/ 395067 w 1195280"/>
                <a:gd name="connsiteY872" fmla="*/ 426083 h 972482"/>
                <a:gd name="connsiteX873" fmla="*/ 394292 w 1195280"/>
                <a:gd name="connsiteY873" fmla="*/ 426987 h 972482"/>
                <a:gd name="connsiteX874" fmla="*/ 393645 w 1195280"/>
                <a:gd name="connsiteY874" fmla="*/ 428538 h 972482"/>
                <a:gd name="connsiteX875" fmla="*/ 392999 w 1195280"/>
                <a:gd name="connsiteY875" fmla="*/ 429055 h 972482"/>
                <a:gd name="connsiteX876" fmla="*/ 392094 w 1195280"/>
                <a:gd name="connsiteY876" fmla="*/ 429443 h 972482"/>
                <a:gd name="connsiteX877" fmla="*/ 390544 w 1195280"/>
                <a:gd name="connsiteY877" fmla="*/ 430089 h 972482"/>
                <a:gd name="connsiteX878" fmla="*/ 389768 w 1195280"/>
                <a:gd name="connsiteY878" fmla="*/ 430735 h 972482"/>
                <a:gd name="connsiteX879" fmla="*/ 389251 w 1195280"/>
                <a:gd name="connsiteY879" fmla="*/ 431381 h 972482"/>
                <a:gd name="connsiteX880" fmla="*/ 388993 w 1195280"/>
                <a:gd name="connsiteY880" fmla="*/ 432157 h 972482"/>
                <a:gd name="connsiteX881" fmla="*/ 388347 w 1195280"/>
                <a:gd name="connsiteY881" fmla="*/ 432545 h 972482"/>
                <a:gd name="connsiteX882" fmla="*/ 387701 w 1195280"/>
                <a:gd name="connsiteY882" fmla="*/ 432674 h 972482"/>
                <a:gd name="connsiteX883" fmla="*/ 386925 w 1195280"/>
                <a:gd name="connsiteY883" fmla="*/ 432545 h 972482"/>
                <a:gd name="connsiteX884" fmla="*/ 386408 w 1195280"/>
                <a:gd name="connsiteY884" fmla="*/ 432932 h 972482"/>
                <a:gd name="connsiteX885" fmla="*/ 386021 w 1195280"/>
                <a:gd name="connsiteY885" fmla="*/ 433449 h 972482"/>
                <a:gd name="connsiteX886" fmla="*/ 385504 w 1195280"/>
                <a:gd name="connsiteY886" fmla="*/ 434742 h 972482"/>
                <a:gd name="connsiteX887" fmla="*/ 384728 w 1195280"/>
                <a:gd name="connsiteY887" fmla="*/ 435258 h 972482"/>
                <a:gd name="connsiteX888" fmla="*/ 371934 w 1195280"/>
                <a:gd name="connsiteY888" fmla="*/ 439911 h 972482"/>
                <a:gd name="connsiteX889" fmla="*/ 369349 w 1195280"/>
                <a:gd name="connsiteY889" fmla="*/ 441720 h 972482"/>
                <a:gd name="connsiteX890" fmla="*/ 367411 w 1195280"/>
                <a:gd name="connsiteY890" fmla="*/ 443529 h 972482"/>
                <a:gd name="connsiteX891" fmla="*/ 366377 w 1195280"/>
                <a:gd name="connsiteY891" fmla="*/ 445080 h 972482"/>
                <a:gd name="connsiteX892" fmla="*/ 364697 w 1195280"/>
                <a:gd name="connsiteY892" fmla="*/ 449086 h 972482"/>
                <a:gd name="connsiteX893" fmla="*/ 363146 w 1195280"/>
                <a:gd name="connsiteY893" fmla="*/ 451283 h 972482"/>
                <a:gd name="connsiteX894" fmla="*/ 361466 w 1195280"/>
                <a:gd name="connsiteY894" fmla="*/ 452576 h 972482"/>
                <a:gd name="connsiteX895" fmla="*/ 334844 w 1195280"/>
                <a:gd name="connsiteY895" fmla="*/ 466921 h 972482"/>
                <a:gd name="connsiteX896" fmla="*/ 333164 w 1195280"/>
                <a:gd name="connsiteY896" fmla="*/ 467308 h 972482"/>
                <a:gd name="connsiteX897" fmla="*/ 331872 w 1195280"/>
                <a:gd name="connsiteY897" fmla="*/ 467438 h 972482"/>
                <a:gd name="connsiteX898" fmla="*/ 330967 w 1195280"/>
                <a:gd name="connsiteY898" fmla="*/ 467308 h 972482"/>
                <a:gd name="connsiteX899" fmla="*/ 330063 w 1195280"/>
                <a:gd name="connsiteY899" fmla="*/ 466791 h 972482"/>
                <a:gd name="connsiteX900" fmla="*/ 326832 w 1195280"/>
                <a:gd name="connsiteY900" fmla="*/ 465628 h 972482"/>
                <a:gd name="connsiteX901" fmla="*/ 323213 w 1195280"/>
                <a:gd name="connsiteY901" fmla="*/ 465370 h 972482"/>
                <a:gd name="connsiteX902" fmla="*/ 321921 w 1195280"/>
                <a:gd name="connsiteY902" fmla="*/ 465111 h 972482"/>
                <a:gd name="connsiteX903" fmla="*/ 320499 w 1195280"/>
                <a:gd name="connsiteY903" fmla="*/ 464594 h 972482"/>
                <a:gd name="connsiteX904" fmla="*/ 319724 w 1195280"/>
                <a:gd name="connsiteY904" fmla="*/ 464207 h 972482"/>
                <a:gd name="connsiteX905" fmla="*/ 319078 w 1195280"/>
                <a:gd name="connsiteY905" fmla="*/ 463690 h 972482"/>
                <a:gd name="connsiteX906" fmla="*/ 318819 w 1195280"/>
                <a:gd name="connsiteY906" fmla="*/ 463302 h 972482"/>
                <a:gd name="connsiteX907" fmla="*/ 318561 w 1195280"/>
                <a:gd name="connsiteY907" fmla="*/ 462914 h 972482"/>
                <a:gd name="connsiteX908" fmla="*/ 318302 w 1195280"/>
                <a:gd name="connsiteY908" fmla="*/ 462527 h 972482"/>
                <a:gd name="connsiteX909" fmla="*/ 317915 w 1195280"/>
                <a:gd name="connsiteY909" fmla="*/ 462010 h 972482"/>
                <a:gd name="connsiteX910" fmla="*/ 317398 w 1195280"/>
                <a:gd name="connsiteY910" fmla="*/ 462010 h 972482"/>
                <a:gd name="connsiteX911" fmla="*/ 316105 w 1195280"/>
                <a:gd name="connsiteY911" fmla="*/ 462527 h 972482"/>
                <a:gd name="connsiteX912" fmla="*/ 314942 w 1195280"/>
                <a:gd name="connsiteY912" fmla="*/ 462785 h 972482"/>
                <a:gd name="connsiteX913" fmla="*/ 312228 w 1195280"/>
                <a:gd name="connsiteY913" fmla="*/ 462785 h 972482"/>
                <a:gd name="connsiteX914" fmla="*/ 311065 w 1195280"/>
                <a:gd name="connsiteY914" fmla="*/ 462656 h 972482"/>
                <a:gd name="connsiteX915" fmla="*/ 310290 w 1195280"/>
                <a:gd name="connsiteY915" fmla="*/ 462397 h 972482"/>
                <a:gd name="connsiteX916" fmla="*/ 309902 w 1195280"/>
                <a:gd name="connsiteY916" fmla="*/ 461880 h 972482"/>
                <a:gd name="connsiteX917" fmla="*/ 308610 w 1195280"/>
                <a:gd name="connsiteY917" fmla="*/ 460847 h 972482"/>
                <a:gd name="connsiteX918" fmla="*/ 305896 w 1195280"/>
                <a:gd name="connsiteY918" fmla="*/ 459167 h 972482"/>
                <a:gd name="connsiteX919" fmla="*/ 300856 w 1195280"/>
                <a:gd name="connsiteY919" fmla="*/ 456970 h 972482"/>
                <a:gd name="connsiteX920" fmla="*/ 296333 w 1195280"/>
                <a:gd name="connsiteY920" fmla="*/ 455677 h 972482"/>
                <a:gd name="connsiteX921" fmla="*/ 292197 w 1195280"/>
                <a:gd name="connsiteY921" fmla="*/ 455419 h 972482"/>
                <a:gd name="connsiteX922" fmla="*/ 284831 w 1195280"/>
                <a:gd name="connsiteY922" fmla="*/ 456065 h 972482"/>
                <a:gd name="connsiteX923" fmla="*/ 258338 w 1195280"/>
                <a:gd name="connsiteY923" fmla="*/ 454773 h 972482"/>
                <a:gd name="connsiteX924" fmla="*/ 236497 w 1195280"/>
                <a:gd name="connsiteY924" fmla="*/ 456065 h 972482"/>
                <a:gd name="connsiteX925" fmla="*/ 232750 w 1195280"/>
                <a:gd name="connsiteY925" fmla="*/ 455419 h 972482"/>
                <a:gd name="connsiteX926" fmla="*/ 226159 w 1195280"/>
                <a:gd name="connsiteY926" fmla="*/ 453480 h 972482"/>
                <a:gd name="connsiteX927" fmla="*/ 222152 w 1195280"/>
                <a:gd name="connsiteY927" fmla="*/ 453222 h 972482"/>
                <a:gd name="connsiteX928" fmla="*/ 215045 w 1195280"/>
                <a:gd name="connsiteY928" fmla="*/ 457616 h 972482"/>
                <a:gd name="connsiteX929" fmla="*/ 202897 w 1195280"/>
                <a:gd name="connsiteY929" fmla="*/ 462268 h 972482"/>
                <a:gd name="connsiteX930" fmla="*/ 200312 w 1195280"/>
                <a:gd name="connsiteY930" fmla="*/ 463819 h 972482"/>
                <a:gd name="connsiteX931" fmla="*/ 198761 w 1195280"/>
                <a:gd name="connsiteY931" fmla="*/ 465111 h 972482"/>
                <a:gd name="connsiteX932" fmla="*/ 195918 w 1195280"/>
                <a:gd name="connsiteY932" fmla="*/ 469247 h 972482"/>
                <a:gd name="connsiteX933" fmla="*/ 178342 w 1195280"/>
                <a:gd name="connsiteY933" fmla="*/ 486564 h 972482"/>
                <a:gd name="connsiteX934" fmla="*/ 176662 w 1195280"/>
                <a:gd name="connsiteY934" fmla="*/ 487339 h 972482"/>
                <a:gd name="connsiteX935" fmla="*/ 175241 w 1195280"/>
                <a:gd name="connsiteY935" fmla="*/ 487469 h 972482"/>
                <a:gd name="connsiteX936" fmla="*/ 173690 w 1195280"/>
                <a:gd name="connsiteY936" fmla="*/ 486435 h 972482"/>
                <a:gd name="connsiteX937" fmla="*/ 171751 w 1195280"/>
                <a:gd name="connsiteY937" fmla="*/ 484626 h 972482"/>
                <a:gd name="connsiteX938" fmla="*/ 168262 w 1195280"/>
                <a:gd name="connsiteY938" fmla="*/ 480232 h 972482"/>
                <a:gd name="connsiteX939" fmla="*/ 167099 w 1195280"/>
                <a:gd name="connsiteY939" fmla="*/ 478293 h 972482"/>
                <a:gd name="connsiteX940" fmla="*/ 165548 w 1195280"/>
                <a:gd name="connsiteY940" fmla="*/ 473770 h 972482"/>
                <a:gd name="connsiteX941" fmla="*/ 165160 w 1195280"/>
                <a:gd name="connsiteY941" fmla="*/ 473124 h 972482"/>
                <a:gd name="connsiteX942" fmla="*/ 164902 w 1195280"/>
                <a:gd name="connsiteY942" fmla="*/ 472736 h 972482"/>
                <a:gd name="connsiteX943" fmla="*/ 164644 w 1195280"/>
                <a:gd name="connsiteY943" fmla="*/ 472607 h 972482"/>
                <a:gd name="connsiteX944" fmla="*/ 164385 w 1195280"/>
                <a:gd name="connsiteY944" fmla="*/ 472478 h 972482"/>
                <a:gd name="connsiteX945" fmla="*/ 163739 w 1195280"/>
                <a:gd name="connsiteY945" fmla="*/ 472219 h 972482"/>
                <a:gd name="connsiteX946" fmla="*/ 163093 w 1195280"/>
                <a:gd name="connsiteY946" fmla="*/ 472219 h 972482"/>
                <a:gd name="connsiteX947" fmla="*/ 162059 w 1195280"/>
                <a:gd name="connsiteY947" fmla="*/ 472219 h 972482"/>
                <a:gd name="connsiteX948" fmla="*/ 161025 w 1195280"/>
                <a:gd name="connsiteY948" fmla="*/ 472607 h 972482"/>
                <a:gd name="connsiteX949" fmla="*/ 160896 w 1195280"/>
                <a:gd name="connsiteY949" fmla="*/ 472736 h 972482"/>
                <a:gd name="connsiteX950" fmla="*/ 160767 w 1195280"/>
                <a:gd name="connsiteY950" fmla="*/ 472865 h 972482"/>
                <a:gd name="connsiteX951" fmla="*/ 159345 w 1195280"/>
                <a:gd name="connsiteY951" fmla="*/ 474675 h 972482"/>
                <a:gd name="connsiteX952" fmla="*/ 157665 w 1195280"/>
                <a:gd name="connsiteY952" fmla="*/ 475967 h 972482"/>
                <a:gd name="connsiteX953" fmla="*/ 155856 w 1195280"/>
                <a:gd name="connsiteY953" fmla="*/ 476742 h 972482"/>
                <a:gd name="connsiteX954" fmla="*/ 153530 w 1195280"/>
                <a:gd name="connsiteY954" fmla="*/ 477518 h 972482"/>
                <a:gd name="connsiteX955" fmla="*/ 131560 w 1195280"/>
                <a:gd name="connsiteY955" fmla="*/ 486435 h 972482"/>
                <a:gd name="connsiteX956" fmla="*/ 127553 w 1195280"/>
                <a:gd name="connsiteY956" fmla="*/ 486952 h 972482"/>
                <a:gd name="connsiteX957" fmla="*/ 120833 w 1195280"/>
                <a:gd name="connsiteY957" fmla="*/ 485918 h 972482"/>
                <a:gd name="connsiteX958" fmla="*/ 110882 w 1195280"/>
                <a:gd name="connsiteY958" fmla="*/ 485401 h 972482"/>
                <a:gd name="connsiteX959" fmla="*/ 108168 w 1195280"/>
                <a:gd name="connsiteY959" fmla="*/ 485789 h 972482"/>
                <a:gd name="connsiteX960" fmla="*/ 105713 w 1195280"/>
                <a:gd name="connsiteY960" fmla="*/ 486823 h 972482"/>
                <a:gd name="connsiteX961" fmla="*/ 103775 w 1195280"/>
                <a:gd name="connsiteY961" fmla="*/ 488244 h 972482"/>
                <a:gd name="connsiteX962" fmla="*/ 100673 w 1195280"/>
                <a:gd name="connsiteY962" fmla="*/ 490053 h 972482"/>
                <a:gd name="connsiteX963" fmla="*/ 97959 w 1195280"/>
                <a:gd name="connsiteY963" fmla="*/ 490958 h 972482"/>
                <a:gd name="connsiteX964" fmla="*/ 81676 w 1195280"/>
                <a:gd name="connsiteY964" fmla="*/ 493931 h 972482"/>
                <a:gd name="connsiteX965" fmla="*/ 78057 w 1195280"/>
                <a:gd name="connsiteY965" fmla="*/ 495094 h 972482"/>
                <a:gd name="connsiteX966" fmla="*/ 75343 w 1195280"/>
                <a:gd name="connsiteY966" fmla="*/ 496774 h 972482"/>
                <a:gd name="connsiteX967" fmla="*/ 61644 w 1195280"/>
                <a:gd name="connsiteY967" fmla="*/ 515642 h 972482"/>
                <a:gd name="connsiteX968" fmla="*/ 58930 w 1195280"/>
                <a:gd name="connsiteY968" fmla="*/ 518614 h 972482"/>
                <a:gd name="connsiteX969" fmla="*/ 56604 w 1195280"/>
                <a:gd name="connsiteY969" fmla="*/ 520682 h 972482"/>
                <a:gd name="connsiteX970" fmla="*/ 56217 w 1195280"/>
                <a:gd name="connsiteY970" fmla="*/ 521069 h 972482"/>
                <a:gd name="connsiteX971" fmla="*/ 55958 w 1195280"/>
                <a:gd name="connsiteY971" fmla="*/ 521716 h 972482"/>
                <a:gd name="connsiteX972" fmla="*/ 55958 w 1195280"/>
                <a:gd name="connsiteY972" fmla="*/ 522233 h 972482"/>
                <a:gd name="connsiteX973" fmla="*/ 55958 w 1195280"/>
                <a:gd name="connsiteY973" fmla="*/ 522879 h 972482"/>
                <a:gd name="connsiteX974" fmla="*/ 55958 w 1195280"/>
                <a:gd name="connsiteY974" fmla="*/ 523396 h 972482"/>
                <a:gd name="connsiteX975" fmla="*/ 56087 w 1195280"/>
                <a:gd name="connsiteY975" fmla="*/ 523913 h 972482"/>
                <a:gd name="connsiteX976" fmla="*/ 56863 w 1195280"/>
                <a:gd name="connsiteY976" fmla="*/ 525464 h 972482"/>
                <a:gd name="connsiteX977" fmla="*/ 57380 w 1195280"/>
                <a:gd name="connsiteY977" fmla="*/ 527143 h 972482"/>
                <a:gd name="connsiteX978" fmla="*/ 57767 w 1195280"/>
                <a:gd name="connsiteY978" fmla="*/ 529211 h 972482"/>
                <a:gd name="connsiteX979" fmla="*/ 57897 w 1195280"/>
                <a:gd name="connsiteY979" fmla="*/ 530504 h 972482"/>
                <a:gd name="connsiteX980" fmla="*/ 57509 w 1195280"/>
                <a:gd name="connsiteY980" fmla="*/ 531150 h 972482"/>
                <a:gd name="connsiteX981" fmla="*/ 57380 w 1195280"/>
                <a:gd name="connsiteY981" fmla="*/ 532184 h 972482"/>
                <a:gd name="connsiteX982" fmla="*/ 57121 w 1195280"/>
                <a:gd name="connsiteY982" fmla="*/ 533217 h 972482"/>
                <a:gd name="connsiteX983" fmla="*/ 56863 w 1195280"/>
                <a:gd name="connsiteY983" fmla="*/ 533993 h 972482"/>
                <a:gd name="connsiteX984" fmla="*/ 56346 w 1195280"/>
                <a:gd name="connsiteY984" fmla="*/ 534251 h 972482"/>
                <a:gd name="connsiteX985" fmla="*/ 55312 w 1195280"/>
                <a:gd name="connsiteY985" fmla="*/ 535156 h 972482"/>
                <a:gd name="connsiteX986" fmla="*/ 52856 w 1195280"/>
                <a:gd name="connsiteY986" fmla="*/ 539550 h 972482"/>
                <a:gd name="connsiteX987" fmla="*/ 51564 w 1195280"/>
                <a:gd name="connsiteY987" fmla="*/ 541101 h 972482"/>
                <a:gd name="connsiteX988" fmla="*/ 49884 w 1195280"/>
                <a:gd name="connsiteY988" fmla="*/ 542005 h 972482"/>
                <a:gd name="connsiteX989" fmla="*/ 47170 w 1195280"/>
                <a:gd name="connsiteY989" fmla="*/ 542781 h 972482"/>
                <a:gd name="connsiteX990" fmla="*/ 44456 w 1195280"/>
                <a:gd name="connsiteY990" fmla="*/ 543039 h 972482"/>
                <a:gd name="connsiteX991" fmla="*/ 39933 w 1195280"/>
                <a:gd name="connsiteY991" fmla="*/ 541230 h 972482"/>
                <a:gd name="connsiteX992" fmla="*/ 37866 w 1195280"/>
                <a:gd name="connsiteY992" fmla="*/ 542522 h 972482"/>
                <a:gd name="connsiteX993" fmla="*/ 35410 w 1195280"/>
                <a:gd name="connsiteY993" fmla="*/ 545753 h 972482"/>
                <a:gd name="connsiteX994" fmla="*/ 33342 w 1195280"/>
                <a:gd name="connsiteY994" fmla="*/ 547046 h 972482"/>
                <a:gd name="connsiteX995" fmla="*/ 31404 w 1195280"/>
                <a:gd name="connsiteY995" fmla="*/ 547950 h 972482"/>
                <a:gd name="connsiteX996" fmla="*/ 29982 w 1195280"/>
                <a:gd name="connsiteY996" fmla="*/ 549372 h 972482"/>
                <a:gd name="connsiteX997" fmla="*/ 29465 w 1195280"/>
                <a:gd name="connsiteY997" fmla="*/ 552344 h 972482"/>
                <a:gd name="connsiteX998" fmla="*/ 28561 w 1195280"/>
                <a:gd name="connsiteY998" fmla="*/ 554153 h 972482"/>
                <a:gd name="connsiteX999" fmla="*/ 26493 w 1195280"/>
                <a:gd name="connsiteY999" fmla="*/ 555833 h 972482"/>
                <a:gd name="connsiteX1000" fmla="*/ 23004 w 1195280"/>
                <a:gd name="connsiteY1000" fmla="*/ 558160 h 972482"/>
                <a:gd name="connsiteX1001" fmla="*/ 20936 w 1195280"/>
                <a:gd name="connsiteY1001" fmla="*/ 560098 h 972482"/>
                <a:gd name="connsiteX1002" fmla="*/ 19644 w 1195280"/>
                <a:gd name="connsiteY1002" fmla="*/ 562036 h 972482"/>
                <a:gd name="connsiteX1003" fmla="*/ 18868 w 1195280"/>
                <a:gd name="connsiteY1003" fmla="*/ 564234 h 972482"/>
                <a:gd name="connsiteX1004" fmla="*/ 18610 w 1195280"/>
                <a:gd name="connsiteY1004" fmla="*/ 566947 h 972482"/>
                <a:gd name="connsiteX1005" fmla="*/ 17963 w 1195280"/>
                <a:gd name="connsiteY1005" fmla="*/ 569403 h 972482"/>
                <a:gd name="connsiteX1006" fmla="*/ 15767 w 1195280"/>
                <a:gd name="connsiteY1006" fmla="*/ 573151 h 972482"/>
                <a:gd name="connsiteX1007" fmla="*/ 15637 w 1195280"/>
                <a:gd name="connsiteY1007" fmla="*/ 575089 h 972482"/>
                <a:gd name="connsiteX1008" fmla="*/ 18868 w 1195280"/>
                <a:gd name="connsiteY1008" fmla="*/ 578708 h 972482"/>
                <a:gd name="connsiteX1009" fmla="*/ 20160 w 1195280"/>
                <a:gd name="connsiteY1009" fmla="*/ 581034 h 972482"/>
                <a:gd name="connsiteX1010" fmla="*/ 18868 w 1195280"/>
                <a:gd name="connsiteY1010" fmla="*/ 582068 h 972482"/>
                <a:gd name="connsiteX1011" fmla="*/ 18351 w 1195280"/>
                <a:gd name="connsiteY1011" fmla="*/ 582326 h 972482"/>
                <a:gd name="connsiteX1012" fmla="*/ 17317 w 1195280"/>
                <a:gd name="connsiteY1012" fmla="*/ 583360 h 972482"/>
                <a:gd name="connsiteX1013" fmla="*/ 16800 w 1195280"/>
                <a:gd name="connsiteY1013" fmla="*/ 583619 h 972482"/>
                <a:gd name="connsiteX1014" fmla="*/ 16154 w 1195280"/>
                <a:gd name="connsiteY1014" fmla="*/ 583489 h 972482"/>
                <a:gd name="connsiteX1015" fmla="*/ 15767 w 1195280"/>
                <a:gd name="connsiteY1015" fmla="*/ 583231 h 972482"/>
                <a:gd name="connsiteX1016" fmla="*/ 15637 w 1195280"/>
                <a:gd name="connsiteY1016" fmla="*/ 582972 h 972482"/>
                <a:gd name="connsiteX1017" fmla="*/ 14216 w 1195280"/>
                <a:gd name="connsiteY1017" fmla="*/ 582585 h 972482"/>
                <a:gd name="connsiteX1018" fmla="*/ 13053 w 1195280"/>
                <a:gd name="connsiteY1018" fmla="*/ 581163 h 972482"/>
                <a:gd name="connsiteX1019" fmla="*/ 12019 w 1195280"/>
                <a:gd name="connsiteY1019" fmla="*/ 580517 h 972482"/>
                <a:gd name="connsiteX1020" fmla="*/ 9563 w 1195280"/>
                <a:gd name="connsiteY1020" fmla="*/ 580000 h 972482"/>
                <a:gd name="connsiteX1021" fmla="*/ 8012 w 1195280"/>
                <a:gd name="connsiteY1021" fmla="*/ 580646 h 972482"/>
                <a:gd name="connsiteX1022" fmla="*/ 7108 w 1195280"/>
                <a:gd name="connsiteY1022" fmla="*/ 582197 h 972482"/>
                <a:gd name="connsiteX1023" fmla="*/ 6849 w 1195280"/>
                <a:gd name="connsiteY1023" fmla="*/ 584782 h 972482"/>
                <a:gd name="connsiteX1024" fmla="*/ 7625 w 1195280"/>
                <a:gd name="connsiteY1024" fmla="*/ 586979 h 972482"/>
                <a:gd name="connsiteX1025" fmla="*/ 8917 w 1195280"/>
                <a:gd name="connsiteY1025" fmla="*/ 588788 h 972482"/>
                <a:gd name="connsiteX1026" fmla="*/ 9693 w 1195280"/>
                <a:gd name="connsiteY1026" fmla="*/ 590726 h 972482"/>
                <a:gd name="connsiteX1027" fmla="*/ 8271 w 1195280"/>
                <a:gd name="connsiteY1027" fmla="*/ 592923 h 972482"/>
                <a:gd name="connsiteX1028" fmla="*/ 7366 w 1195280"/>
                <a:gd name="connsiteY1028" fmla="*/ 593311 h 972482"/>
                <a:gd name="connsiteX1029" fmla="*/ 5428 w 1195280"/>
                <a:gd name="connsiteY1029" fmla="*/ 593311 h 972482"/>
                <a:gd name="connsiteX1030" fmla="*/ 4652 w 1195280"/>
                <a:gd name="connsiteY1030" fmla="*/ 593699 h 972482"/>
                <a:gd name="connsiteX1031" fmla="*/ 4136 w 1195280"/>
                <a:gd name="connsiteY1031" fmla="*/ 594603 h 972482"/>
                <a:gd name="connsiteX1032" fmla="*/ 3877 w 1195280"/>
                <a:gd name="connsiteY1032" fmla="*/ 595508 h 972482"/>
                <a:gd name="connsiteX1033" fmla="*/ 3877 w 1195280"/>
                <a:gd name="connsiteY1033" fmla="*/ 601711 h 972482"/>
                <a:gd name="connsiteX1034" fmla="*/ 3231 w 1195280"/>
                <a:gd name="connsiteY1034" fmla="*/ 604167 h 972482"/>
                <a:gd name="connsiteX1035" fmla="*/ 775 w 1195280"/>
                <a:gd name="connsiteY1035" fmla="*/ 607527 h 972482"/>
                <a:gd name="connsiteX1036" fmla="*/ 129 w 1195280"/>
                <a:gd name="connsiteY1036" fmla="*/ 610628 h 972482"/>
                <a:gd name="connsiteX1037" fmla="*/ 0 w 1195280"/>
                <a:gd name="connsiteY1037" fmla="*/ 613859 h 972482"/>
                <a:gd name="connsiteX1038" fmla="*/ 2197 w 1195280"/>
                <a:gd name="connsiteY1038" fmla="*/ 630918 h 972482"/>
                <a:gd name="connsiteX1039" fmla="*/ 2455 w 1195280"/>
                <a:gd name="connsiteY1039" fmla="*/ 644875 h 972482"/>
                <a:gd name="connsiteX1040" fmla="*/ 3619 w 1195280"/>
                <a:gd name="connsiteY1040" fmla="*/ 653275 h 972482"/>
                <a:gd name="connsiteX1041" fmla="*/ 8012 w 1195280"/>
                <a:gd name="connsiteY1041" fmla="*/ 647847 h 972482"/>
                <a:gd name="connsiteX1042" fmla="*/ 14216 w 1195280"/>
                <a:gd name="connsiteY1042" fmla="*/ 642549 h 972482"/>
                <a:gd name="connsiteX1043" fmla="*/ 16671 w 1195280"/>
                <a:gd name="connsiteY1043" fmla="*/ 641127 h 972482"/>
                <a:gd name="connsiteX1044" fmla="*/ 35152 w 1195280"/>
                <a:gd name="connsiteY1044" fmla="*/ 634536 h 972482"/>
                <a:gd name="connsiteX1045" fmla="*/ 37866 w 1195280"/>
                <a:gd name="connsiteY1045" fmla="*/ 633373 h 972482"/>
                <a:gd name="connsiteX1046" fmla="*/ 39804 w 1195280"/>
                <a:gd name="connsiteY1046" fmla="*/ 632081 h 972482"/>
                <a:gd name="connsiteX1047" fmla="*/ 48075 w 1195280"/>
                <a:gd name="connsiteY1047" fmla="*/ 624327 h 972482"/>
                <a:gd name="connsiteX1048" fmla="*/ 50272 w 1195280"/>
                <a:gd name="connsiteY1048" fmla="*/ 619933 h 972482"/>
                <a:gd name="connsiteX1049" fmla="*/ 53761 w 1195280"/>
                <a:gd name="connsiteY1049" fmla="*/ 618253 h 972482"/>
                <a:gd name="connsiteX1050" fmla="*/ 57509 w 1195280"/>
                <a:gd name="connsiteY1050" fmla="*/ 617090 h 972482"/>
                <a:gd name="connsiteX1051" fmla="*/ 61127 w 1195280"/>
                <a:gd name="connsiteY1051" fmla="*/ 616961 h 972482"/>
                <a:gd name="connsiteX1052" fmla="*/ 64358 w 1195280"/>
                <a:gd name="connsiteY1052" fmla="*/ 618124 h 972482"/>
                <a:gd name="connsiteX1053" fmla="*/ 66943 w 1195280"/>
                <a:gd name="connsiteY1053" fmla="*/ 620450 h 972482"/>
                <a:gd name="connsiteX1054" fmla="*/ 70949 w 1195280"/>
                <a:gd name="connsiteY1054" fmla="*/ 625749 h 972482"/>
                <a:gd name="connsiteX1055" fmla="*/ 73792 w 1195280"/>
                <a:gd name="connsiteY1055" fmla="*/ 626912 h 972482"/>
                <a:gd name="connsiteX1056" fmla="*/ 108298 w 1195280"/>
                <a:gd name="connsiteY1056" fmla="*/ 631823 h 972482"/>
                <a:gd name="connsiteX1057" fmla="*/ 122513 w 1195280"/>
                <a:gd name="connsiteY1057" fmla="*/ 633890 h 972482"/>
                <a:gd name="connsiteX1058" fmla="*/ 158440 w 1195280"/>
                <a:gd name="connsiteY1058" fmla="*/ 633761 h 972482"/>
                <a:gd name="connsiteX1059" fmla="*/ 163610 w 1195280"/>
                <a:gd name="connsiteY1059" fmla="*/ 634795 h 972482"/>
                <a:gd name="connsiteX1060" fmla="*/ 173431 w 1195280"/>
                <a:gd name="connsiteY1060" fmla="*/ 637897 h 972482"/>
                <a:gd name="connsiteX1061" fmla="*/ 175758 w 1195280"/>
                <a:gd name="connsiteY1061" fmla="*/ 639447 h 972482"/>
                <a:gd name="connsiteX1062" fmla="*/ 182995 w 1195280"/>
                <a:gd name="connsiteY1062" fmla="*/ 638026 h 972482"/>
                <a:gd name="connsiteX1063" fmla="*/ 185450 w 1195280"/>
                <a:gd name="connsiteY1063" fmla="*/ 637897 h 972482"/>
                <a:gd name="connsiteX1064" fmla="*/ 187776 w 1195280"/>
                <a:gd name="connsiteY1064" fmla="*/ 638155 h 972482"/>
                <a:gd name="connsiteX1065" fmla="*/ 189973 w 1195280"/>
                <a:gd name="connsiteY1065" fmla="*/ 639060 h 972482"/>
                <a:gd name="connsiteX1066" fmla="*/ 191007 w 1195280"/>
                <a:gd name="connsiteY1066" fmla="*/ 640481 h 972482"/>
                <a:gd name="connsiteX1067" fmla="*/ 190232 w 1195280"/>
                <a:gd name="connsiteY1067" fmla="*/ 642549 h 972482"/>
                <a:gd name="connsiteX1068" fmla="*/ 186613 w 1195280"/>
                <a:gd name="connsiteY1068" fmla="*/ 643841 h 972482"/>
                <a:gd name="connsiteX1069" fmla="*/ 186226 w 1195280"/>
                <a:gd name="connsiteY1069" fmla="*/ 644100 h 972482"/>
                <a:gd name="connsiteX1070" fmla="*/ 185450 w 1195280"/>
                <a:gd name="connsiteY1070" fmla="*/ 644617 h 972482"/>
                <a:gd name="connsiteX1071" fmla="*/ 185192 w 1195280"/>
                <a:gd name="connsiteY1071" fmla="*/ 645909 h 972482"/>
                <a:gd name="connsiteX1072" fmla="*/ 185063 w 1195280"/>
                <a:gd name="connsiteY1072" fmla="*/ 647331 h 972482"/>
                <a:gd name="connsiteX1073" fmla="*/ 184158 w 1195280"/>
                <a:gd name="connsiteY1073" fmla="*/ 650174 h 972482"/>
                <a:gd name="connsiteX1074" fmla="*/ 184287 w 1195280"/>
                <a:gd name="connsiteY1074" fmla="*/ 653017 h 972482"/>
                <a:gd name="connsiteX1075" fmla="*/ 185063 w 1195280"/>
                <a:gd name="connsiteY1075" fmla="*/ 658057 h 972482"/>
                <a:gd name="connsiteX1076" fmla="*/ 185838 w 1195280"/>
                <a:gd name="connsiteY1076" fmla="*/ 660383 h 972482"/>
                <a:gd name="connsiteX1077" fmla="*/ 188423 w 1195280"/>
                <a:gd name="connsiteY1077" fmla="*/ 665811 h 972482"/>
                <a:gd name="connsiteX1078" fmla="*/ 191137 w 1195280"/>
                <a:gd name="connsiteY1078" fmla="*/ 669430 h 972482"/>
                <a:gd name="connsiteX1079" fmla="*/ 192558 w 1195280"/>
                <a:gd name="connsiteY1079" fmla="*/ 673307 h 972482"/>
                <a:gd name="connsiteX1080" fmla="*/ 193850 w 1195280"/>
                <a:gd name="connsiteY1080" fmla="*/ 674987 h 972482"/>
                <a:gd name="connsiteX1081" fmla="*/ 197598 w 1195280"/>
                <a:gd name="connsiteY1081" fmla="*/ 676667 h 972482"/>
                <a:gd name="connsiteX1082" fmla="*/ 201087 w 1195280"/>
                <a:gd name="connsiteY1082" fmla="*/ 675245 h 972482"/>
                <a:gd name="connsiteX1083" fmla="*/ 204060 w 1195280"/>
                <a:gd name="connsiteY1083" fmla="*/ 672143 h 972482"/>
                <a:gd name="connsiteX1084" fmla="*/ 206386 w 1195280"/>
                <a:gd name="connsiteY1084" fmla="*/ 668913 h 972482"/>
                <a:gd name="connsiteX1085" fmla="*/ 209746 w 1195280"/>
                <a:gd name="connsiteY1085" fmla="*/ 661029 h 972482"/>
                <a:gd name="connsiteX1086" fmla="*/ 212589 w 1195280"/>
                <a:gd name="connsiteY1086" fmla="*/ 657928 h 972482"/>
                <a:gd name="connsiteX1087" fmla="*/ 216725 w 1195280"/>
                <a:gd name="connsiteY1087" fmla="*/ 658832 h 972482"/>
                <a:gd name="connsiteX1088" fmla="*/ 219309 w 1195280"/>
                <a:gd name="connsiteY1088" fmla="*/ 662709 h 972482"/>
                <a:gd name="connsiteX1089" fmla="*/ 220085 w 1195280"/>
                <a:gd name="connsiteY1089" fmla="*/ 667879 h 972482"/>
                <a:gd name="connsiteX1090" fmla="*/ 219568 w 1195280"/>
                <a:gd name="connsiteY1090" fmla="*/ 678088 h 972482"/>
                <a:gd name="connsiteX1091" fmla="*/ 220214 w 1195280"/>
                <a:gd name="connsiteY1091" fmla="*/ 687135 h 972482"/>
                <a:gd name="connsiteX1092" fmla="*/ 221248 w 1195280"/>
                <a:gd name="connsiteY1092" fmla="*/ 688427 h 972482"/>
                <a:gd name="connsiteX1093" fmla="*/ 225900 w 1195280"/>
                <a:gd name="connsiteY1093" fmla="*/ 690365 h 972482"/>
                <a:gd name="connsiteX1094" fmla="*/ 227580 w 1195280"/>
                <a:gd name="connsiteY1094" fmla="*/ 691528 h 972482"/>
                <a:gd name="connsiteX1095" fmla="*/ 230811 w 1195280"/>
                <a:gd name="connsiteY1095" fmla="*/ 688944 h 972482"/>
                <a:gd name="connsiteX1096" fmla="*/ 231199 w 1195280"/>
                <a:gd name="connsiteY1096" fmla="*/ 687910 h 972482"/>
                <a:gd name="connsiteX1097" fmla="*/ 231070 w 1195280"/>
                <a:gd name="connsiteY1097" fmla="*/ 686230 h 972482"/>
                <a:gd name="connsiteX1098" fmla="*/ 230036 w 1195280"/>
                <a:gd name="connsiteY1098" fmla="*/ 683258 h 972482"/>
                <a:gd name="connsiteX1099" fmla="*/ 229907 w 1195280"/>
                <a:gd name="connsiteY1099" fmla="*/ 681707 h 972482"/>
                <a:gd name="connsiteX1100" fmla="*/ 229907 w 1195280"/>
                <a:gd name="connsiteY1100" fmla="*/ 675374 h 972482"/>
                <a:gd name="connsiteX1101" fmla="*/ 229519 w 1195280"/>
                <a:gd name="connsiteY1101" fmla="*/ 673565 h 972482"/>
                <a:gd name="connsiteX1102" fmla="*/ 229002 w 1195280"/>
                <a:gd name="connsiteY1102" fmla="*/ 672402 h 972482"/>
                <a:gd name="connsiteX1103" fmla="*/ 229002 w 1195280"/>
                <a:gd name="connsiteY1103" fmla="*/ 671239 h 972482"/>
                <a:gd name="connsiteX1104" fmla="*/ 230165 w 1195280"/>
                <a:gd name="connsiteY1104" fmla="*/ 669300 h 972482"/>
                <a:gd name="connsiteX1105" fmla="*/ 231586 w 1195280"/>
                <a:gd name="connsiteY1105" fmla="*/ 666199 h 972482"/>
                <a:gd name="connsiteX1106" fmla="*/ 232491 w 1195280"/>
                <a:gd name="connsiteY1106" fmla="*/ 662968 h 972482"/>
                <a:gd name="connsiteX1107" fmla="*/ 233654 w 1195280"/>
                <a:gd name="connsiteY1107" fmla="*/ 660254 h 972482"/>
                <a:gd name="connsiteX1108" fmla="*/ 236368 w 1195280"/>
                <a:gd name="connsiteY1108" fmla="*/ 658832 h 972482"/>
                <a:gd name="connsiteX1109" fmla="*/ 241667 w 1195280"/>
                <a:gd name="connsiteY1109" fmla="*/ 658832 h 972482"/>
                <a:gd name="connsiteX1110" fmla="*/ 245802 w 1195280"/>
                <a:gd name="connsiteY1110" fmla="*/ 658057 h 972482"/>
                <a:gd name="connsiteX1111" fmla="*/ 247482 w 1195280"/>
                <a:gd name="connsiteY1111" fmla="*/ 658057 h 972482"/>
                <a:gd name="connsiteX1112" fmla="*/ 253427 w 1195280"/>
                <a:gd name="connsiteY1112" fmla="*/ 659349 h 972482"/>
                <a:gd name="connsiteX1113" fmla="*/ 255882 w 1195280"/>
                <a:gd name="connsiteY1113" fmla="*/ 659608 h 972482"/>
                <a:gd name="connsiteX1114" fmla="*/ 257692 w 1195280"/>
                <a:gd name="connsiteY1114" fmla="*/ 659091 h 972482"/>
                <a:gd name="connsiteX1115" fmla="*/ 261439 w 1195280"/>
                <a:gd name="connsiteY1115" fmla="*/ 656635 h 972482"/>
                <a:gd name="connsiteX1116" fmla="*/ 263507 w 1195280"/>
                <a:gd name="connsiteY1116" fmla="*/ 655731 h 972482"/>
                <a:gd name="connsiteX1117" fmla="*/ 271778 w 1195280"/>
                <a:gd name="connsiteY1117" fmla="*/ 656506 h 972482"/>
                <a:gd name="connsiteX1118" fmla="*/ 273071 w 1195280"/>
                <a:gd name="connsiteY1118" fmla="*/ 656118 h 972482"/>
                <a:gd name="connsiteX1119" fmla="*/ 274104 w 1195280"/>
                <a:gd name="connsiteY1119" fmla="*/ 655472 h 972482"/>
                <a:gd name="connsiteX1120" fmla="*/ 276560 w 1195280"/>
                <a:gd name="connsiteY1120" fmla="*/ 654826 h 972482"/>
                <a:gd name="connsiteX1121" fmla="*/ 281083 w 1195280"/>
                <a:gd name="connsiteY1121" fmla="*/ 654180 h 972482"/>
                <a:gd name="connsiteX1122" fmla="*/ 290259 w 1195280"/>
                <a:gd name="connsiteY1122" fmla="*/ 654180 h 972482"/>
                <a:gd name="connsiteX1123" fmla="*/ 292714 w 1195280"/>
                <a:gd name="connsiteY1123" fmla="*/ 654826 h 972482"/>
                <a:gd name="connsiteX1124" fmla="*/ 296074 w 1195280"/>
                <a:gd name="connsiteY1124" fmla="*/ 657282 h 972482"/>
                <a:gd name="connsiteX1125" fmla="*/ 298142 w 1195280"/>
                <a:gd name="connsiteY1125" fmla="*/ 657282 h 972482"/>
                <a:gd name="connsiteX1126" fmla="*/ 300468 w 1195280"/>
                <a:gd name="connsiteY1126" fmla="*/ 654568 h 972482"/>
                <a:gd name="connsiteX1127" fmla="*/ 298013 w 1195280"/>
                <a:gd name="connsiteY1127" fmla="*/ 646555 h 972482"/>
                <a:gd name="connsiteX1128" fmla="*/ 300209 w 1195280"/>
                <a:gd name="connsiteY1128" fmla="*/ 643195 h 972482"/>
                <a:gd name="connsiteX1129" fmla="*/ 302665 w 1195280"/>
                <a:gd name="connsiteY1129" fmla="*/ 645263 h 972482"/>
                <a:gd name="connsiteX1130" fmla="*/ 303828 w 1195280"/>
                <a:gd name="connsiteY1130" fmla="*/ 647847 h 972482"/>
                <a:gd name="connsiteX1131" fmla="*/ 304733 w 1195280"/>
                <a:gd name="connsiteY1131" fmla="*/ 650691 h 972482"/>
                <a:gd name="connsiteX1132" fmla="*/ 306025 w 1195280"/>
                <a:gd name="connsiteY1132" fmla="*/ 653405 h 972482"/>
                <a:gd name="connsiteX1133" fmla="*/ 307705 w 1195280"/>
                <a:gd name="connsiteY1133" fmla="*/ 654826 h 972482"/>
                <a:gd name="connsiteX1134" fmla="*/ 311970 w 1195280"/>
                <a:gd name="connsiteY1134" fmla="*/ 656635 h 972482"/>
                <a:gd name="connsiteX1135" fmla="*/ 315071 w 1195280"/>
                <a:gd name="connsiteY1135" fmla="*/ 658574 h 972482"/>
                <a:gd name="connsiteX1136" fmla="*/ 316364 w 1195280"/>
                <a:gd name="connsiteY1136" fmla="*/ 658832 h 972482"/>
                <a:gd name="connsiteX1137" fmla="*/ 317656 w 1195280"/>
                <a:gd name="connsiteY1137" fmla="*/ 658574 h 972482"/>
                <a:gd name="connsiteX1138" fmla="*/ 318948 w 1195280"/>
                <a:gd name="connsiteY1138" fmla="*/ 657669 h 972482"/>
                <a:gd name="connsiteX1139" fmla="*/ 319465 w 1195280"/>
                <a:gd name="connsiteY1139" fmla="*/ 657023 h 972482"/>
                <a:gd name="connsiteX1140" fmla="*/ 320370 w 1195280"/>
                <a:gd name="connsiteY1140" fmla="*/ 656118 h 972482"/>
                <a:gd name="connsiteX1141" fmla="*/ 320758 w 1195280"/>
                <a:gd name="connsiteY1141" fmla="*/ 655731 h 972482"/>
                <a:gd name="connsiteX1142" fmla="*/ 321404 w 1195280"/>
                <a:gd name="connsiteY1142" fmla="*/ 655343 h 972482"/>
                <a:gd name="connsiteX1143" fmla="*/ 322825 w 1195280"/>
                <a:gd name="connsiteY1143" fmla="*/ 654955 h 972482"/>
                <a:gd name="connsiteX1144" fmla="*/ 323342 w 1195280"/>
                <a:gd name="connsiteY1144" fmla="*/ 654568 h 972482"/>
                <a:gd name="connsiteX1145" fmla="*/ 324635 w 1195280"/>
                <a:gd name="connsiteY1145" fmla="*/ 652500 h 972482"/>
                <a:gd name="connsiteX1146" fmla="*/ 325152 w 1195280"/>
                <a:gd name="connsiteY1146" fmla="*/ 650174 h 972482"/>
                <a:gd name="connsiteX1147" fmla="*/ 325152 w 1195280"/>
                <a:gd name="connsiteY1147" fmla="*/ 644875 h 972482"/>
                <a:gd name="connsiteX1148" fmla="*/ 326573 w 1195280"/>
                <a:gd name="connsiteY1148" fmla="*/ 645392 h 972482"/>
                <a:gd name="connsiteX1149" fmla="*/ 327865 w 1195280"/>
                <a:gd name="connsiteY1149" fmla="*/ 646168 h 972482"/>
                <a:gd name="connsiteX1150" fmla="*/ 328770 w 1195280"/>
                <a:gd name="connsiteY1150" fmla="*/ 647331 h 972482"/>
                <a:gd name="connsiteX1151" fmla="*/ 329546 w 1195280"/>
                <a:gd name="connsiteY1151" fmla="*/ 648752 h 972482"/>
                <a:gd name="connsiteX1152" fmla="*/ 329804 w 1195280"/>
                <a:gd name="connsiteY1152" fmla="*/ 650045 h 972482"/>
                <a:gd name="connsiteX1153" fmla="*/ 329804 w 1195280"/>
                <a:gd name="connsiteY1153" fmla="*/ 651337 h 972482"/>
                <a:gd name="connsiteX1154" fmla="*/ 330063 w 1195280"/>
                <a:gd name="connsiteY1154" fmla="*/ 652629 h 972482"/>
                <a:gd name="connsiteX1155" fmla="*/ 330709 w 1195280"/>
                <a:gd name="connsiteY1155" fmla="*/ 653792 h 972482"/>
                <a:gd name="connsiteX1156" fmla="*/ 331872 w 1195280"/>
                <a:gd name="connsiteY1156" fmla="*/ 654568 h 972482"/>
                <a:gd name="connsiteX1157" fmla="*/ 332906 w 1195280"/>
                <a:gd name="connsiteY1157" fmla="*/ 654697 h 972482"/>
                <a:gd name="connsiteX1158" fmla="*/ 333939 w 1195280"/>
                <a:gd name="connsiteY1158" fmla="*/ 654309 h 972482"/>
                <a:gd name="connsiteX1159" fmla="*/ 335103 w 1195280"/>
                <a:gd name="connsiteY1159" fmla="*/ 654180 h 972482"/>
                <a:gd name="connsiteX1160" fmla="*/ 336653 w 1195280"/>
                <a:gd name="connsiteY1160" fmla="*/ 653017 h 972482"/>
                <a:gd name="connsiteX1161" fmla="*/ 337687 w 1195280"/>
                <a:gd name="connsiteY1161" fmla="*/ 650432 h 972482"/>
                <a:gd name="connsiteX1162" fmla="*/ 338204 w 1195280"/>
                <a:gd name="connsiteY1162" fmla="*/ 647589 h 972482"/>
                <a:gd name="connsiteX1163" fmla="*/ 338333 w 1195280"/>
                <a:gd name="connsiteY1163" fmla="*/ 645521 h 972482"/>
                <a:gd name="connsiteX1164" fmla="*/ 337429 w 1195280"/>
                <a:gd name="connsiteY1164" fmla="*/ 643712 h 972482"/>
                <a:gd name="connsiteX1165" fmla="*/ 337170 w 1195280"/>
                <a:gd name="connsiteY1165" fmla="*/ 642291 h 972482"/>
                <a:gd name="connsiteX1166" fmla="*/ 338075 w 1195280"/>
                <a:gd name="connsiteY1166" fmla="*/ 641644 h 972482"/>
                <a:gd name="connsiteX1167" fmla="*/ 338980 w 1195280"/>
                <a:gd name="connsiteY1167" fmla="*/ 640481 h 972482"/>
                <a:gd name="connsiteX1168" fmla="*/ 339755 w 1195280"/>
                <a:gd name="connsiteY1168" fmla="*/ 639706 h 972482"/>
                <a:gd name="connsiteX1169" fmla="*/ 341047 w 1195280"/>
                <a:gd name="connsiteY1169" fmla="*/ 639447 h 972482"/>
                <a:gd name="connsiteX1170" fmla="*/ 354488 w 1195280"/>
                <a:gd name="connsiteY1170" fmla="*/ 638931 h 972482"/>
                <a:gd name="connsiteX1171" fmla="*/ 356426 w 1195280"/>
                <a:gd name="connsiteY1171" fmla="*/ 639447 h 972482"/>
                <a:gd name="connsiteX1172" fmla="*/ 358494 w 1195280"/>
                <a:gd name="connsiteY1172" fmla="*/ 641257 h 972482"/>
                <a:gd name="connsiteX1173" fmla="*/ 361208 w 1195280"/>
                <a:gd name="connsiteY1173" fmla="*/ 645005 h 972482"/>
                <a:gd name="connsiteX1174" fmla="*/ 363017 w 1195280"/>
                <a:gd name="connsiteY1174" fmla="*/ 646038 h 972482"/>
                <a:gd name="connsiteX1175" fmla="*/ 365602 w 1195280"/>
                <a:gd name="connsiteY1175" fmla="*/ 645521 h 972482"/>
                <a:gd name="connsiteX1176" fmla="*/ 367153 w 1195280"/>
                <a:gd name="connsiteY1176" fmla="*/ 644100 h 972482"/>
                <a:gd name="connsiteX1177" fmla="*/ 367928 w 1195280"/>
                <a:gd name="connsiteY1177" fmla="*/ 642291 h 972482"/>
                <a:gd name="connsiteX1178" fmla="*/ 369091 w 1195280"/>
                <a:gd name="connsiteY1178" fmla="*/ 640740 h 972482"/>
                <a:gd name="connsiteX1179" fmla="*/ 371805 w 1195280"/>
                <a:gd name="connsiteY1179" fmla="*/ 640094 h 972482"/>
                <a:gd name="connsiteX1180" fmla="*/ 374131 w 1195280"/>
                <a:gd name="connsiteY1180" fmla="*/ 639964 h 972482"/>
                <a:gd name="connsiteX1181" fmla="*/ 376587 w 1195280"/>
                <a:gd name="connsiteY1181" fmla="*/ 639318 h 972482"/>
                <a:gd name="connsiteX1182" fmla="*/ 378913 w 1195280"/>
                <a:gd name="connsiteY1182" fmla="*/ 638284 h 972482"/>
                <a:gd name="connsiteX1183" fmla="*/ 380980 w 1195280"/>
                <a:gd name="connsiteY1183" fmla="*/ 637121 h 972482"/>
                <a:gd name="connsiteX1184" fmla="*/ 382014 w 1195280"/>
                <a:gd name="connsiteY1184" fmla="*/ 638026 h 972482"/>
                <a:gd name="connsiteX1185" fmla="*/ 383953 w 1195280"/>
                <a:gd name="connsiteY1185" fmla="*/ 639447 h 972482"/>
                <a:gd name="connsiteX1186" fmla="*/ 384599 w 1195280"/>
                <a:gd name="connsiteY1186" fmla="*/ 640094 h 972482"/>
                <a:gd name="connsiteX1187" fmla="*/ 384987 w 1195280"/>
                <a:gd name="connsiteY1187" fmla="*/ 641386 h 972482"/>
                <a:gd name="connsiteX1188" fmla="*/ 384857 w 1195280"/>
                <a:gd name="connsiteY1188" fmla="*/ 642291 h 972482"/>
                <a:gd name="connsiteX1189" fmla="*/ 384599 w 1195280"/>
                <a:gd name="connsiteY1189" fmla="*/ 643066 h 972482"/>
                <a:gd name="connsiteX1190" fmla="*/ 384599 w 1195280"/>
                <a:gd name="connsiteY1190" fmla="*/ 644100 h 972482"/>
                <a:gd name="connsiteX1191" fmla="*/ 384470 w 1195280"/>
                <a:gd name="connsiteY1191" fmla="*/ 644875 h 972482"/>
                <a:gd name="connsiteX1192" fmla="*/ 384082 w 1195280"/>
                <a:gd name="connsiteY1192" fmla="*/ 645263 h 972482"/>
                <a:gd name="connsiteX1193" fmla="*/ 384082 w 1195280"/>
                <a:gd name="connsiteY1193" fmla="*/ 645780 h 972482"/>
                <a:gd name="connsiteX1194" fmla="*/ 386796 w 1195280"/>
                <a:gd name="connsiteY1194" fmla="*/ 648752 h 972482"/>
                <a:gd name="connsiteX1195" fmla="*/ 388347 w 1195280"/>
                <a:gd name="connsiteY1195" fmla="*/ 649915 h 972482"/>
                <a:gd name="connsiteX1196" fmla="*/ 389381 w 1195280"/>
                <a:gd name="connsiteY1196" fmla="*/ 650174 h 972482"/>
                <a:gd name="connsiteX1197" fmla="*/ 390802 w 1195280"/>
                <a:gd name="connsiteY1197" fmla="*/ 650303 h 972482"/>
                <a:gd name="connsiteX1198" fmla="*/ 398556 w 1195280"/>
                <a:gd name="connsiteY1198" fmla="*/ 655343 h 972482"/>
                <a:gd name="connsiteX1199" fmla="*/ 399590 w 1195280"/>
                <a:gd name="connsiteY1199" fmla="*/ 657023 h 972482"/>
                <a:gd name="connsiteX1200" fmla="*/ 403855 w 1195280"/>
                <a:gd name="connsiteY1200" fmla="*/ 660513 h 972482"/>
                <a:gd name="connsiteX1201" fmla="*/ 404501 w 1195280"/>
                <a:gd name="connsiteY1201" fmla="*/ 662709 h 972482"/>
                <a:gd name="connsiteX1202" fmla="*/ 405923 w 1195280"/>
                <a:gd name="connsiteY1202" fmla="*/ 665036 h 972482"/>
                <a:gd name="connsiteX1203" fmla="*/ 405535 w 1195280"/>
                <a:gd name="connsiteY1203" fmla="*/ 666974 h 972482"/>
                <a:gd name="connsiteX1204" fmla="*/ 405535 w 1195280"/>
                <a:gd name="connsiteY1204" fmla="*/ 667491 h 972482"/>
                <a:gd name="connsiteX1205" fmla="*/ 405535 w 1195280"/>
                <a:gd name="connsiteY1205" fmla="*/ 668525 h 972482"/>
                <a:gd name="connsiteX1206" fmla="*/ 405276 w 1195280"/>
                <a:gd name="connsiteY1206" fmla="*/ 670334 h 972482"/>
                <a:gd name="connsiteX1207" fmla="*/ 404889 w 1195280"/>
                <a:gd name="connsiteY1207" fmla="*/ 671368 h 972482"/>
                <a:gd name="connsiteX1208" fmla="*/ 404501 w 1195280"/>
                <a:gd name="connsiteY1208" fmla="*/ 672014 h 972482"/>
                <a:gd name="connsiteX1209" fmla="*/ 404113 w 1195280"/>
                <a:gd name="connsiteY1209" fmla="*/ 672402 h 972482"/>
                <a:gd name="connsiteX1210" fmla="*/ 402433 w 1195280"/>
                <a:gd name="connsiteY1210" fmla="*/ 673824 h 972482"/>
                <a:gd name="connsiteX1211" fmla="*/ 402046 w 1195280"/>
                <a:gd name="connsiteY1211" fmla="*/ 674340 h 972482"/>
                <a:gd name="connsiteX1212" fmla="*/ 401787 w 1195280"/>
                <a:gd name="connsiteY1212" fmla="*/ 674857 h 972482"/>
                <a:gd name="connsiteX1213" fmla="*/ 401658 w 1195280"/>
                <a:gd name="connsiteY1213" fmla="*/ 675503 h 972482"/>
                <a:gd name="connsiteX1214" fmla="*/ 401270 w 1195280"/>
                <a:gd name="connsiteY1214" fmla="*/ 677701 h 972482"/>
                <a:gd name="connsiteX1215" fmla="*/ 401012 w 1195280"/>
                <a:gd name="connsiteY1215" fmla="*/ 684550 h 972482"/>
                <a:gd name="connsiteX1216" fmla="*/ 400495 w 1195280"/>
                <a:gd name="connsiteY1216" fmla="*/ 687393 h 972482"/>
                <a:gd name="connsiteX1217" fmla="*/ 400107 w 1195280"/>
                <a:gd name="connsiteY1217" fmla="*/ 688685 h 972482"/>
                <a:gd name="connsiteX1218" fmla="*/ 399719 w 1195280"/>
                <a:gd name="connsiteY1218" fmla="*/ 689848 h 972482"/>
                <a:gd name="connsiteX1219" fmla="*/ 399590 w 1195280"/>
                <a:gd name="connsiteY1219" fmla="*/ 690624 h 972482"/>
                <a:gd name="connsiteX1220" fmla="*/ 399849 w 1195280"/>
                <a:gd name="connsiteY1220" fmla="*/ 691270 h 972482"/>
                <a:gd name="connsiteX1221" fmla="*/ 400365 w 1195280"/>
                <a:gd name="connsiteY1221" fmla="*/ 692304 h 972482"/>
                <a:gd name="connsiteX1222" fmla="*/ 403338 w 1195280"/>
                <a:gd name="connsiteY1222" fmla="*/ 695276 h 972482"/>
                <a:gd name="connsiteX1223" fmla="*/ 404242 w 1195280"/>
                <a:gd name="connsiteY1223" fmla="*/ 696052 h 972482"/>
                <a:gd name="connsiteX1224" fmla="*/ 414710 w 1195280"/>
                <a:gd name="connsiteY1224" fmla="*/ 701221 h 972482"/>
                <a:gd name="connsiteX1225" fmla="*/ 415098 w 1195280"/>
                <a:gd name="connsiteY1225" fmla="*/ 701609 h 972482"/>
                <a:gd name="connsiteX1226" fmla="*/ 415486 w 1195280"/>
                <a:gd name="connsiteY1226" fmla="*/ 701996 h 972482"/>
                <a:gd name="connsiteX1227" fmla="*/ 415874 w 1195280"/>
                <a:gd name="connsiteY1227" fmla="*/ 702513 h 972482"/>
                <a:gd name="connsiteX1228" fmla="*/ 416132 w 1195280"/>
                <a:gd name="connsiteY1228" fmla="*/ 702901 h 972482"/>
                <a:gd name="connsiteX1229" fmla="*/ 416649 w 1195280"/>
                <a:gd name="connsiteY1229" fmla="*/ 703935 h 972482"/>
                <a:gd name="connsiteX1230" fmla="*/ 419363 w 1195280"/>
                <a:gd name="connsiteY1230" fmla="*/ 713498 h 972482"/>
                <a:gd name="connsiteX1231" fmla="*/ 419492 w 1195280"/>
                <a:gd name="connsiteY1231" fmla="*/ 714403 h 972482"/>
                <a:gd name="connsiteX1232" fmla="*/ 419363 w 1195280"/>
                <a:gd name="connsiteY1232" fmla="*/ 716212 h 972482"/>
                <a:gd name="connsiteX1233" fmla="*/ 419234 w 1195280"/>
                <a:gd name="connsiteY1233" fmla="*/ 717246 h 972482"/>
                <a:gd name="connsiteX1234" fmla="*/ 418846 w 1195280"/>
                <a:gd name="connsiteY1234" fmla="*/ 718151 h 972482"/>
                <a:gd name="connsiteX1235" fmla="*/ 417812 w 1195280"/>
                <a:gd name="connsiteY1235" fmla="*/ 719443 h 972482"/>
                <a:gd name="connsiteX1236" fmla="*/ 417166 w 1195280"/>
                <a:gd name="connsiteY1236" fmla="*/ 720089 h 972482"/>
                <a:gd name="connsiteX1237" fmla="*/ 416520 w 1195280"/>
                <a:gd name="connsiteY1237" fmla="*/ 720477 h 972482"/>
                <a:gd name="connsiteX1238" fmla="*/ 415227 w 1195280"/>
                <a:gd name="connsiteY1238" fmla="*/ 720735 h 972482"/>
                <a:gd name="connsiteX1239" fmla="*/ 414581 w 1195280"/>
                <a:gd name="connsiteY1239" fmla="*/ 720994 h 972482"/>
                <a:gd name="connsiteX1240" fmla="*/ 414194 w 1195280"/>
                <a:gd name="connsiteY1240" fmla="*/ 721640 h 972482"/>
                <a:gd name="connsiteX1241" fmla="*/ 413935 w 1195280"/>
                <a:gd name="connsiteY1241" fmla="*/ 724225 h 972482"/>
                <a:gd name="connsiteX1242" fmla="*/ 413677 w 1195280"/>
                <a:gd name="connsiteY1242" fmla="*/ 725517 h 972482"/>
                <a:gd name="connsiteX1243" fmla="*/ 413160 w 1195280"/>
                <a:gd name="connsiteY1243" fmla="*/ 726939 h 972482"/>
                <a:gd name="connsiteX1244" fmla="*/ 412126 w 1195280"/>
                <a:gd name="connsiteY1244" fmla="*/ 728748 h 972482"/>
                <a:gd name="connsiteX1245" fmla="*/ 411480 w 1195280"/>
                <a:gd name="connsiteY1245" fmla="*/ 729652 h 972482"/>
                <a:gd name="connsiteX1246" fmla="*/ 410834 w 1195280"/>
                <a:gd name="connsiteY1246" fmla="*/ 730299 h 972482"/>
                <a:gd name="connsiteX1247" fmla="*/ 409412 w 1195280"/>
                <a:gd name="connsiteY1247" fmla="*/ 731203 h 972482"/>
                <a:gd name="connsiteX1248" fmla="*/ 408507 w 1195280"/>
                <a:gd name="connsiteY1248" fmla="*/ 733400 h 972482"/>
                <a:gd name="connsiteX1249" fmla="*/ 407603 w 1195280"/>
                <a:gd name="connsiteY1249" fmla="*/ 741671 h 972482"/>
                <a:gd name="connsiteX1250" fmla="*/ 407086 w 1195280"/>
                <a:gd name="connsiteY1250" fmla="*/ 743997 h 972482"/>
                <a:gd name="connsiteX1251" fmla="*/ 407086 w 1195280"/>
                <a:gd name="connsiteY1251" fmla="*/ 744773 h 972482"/>
                <a:gd name="connsiteX1252" fmla="*/ 407473 w 1195280"/>
                <a:gd name="connsiteY1252" fmla="*/ 745548 h 972482"/>
                <a:gd name="connsiteX1253" fmla="*/ 408378 w 1195280"/>
                <a:gd name="connsiteY1253" fmla="*/ 746582 h 972482"/>
                <a:gd name="connsiteX1254" fmla="*/ 409024 w 1195280"/>
                <a:gd name="connsiteY1254" fmla="*/ 746970 h 972482"/>
                <a:gd name="connsiteX1255" fmla="*/ 409800 w 1195280"/>
                <a:gd name="connsiteY1255" fmla="*/ 747228 h 972482"/>
                <a:gd name="connsiteX1256" fmla="*/ 410446 w 1195280"/>
                <a:gd name="connsiteY1256" fmla="*/ 747228 h 972482"/>
                <a:gd name="connsiteX1257" fmla="*/ 411221 w 1195280"/>
                <a:gd name="connsiteY1257" fmla="*/ 747616 h 972482"/>
                <a:gd name="connsiteX1258" fmla="*/ 411997 w 1195280"/>
                <a:gd name="connsiteY1258" fmla="*/ 748650 h 972482"/>
                <a:gd name="connsiteX1259" fmla="*/ 413418 w 1195280"/>
                <a:gd name="connsiteY1259" fmla="*/ 750717 h 972482"/>
                <a:gd name="connsiteX1260" fmla="*/ 414194 w 1195280"/>
                <a:gd name="connsiteY1260" fmla="*/ 751622 h 972482"/>
                <a:gd name="connsiteX1261" fmla="*/ 415357 w 1195280"/>
                <a:gd name="connsiteY1261" fmla="*/ 752656 h 972482"/>
                <a:gd name="connsiteX1262" fmla="*/ 415615 w 1195280"/>
                <a:gd name="connsiteY1262" fmla="*/ 753044 h 972482"/>
                <a:gd name="connsiteX1263" fmla="*/ 415357 w 1195280"/>
                <a:gd name="connsiteY1263" fmla="*/ 753819 h 972482"/>
                <a:gd name="connsiteX1264" fmla="*/ 414969 w 1195280"/>
                <a:gd name="connsiteY1264" fmla="*/ 754853 h 972482"/>
                <a:gd name="connsiteX1265" fmla="*/ 414710 w 1195280"/>
                <a:gd name="connsiteY1265" fmla="*/ 755241 h 972482"/>
                <a:gd name="connsiteX1266" fmla="*/ 414710 w 1195280"/>
                <a:gd name="connsiteY1266" fmla="*/ 755370 h 972482"/>
                <a:gd name="connsiteX1267" fmla="*/ 414710 w 1195280"/>
                <a:gd name="connsiteY1267" fmla="*/ 755887 h 972482"/>
                <a:gd name="connsiteX1268" fmla="*/ 414840 w 1195280"/>
                <a:gd name="connsiteY1268" fmla="*/ 757179 h 972482"/>
                <a:gd name="connsiteX1269" fmla="*/ 416908 w 1195280"/>
                <a:gd name="connsiteY1269" fmla="*/ 764287 h 972482"/>
                <a:gd name="connsiteX1270" fmla="*/ 417037 w 1195280"/>
                <a:gd name="connsiteY1270" fmla="*/ 765321 h 972482"/>
                <a:gd name="connsiteX1271" fmla="*/ 416908 w 1195280"/>
                <a:gd name="connsiteY1271" fmla="*/ 768422 h 972482"/>
                <a:gd name="connsiteX1272" fmla="*/ 417166 w 1195280"/>
                <a:gd name="connsiteY1272" fmla="*/ 769327 h 972482"/>
                <a:gd name="connsiteX1273" fmla="*/ 417683 w 1195280"/>
                <a:gd name="connsiteY1273" fmla="*/ 770232 h 972482"/>
                <a:gd name="connsiteX1274" fmla="*/ 422723 w 1195280"/>
                <a:gd name="connsiteY1274" fmla="*/ 776306 h 972482"/>
                <a:gd name="connsiteX1275" fmla="*/ 423757 w 1195280"/>
                <a:gd name="connsiteY1275" fmla="*/ 776952 h 972482"/>
                <a:gd name="connsiteX1276" fmla="*/ 424532 w 1195280"/>
                <a:gd name="connsiteY1276" fmla="*/ 777340 h 972482"/>
                <a:gd name="connsiteX1277" fmla="*/ 425178 w 1195280"/>
                <a:gd name="connsiteY1277" fmla="*/ 777727 h 972482"/>
                <a:gd name="connsiteX1278" fmla="*/ 425566 w 1195280"/>
                <a:gd name="connsiteY1278" fmla="*/ 778503 h 972482"/>
                <a:gd name="connsiteX1279" fmla="*/ 426212 w 1195280"/>
                <a:gd name="connsiteY1279" fmla="*/ 781733 h 972482"/>
                <a:gd name="connsiteX1280" fmla="*/ 428151 w 1195280"/>
                <a:gd name="connsiteY1280" fmla="*/ 786515 h 972482"/>
                <a:gd name="connsiteX1281" fmla="*/ 428538 w 1195280"/>
                <a:gd name="connsiteY1281" fmla="*/ 787678 h 972482"/>
                <a:gd name="connsiteX1282" fmla="*/ 429185 w 1195280"/>
                <a:gd name="connsiteY1282" fmla="*/ 790004 h 972482"/>
                <a:gd name="connsiteX1283" fmla="*/ 429702 w 1195280"/>
                <a:gd name="connsiteY1283" fmla="*/ 791168 h 972482"/>
                <a:gd name="connsiteX1284" fmla="*/ 431640 w 1195280"/>
                <a:gd name="connsiteY1284" fmla="*/ 794657 h 972482"/>
                <a:gd name="connsiteX1285" fmla="*/ 431898 w 1195280"/>
                <a:gd name="connsiteY1285" fmla="*/ 795174 h 972482"/>
                <a:gd name="connsiteX1286" fmla="*/ 432028 w 1195280"/>
                <a:gd name="connsiteY1286" fmla="*/ 795820 h 972482"/>
                <a:gd name="connsiteX1287" fmla="*/ 432028 w 1195280"/>
                <a:gd name="connsiteY1287" fmla="*/ 796466 h 972482"/>
                <a:gd name="connsiteX1288" fmla="*/ 432028 w 1195280"/>
                <a:gd name="connsiteY1288" fmla="*/ 797242 h 972482"/>
                <a:gd name="connsiteX1289" fmla="*/ 431123 w 1195280"/>
                <a:gd name="connsiteY1289" fmla="*/ 799955 h 972482"/>
                <a:gd name="connsiteX1290" fmla="*/ 430994 w 1195280"/>
                <a:gd name="connsiteY1290" fmla="*/ 800472 h 972482"/>
                <a:gd name="connsiteX1291" fmla="*/ 430994 w 1195280"/>
                <a:gd name="connsiteY1291" fmla="*/ 801118 h 972482"/>
                <a:gd name="connsiteX1292" fmla="*/ 431382 w 1195280"/>
                <a:gd name="connsiteY1292" fmla="*/ 801635 h 972482"/>
                <a:gd name="connsiteX1293" fmla="*/ 432157 w 1195280"/>
                <a:gd name="connsiteY1293" fmla="*/ 802023 h 972482"/>
                <a:gd name="connsiteX1294" fmla="*/ 433708 w 1195280"/>
                <a:gd name="connsiteY1294" fmla="*/ 802282 h 972482"/>
                <a:gd name="connsiteX1295" fmla="*/ 442496 w 1195280"/>
                <a:gd name="connsiteY1295" fmla="*/ 801635 h 972482"/>
                <a:gd name="connsiteX1296" fmla="*/ 443013 w 1195280"/>
                <a:gd name="connsiteY1296" fmla="*/ 801506 h 972482"/>
                <a:gd name="connsiteX1297" fmla="*/ 443659 w 1195280"/>
                <a:gd name="connsiteY1297" fmla="*/ 801248 h 972482"/>
                <a:gd name="connsiteX1298" fmla="*/ 444046 w 1195280"/>
                <a:gd name="connsiteY1298" fmla="*/ 800860 h 972482"/>
                <a:gd name="connsiteX1299" fmla="*/ 444951 w 1195280"/>
                <a:gd name="connsiteY1299" fmla="*/ 800085 h 972482"/>
                <a:gd name="connsiteX1300" fmla="*/ 445339 w 1195280"/>
                <a:gd name="connsiteY1300" fmla="*/ 799826 h 972482"/>
                <a:gd name="connsiteX1301" fmla="*/ 445856 w 1195280"/>
                <a:gd name="connsiteY1301" fmla="*/ 799568 h 972482"/>
                <a:gd name="connsiteX1302" fmla="*/ 447148 w 1195280"/>
                <a:gd name="connsiteY1302" fmla="*/ 799568 h 972482"/>
                <a:gd name="connsiteX1303" fmla="*/ 447794 w 1195280"/>
                <a:gd name="connsiteY1303" fmla="*/ 799439 h 972482"/>
                <a:gd name="connsiteX1304" fmla="*/ 448311 w 1195280"/>
                <a:gd name="connsiteY1304" fmla="*/ 799180 h 972482"/>
                <a:gd name="connsiteX1305" fmla="*/ 448699 w 1195280"/>
                <a:gd name="connsiteY1305" fmla="*/ 798792 h 972482"/>
                <a:gd name="connsiteX1306" fmla="*/ 449087 w 1195280"/>
                <a:gd name="connsiteY1306" fmla="*/ 798405 h 972482"/>
                <a:gd name="connsiteX1307" fmla="*/ 449604 w 1195280"/>
                <a:gd name="connsiteY1307" fmla="*/ 797371 h 972482"/>
                <a:gd name="connsiteX1308" fmla="*/ 449991 w 1195280"/>
                <a:gd name="connsiteY1308" fmla="*/ 796854 h 972482"/>
                <a:gd name="connsiteX1309" fmla="*/ 450379 w 1195280"/>
                <a:gd name="connsiteY1309" fmla="*/ 796466 h 972482"/>
                <a:gd name="connsiteX1310" fmla="*/ 451025 w 1195280"/>
                <a:gd name="connsiteY1310" fmla="*/ 796337 h 972482"/>
                <a:gd name="connsiteX1311" fmla="*/ 453868 w 1195280"/>
                <a:gd name="connsiteY1311" fmla="*/ 796466 h 972482"/>
                <a:gd name="connsiteX1312" fmla="*/ 455290 w 1195280"/>
                <a:gd name="connsiteY1312" fmla="*/ 796337 h 972482"/>
                <a:gd name="connsiteX1313" fmla="*/ 455936 w 1195280"/>
                <a:gd name="connsiteY1313" fmla="*/ 796337 h 972482"/>
                <a:gd name="connsiteX1314" fmla="*/ 456453 w 1195280"/>
                <a:gd name="connsiteY1314" fmla="*/ 796466 h 972482"/>
                <a:gd name="connsiteX1315" fmla="*/ 458779 w 1195280"/>
                <a:gd name="connsiteY1315" fmla="*/ 797242 h 972482"/>
                <a:gd name="connsiteX1316" fmla="*/ 461622 w 1195280"/>
                <a:gd name="connsiteY1316" fmla="*/ 798921 h 972482"/>
                <a:gd name="connsiteX1317" fmla="*/ 463431 w 1195280"/>
                <a:gd name="connsiteY1317" fmla="*/ 800214 h 972482"/>
                <a:gd name="connsiteX1318" fmla="*/ 463949 w 1195280"/>
                <a:gd name="connsiteY1318" fmla="*/ 800472 h 972482"/>
                <a:gd name="connsiteX1319" fmla="*/ 464595 w 1195280"/>
                <a:gd name="connsiteY1319" fmla="*/ 800602 h 972482"/>
                <a:gd name="connsiteX1320" fmla="*/ 465112 w 1195280"/>
                <a:gd name="connsiteY1320" fmla="*/ 800602 h 972482"/>
                <a:gd name="connsiteX1321" fmla="*/ 465628 w 1195280"/>
                <a:gd name="connsiteY1321" fmla="*/ 800214 h 972482"/>
                <a:gd name="connsiteX1322" fmla="*/ 466662 w 1195280"/>
                <a:gd name="connsiteY1322" fmla="*/ 798921 h 972482"/>
                <a:gd name="connsiteX1323" fmla="*/ 467050 w 1195280"/>
                <a:gd name="connsiteY1323" fmla="*/ 798534 h 972482"/>
                <a:gd name="connsiteX1324" fmla="*/ 467955 w 1195280"/>
                <a:gd name="connsiteY1324" fmla="*/ 797758 h 972482"/>
                <a:gd name="connsiteX1325" fmla="*/ 468342 w 1195280"/>
                <a:gd name="connsiteY1325" fmla="*/ 797500 h 972482"/>
                <a:gd name="connsiteX1326" fmla="*/ 468859 w 1195280"/>
                <a:gd name="connsiteY1326" fmla="*/ 797500 h 972482"/>
                <a:gd name="connsiteX1327" fmla="*/ 469247 w 1195280"/>
                <a:gd name="connsiteY1327" fmla="*/ 798017 h 972482"/>
                <a:gd name="connsiteX1328" fmla="*/ 469505 w 1195280"/>
                <a:gd name="connsiteY1328" fmla="*/ 799955 h 972482"/>
                <a:gd name="connsiteX1329" fmla="*/ 469764 w 1195280"/>
                <a:gd name="connsiteY1329" fmla="*/ 800860 h 972482"/>
                <a:gd name="connsiteX1330" fmla="*/ 470539 w 1195280"/>
                <a:gd name="connsiteY1330" fmla="*/ 801377 h 972482"/>
                <a:gd name="connsiteX1331" fmla="*/ 472090 w 1195280"/>
                <a:gd name="connsiteY1331" fmla="*/ 801894 h 972482"/>
                <a:gd name="connsiteX1332" fmla="*/ 472607 w 1195280"/>
                <a:gd name="connsiteY1332" fmla="*/ 802152 h 972482"/>
                <a:gd name="connsiteX1333" fmla="*/ 472995 w 1195280"/>
                <a:gd name="connsiteY1333" fmla="*/ 802669 h 972482"/>
                <a:gd name="connsiteX1334" fmla="*/ 473253 w 1195280"/>
                <a:gd name="connsiteY1334" fmla="*/ 803574 h 972482"/>
                <a:gd name="connsiteX1335" fmla="*/ 473512 w 1195280"/>
                <a:gd name="connsiteY1335" fmla="*/ 804349 h 972482"/>
                <a:gd name="connsiteX1336" fmla="*/ 474416 w 1195280"/>
                <a:gd name="connsiteY1336" fmla="*/ 804737 h 972482"/>
                <a:gd name="connsiteX1337" fmla="*/ 475063 w 1195280"/>
                <a:gd name="connsiteY1337" fmla="*/ 804737 h 972482"/>
                <a:gd name="connsiteX1338" fmla="*/ 475579 w 1195280"/>
                <a:gd name="connsiteY1338" fmla="*/ 804608 h 972482"/>
                <a:gd name="connsiteX1339" fmla="*/ 476355 w 1195280"/>
                <a:gd name="connsiteY1339" fmla="*/ 804349 h 972482"/>
                <a:gd name="connsiteX1340" fmla="*/ 477001 w 1195280"/>
                <a:gd name="connsiteY1340" fmla="*/ 804220 h 972482"/>
                <a:gd name="connsiteX1341" fmla="*/ 477647 w 1195280"/>
                <a:gd name="connsiteY1341" fmla="*/ 804220 h 972482"/>
                <a:gd name="connsiteX1342" fmla="*/ 478293 w 1195280"/>
                <a:gd name="connsiteY1342" fmla="*/ 804220 h 972482"/>
                <a:gd name="connsiteX1343" fmla="*/ 479715 w 1195280"/>
                <a:gd name="connsiteY1343" fmla="*/ 804479 h 972482"/>
                <a:gd name="connsiteX1344" fmla="*/ 481007 w 1195280"/>
                <a:gd name="connsiteY1344" fmla="*/ 804866 h 972482"/>
                <a:gd name="connsiteX1345" fmla="*/ 481653 w 1195280"/>
                <a:gd name="connsiteY1345" fmla="*/ 805254 h 972482"/>
                <a:gd name="connsiteX1346" fmla="*/ 482170 w 1195280"/>
                <a:gd name="connsiteY1346" fmla="*/ 805513 h 972482"/>
                <a:gd name="connsiteX1347" fmla="*/ 482816 w 1195280"/>
                <a:gd name="connsiteY1347" fmla="*/ 806159 h 972482"/>
                <a:gd name="connsiteX1348" fmla="*/ 483204 w 1195280"/>
                <a:gd name="connsiteY1348" fmla="*/ 806676 h 972482"/>
                <a:gd name="connsiteX1349" fmla="*/ 483592 w 1195280"/>
                <a:gd name="connsiteY1349" fmla="*/ 807192 h 972482"/>
                <a:gd name="connsiteX1350" fmla="*/ 483850 w 1195280"/>
                <a:gd name="connsiteY1350" fmla="*/ 807709 h 972482"/>
                <a:gd name="connsiteX1351" fmla="*/ 484367 w 1195280"/>
                <a:gd name="connsiteY1351" fmla="*/ 812750 h 972482"/>
                <a:gd name="connsiteX1352" fmla="*/ 484755 w 1195280"/>
                <a:gd name="connsiteY1352" fmla="*/ 813783 h 972482"/>
                <a:gd name="connsiteX1353" fmla="*/ 485143 w 1195280"/>
                <a:gd name="connsiteY1353" fmla="*/ 814429 h 972482"/>
                <a:gd name="connsiteX1354" fmla="*/ 485401 w 1195280"/>
                <a:gd name="connsiteY1354" fmla="*/ 814817 h 972482"/>
                <a:gd name="connsiteX1355" fmla="*/ 485401 w 1195280"/>
                <a:gd name="connsiteY1355" fmla="*/ 815205 h 972482"/>
                <a:gd name="connsiteX1356" fmla="*/ 485013 w 1195280"/>
                <a:gd name="connsiteY1356" fmla="*/ 815722 h 972482"/>
                <a:gd name="connsiteX1357" fmla="*/ 483980 w 1195280"/>
                <a:gd name="connsiteY1357" fmla="*/ 816627 h 972482"/>
                <a:gd name="connsiteX1358" fmla="*/ 483592 w 1195280"/>
                <a:gd name="connsiteY1358" fmla="*/ 817014 h 972482"/>
                <a:gd name="connsiteX1359" fmla="*/ 483204 w 1195280"/>
                <a:gd name="connsiteY1359" fmla="*/ 817402 h 972482"/>
                <a:gd name="connsiteX1360" fmla="*/ 482687 w 1195280"/>
                <a:gd name="connsiteY1360" fmla="*/ 818436 h 972482"/>
                <a:gd name="connsiteX1361" fmla="*/ 482170 w 1195280"/>
                <a:gd name="connsiteY1361" fmla="*/ 819987 h 972482"/>
                <a:gd name="connsiteX1362" fmla="*/ 482300 w 1195280"/>
                <a:gd name="connsiteY1362" fmla="*/ 823088 h 972482"/>
                <a:gd name="connsiteX1363" fmla="*/ 482687 w 1195280"/>
                <a:gd name="connsiteY1363" fmla="*/ 823734 h 972482"/>
                <a:gd name="connsiteX1364" fmla="*/ 482558 w 1195280"/>
                <a:gd name="connsiteY1364" fmla="*/ 824122 h 972482"/>
                <a:gd name="connsiteX1365" fmla="*/ 482041 w 1195280"/>
                <a:gd name="connsiteY1365" fmla="*/ 824639 h 972482"/>
                <a:gd name="connsiteX1366" fmla="*/ 481136 w 1195280"/>
                <a:gd name="connsiteY1366" fmla="*/ 825544 h 972482"/>
                <a:gd name="connsiteX1367" fmla="*/ 480749 w 1195280"/>
                <a:gd name="connsiteY1367" fmla="*/ 825931 h 972482"/>
                <a:gd name="connsiteX1368" fmla="*/ 480490 w 1195280"/>
                <a:gd name="connsiteY1368" fmla="*/ 826448 h 972482"/>
                <a:gd name="connsiteX1369" fmla="*/ 480103 w 1195280"/>
                <a:gd name="connsiteY1369" fmla="*/ 826965 h 972482"/>
                <a:gd name="connsiteX1370" fmla="*/ 478164 w 1195280"/>
                <a:gd name="connsiteY1370" fmla="*/ 832264 h 972482"/>
                <a:gd name="connsiteX1371" fmla="*/ 477647 w 1195280"/>
                <a:gd name="connsiteY1371" fmla="*/ 833039 h 972482"/>
                <a:gd name="connsiteX1372" fmla="*/ 477130 w 1195280"/>
                <a:gd name="connsiteY1372" fmla="*/ 833427 h 972482"/>
                <a:gd name="connsiteX1373" fmla="*/ 476484 w 1195280"/>
                <a:gd name="connsiteY1373" fmla="*/ 833427 h 972482"/>
                <a:gd name="connsiteX1374" fmla="*/ 473899 w 1195280"/>
                <a:gd name="connsiteY1374" fmla="*/ 832910 h 972482"/>
                <a:gd name="connsiteX1375" fmla="*/ 473253 w 1195280"/>
                <a:gd name="connsiteY1375" fmla="*/ 833039 h 972482"/>
                <a:gd name="connsiteX1376" fmla="*/ 472736 w 1195280"/>
                <a:gd name="connsiteY1376" fmla="*/ 834332 h 972482"/>
                <a:gd name="connsiteX1377" fmla="*/ 470798 w 1195280"/>
                <a:gd name="connsiteY1377" fmla="*/ 843378 h 972482"/>
                <a:gd name="connsiteX1378" fmla="*/ 470281 w 1195280"/>
                <a:gd name="connsiteY1378" fmla="*/ 844670 h 972482"/>
                <a:gd name="connsiteX1379" fmla="*/ 469893 w 1195280"/>
                <a:gd name="connsiteY1379" fmla="*/ 845187 h 972482"/>
                <a:gd name="connsiteX1380" fmla="*/ 468084 w 1195280"/>
                <a:gd name="connsiteY1380" fmla="*/ 846480 h 972482"/>
                <a:gd name="connsiteX1381" fmla="*/ 467179 w 1195280"/>
                <a:gd name="connsiteY1381" fmla="*/ 847255 h 972482"/>
                <a:gd name="connsiteX1382" fmla="*/ 466791 w 1195280"/>
                <a:gd name="connsiteY1382" fmla="*/ 847643 h 972482"/>
                <a:gd name="connsiteX1383" fmla="*/ 466533 w 1195280"/>
                <a:gd name="connsiteY1383" fmla="*/ 848159 h 972482"/>
                <a:gd name="connsiteX1384" fmla="*/ 466404 w 1195280"/>
                <a:gd name="connsiteY1384" fmla="*/ 849064 h 972482"/>
                <a:gd name="connsiteX1385" fmla="*/ 466533 w 1195280"/>
                <a:gd name="connsiteY1385" fmla="*/ 849969 h 972482"/>
                <a:gd name="connsiteX1386" fmla="*/ 466921 w 1195280"/>
                <a:gd name="connsiteY1386" fmla="*/ 851520 h 972482"/>
                <a:gd name="connsiteX1387" fmla="*/ 467438 w 1195280"/>
                <a:gd name="connsiteY1387" fmla="*/ 852295 h 972482"/>
                <a:gd name="connsiteX1388" fmla="*/ 467825 w 1195280"/>
                <a:gd name="connsiteY1388" fmla="*/ 852683 h 972482"/>
                <a:gd name="connsiteX1389" fmla="*/ 468213 w 1195280"/>
                <a:gd name="connsiteY1389" fmla="*/ 852812 h 972482"/>
                <a:gd name="connsiteX1390" fmla="*/ 468601 w 1195280"/>
                <a:gd name="connsiteY1390" fmla="*/ 853200 h 972482"/>
                <a:gd name="connsiteX1391" fmla="*/ 468989 w 1195280"/>
                <a:gd name="connsiteY1391" fmla="*/ 853587 h 972482"/>
                <a:gd name="connsiteX1392" fmla="*/ 469118 w 1195280"/>
                <a:gd name="connsiteY1392" fmla="*/ 854233 h 972482"/>
                <a:gd name="connsiteX1393" fmla="*/ 468989 w 1195280"/>
                <a:gd name="connsiteY1393" fmla="*/ 854880 h 972482"/>
                <a:gd name="connsiteX1394" fmla="*/ 468472 w 1195280"/>
                <a:gd name="connsiteY1394" fmla="*/ 855914 h 972482"/>
                <a:gd name="connsiteX1395" fmla="*/ 467438 w 1195280"/>
                <a:gd name="connsiteY1395" fmla="*/ 856818 h 972482"/>
                <a:gd name="connsiteX1396" fmla="*/ 467179 w 1195280"/>
                <a:gd name="connsiteY1396" fmla="*/ 857464 h 972482"/>
                <a:gd name="connsiteX1397" fmla="*/ 467438 w 1195280"/>
                <a:gd name="connsiteY1397" fmla="*/ 858628 h 972482"/>
                <a:gd name="connsiteX1398" fmla="*/ 470022 w 1195280"/>
                <a:gd name="connsiteY1398" fmla="*/ 865089 h 972482"/>
                <a:gd name="connsiteX1399" fmla="*/ 471961 w 1195280"/>
                <a:gd name="connsiteY1399" fmla="*/ 867932 h 972482"/>
                <a:gd name="connsiteX1400" fmla="*/ 472090 w 1195280"/>
                <a:gd name="connsiteY1400" fmla="*/ 868578 h 972482"/>
                <a:gd name="connsiteX1401" fmla="*/ 471832 w 1195280"/>
                <a:gd name="connsiteY1401" fmla="*/ 869225 h 972482"/>
                <a:gd name="connsiteX1402" fmla="*/ 471056 w 1195280"/>
                <a:gd name="connsiteY1402" fmla="*/ 870258 h 972482"/>
                <a:gd name="connsiteX1403" fmla="*/ 470281 w 1195280"/>
                <a:gd name="connsiteY1403" fmla="*/ 870517 h 972482"/>
                <a:gd name="connsiteX1404" fmla="*/ 469505 w 1195280"/>
                <a:gd name="connsiteY1404" fmla="*/ 870517 h 972482"/>
                <a:gd name="connsiteX1405" fmla="*/ 468859 w 1195280"/>
                <a:gd name="connsiteY1405" fmla="*/ 870388 h 972482"/>
                <a:gd name="connsiteX1406" fmla="*/ 468342 w 1195280"/>
                <a:gd name="connsiteY1406" fmla="*/ 870517 h 972482"/>
                <a:gd name="connsiteX1407" fmla="*/ 467825 w 1195280"/>
                <a:gd name="connsiteY1407" fmla="*/ 870775 h 972482"/>
                <a:gd name="connsiteX1408" fmla="*/ 467309 w 1195280"/>
                <a:gd name="connsiteY1408" fmla="*/ 871163 h 972482"/>
                <a:gd name="connsiteX1409" fmla="*/ 466662 w 1195280"/>
                <a:gd name="connsiteY1409" fmla="*/ 871939 h 972482"/>
                <a:gd name="connsiteX1410" fmla="*/ 466404 w 1195280"/>
                <a:gd name="connsiteY1410" fmla="*/ 872585 h 972482"/>
                <a:gd name="connsiteX1411" fmla="*/ 466275 w 1195280"/>
                <a:gd name="connsiteY1411" fmla="*/ 873102 h 972482"/>
                <a:gd name="connsiteX1412" fmla="*/ 466533 w 1195280"/>
                <a:gd name="connsiteY1412" fmla="*/ 874135 h 972482"/>
                <a:gd name="connsiteX1413" fmla="*/ 467050 w 1195280"/>
                <a:gd name="connsiteY1413" fmla="*/ 874652 h 972482"/>
                <a:gd name="connsiteX1414" fmla="*/ 467438 w 1195280"/>
                <a:gd name="connsiteY1414" fmla="*/ 875040 h 972482"/>
                <a:gd name="connsiteX1415" fmla="*/ 467438 w 1195280"/>
                <a:gd name="connsiteY1415" fmla="*/ 875557 h 972482"/>
                <a:gd name="connsiteX1416" fmla="*/ 466921 w 1195280"/>
                <a:gd name="connsiteY1416" fmla="*/ 876074 h 972482"/>
                <a:gd name="connsiteX1417" fmla="*/ 466275 w 1195280"/>
                <a:gd name="connsiteY1417" fmla="*/ 876332 h 972482"/>
                <a:gd name="connsiteX1418" fmla="*/ 464207 w 1195280"/>
                <a:gd name="connsiteY1418" fmla="*/ 876591 h 972482"/>
                <a:gd name="connsiteX1419" fmla="*/ 463561 w 1195280"/>
                <a:gd name="connsiteY1419" fmla="*/ 876849 h 972482"/>
                <a:gd name="connsiteX1420" fmla="*/ 463302 w 1195280"/>
                <a:gd name="connsiteY1420" fmla="*/ 877366 h 972482"/>
                <a:gd name="connsiteX1421" fmla="*/ 463431 w 1195280"/>
                <a:gd name="connsiteY1421" fmla="*/ 878013 h 972482"/>
                <a:gd name="connsiteX1422" fmla="*/ 464078 w 1195280"/>
                <a:gd name="connsiteY1422" fmla="*/ 879176 h 972482"/>
                <a:gd name="connsiteX1423" fmla="*/ 464724 w 1195280"/>
                <a:gd name="connsiteY1423" fmla="*/ 879692 h 972482"/>
                <a:gd name="connsiteX1424" fmla="*/ 465370 w 1195280"/>
                <a:gd name="connsiteY1424" fmla="*/ 879951 h 972482"/>
                <a:gd name="connsiteX1425" fmla="*/ 466016 w 1195280"/>
                <a:gd name="connsiteY1425" fmla="*/ 880080 h 972482"/>
                <a:gd name="connsiteX1426" fmla="*/ 469635 w 1195280"/>
                <a:gd name="connsiteY1426" fmla="*/ 880339 h 972482"/>
                <a:gd name="connsiteX1427" fmla="*/ 470281 w 1195280"/>
                <a:gd name="connsiteY1427" fmla="*/ 880468 h 972482"/>
                <a:gd name="connsiteX1428" fmla="*/ 470798 w 1195280"/>
                <a:gd name="connsiteY1428" fmla="*/ 880856 h 972482"/>
                <a:gd name="connsiteX1429" fmla="*/ 471186 w 1195280"/>
                <a:gd name="connsiteY1429" fmla="*/ 881243 h 972482"/>
                <a:gd name="connsiteX1430" fmla="*/ 473899 w 1195280"/>
                <a:gd name="connsiteY1430" fmla="*/ 884991 h 972482"/>
                <a:gd name="connsiteX1431" fmla="*/ 473770 w 1195280"/>
                <a:gd name="connsiteY1431" fmla="*/ 885637 h 972482"/>
                <a:gd name="connsiteX1432" fmla="*/ 473253 w 1195280"/>
                <a:gd name="connsiteY1432" fmla="*/ 886542 h 972482"/>
                <a:gd name="connsiteX1433" fmla="*/ 470410 w 1195280"/>
                <a:gd name="connsiteY1433" fmla="*/ 888868 h 972482"/>
                <a:gd name="connsiteX1434" fmla="*/ 468989 w 1195280"/>
                <a:gd name="connsiteY1434" fmla="*/ 890290 h 972482"/>
                <a:gd name="connsiteX1435" fmla="*/ 467050 w 1195280"/>
                <a:gd name="connsiteY1435" fmla="*/ 893262 h 972482"/>
                <a:gd name="connsiteX1436" fmla="*/ 463173 w 1195280"/>
                <a:gd name="connsiteY1436" fmla="*/ 902179 h 972482"/>
                <a:gd name="connsiteX1437" fmla="*/ 462656 w 1195280"/>
                <a:gd name="connsiteY1437" fmla="*/ 904893 h 972482"/>
                <a:gd name="connsiteX1438" fmla="*/ 462915 w 1195280"/>
                <a:gd name="connsiteY1438" fmla="*/ 905927 h 972482"/>
                <a:gd name="connsiteX1439" fmla="*/ 463044 w 1195280"/>
                <a:gd name="connsiteY1439" fmla="*/ 906185 h 972482"/>
                <a:gd name="connsiteX1440" fmla="*/ 463431 w 1195280"/>
                <a:gd name="connsiteY1440" fmla="*/ 906832 h 972482"/>
                <a:gd name="connsiteX1441" fmla="*/ 467179 w 1195280"/>
                <a:gd name="connsiteY1441" fmla="*/ 910967 h 972482"/>
                <a:gd name="connsiteX1442" fmla="*/ 467567 w 1195280"/>
                <a:gd name="connsiteY1442" fmla="*/ 911742 h 972482"/>
                <a:gd name="connsiteX1443" fmla="*/ 467696 w 1195280"/>
                <a:gd name="connsiteY1443" fmla="*/ 912518 h 972482"/>
                <a:gd name="connsiteX1444" fmla="*/ 467567 w 1195280"/>
                <a:gd name="connsiteY1444" fmla="*/ 914715 h 972482"/>
                <a:gd name="connsiteX1445" fmla="*/ 467567 w 1195280"/>
                <a:gd name="connsiteY1445" fmla="*/ 915361 h 972482"/>
                <a:gd name="connsiteX1446" fmla="*/ 468213 w 1195280"/>
                <a:gd name="connsiteY1446" fmla="*/ 916136 h 972482"/>
                <a:gd name="connsiteX1447" fmla="*/ 469505 w 1195280"/>
                <a:gd name="connsiteY1447" fmla="*/ 916912 h 972482"/>
                <a:gd name="connsiteX1448" fmla="*/ 474804 w 1195280"/>
                <a:gd name="connsiteY1448" fmla="*/ 918980 h 972482"/>
                <a:gd name="connsiteX1449" fmla="*/ 478423 w 1195280"/>
                <a:gd name="connsiteY1449" fmla="*/ 919626 h 972482"/>
                <a:gd name="connsiteX1450" fmla="*/ 479069 w 1195280"/>
                <a:gd name="connsiteY1450" fmla="*/ 920013 h 972482"/>
                <a:gd name="connsiteX1451" fmla="*/ 479456 w 1195280"/>
                <a:gd name="connsiteY1451" fmla="*/ 920530 h 972482"/>
                <a:gd name="connsiteX1452" fmla="*/ 479715 w 1195280"/>
                <a:gd name="connsiteY1452" fmla="*/ 921564 h 972482"/>
                <a:gd name="connsiteX1453" fmla="*/ 479715 w 1195280"/>
                <a:gd name="connsiteY1453" fmla="*/ 923244 h 972482"/>
                <a:gd name="connsiteX1454" fmla="*/ 479844 w 1195280"/>
                <a:gd name="connsiteY1454" fmla="*/ 923890 h 972482"/>
                <a:gd name="connsiteX1455" fmla="*/ 480232 w 1195280"/>
                <a:gd name="connsiteY1455" fmla="*/ 924407 h 972482"/>
                <a:gd name="connsiteX1456" fmla="*/ 480878 w 1195280"/>
                <a:gd name="connsiteY1456" fmla="*/ 924795 h 972482"/>
                <a:gd name="connsiteX1457" fmla="*/ 483075 w 1195280"/>
                <a:gd name="connsiteY1457" fmla="*/ 925312 h 972482"/>
                <a:gd name="connsiteX1458" fmla="*/ 485143 w 1195280"/>
                <a:gd name="connsiteY1458" fmla="*/ 926217 h 972482"/>
                <a:gd name="connsiteX1459" fmla="*/ 489666 w 1195280"/>
                <a:gd name="connsiteY1459" fmla="*/ 929189 h 972482"/>
                <a:gd name="connsiteX1460" fmla="*/ 490571 w 1195280"/>
                <a:gd name="connsiteY1460" fmla="*/ 929577 h 972482"/>
                <a:gd name="connsiteX1461" fmla="*/ 493026 w 1195280"/>
                <a:gd name="connsiteY1461" fmla="*/ 930352 h 972482"/>
                <a:gd name="connsiteX1462" fmla="*/ 494577 w 1195280"/>
                <a:gd name="connsiteY1462" fmla="*/ 930481 h 972482"/>
                <a:gd name="connsiteX1463" fmla="*/ 496128 w 1195280"/>
                <a:gd name="connsiteY1463" fmla="*/ 930481 h 972482"/>
                <a:gd name="connsiteX1464" fmla="*/ 496645 w 1195280"/>
                <a:gd name="connsiteY1464" fmla="*/ 930610 h 972482"/>
                <a:gd name="connsiteX1465" fmla="*/ 496903 w 1195280"/>
                <a:gd name="connsiteY1465" fmla="*/ 930869 h 972482"/>
                <a:gd name="connsiteX1466" fmla="*/ 496386 w 1195280"/>
                <a:gd name="connsiteY1466" fmla="*/ 931774 h 972482"/>
                <a:gd name="connsiteX1467" fmla="*/ 495869 w 1195280"/>
                <a:gd name="connsiteY1467" fmla="*/ 932291 h 972482"/>
                <a:gd name="connsiteX1468" fmla="*/ 495352 w 1195280"/>
                <a:gd name="connsiteY1468" fmla="*/ 932807 h 972482"/>
                <a:gd name="connsiteX1469" fmla="*/ 494318 w 1195280"/>
                <a:gd name="connsiteY1469" fmla="*/ 933324 h 972482"/>
                <a:gd name="connsiteX1470" fmla="*/ 493931 w 1195280"/>
                <a:gd name="connsiteY1470" fmla="*/ 933712 h 972482"/>
                <a:gd name="connsiteX1471" fmla="*/ 493672 w 1195280"/>
                <a:gd name="connsiteY1471" fmla="*/ 934358 h 972482"/>
                <a:gd name="connsiteX1472" fmla="*/ 493543 w 1195280"/>
                <a:gd name="connsiteY1472" fmla="*/ 935263 h 972482"/>
                <a:gd name="connsiteX1473" fmla="*/ 493672 w 1195280"/>
                <a:gd name="connsiteY1473" fmla="*/ 936684 h 972482"/>
                <a:gd name="connsiteX1474" fmla="*/ 493931 w 1195280"/>
                <a:gd name="connsiteY1474" fmla="*/ 937460 h 972482"/>
                <a:gd name="connsiteX1475" fmla="*/ 494318 w 1195280"/>
                <a:gd name="connsiteY1475" fmla="*/ 938106 h 972482"/>
                <a:gd name="connsiteX1476" fmla="*/ 495869 w 1195280"/>
                <a:gd name="connsiteY1476" fmla="*/ 940562 h 972482"/>
                <a:gd name="connsiteX1477" fmla="*/ 495998 w 1195280"/>
                <a:gd name="connsiteY1477" fmla="*/ 941208 h 972482"/>
                <a:gd name="connsiteX1478" fmla="*/ 495740 w 1195280"/>
                <a:gd name="connsiteY1478" fmla="*/ 941854 h 972482"/>
                <a:gd name="connsiteX1479" fmla="*/ 495094 w 1195280"/>
                <a:gd name="connsiteY1479" fmla="*/ 942500 h 972482"/>
                <a:gd name="connsiteX1480" fmla="*/ 494448 w 1195280"/>
                <a:gd name="connsiteY1480" fmla="*/ 942888 h 972482"/>
                <a:gd name="connsiteX1481" fmla="*/ 489149 w 1195280"/>
                <a:gd name="connsiteY1481" fmla="*/ 944826 h 972482"/>
                <a:gd name="connsiteX1482" fmla="*/ 488115 w 1195280"/>
                <a:gd name="connsiteY1482" fmla="*/ 945472 h 972482"/>
                <a:gd name="connsiteX1483" fmla="*/ 487727 w 1195280"/>
                <a:gd name="connsiteY1483" fmla="*/ 945860 h 972482"/>
                <a:gd name="connsiteX1484" fmla="*/ 487340 w 1195280"/>
                <a:gd name="connsiteY1484" fmla="*/ 946248 h 972482"/>
                <a:gd name="connsiteX1485" fmla="*/ 487210 w 1195280"/>
                <a:gd name="connsiteY1485" fmla="*/ 946894 h 972482"/>
                <a:gd name="connsiteX1486" fmla="*/ 487469 w 1195280"/>
                <a:gd name="connsiteY1486" fmla="*/ 947669 h 972482"/>
                <a:gd name="connsiteX1487" fmla="*/ 487727 w 1195280"/>
                <a:gd name="connsiteY1487" fmla="*/ 948315 h 972482"/>
                <a:gd name="connsiteX1488" fmla="*/ 490700 w 1195280"/>
                <a:gd name="connsiteY1488" fmla="*/ 950642 h 972482"/>
                <a:gd name="connsiteX1489" fmla="*/ 492638 w 1195280"/>
                <a:gd name="connsiteY1489" fmla="*/ 952192 h 972482"/>
                <a:gd name="connsiteX1490" fmla="*/ 498842 w 1195280"/>
                <a:gd name="connsiteY1490" fmla="*/ 955811 h 972482"/>
                <a:gd name="connsiteX1491" fmla="*/ 500005 w 1195280"/>
                <a:gd name="connsiteY1491" fmla="*/ 956845 h 972482"/>
                <a:gd name="connsiteX1492" fmla="*/ 500392 w 1195280"/>
                <a:gd name="connsiteY1492" fmla="*/ 957620 h 972482"/>
                <a:gd name="connsiteX1493" fmla="*/ 499488 w 1195280"/>
                <a:gd name="connsiteY1493" fmla="*/ 959300 h 972482"/>
                <a:gd name="connsiteX1494" fmla="*/ 499358 w 1195280"/>
                <a:gd name="connsiteY1494" fmla="*/ 959947 h 972482"/>
                <a:gd name="connsiteX1495" fmla="*/ 499229 w 1195280"/>
                <a:gd name="connsiteY1495" fmla="*/ 960722 h 972482"/>
                <a:gd name="connsiteX1496" fmla="*/ 498971 w 1195280"/>
                <a:gd name="connsiteY1496" fmla="*/ 962919 h 972482"/>
                <a:gd name="connsiteX1497" fmla="*/ 499100 w 1195280"/>
                <a:gd name="connsiteY1497" fmla="*/ 964340 h 972482"/>
                <a:gd name="connsiteX1498" fmla="*/ 499358 w 1195280"/>
                <a:gd name="connsiteY1498" fmla="*/ 965633 h 972482"/>
                <a:gd name="connsiteX1499" fmla="*/ 499617 w 1195280"/>
                <a:gd name="connsiteY1499" fmla="*/ 966925 h 972482"/>
                <a:gd name="connsiteX1500" fmla="*/ 500263 w 1195280"/>
                <a:gd name="connsiteY1500" fmla="*/ 968476 h 972482"/>
                <a:gd name="connsiteX1501" fmla="*/ 500780 w 1195280"/>
                <a:gd name="connsiteY1501" fmla="*/ 969122 h 972482"/>
                <a:gd name="connsiteX1502" fmla="*/ 501168 w 1195280"/>
                <a:gd name="connsiteY1502" fmla="*/ 969381 h 972482"/>
                <a:gd name="connsiteX1503" fmla="*/ 501943 w 1195280"/>
                <a:gd name="connsiteY1503" fmla="*/ 969639 h 972482"/>
                <a:gd name="connsiteX1504" fmla="*/ 502977 w 1195280"/>
                <a:gd name="connsiteY1504" fmla="*/ 969898 h 972482"/>
                <a:gd name="connsiteX1505" fmla="*/ 505045 w 1195280"/>
                <a:gd name="connsiteY1505" fmla="*/ 969898 h 972482"/>
                <a:gd name="connsiteX1506" fmla="*/ 506208 w 1195280"/>
                <a:gd name="connsiteY1506" fmla="*/ 970414 h 972482"/>
                <a:gd name="connsiteX1507" fmla="*/ 507371 w 1195280"/>
                <a:gd name="connsiteY1507" fmla="*/ 971190 h 972482"/>
                <a:gd name="connsiteX1508" fmla="*/ 508146 w 1195280"/>
                <a:gd name="connsiteY1508" fmla="*/ 971190 h 972482"/>
                <a:gd name="connsiteX1509" fmla="*/ 509180 w 1195280"/>
                <a:gd name="connsiteY1509" fmla="*/ 970802 h 972482"/>
                <a:gd name="connsiteX1510" fmla="*/ 509826 w 1195280"/>
                <a:gd name="connsiteY1510" fmla="*/ 970414 h 972482"/>
                <a:gd name="connsiteX1511" fmla="*/ 510343 w 1195280"/>
                <a:gd name="connsiteY1511" fmla="*/ 970027 h 972482"/>
                <a:gd name="connsiteX1512" fmla="*/ 510731 w 1195280"/>
                <a:gd name="connsiteY1512" fmla="*/ 969768 h 972482"/>
                <a:gd name="connsiteX1513" fmla="*/ 511377 w 1195280"/>
                <a:gd name="connsiteY1513" fmla="*/ 969768 h 972482"/>
                <a:gd name="connsiteX1514" fmla="*/ 512153 w 1195280"/>
                <a:gd name="connsiteY1514" fmla="*/ 970027 h 972482"/>
                <a:gd name="connsiteX1515" fmla="*/ 512799 w 1195280"/>
                <a:gd name="connsiteY1515" fmla="*/ 970414 h 972482"/>
                <a:gd name="connsiteX1516" fmla="*/ 513703 w 1195280"/>
                <a:gd name="connsiteY1516" fmla="*/ 970414 h 972482"/>
                <a:gd name="connsiteX1517" fmla="*/ 514866 w 1195280"/>
                <a:gd name="connsiteY1517" fmla="*/ 970156 h 972482"/>
                <a:gd name="connsiteX1518" fmla="*/ 515642 w 1195280"/>
                <a:gd name="connsiteY1518" fmla="*/ 969639 h 972482"/>
                <a:gd name="connsiteX1519" fmla="*/ 516159 w 1195280"/>
                <a:gd name="connsiteY1519" fmla="*/ 969122 h 972482"/>
                <a:gd name="connsiteX1520" fmla="*/ 516546 w 1195280"/>
                <a:gd name="connsiteY1520" fmla="*/ 968734 h 972482"/>
                <a:gd name="connsiteX1521" fmla="*/ 516934 w 1195280"/>
                <a:gd name="connsiteY1521" fmla="*/ 968347 h 972482"/>
                <a:gd name="connsiteX1522" fmla="*/ 517580 w 1195280"/>
                <a:gd name="connsiteY1522" fmla="*/ 968217 h 972482"/>
                <a:gd name="connsiteX1523" fmla="*/ 518097 w 1195280"/>
                <a:gd name="connsiteY1523" fmla="*/ 967959 h 972482"/>
                <a:gd name="connsiteX1524" fmla="*/ 521457 w 1195280"/>
                <a:gd name="connsiteY1524" fmla="*/ 967313 h 972482"/>
                <a:gd name="connsiteX1525" fmla="*/ 522104 w 1195280"/>
                <a:gd name="connsiteY1525" fmla="*/ 967442 h 972482"/>
                <a:gd name="connsiteX1526" fmla="*/ 522750 w 1195280"/>
                <a:gd name="connsiteY1526" fmla="*/ 967700 h 972482"/>
                <a:gd name="connsiteX1527" fmla="*/ 523267 w 1195280"/>
                <a:gd name="connsiteY1527" fmla="*/ 968476 h 972482"/>
                <a:gd name="connsiteX1528" fmla="*/ 523267 w 1195280"/>
                <a:gd name="connsiteY1528" fmla="*/ 969122 h 972482"/>
                <a:gd name="connsiteX1529" fmla="*/ 523008 w 1195280"/>
                <a:gd name="connsiteY1529" fmla="*/ 969639 h 972482"/>
                <a:gd name="connsiteX1530" fmla="*/ 522620 w 1195280"/>
                <a:gd name="connsiteY1530" fmla="*/ 970156 h 972482"/>
                <a:gd name="connsiteX1531" fmla="*/ 522362 w 1195280"/>
                <a:gd name="connsiteY1531" fmla="*/ 970673 h 972482"/>
                <a:gd name="connsiteX1532" fmla="*/ 522233 w 1195280"/>
                <a:gd name="connsiteY1532" fmla="*/ 971190 h 972482"/>
                <a:gd name="connsiteX1533" fmla="*/ 522362 w 1195280"/>
                <a:gd name="connsiteY1533" fmla="*/ 971836 h 972482"/>
                <a:gd name="connsiteX1534" fmla="*/ 522620 w 1195280"/>
                <a:gd name="connsiteY1534" fmla="*/ 972224 h 972482"/>
                <a:gd name="connsiteX1535" fmla="*/ 525076 w 1195280"/>
                <a:gd name="connsiteY1535" fmla="*/ 972482 h 972482"/>
                <a:gd name="connsiteX1536" fmla="*/ 533476 w 1195280"/>
                <a:gd name="connsiteY1536" fmla="*/ 970802 h 972482"/>
                <a:gd name="connsiteX1537" fmla="*/ 536061 w 1195280"/>
                <a:gd name="connsiteY1537" fmla="*/ 970544 h 972482"/>
                <a:gd name="connsiteX1538" fmla="*/ 536965 w 1195280"/>
                <a:gd name="connsiteY1538" fmla="*/ 970156 h 972482"/>
                <a:gd name="connsiteX1539" fmla="*/ 537870 w 1195280"/>
                <a:gd name="connsiteY1539" fmla="*/ 969639 h 972482"/>
                <a:gd name="connsiteX1540" fmla="*/ 539162 w 1195280"/>
                <a:gd name="connsiteY1540" fmla="*/ 968734 h 972482"/>
                <a:gd name="connsiteX1541" fmla="*/ 539938 w 1195280"/>
                <a:gd name="connsiteY1541" fmla="*/ 968088 h 972482"/>
                <a:gd name="connsiteX1542" fmla="*/ 540455 w 1195280"/>
                <a:gd name="connsiteY1542" fmla="*/ 967442 h 972482"/>
                <a:gd name="connsiteX1543" fmla="*/ 540972 w 1195280"/>
                <a:gd name="connsiteY1543" fmla="*/ 966408 h 972482"/>
                <a:gd name="connsiteX1544" fmla="*/ 541489 w 1195280"/>
                <a:gd name="connsiteY1544" fmla="*/ 966021 h 972482"/>
                <a:gd name="connsiteX1545" fmla="*/ 542135 w 1195280"/>
                <a:gd name="connsiteY1545" fmla="*/ 965762 h 972482"/>
                <a:gd name="connsiteX1546" fmla="*/ 543169 w 1195280"/>
                <a:gd name="connsiteY1546" fmla="*/ 965762 h 972482"/>
                <a:gd name="connsiteX1547" fmla="*/ 544461 w 1195280"/>
                <a:gd name="connsiteY1547" fmla="*/ 966279 h 972482"/>
                <a:gd name="connsiteX1548" fmla="*/ 545107 w 1195280"/>
                <a:gd name="connsiteY1548" fmla="*/ 966150 h 972482"/>
                <a:gd name="connsiteX1549" fmla="*/ 545624 w 1195280"/>
                <a:gd name="connsiteY1549" fmla="*/ 965633 h 972482"/>
                <a:gd name="connsiteX1550" fmla="*/ 546399 w 1195280"/>
                <a:gd name="connsiteY1550" fmla="*/ 964470 h 972482"/>
                <a:gd name="connsiteX1551" fmla="*/ 546787 w 1195280"/>
                <a:gd name="connsiteY1551" fmla="*/ 964082 h 972482"/>
                <a:gd name="connsiteX1552" fmla="*/ 547304 w 1195280"/>
                <a:gd name="connsiteY1552" fmla="*/ 963953 h 972482"/>
                <a:gd name="connsiteX1553" fmla="*/ 547950 w 1195280"/>
                <a:gd name="connsiteY1553" fmla="*/ 964211 h 972482"/>
                <a:gd name="connsiteX1554" fmla="*/ 548209 w 1195280"/>
                <a:gd name="connsiteY1554" fmla="*/ 964599 h 972482"/>
                <a:gd name="connsiteX1555" fmla="*/ 548726 w 1195280"/>
                <a:gd name="connsiteY1555" fmla="*/ 965891 h 972482"/>
                <a:gd name="connsiteX1556" fmla="*/ 548984 w 1195280"/>
                <a:gd name="connsiteY1556" fmla="*/ 966279 h 972482"/>
                <a:gd name="connsiteX1557" fmla="*/ 549501 w 1195280"/>
                <a:gd name="connsiteY1557" fmla="*/ 966667 h 972482"/>
                <a:gd name="connsiteX1558" fmla="*/ 550406 w 1195280"/>
                <a:gd name="connsiteY1558" fmla="*/ 967184 h 972482"/>
                <a:gd name="connsiteX1559" fmla="*/ 551310 w 1195280"/>
                <a:gd name="connsiteY1559" fmla="*/ 967959 h 972482"/>
                <a:gd name="connsiteX1560" fmla="*/ 552215 w 1195280"/>
                <a:gd name="connsiteY1560" fmla="*/ 968734 h 972482"/>
                <a:gd name="connsiteX1561" fmla="*/ 552732 w 1195280"/>
                <a:gd name="connsiteY1561" fmla="*/ 968864 h 972482"/>
                <a:gd name="connsiteX1562" fmla="*/ 553378 w 1195280"/>
                <a:gd name="connsiteY1562" fmla="*/ 968734 h 972482"/>
                <a:gd name="connsiteX1563" fmla="*/ 554283 w 1195280"/>
                <a:gd name="connsiteY1563" fmla="*/ 967830 h 972482"/>
                <a:gd name="connsiteX1564" fmla="*/ 554800 w 1195280"/>
                <a:gd name="connsiteY1564" fmla="*/ 967184 h 972482"/>
                <a:gd name="connsiteX1565" fmla="*/ 555575 w 1195280"/>
                <a:gd name="connsiteY1565" fmla="*/ 966021 h 972482"/>
                <a:gd name="connsiteX1566" fmla="*/ 555834 w 1195280"/>
                <a:gd name="connsiteY1566" fmla="*/ 965503 h 972482"/>
                <a:gd name="connsiteX1567" fmla="*/ 556480 w 1195280"/>
                <a:gd name="connsiteY1567" fmla="*/ 965116 h 972482"/>
                <a:gd name="connsiteX1568" fmla="*/ 557126 w 1195280"/>
                <a:gd name="connsiteY1568" fmla="*/ 964857 h 972482"/>
                <a:gd name="connsiteX1569" fmla="*/ 558160 w 1195280"/>
                <a:gd name="connsiteY1569" fmla="*/ 964857 h 972482"/>
                <a:gd name="connsiteX1570" fmla="*/ 558677 w 1195280"/>
                <a:gd name="connsiteY1570" fmla="*/ 965245 h 972482"/>
                <a:gd name="connsiteX1571" fmla="*/ 558935 w 1195280"/>
                <a:gd name="connsiteY1571" fmla="*/ 965762 h 972482"/>
                <a:gd name="connsiteX1572" fmla="*/ 559064 w 1195280"/>
                <a:gd name="connsiteY1572" fmla="*/ 966408 h 972482"/>
                <a:gd name="connsiteX1573" fmla="*/ 559323 w 1195280"/>
                <a:gd name="connsiteY1573" fmla="*/ 967054 h 972482"/>
                <a:gd name="connsiteX1574" fmla="*/ 559710 w 1195280"/>
                <a:gd name="connsiteY1574" fmla="*/ 967442 h 972482"/>
                <a:gd name="connsiteX1575" fmla="*/ 560357 w 1195280"/>
                <a:gd name="connsiteY1575" fmla="*/ 967571 h 972482"/>
                <a:gd name="connsiteX1576" fmla="*/ 561003 w 1195280"/>
                <a:gd name="connsiteY1576" fmla="*/ 967442 h 972482"/>
                <a:gd name="connsiteX1577" fmla="*/ 561649 w 1195280"/>
                <a:gd name="connsiteY1577" fmla="*/ 967184 h 972482"/>
                <a:gd name="connsiteX1578" fmla="*/ 562424 w 1195280"/>
                <a:gd name="connsiteY1578" fmla="*/ 966279 h 972482"/>
                <a:gd name="connsiteX1579" fmla="*/ 562812 w 1195280"/>
                <a:gd name="connsiteY1579" fmla="*/ 965503 h 972482"/>
                <a:gd name="connsiteX1580" fmla="*/ 562941 w 1195280"/>
                <a:gd name="connsiteY1580" fmla="*/ 964857 h 972482"/>
                <a:gd name="connsiteX1581" fmla="*/ 562941 w 1195280"/>
                <a:gd name="connsiteY1581" fmla="*/ 964211 h 972482"/>
                <a:gd name="connsiteX1582" fmla="*/ 562683 w 1195280"/>
                <a:gd name="connsiteY1582" fmla="*/ 963565 h 972482"/>
                <a:gd name="connsiteX1583" fmla="*/ 562424 w 1195280"/>
                <a:gd name="connsiteY1583" fmla="*/ 963048 h 972482"/>
                <a:gd name="connsiteX1584" fmla="*/ 562295 w 1195280"/>
                <a:gd name="connsiteY1584" fmla="*/ 962402 h 972482"/>
                <a:gd name="connsiteX1585" fmla="*/ 562295 w 1195280"/>
                <a:gd name="connsiteY1585" fmla="*/ 961756 h 972482"/>
                <a:gd name="connsiteX1586" fmla="*/ 562424 w 1195280"/>
                <a:gd name="connsiteY1586" fmla="*/ 961110 h 972482"/>
                <a:gd name="connsiteX1587" fmla="*/ 562683 w 1195280"/>
                <a:gd name="connsiteY1587" fmla="*/ 960722 h 972482"/>
                <a:gd name="connsiteX1588" fmla="*/ 563200 w 1195280"/>
                <a:gd name="connsiteY1588" fmla="*/ 960463 h 972482"/>
                <a:gd name="connsiteX1589" fmla="*/ 563975 w 1195280"/>
                <a:gd name="connsiteY1589" fmla="*/ 960593 h 972482"/>
                <a:gd name="connsiteX1590" fmla="*/ 565009 w 1195280"/>
                <a:gd name="connsiteY1590" fmla="*/ 961239 h 972482"/>
                <a:gd name="connsiteX1591" fmla="*/ 565397 w 1195280"/>
                <a:gd name="connsiteY1591" fmla="*/ 961368 h 972482"/>
                <a:gd name="connsiteX1592" fmla="*/ 565784 w 1195280"/>
                <a:gd name="connsiteY1592" fmla="*/ 961239 h 972482"/>
                <a:gd name="connsiteX1593" fmla="*/ 566301 w 1195280"/>
                <a:gd name="connsiteY1593" fmla="*/ 960980 h 972482"/>
                <a:gd name="connsiteX1594" fmla="*/ 566947 w 1195280"/>
                <a:gd name="connsiteY1594" fmla="*/ 959947 h 972482"/>
                <a:gd name="connsiteX1595" fmla="*/ 567206 w 1195280"/>
                <a:gd name="connsiteY1595" fmla="*/ 959171 h 972482"/>
                <a:gd name="connsiteX1596" fmla="*/ 567465 w 1195280"/>
                <a:gd name="connsiteY1596" fmla="*/ 957620 h 972482"/>
                <a:gd name="connsiteX1597" fmla="*/ 567594 w 1195280"/>
                <a:gd name="connsiteY1597" fmla="*/ 956069 h 972482"/>
                <a:gd name="connsiteX1598" fmla="*/ 567465 w 1195280"/>
                <a:gd name="connsiteY1598" fmla="*/ 955423 h 972482"/>
                <a:gd name="connsiteX1599" fmla="*/ 567335 w 1195280"/>
                <a:gd name="connsiteY1599" fmla="*/ 954777 h 972482"/>
                <a:gd name="connsiteX1600" fmla="*/ 567077 w 1195280"/>
                <a:gd name="connsiteY1600" fmla="*/ 954260 h 972482"/>
                <a:gd name="connsiteX1601" fmla="*/ 566818 w 1195280"/>
                <a:gd name="connsiteY1601" fmla="*/ 953743 h 972482"/>
                <a:gd name="connsiteX1602" fmla="*/ 566560 w 1195280"/>
                <a:gd name="connsiteY1602" fmla="*/ 953485 h 972482"/>
                <a:gd name="connsiteX1603" fmla="*/ 566301 w 1195280"/>
                <a:gd name="connsiteY1603" fmla="*/ 953226 h 972482"/>
                <a:gd name="connsiteX1604" fmla="*/ 565784 w 1195280"/>
                <a:gd name="connsiteY1604" fmla="*/ 953097 h 972482"/>
                <a:gd name="connsiteX1605" fmla="*/ 565138 w 1195280"/>
                <a:gd name="connsiteY1605" fmla="*/ 952968 h 972482"/>
                <a:gd name="connsiteX1606" fmla="*/ 563846 w 1195280"/>
                <a:gd name="connsiteY1606" fmla="*/ 952968 h 972482"/>
                <a:gd name="connsiteX1607" fmla="*/ 561132 w 1195280"/>
                <a:gd name="connsiteY1607" fmla="*/ 953355 h 972482"/>
                <a:gd name="connsiteX1608" fmla="*/ 560357 w 1195280"/>
                <a:gd name="connsiteY1608" fmla="*/ 953226 h 972482"/>
                <a:gd name="connsiteX1609" fmla="*/ 559710 w 1195280"/>
                <a:gd name="connsiteY1609" fmla="*/ 953097 h 972482"/>
                <a:gd name="connsiteX1610" fmla="*/ 559323 w 1195280"/>
                <a:gd name="connsiteY1610" fmla="*/ 952709 h 972482"/>
                <a:gd name="connsiteX1611" fmla="*/ 558935 w 1195280"/>
                <a:gd name="connsiteY1611" fmla="*/ 952322 h 972482"/>
                <a:gd name="connsiteX1612" fmla="*/ 558677 w 1195280"/>
                <a:gd name="connsiteY1612" fmla="*/ 951805 h 972482"/>
                <a:gd name="connsiteX1613" fmla="*/ 558677 w 1195280"/>
                <a:gd name="connsiteY1613" fmla="*/ 951159 h 972482"/>
                <a:gd name="connsiteX1614" fmla="*/ 558806 w 1195280"/>
                <a:gd name="connsiteY1614" fmla="*/ 950642 h 972482"/>
                <a:gd name="connsiteX1615" fmla="*/ 559064 w 1195280"/>
                <a:gd name="connsiteY1615" fmla="*/ 950254 h 972482"/>
                <a:gd name="connsiteX1616" fmla="*/ 568369 w 1195280"/>
                <a:gd name="connsiteY1616" fmla="*/ 944826 h 972482"/>
                <a:gd name="connsiteX1617" fmla="*/ 569015 w 1195280"/>
                <a:gd name="connsiteY1617" fmla="*/ 943922 h 972482"/>
                <a:gd name="connsiteX1618" fmla="*/ 569274 w 1195280"/>
                <a:gd name="connsiteY1618" fmla="*/ 943146 h 972482"/>
                <a:gd name="connsiteX1619" fmla="*/ 569145 w 1195280"/>
                <a:gd name="connsiteY1619" fmla="*/ 942500 h 972482"/>
                <a:gd name="connsiteX1620" fmla="*/ 568886 w 1195280"/>
                <a:gd name="connsiteY1620" fmla="*/ 941854 h 972482"/>
                <a:gd name="connsiteX1621" fmla="*/ 568628 w 1195280"/>
                <a:gd name="connsiteY1621" fmla="*/ 941466 h 972482"/>
                <a:gd name="connsiteX1622" fmla="*/ 567077 w 1195280"/>
                <a:gd name="connsiteY1622" fmla="*/ 939786 h 972482"/>
                <a:gd name="connsiteX1623" fmla="*/ 566818 w 1195280"/>
                <a:gd name="connsiteY1623" fmla="*/ 939269 h 972482"/>
                <a:gd name="connsiteX1624" fmla="*/ 566560 w 1195280"/>
                <a:gd name="connsiteY1624" fmla="*/ 938623 h 972482"/>
                <a:gd name="connsiteX1625" fmla="*/ 566560 w 1195280"/>
                <a:gd name="connsiteY1625" fmla="*/ 938106 h 972482"/>
                <a:gd name="connsiteX1626" fmla="*/ 567465 w 1195280"/>
                <a:gd name="connsiteY1626" fmla="*/ 937460 h 972482"/>
                <a:gd name="connsiteX1627" fmla="*/ 569145 w 1195280"/>
                <a:gd name="connsiteY1627" fmla="*/ 936943 h 972482"/>
                <a:gd name="connsiteX1628" fmla="*/ 573538 w 1195280"/>
                <a:gd name="connsiteY1628" fmla="*/ 936555 h 972482"/>
                <a:gd name="connsiteX1629" fmla="*/ 575089 w 1195280"/>
                <a:gd name="connsiteY1629" fmla="*/ 936814 h 972482"/>
                <a:gd name="connsiteX1630" fmla="*/ 575735 w 1195280"/>
                <a:gd name="connsiteY1630" fmla="*/ 937331 h 972482"/>
                <a:gd name="connsiteX1631" fmla="*/ 575477 w 1195280"/>
                <a:gd name="connsiteY1631" fmla="*/ 937848 h 972482"/>
                <a:gd name="connsiteX1632" fmla="*/ 574831 w 1195280"/>
                <a:gd name="connsiteY1632" fmla="*/ 939011 h 972482"/>
                <a:gd name="connsiteX1633" fmla="*/ 574055 w 1195280"/>
                <a:gd name="connsiteY1633" fmla="*/ 939915 h 972482"/>
                <a:gd name="connsiteX1634" fmla="*/ 573021 w 1195280"/>
                <a:gd name="connsiteY1634" fmla="*/ 940949 h 972482"/>
                <a:gd name="connsiteX1635" fmla="*/ 572634 w 1195280"/>
                <a:gd name="connsiteY1635" fmla="*/ 941466 h 972482"/>
                <a:gd name="connsiteX1636" fmla="*/ 572375 w 1195280"/>
                <a:gd name="connsiteY1636" fmla="*/ 942112 h 972482"/>
                <a:gd name="connsiteX1637" fmla="*/ 572246 w 1195280"/>
                <a:gd name="connsiteY1637" fmla="*/ 942758 h 972482"/>
                <a:gd name="connsiteX1638" fmla="*/ 572246 w 1195280"/>
                <a:gd name="connsiteY1638" fmla="*/ 943405 h 972482"/>
                <a:gd name="connsiteX1639" fmla="*/ 572505 w 1195280"/>
                <a:gd name="connsiteY1639" fmla="*/ 943792 h 972482"/>
                <a:gd name="connsiteX1640" fmla="*/ 572892 w 1195280"/>
                <a:gd name="connsiteY1640" fmla="*/ 944180 h 972482"/>
                <a:gd name="connsiteX1641" fmla="*/ 573538 w 1195280"/>
                <a:gd name="connsiteY1641" fmla="*/ 944439 h 972482"/>
                <a:gd name="connsiteX1642" fmla="*/ 574185 w 1195280"/>
                <a:gd name="connsiteY1642" fmla="*/ 944697 h 972482"/>
                <a:gd name="connsiteX1643" fmla="*/ 574960 w 1195280"/>
                <a:gd name="connsiteY1643" fmla="*/ 944697 h 972482"/>
                <a:gd name="connsiteX1644" fmla="*/ 575865 w 1195280"/>
                <a:gd name="connsiteY1644" fmla="*/ 944568 h 972482"/>
                <a:gd name="connsiteX1645" fmla="*/ 577028 w 1195280"/>
                <a:gd name="connsiteY1645" fmla="*/ 944180 h 972482"/>
                <a:gd name="connsiteX1646" fmla="*/ 579612 w 1195280"/>
                <a:gd name="connsiteY1646" fmla="*/ 942629 h 972482"/>
                <a:gd name="connsiteX1647" fmla="*/ 581680 w 1195280"/>
                <a:gd name="connsiteY1647" fmla="*/ 941078 h 972482"/>
                <a:gd name="connsiteX1648" fmla="*/ 582197 w 1195280"/>
                <a:gd name="connsiteY1648" fmla="*/ 940820 h 972482"/>
                <a:gd name="connsiteX1649" fmla="*/ 582714 w 1195280"/>
                <a:gd name="connsiteY1649" fmla="*/ 940691 h 972482"/>
                <a:gd name="connsiteX1650" fmla="*/ 583490 w 1195280"/>
                <a:gd name="connsiteY1650" fmla="*/ 940820 h 972482"/>
                <a:gd name="connsiteX1651" fmla="*/ 583877 w 1195280"/>
                <a:gd name="connsiteY1651" fmla="*/ 941337 h 972482"/>
                <a:gd name="connsiteX1652" fmla="*/ 584006 w 1195280"/>
                <a:gd name="connsiteY1652" fmla="*/ 941983 h 972482"/>
                <a:gd name="connsiteX1653" fmla="*/ 584006 w 1195280"/>
                <a:gd name="connsiteY1653" fmla="*/ 942629 h 972482"/>
                <a:gd name="connsiteX1654" fmla="*/ 584136 w 1195280"/>
                <a:gd name="connsiteY1654" fmla="*/ 943275 h 972482"/>
                <a:gd name="connsiteX1655" fmla="*/ 584394 w 1195280"/>
                <a:gd name="connsiteY1655" fmla="*/ 943663 h 972482"/>
                <a:gd name="connsiteX1656" fmla="*/ 584911 w 1195280"/>
                <a:gd name="connsiteY1656" fmla="*/ 944051 h 972482"/>
                <a:gd name="connsiteX1657" fmla="*/ 588530 w 1195280"/>
                <a:gd name="connsiteY1657" fmla="*/ 944568 h 972482"/>
                <a:gd name="connsiteX1658" fmla="*/ 589563 w 1195280"/>
                <a:gd name="connsiteY1658" fmla="*/ 944439 h 972482"/>
                <a:gd name="connsiteX1659" fmla="*/ 590856 w 1195280"/>
                <a:gd name="connsiteY1659" fmla="*/ 943922 h 972482"/>
                <a:gd name="connsiteX1660" fmla="*/ 592924 w 1195280"/>
                <a:gd name="connsiteY1660" fmla="*/ 942629 h 972482"/>
                <a:gd name="connsiteX1661" fmla="*/ 593957 w 1195280"/>
                <a:gd name="connsiteY1661" fmla="*/ 941854 h 972482"/>
                <a:gd name="connsiteX1662" fmla="*/ 594604 w 1195280"/>
                <a:gd name="connsiteY1662" fmla="*/ 941208 h 972482"/>
                <a:gd name="connsiteX1663" fmla="*/ 596154 w 1195280"/>
                <a:gd name="connsiteY1663" fmla="*/ 938752 h 972482"/>
                <a:gd name="connsiteX1664" fmla="*/ 596671 w 1195280"/>
                <a:gd name="connsiteY1664" fmla="*/ 938365 h 972482"/>
                <a:gd name="connsiteX1665" fmla="*/ 597317 w 1195280"/>
                <a:gd name="connsiteY1665" fmla="*/ 938235 h 972482"/>
                <a:gd name="connsiteX1666" fmla="*/ 598093 w 1195280"/>
                <a:gd name="connsiteY1666" fmla="*/ 938365 h 972482"/>
                <a:gd name="connsiteX1667" fmla="*/ 598739 w 1195280"/>
                <a:gd name="connsiteY1667" fmla="*/ 938752 h 972482"/>
                <a:gd name="connsiteX1668" fmla="*/ 599256 w 1195280"/>
                <a:gd name="connsiteY1668" fmla="*/ 939011 h 972482"/>
                <a:gd name="connsiteX1669" fmla="*/ 600161 w 1195280"/>
                <a:gd name="connsiteY1669" fmla="*/ 939786 h 972482"/>
                <a:gd name="connsiteX1670" fmla="*/ 600548 w 1195280"/>
                <a:gd name="connsiteY1670" fmla="*/ 940303 h 972482"/>
                <a:gd name="connsiteX1671" fmla="*/ 600807 w 1195280"/>
                <a:gd name="connsiteY1671" fmla="*/ 940820 h 972482"/>
                <a:gd name="connsiteX1672" fmla="*/ 600807 w 1195280"/>
                <a:gd name="connsiteY1672" fmla="*/ 941466 h 972482"/>
                <a:gd name="connsiteX1673" fmla="*/ 600807 w 1195280"/>
                <a:gd name="connsiteY1673" fmla="*/ 943017 h 972482"/>
                <a:gd name="connsiteX1674" fmla="*/ 600936 w 1195280"/>
                <a:gd name="connsiteY1674" fmla="*/ 943663 h 972482"/>
                <a:gd name="connsiteX1675" fmla="*/ 601194 w 1195280"/>
                <a:gd name="connsiteY1675" fmla="*/ 944180 h 972482"/>
                <a:gd name="connsiteX1676" fmla="*/ 601582 w 1195280"/>
                <a:gd name="connsiteY1676" fmla="*/ 944568 h 972482"/>
                <a:gd name="connsiteX1677" fmla="*/ 602487 w 1195280"/>
                <a:gd name="connsiteY1677" fmla="*/ 944568 h 972482"/>
                <a:gd name="connsiteX1678" fmla="*/ 603650 w 1195280"/>
                <a:gd name="connsiteY1678" fmla="*/ 944180 h 972482"/>
                <a:gd name="connsiteX1679" fmla="*/ 608044 w 1195280"/>
                <a:gd name="connsiteY1679" fmla="*/ 941725 h 972482"/>
                <a:gd name="connsiteX1680" fmla="*/ 616315 w 1195280"/>
                <a:gd name="connsiteY1680" fmla="*/ 939269 h 972482"/>
                <a:gd name="connsiteX1681" fmla="*/ 616961 w 1195280"/>
                <a:gd name="connsiteY1681" fmla="*/ 938881 h 972482"/>
                <a:gd name="connsiteX1682" fmla="*/ 617736 w 1195280"/>
                <a:gd name="connsiteY1682" fmla="*/ 938235 h 972482"/>
                <a:gd name="connsiteX1683" fmla="*/ 618383 w 1195280"/>
                <a:gd name="connsiteY1683" fmla="*/ 937201 h 972482"/>
                <a:gd name="connsiteX1684" fmla="*/ 618512 w 1195280"/>
                <a:gd name="connsiteY1684" fmla="*/ 936426 h 972482"/>
                <a:gd name="connsiteX1685" fmla="*/ 618253 w 1195280"/>
                <a:gd name="connsiteY1685" fmla="*/ 935134 h 972482"/>
                <a:gd name="connsiteX1686" fmla="*/ 618383 w 1195280"/>
                <a:gd name="connsiteY1686" fmla="*/ 934746 h 972482"/>
                <a:gd name="connsiteX1687" fmla="*/ 618899 w 1195280"/>
                <a:gd name="connsiteY1687" fmla="*/ 934358 h 972482"/>
                <a:gd name="connsiteX1688" fmla="*/ 619933 w 1195280"/>
                <a:gd name="connsiteY1688" fmla="*/ 934488 h 972482"/>
                <a:gd name="connsiteX1689" fmla="*/ 620709 w 1195280"/>
                <a:gd name="connsiteY1689" fmla="*/ 934488 h 972482"/>
                <a:gd name="connsiteX1690" fmla="*/ 621613 w 1195280"/>
                <a:gd name="connsiteY1690" fmla="*/ 934100 h 972482"/>
                <a:gd name="connsiteX1691" fmla="*/ 623293 w 1195280"/>
                <a:gd name="connsiteY1691" fmla="*/ 932678 h 972482"/>
                <a:gd name="connsiteX1692" fmla="*/ 624973 w 1195280"/>
                <a:gd name="connsiteY1692" fmla="*/ 930998 h 972482"/>
                <a:gd name="connsiteX1693" fmla="*/ 625878 w 1195280"/>
                <a:gd name="connsiteY1693" fmla="*/ 930223 h 972482"/>
                <a:gd name="connsiteX1694" fmla="*/ 631564 w 1195280"/>
                <a:gd name="connsiteY1694" fmla="*/ 926992 h 972482"/>
                <a:gd name="connsiteX1695" fmla="*/ 632857 w 1195280"/>
                <a:gd name="connsiteY1695" fmla="*/ 926087 h 972482"/>
                <a:gd name="connsiteX1696" fmla="*/ 639060 w 1195280"/>
                <a:gd name="connsiteY1696" fmla="*/ 923244 h 972482"/>
                <a:gd name="connsiteX1697" fmla="*/ 640223 w 1195280"/>
                <a:gd name="connsiteY1697" fmla="*/ 922986 h 972482"/>
                <a:gd name="connsiteX1698" fmla="*/ 642161 w 1195280"/>
                <a:gd name="connsiteY1698" fmla="*/ 923373 h 972482"/>
                <a:gd name="connsiteX1699" fmla="*/ 643195 w 1195280"/>
                <a:gd name="connsiteY1699" fmla="*/ 923373 h 972482"/>
                <a:gd name="connsiteX1700" fmla="*/ 644229 w 1195280"/>
                <a:gd name="connsiteY1700" fmla="*/ 922986 h 972482"/>
                <a:gd name="connsiteX1701" fmla="*/ 645909 w 1195280"/>
                <a:gd name="connsiteY1701" fmla="*/ 922081 h 972482"/>
                <a:gd name="connsiteX1702" fmla="*/ 647072 w 1195280"/>
                <a:gd name="connsiteY1702" fmla="*/ 921564 h 972482"/>
                <a:gd name="connsiteX1703" fmla="*/ 648235 w 1195280"/>
                <a:gd name="connsiteY1703" fmla="*/ 921306 h 972482"/>
                <a:gd name="connsiteX1704" fmla="*/ 651079 w 1195280"/>
                <a:gd name="connsiteY1704" fmla="*/ 921306 h 972482"/>
                <a:gd name="connsiteX1705" fmla="*/ 652629 w 1195280"/>
                <a:gd name="connsiteY1705" fmla="*/ 921564 h 972482"/>
                <a:gd name="connsiteX1706" fmla="*/ 653405 w 1195280"/>
                <a:gd name="connsiteY1706" fmla="*/ 921564 h 972482"/>
                <a:gd name="connsiteX1707" fmla="*/ 656248 w 1195280"/>
                <a:gd name="connsiteY1707" fmla="*/ 920530 h 972482"/>
                <a:gd name="connsiteX1708" fmla="*/ 663227 w 1195280"/>
                <a:gd name="connsiteY1708" fmla="*/ 916395 h 972482"/>
                <a:gd name="connsiteX1709" fmla="*/ 667362 w 1195280"/>
                <a:gd name="connsiteY1709" fmla="*/ 913552 h 972482"/>
                <a:gd name="connsiteX1710" fmla="*/ 669301 w 1195280"/>
                <a:gd name="connsiteY1710" fmla="*/ 912518 h 972482"/>
                <a:gd name="connsiteX1711" fmla="*/ 673953 w 1195280"/>
                <a:gd name="connsiteY1711" fmla="*/ 910967 h 972482"/>
                <a:gd name="connsiteX1712" fmla="*/ 674987 w 1195280"/>
                <a:gd name="connsiteY1712" fmla="*/ 910709 h 972482"/>
                <a:gd name="connsiteX1713" fmla="*/ 676538 w 1195280"/>
                <a:gd name="connsiteY1713" fmla="*/ 910967 h 972482"/>
                <a:gd name="connsiteX1714" fmla="*/ 678735 w 1195280"/>
                <a:gd name="connsiteY1714" fmla="*/ 911484 h 972482"/>
                <a:gd name="connsiteX1715" fmla="*/ 681190 w 1195280"/>
                <a:gd name="connsiteY1715" fmla="*/ 912001 h 972482"/>
                <a:gd name="connsiteX1716" fmla="*/ 682482 w 1195280"/>
                <a:gd name="connsiteY1716" fmla="*/ 911613 h 972482"/>
                <a:gd name="connsiteX1717" fmla="*/ 682870 w 1195280"/>
                <a:gd name="connsiteY1717" fmla="*/ 911225 h 972482"/>
                <a:gd name="connsiteX1718" fmla="*/ 683258 w 1195280"/>
                <a:gd name="connsiteY1718" fmla="*/ 910709 h 972482"/>
                <a:gd name="connsiteX1719" fmla="*/ 684809 w 1195280"/>
                <a:gd name="connsiteY1719" fmla="*/ 907995 h 972482"/>
                <a:gd name="connsiteX1720" fmla="*/ 686101 w 1195280"/>
                <a:gd name="connsiteY1720" fmla="*/ 906702 h 972482"/>
                <a:gd name="connsiteX1721" fmla="*/ 687006 w 1195280"/>
                <a:gd name="connsiteY1721" fmla="*/ 906056 h 972482"/>
                <a:gd name="connsiteX1722" fmla="*/ 687910 w 1195280"/>
                <a:gd name="connsiteY1722" fmla="*/ 905798 h 972482"/>
                <a:gd name="connsiteX1723" fmla="*/ 691141 w 1195280"/>
                <a:gd name="connsiteY1723" fmla="*/ 905668 h 972482"/>
                <a:gd name="connsiteX1724" fmla="*/ 693855 w 1195280"/>
                <a:gd name="connsiteY1724" fmla="*/ 905151 h 972482"/>
                <a:gd name="connsiteX1725" fmla="*/ 695147 w 1195280"/>
                <a:gd name="connsiteY1725" fmla="*/ 904635 h 972482"/>
                <a:gd name="connsiteX1726" fmla="*/ 696052 w 1195280"/>
                <a:gd name="connsiteY1726" fmla="*/ 904247 h 972482"/>
                <a:gd name="connsiteX1727" fmla="*/ 696569 w 1195280"/>
                <a:gd name="connsiteY1727" fmla="*/ 903988 h 972482"/>
                <a:gd name="connsiteX1728" fmla="*/ 704710 w 1195280"/>
                <a:gd name="connsiteY1728" fmla="*/ 899077 h 972482"/>
                <a:gd name="connsiteX1729" fmla="*/ 706132 w 1195280"/>
                <a:gd name="connsiteY1729" fmla="*/ 898690 h 972482"/>
                <a:gd name="connsiteX1730" fmla="*/ 707037 w 1195280"/>
                <a:gd name="connsiteY1730" fmla="*/ 898690 h 972482"/>
                <a:gd name="connsiteX1731" fmla="*/ 707941 w 1195280"/>
                <a:gd name="connsiteY1731" fmla="*/ 898819 h 972482"/>
                <a:gd name="connsiteX1732" fmla="*/ 709234 w 1195280"/>
                <a:gd name="connsiteY1732" fmla="*/ 898948 h 972482"/>
                <a:gd name="connsiteX1733" fmla="*/ 714791 w 1195280"/>
                <a:gd name="connsiteY1733" fmla="*/ 898044 h 972482"/>
                <a:gd name="connsiteX1734" fmla="*/ 716342 w 1195280"/>
                <a:gd name="connsiteY1734" fmla="*/ 898173 h 972482"/>
                <a:gd name="connsiteX1735" fmla="*/ 720994 w 1195280"/>
                <a:gd name="connsiteY1735" fmla="*/ 897268 h 972482"/>
                <a:gd name="connsiteX1736" fmla="*/ 721640 w 1195280"/>
                <a:gd name="connsiteY1736" fmla="*/ 897398 h 972482"/>
                <a:gd name="connsiteX1737" fmla="*/ 722286 w 1195280"/>
                <a:gd name="connsiteY1737" fmla="*/ 897527 h 972482"/>
                <a:gd name="connsiteX1738" fmla="*/ 722803 w 1195280"/>
                <a:gd name="connsiteY1738" fmla="*/ 897785 h 972482"/>
                <a:gd name="connsiteX1739" fmla="*/ 723320 w 1195280"/>
                <a:gd name="connsiteY1739" fmla="*/ 898173 h 972482"/>
                <a:gd name="connsiteX1740" fmla="*/ 724095 w 1195280"/>
                <a:gd name="connsiteY1740" fmla="*/ 898819 h 972482"/>
                <a:gd name="connsiteX1741" fmla="*/ 724613 w 1195280"/>
                <a:gd name="connsiteY1741" fmla="*/ 899207 h 972482"/>
                <a:gd name="connsiteX1742" fmla="*/ 726551 w 1195280"/>
                <a:gd name="connsiteY1742" fmla="*/ 899336 h 972482"/>
                <a:gd name="connsiteX1743" fmla="*/ 729006 w 1195280"/>
                <a:gd name="connsiteY1743" fmla="*/ 898431 h 972482"/>
                <a:gd name="connsiteX1744" fmla="*/ 738957 w 1195280"/>
                <a:gd name="connsiteY1744" fmla="*/ 893133 h 972482"/>
                <a:gd name="connsiteX1745" fmla="*/ 739862 w 1195280"/>
                <a:gd name="connsiteY1745" fmla="*/ 892228 h 972482"/>
                <a:gd name="connsiteX1746" fmla="*/ 742188 w 1195280"/>
                <a:gd name="connsiteY1746" fmla="*/ 889514 h 972482"/>
                <a:gd name="connsiteX1747" fmla="*/ 742964 w 1195280"/>
                <a:gd name="connsiteY1747" fmla="*/ 889127 h 972482"/>
                <a:gd name="connsiteX1748" fmla="*/ 743868 w 1195280"/>
                <a:gd name="connsiteY1748" fmla="*/ 888868 h 972482"/>
                <a:gd name="connsiteX1749" fmla="*/ 744644 w 1195280"/>
                <a:gd name="connsiteY1749" fmla="*/ 888868 h 972482"/>
                <a:gd name="connsiteX1750" fmla="*/ 745290 w 1195280"/>
                <a:gd name="connsiteY1750" fmla="*/ 888610 h 972482"/>
                <a:gd name="connsiteX1751" fmla="*/ 758084 w 1195280"/>
                <a:gd name="connsiteY1751" fmla="*/ 883440 h 972482"/>
                <a:gd name="connsiteX1752" fmla="*/ 761832 w 1195280"/>
                <a:gd name="connsiteY1752" fmla="*/ 882406 h 972482"/>
                <a:gd name="connsiteX1753" fmla="*/ 763512 w 1195280"/>
                <a:gd name="connsiteY1753" fmla="*/ 881760 h 972482"/>
                <a:gd name="connsiteX1754" fmla="*/ 764675 w 1195280"/>
                <a:gd name="connsiteY1754" fmla="*/ 880726 h 972482"/>
                <a:gd name="connsiteX1755" fmla="*/ 766355 w 1195280"/>
                <a:gd name="connsiteY1755" fmla="*/ 879563 h 972482"/>
                <a:gd name="connsiteX1756" fmla="*/ 772170 w 1195280"/>
                <a:gd name="connsiteY1756" fmla="*/ 877108 h 972482"/>
                <a:gd name="connsiteX1757" fmla="*/ 775272 w 1195280"/>
                <a:gd name="connsiteY1757" fmla="*/ 876074 h 972482"/>
                <a:gd name="connsiteX1758" fmla="*/ 775918 w 1195280"/>
                <a:gd name="connsiteY1758" fmla="*/ 876074 h 972482"/>
                <a:gd name="connsiteX1759" fmla="*/ 776564 w 1195280"/>
                <a:gd name="connsiteY1759" fmla="*/ 876203 h 972482"/>
                <a:gd name="connsiteX1760" fmla="*/ 777081 w 1195280"/>
                <a:gd name="connsiteY1760" fmla="*/ 876591 h 972482"/>
                <a:gd name="connsiteX1761" fmla="*/ 777469 w 1195280"/>
                <a:gd name="connsiteY1761" fmla="*/ 876979 h 972482"/>
                <a:gd name="connsiteX1762" fmla="*/ 777728 w 1195280"/>
                <a:gd name="connsiteY1762" fmla="*/ 877495 h 972482"/>
                <a:gd name="connsiteX1763" fmla="*/ 778115 w 1195280"/>
                <a:gd name="connsiteY1763" fmla="*/ 877883 h 972482"/>
                <a:gd name="connsiteX1764" fmla="*/ 778761 w 1195280"/>
                <a:gd name="connsiteY1764" fmla="*/ 878271 h 972482"/>
                <a:gd name="connsiteX1765" fmla="*/ 779537 w 1195280"/>
                <a:gd name="connsiteY1765" fmla="*/ 878400 h 972482"/>
                <a:gd name="connsiteX1766" fmla="*/ 781088 w 1195280"/>
                <a:gd name="connsiteY1766" fmla="*/ 878271 h 972482"/>
                <a:gd name="connsiteX1767" fmla="*/ 782251 w 1195280"/>
                <a:gd name="connsiteY1767" fmla="*/ 877883 h 972482"/>
                <a:gd name="connsiteX1768" fmla="*/ 784189 w 1195280"/>
                <a:gd name="connsiteY1768" fmla="*/ 876979 h 972482"/>
                <a:gd name="connsiteX1769" fmla="*/ 785223 w 1195280"/>
                <a:gd name="connsiteY1769" fmla="*/ 876849 h 972482"/>
                <a:gd name="connsiteX1770" fmla="*/ 785998 w 1195280"/>
                <a:gd name="connsiteY1770" fmla="*/ 876979 h 972482"/>
                <a:gd name="connsiteX1771" fmla="*/ 786903 w 1195280"/>
                <a:gd name="connsiteY1771" fmla="*/ 877754 h 972482"/>
                <a:gd name="connsiteX1772" fmla="*/ 787549 w 1195280"/>
                <a:gd name="connsiteY1772" fmla="*/ 877883 h 972482"/>
                <a:gd name="connsiteX1773" fmla="*/ 788066 w 1195280"/>
                <a:gd name="connsiteY1773" fmla="*/ 877754 h 972482"/>
                <a:gd name="connsiteX1774" fmla="*/ 789100 w 1195280"/>
                <a:gd name="connsiteY1774" fmla="*/ 876720 h 972482"/>
                <a:gd name="connsiteX1775" fmla="*/ 789875 w 1195280"/>
                <a:gd name="connsiteY1775" fmla="*/ 876074 h 972482"/>
                <a:gd name="connsiteX1776" fmla="*/ 790651 w 1195280"/>
                <a:gd name="connsiteY1776" fmla="*/ 875815 h 972482"/>
                <a:gd name="connsiteX1777" fmla="*/ 791426 w 1195280"/>
                <a:gd name="connsiteY1777" fmla="*/ 875815 h 972482"/>
                <a:gd name="connsiteX1778" fmla="*/ 792718 w 1195280"/>
                <a:gd name="connsiteY1778" fmla="*/ 876332 h 972482"/>
                <a:gd name="connsiteX1779" fmla="*/ 793623 w 1195280"/>
                <a:gd name="connsiteY1779" fmla="*/ 876591 h 972482"/>
                <a:gd name="connsiteX1780" fmla="*/ 794269 w 1195280"/>
                <a:gd name="connsiteY1780" fmla="*/ 876332 h 972482"/>
                <a:gd name="connsiteX1781" fmla="*/ 794916 w 1195280"/>
                <a:gd name="connsiteY1781" fmla="*/ 875815 h 972482"/>
                <a:gd name="connsiteX1782" fmla="*/ 795691 w 1195280"/>
                <a:gd name="connsiteY1782" fmla="*/ 875169 h 972482"/>
                <a:gd name="connsiteX1783" fmla="*/ 796337 w 1195280"/>
                <a:gd name="connsiteY1783" fmla="*/ 875040 h 972482"/>
                <a:gd name="connsiteX1784" fmla="*/ 796854 w 1195280"/>
                <a:gd name="connsiteY1784" fmla="*/ 875169 h 972482"/>
                <a:gd name="connsiteX1785" fmla="*/ 797888 w 1195280"/>
                <a:gd name="connsiteY1785" fmla="*/ 876591 h 972482"/>
                <a:gd name="connsiteX1786" fmla="*/ 798276 w 1195280"/>
                <a:gd name="connsiteY1786" fmla="*/ 876849 h 972482"/>
                <a:gd name="connsiteX1787" fmla="*/ 798792 w 1195280"/>
                <a:gd name="connsiteY1787" fmla="*/ 877237 h 972482"/>
                <a:gd name="connsiteX1788" fmla="*/ 799697 w 1195280"/>
                <a:gd name="connsiteY1788" fmla="*/ 877366 h 972482"/>
                <a:gd name="connsiteX1789" fmla="*/ 800989 w 1195280"/>
                <a:gd name="connsiteY1789" fmla="*/ 877366 h 972482"/>
                <a:gd name="connsiteX1790" fmla="*/ 802669 w 1195280"/>
                <a:gd name="connsiteY1790" fmla="*/ 876720 h 972482"/>
                <a:gd name="connsiteX1791" fmla="*/ 804608 w 1195280"/>
                <a:gd name="connsiteY1791" fmla="*/ 876203 h 972482"/>
                <a:gd name="connsiteX1792" fmla="*/ 805125 w 1195280"/>
                <a:gd name="connsiteY1792" fmla="*/ 876203 h 972482"/>
                <a:gd name="connsiteX1793" fmla="*/ 807322 w 1195280"/>
                <a:gd name="connsiteY1793" fmla="*/ 876462 h 972482"/>
                <a:gd name="connsiteX1794" fmla="*/ 809002 w 1195280"/>
                <a:gd name="connsiteY1794" fmla="*/ 876332 h 972482"/>
                <a:gd name="connsiteX1795" fmla="*/ 809777 w 1195280"/>
                <a:gd name="connsiteY1795" fmla="*/ 876203 h 972482"/>
                <a:gd name="connsiteX1796" fmla="*/ 811328 w 1195280"/>
                <a:gd name="connsiteY1796" fmla="*/ 875299 h 972482"/>
                <a:gd name="connsiteX1797" fmla="*/ 819858 w 1195280"/>
                <a:gd name="connsiteY1797" fmla="*/ 870775 h 972482"/>
                <a:gd name="connsiteX1798" fmla="*/ 822572 w 1195280"/>
                <a:gd name="connsiteY1798" fmla="*/ 869871 h 972482"/>
                <a:gd name="connsiteX1799" fmla="*/ 824122 w 1195280"/>
                <a:gd name="connsiteY1799" fmla="*/ 869871 h 972482"/>
                <a:gd name="connsiteX1800" fmla="*/ 824769 w 1195280"/>
                <a:gd name="connsiteY1800" fmla="*/ 870000 h 972482"/>
                <a:gd name="connsiteX1801" fmla="*/ 825156 w 1195280"/>
                <a:gd name="connsiteY1801" fmla="*/ 870129 h 972482"/>
                <a:gd name="connsiteX1802" fmla="*/ 825673 w 1195280"/>
                <a:gd name="connsiteY1802" fmla="*/ 870388 h 972482"/>
                <a:gd name="connsiteX1803" fmla="*/ 826448 w 1195280"/>
                <a:gd name="connsiteY1803" fmla="*/ 870646 h 972482"/>
                <a:gd name="connsiteX1804" fmla="*/ 827482 w 1195280"/>
                <a:gd name="connsiteY1804" fmla="*/ 870646 h 972482"/>
                <a:gd name="connsiteX1805" fmla="*/ 831230 w 1195280"/>
                <a:gd name="connsiteY1805" fmla="*/ 870388 h 972482"/>
                <a:gd name="connsiteX1806" fmla="*/ 832135 w 1195280"/>
                <a:gd name="connsiteY1806" fmla="*/ 870517 h 972482"/>
                <a:gd name="connsiteX1807" fmla="*/ 832781 w 1195280"/>
                <a:gd name="connsiteY1807" fmla="*/ 870646 h 972482"/>
                <a:gd name="connsiteX1808" fmla="*/ 833298 w 1195280"/>
                <a:gd name="connsiteY1808" fmla="*/ 871034 h 972482"/>
                <a:gd name="connsiteX1809" fmla="*/ 834203 w 1195280"/>
                <a:gd name="connsiteY1809" fmla="*/ 871680 h 972482"/>
                <a:gd name="connsiteX1810" fmla="*/ 834849 w 1195280"/>
                <a:gd name="connsiteY1810" fmla="*/ 872068 h 972482"/>
                <a:gd name="connsiteX1811" fmla="*/ 835753 w 1195280"/>
                <a:gd name="connsiteY1811" fmla="*/ 872326 h 972482"/>
                <a:gd name="connsiteX1812" fmla="*/ 837563 w 1195280"/>
                <a:gd name="connsiteY1812" fmla="*/ 872455 h 972482"/>
                <a:gd name="connsiteX1813" fmla="*/ 838984 w 1195280"/>
                <a:gd name="connsiteY1813" fmla="*/ 872455 h 972482"/>
                <a:gd name="connsiteX1814" fmla="*/ 841440 w 1195280"/>
                <a:gd name="connsiteY1814" fmla="*/ 872068 h 972482"/>
                <a:gd name="connsiteX1815" fmla="*/ 844412 w 1195280"/>
                <a:gd name="connsiteY1815" fmla="*/ 872326 h 972482"/>
                <a:gd name="connsiteX1816" fmla="*/ 844929 w 1195280"/>
                <a:gd name="connsiteY1816" fmla="*/ 872585 h 972482"/>
                <a:gd name="connsiteX1817" fmla="*/ 845187 w 1195280"/>
                <a:gd name="connsiteY1817" fmla="*/ 872843 h 972482"/>
                <a:gd name="connsiteX1818" fmla="*/ 845317 w 1195280"/>
                <a:gd name="connsiteY1818" fmla="*/ 873489 h 972482"/>
                <a:gd name="connsiteX1819" fmla="*/ 845317 w 1195280"/>
                <a:gd name="connsiteY1819" fmla="*/ 874135 h 972482"/>
                <a:gd name="connsiteX1820" fmla="*/ 845187 w 1195280"/>
                <a:gd name="connsiteY1820" fmla="*/ 874911 h 972482"/>
                <a:gd name="connsiteX1821" fmla="*/ 845058 w 1195280"/>
                <a:gd name="connsiteY1821" fmla="*/ 875557 h 972482"/>
                <a:gd name="connsiteX1822" fmla="*/ 844800 w 1195280"/>
                <a:gd name="connsiteY1822" fmla="*/ 876074 h 972482"/>
                <a:gd name="connsiteX1823" fmla="*/ 844412 w 1195280"/>
                <a:gd name="connsiteY1823" fmla="*/ 876462 h 972482"/>
                <a:gd name="connsiteX1824" fmla="*/ 844024 w 1195280"/>
                <a:gd name="connsiteY1824" fmla="*/ 876979 h 972482"/>
                <a:gd name="connsiteX1825" fmla="*/ 843766 w 1195280"/>
                <a:gd name="connsiteY1825" fmla="*/ 877495 h 972482"/>
                <a:gd name="connsiteX1826" fmla="*/ 843507 w 1195280"/>
                <a:gd name="connsiteY1826" fmla="*/ 878013 h 972482"/>
                <a:gd name="connsiteX1827" fmla="*/ 843636 w 1195280"/>
                <a:gd name="connsiteY1827" fmla="*/ 878529 h 972482"/>
                <a:gd name="connsiteX1828" fmla="*/ 843636 w 1195280"/>
                <a:gd name="connsiteY1828" fmla="*/ 878917 h 972482"/>
                <a:gd name="connsiteX1829" fmla="*/ 844024 w 1195280"/>
                <a:gd name="connsiteY1829" fmla="*/ 879822 h 972482"/>
                <a:gd name="connsiteX1830" fmla="*/ 844283 w 1195280"/>
                <a:gd name="connsiteY1830" fmla="*/ 880468 h 972482"/>
                <a:gd name="connsiteX1831" fmla="*/ 844541 w 1195280"/>
                <a:gd name="connsiteY1831" fmla="*/ 880856 h 972482"/>
                <a:gd name="connsiteX1832" fmla="*/ 845704 w 1195280"/>
                <a:gd name="connsiteY1832" fmla="*/ 880339 h 972482"/>
                <a:gd name="connsiteX1833" fmla="*/ 847126 w 1195280"/>
                <a:gd name="connsiteY1833" fmla="*/ 878529 h 972482"/>
                <a:gd name="connsiteX1834" fmla="*/ 848160 w 1195280"/>
                <a:gd name="connsiteY1834" fmla="*/ 877625 h 972482"/>
                <a:gd name="connsiteX1835" fmla="*/ 849452 w 1195280"/>
                <a:gd name="connsiteY1835" fmla="*/ 877625 h 972482"/>
                <a:gd name="connsiteX1836" fmla="*/ 852037 w 1195280"/>
                <a:gd name="connsiteY1836" fmla="*/ 878400 h 972482"/>
                <a:gd name="connsiteX1837" fmla="*/ 852941 w 1195280"/>
                <a:gd name="connsiteY1837" fmla="*/ 878142 h 972482"/>
                <a:gd name="connsiteX1838" fmla="*/ 854104 w 1195280"/>
                <a:gd name="connsiteY1838" fmla="*/ 875945 h 972482"/>
                <a:gd name="connsiteX1839" fmla="*/ 854492 w 1195280"/>
                <a:gd name="connsiteY1839" fmla="*/ 874135 h 972482"/>
                <a:gd name="connsiteX1840" fmla="*/ 855267 w 1195280"/>
                <a:gd name="connsiteY1840" fmla="*/ 872585 h 972482"/>
                <a:gd name="connsiteX1841" fmla="*/ 857723 w 1195280"/>
                <a:gd name="connsiteY1841" fmla="*/ 871421 h 972482"/>
                <a:gd name="connsiteX1842" fmla="*/ 864443 w 1195280"/>
                <a:gd name="connsiteY1842" fmla="*/ 870388 h 972482"/>
                <a:gd name="connsiteX1843" fmla="*/ 866123 w 1195280"/>
                <a:gd name="connsiteY1843" fmla="*/ 869483 h 972482"/>
                <a:gd name="connsiteX1844" fmla="*/ 869613 w 1195280"/>
                <a:gd name="connsiteY1844" fmla="*/ 866252 h 972482"/>
                <a:gd name="connsiteX1845" fmla="*/ 871293 w 1195280"/>
                <a:gd name="connsiteY1845" fmla="*/ 865089 h 972482"/>
                <a:gd name="connsiteX1846" fmla="*/ 885637 w 1195280"/>
                <a:gd name="connsiteY1846" fmla="*/ 859403 h 972482"/>
                <a:gd name="connsiteX1847" fmla="*/ 893521 w 1195280"/>
                <a:gd name="connsiteY1847" fmla="*/ 854880 h 972482"/>
                <a:gd name="connsiteX1848" fmla="*/ 906832 w 1195280"/>
                <a:gd name="connsiteY1848" fmla="*/ 850227 h 972482"/>
                <a:gd name="connsiteX1849" fmla="*/ 917300 w 1195280"/>
                <a:gd name="connsiteY1849" fmla="*/ 844024 h 972482"/>
                <a:gd name="connsiteX1850" fmla="*/ 923115 w 1195280"/>
                <a:gd name="connsiteY1850" fmla="*/ 842602 h 972482"/>
                <a:gd name="connsiteX1851" fmla="*/ 924924 w 1195280"/>
                <a:gd name="connsiteY1851" fmla="*/ 841310 h 972482"/>
                <a:gd name="connsiteX1852" fmla="*/ 926346 w 1195280"/>
                <a:gd name="connsiteY1852" fmla="*/ 839888 h 972482"/>
                <a:gd name="connsiteX1853" fmla="*/ 927380 w 1195280"/>
                <a:gd name="connsiteY1853" fmla="*/ 839113 h 972482"/>
                <a:gd name="connsiteX1854" fmla="*/ 928543 w 1195280"/>
                <a:gd name="connsiteY1854" fmla="*/ 839242 h 972482"/>
                <a:gd name="connsiteX1855" fmla="*/ 930611 w 1195280"/>
                <a:gd name="connsiteY1855" fmla="*/ 840018 h 972482"/>
                <a:gd name="connsiteX1856" fmla="*/ 931774 w 1195280"/>
                <a:gd name="connsiteY1856" fmla="*/ 840018 h 972482"/>
                <a:gd name="connsiteX1857" fmla="*/ 932937 w 1195280"/>
                <a:gd name="connsiteY1857" fmla="*/ 839372 h 972482"/>
                <a:gd name="connsiteX1858" fmla="*/ 935005 w 1195280"/>
                <a:gd name="connsiteY1858" fmla="*/ 837433 h 972482"/>
                <a:gd name="connsiteX1859" fmla="*/ 936297 w 1195280"/>
                <a:gd name="connsiteY1859" fmla="*/ 836916 h 972482"/>
                <a:gd name="connsiteX1860" fmla="*/ 937977 w 1195280"/>
                <a:gd name="connsiteY1860" fmla="*/ 833814 h 972482"/>
                <a:gd name="connsiteX1861" fmla="*/ 938106 w 1195280"/>
                <a:gd name="connsiteY1861" fmla="*/ 832135 h 972482"/>
                <a:gd name="connsiteX1862" fmla="*/ 937977 w 1195280"/>
                <a:gd name="connsiteY1862" fmla="*/ 831488 h 972482"/>
                <a:gd name="connsiteX1863" fmla="*/ 937331 w 1195280"/>
                <a:gd name="connsiteY1863" fmla="*/ 830325 h 972482"/>
                <a:gd name="connsiteX1864" fmla="*/ 936943 w 1195280"/>
                <a:gd name="connsiteY1864" fmla="*/ 829679 h 972482"/>
                <a:gd name="connsiteX1865" fmla="*/ 936426 w 1195280"/>
                <a:gd name="connsiteY1865" fmla="*/ 829162 h 972482"/>
                <a:gd name="connsiteX1866" fmla="*/ 935909 w 1195280"/>
                <a:gd name="connsiteY1866" fmla="*/ 828904 h 972482"/>
                <a:gd name="connsiteX1867" fmla="*/ 935392 w 1195280"/>
                <a:gd name="connsiteY1867" fmla="*/ 828516 h 972482"/>
                <a:gd name="connsiteX1868" fmla="*/ 934746 w 1195280"/>
                <a:gd name="connsiteY1868" fmla="*/ 828387 h 972482"/>
                <a:gd name="connsiteX1869" fmla="*/ 934100 w 1195280"/>
                <a:gd name="connsiteY1869" fmla="*/ 828258 h 972482"/>
                <a:gd name="connsiteX1870" fmla="*/ 933454 w 1195280"/>
                <a:gd name="connsiteY1870" fmla="*/ 828258 h 972482"/>
                <a:gd name="connsiteX1871" fmla="*/ 932808 w 1195280"/>
                <a:gd name="connsiteY1871" fmla="*/ 828516 h 972482"/>
                <a:gd name="connsiteX1872" fmla="*/ 932291 w 1195280"/>
                <a:gd name="connsiteY1872" fmla="*/ 828645 h 972482"/>
                <a:gd name="connsiteX1873" fmla="*/ 931644 w 1195280"/>
                <a:gd name="connsiteY1873" fmla="*/ 828774 h 972482"/>
                <a:gd name="connsiteX1874" fmla="*/ 930869 w 1195280"/>
                <a:gd name="connsiteY1874" fmla="*/ 828774 h 972482"/>
                <a:gd name="connsiteX1875" fmla="*/ 929706 w 1195280"/>
                <a:gd name="connsiteY1875" fmla="*/ 828128 h 972482"/>
                <a:gd name="connsiteX1876" fmla="*/ 928931 w 1195280"/>
                <a:gd name="connsiteY1876" fmla="*/ 827870 h 972482"/>
                <a:gd name="connsiteX1877" fmla="*/ 928155 w 1195280"/>
                <a:gd name="connsiteY1877" fmla="*/ 827870 h 972482"/>
                <a:gd name="connsiteX1878" fmla="*/ 927509 w 1195280"/>
                <a:gd name="connsiteY1878" fmla="*/ 827870 h 972482"/>
                <a:gd name="connsiteX1879" fmla="*/ 926734 w 1195280"/>
                <a:gd name="connsiteY1879" fmla="*/ 827741 h 972482"/>
                <a:gd name="connsiteX1880" fmla="*/ 926605 w 1195280"/>
                <a:gd name="connsiteY1880" fmla="*/ 827224 h 972482"/>
                <a:gd name="connsiteX1881" fmla="*/ 926605 w 1195280"/>
                <a:gd name="connsiteY1881" fmla="*/ 826448 h 972482"/>
                <a:gd name="connsiteX1882" fmla="*/ 927121 w 1195280"/>
                <a:gd name="connsiteY1882" fmla="*/ 823088 h 972482"/>
                <a:gd name="connsiteX1883" fmla="*/ 929189 w 1195280"/>
                <a:gd name="connsiteY1883" fmla="*/ 818824 h 972482"/>
                <a:gd name="connsiteX1884" fmla="*/ 934100 w 1195280"/>
                <a:gd name="connsiteY1884" fmla="*/ 810940 h 972482"/>
                <a:gd name="connsiteX1885" fmla="*/ 934229 w 1195280"/>
                <a:gd name="connsiteY1885" fmla="*/ 810423 h 972482"/>
                <a:gd name="connsiteX1886" fmla="*/ 934488 w 1195280"/>
                <a:gd name="connsiteY1886" fmla="*/ 809389 h 972482"/>
                <a:gd name="connsiteX1887" fmla="*/ 934746 w 1195280"/>
                <a:gd name="connsiteY1887" fmla="*/ 807322 h 972482"/>
                <a:gd name="connsiteX1888" fmla="*/ 934488 w 1195280"/>
                <a:gd name="connsiteY1888" fmla="*/ 803316 h 972482"/>
                <a:gd name="connsiteX1889" fmla="*/ 934488 w 1195280"/>
                <a:gd name="connsiteY1889" fmla="*/ 802282 h 972482"/>
                <a:gd name="connsiteX1890" fmla="*/ 934746 w 1195280"/>
                <a:gd name="connsiteY1890" fmla="*/ 801635 h 972482"/>
                <a:gd name="connsiteX1891" fmla="*/ 936038 w 1195280"/>
                <a:gd name="connsiteY1891" fmla="*/ 798921 h 972482"/>
                <a:gd name="connsiteX1892" fmla="*/ 936685 w 1195280"/>
                <a:gd name="connsiteY1892" fmla="*/ 798017 h 972482"/>
                <a:gd name="connsiteX1893" fmla="*/ 942629 w 1195280"/>
                <a:gd name="connsiteY1893" fmla="*/ 793752 h 972482"/>
                <a:gd name="connsiteX1894" fmla="*/ 943405 w 1195280"/>
                <a:gd name="connsiteY1894" fmla="*/ 787807 h 972482"/>
                <a:gd name="connsiteX1895" fmla="*/ 944180 w 1195280"/>
                <a:gd name="connsiteY1895" fmla="*/ 785352 h 972482"/>
                <a:gd name="connsiteX1896" fmla="*/ 946894 w 1195280"/>
                <a:gd name="connsiteY1896" fmla="*/ 779795 h 972482"/>
                <a:gd name="connsiteX1897" fmla="*/ 947153 w 1195280"/>
                <a:gd name="connsiteY1897" fmla="*/ 778503 h 972482"/>
                <a:gd name="connsiteX1898" fmla="*/ 947153 w 1195280"/>
                <a:gd name="connsiteY1898" fmla="*/ 777598 h 972482"/>
                <a:gd name="connsiteX1899" fmla="*/ 947023 w 1195280"/>
                <a:gd name="connsiteY1899" fmla="*/ 776693 h 972482"/>
                <a:gd name="connsiteX1900" fmla="*/ 946894 w 1195280"/>
                <a:gd name="connsiteY1900" fmla="*/ 775789 h 972482"/>
                <a:gd name="connsiteX1901" fmla="*/ 946894 w 1195280"/>
                <a:gd name="connsiteY1901" fmla="*/ 773980 h 972482"/>
                <a:gd name="connsiteX1902" fmla="*/ 947153 w 1195280"/>
                <a:gd name="connsiteY1902" fmla="*/ 772946 h 972482"/>
                <a:gd name="connsiteX1903" fmla="*/ 947411 w 1195280"/>
                <a:gd name="connsiteY1903" fmla="*/ 772299 h 972482"/>
                <a:gd name="connsiteX1904" fmla="*/ 948186 w 1195280"/>
                <a:gd name="connsiteY1904" fmla="*/ 771395 h 972482"/>
                <a:gd name="connsiteX1905" fmla="*/ 948703 w 1195280"/>
                <a:gd name="connsiteY1905" fmla="*/ 770619 h 972482"/>
                <a:gd name="connsiteX1906" fmla="*/ 949220 w 1195280"/>
                <a:gd name="connsiteY1906" fmla="*/ 769715 h 972482"/>
                <a:gd name="connsiteX1907" fmla="*/ 950254 w 1195280"/>
                <a:gd name="connsiteY1907" fmla="*/ 767518 h 972482"/>
                <a:gd name="connsiteX1908" fmla="*/ 950771 w 1195280"/>
                <a:gd name="connsiteY1908" fmla="*/ 766355 h 972482"/>
                <a:gd name="connsiteX1909" fmla="*/ 952193 w 1195280"/>
                <a:gd name="connsiteY1909" fmla="*/ 764675 h 972482"/>
                <a:gd name="connsiteX1910" fmla="*/ 953227 w 1195280"/>
                <a:gd name="connsiteY1910" fmla="*/ 762865 h 972482"/>
                <a:gd name="connsiteX1911" fmla="*/ 955294 w 1195280"/>
                <a:gd name="connsiteY1911" fmla="*/ 758472 h 972482"/>
                <a:gd name="connsiteX1912" fmla="*/ 955940 w 1195280"/>
                <a:gd name="connsiteY1912" fmla="*/ 756533 h 972482"/>
                <a:gd name="connsiteX1913" fmla="*/ 956070 w 1195280"/>
                <a:gd name="connsiteY1913" fmla="*/ 755499 h 972482"/>
                <a:gd name="connsiteX1914" fmla="*/ 956070 w 1195280"/>
                <a:gd name="connsiteY1914" fmla="*/ 755370 h 972482"/>
                <a:gd name="connsiteX1915" fmla="*/ 955940 w 1195280"/>
                <a:gd name="connsiteY1915" fmla="*/ 755241 h 972482"/>
                <a:gd name="connsiteX1916" fmla="*/ 955165 w 1195280"/>
                <a:gd name="connsiteY1916" fmla="*/ 755111 h 972482"/>
                <a:gd name="connsiteX1917" fmla="*/ 953743 w 1195280"/>
                <a:gd name="connsiteY1917" fmla="*/ 754982 h 972482"/>
                <a:gd name="connsiteX1918" fmla="*/ 953097 w 1195280"/>
                <a:gd name="connsiteY1918" fmla="*/ 754853 h 972482"/>
                <a:gd name="connsiteX1919" fmla="*/ 952580 w 1195280"/>
                <a:gd name="connsiteY1919" fmla="*/ 754594 h 972482"/>
                <a:gd name="connsiteX1920" fmla="*/ 952064 w 1195280"/>
                <a:gd name="connsiteY1920" fmla="*/ 754207 h 972482"/>
                <a:gd name="connsiteX1921" fmla="*/ 951676 w 1195280"/>
                <a:gd name="connsiteY1921" fmla="*/ 753561 h 972482"/>
                <a:gd name="connsiteX1922" fmla="*/ 951417 w 1195280"/>
                <a:gd name="connsiteY1922" fmla="*/ 752785 h 972482"/>
                <a:gd name="connsiteX1923" fmla="*/ 951288 w 1195280"/>
                <a:gd name="connsiteY1923" fmla="*/ 751105 h 972482"/>
                <a:gd name="connsiteX1924" fmla="*/ 951547 w 1195280"/>
                <a:gd name="connsiteY1924" fmla="*/ 750330 h 972482"/>
                <a:gd name="connsiteX1925" fmla="*/ 951934 w 1195280"/>
                <a:gd name="connsiteY1925" fmla="*/ 749813 h 972482"/>
                <a:gd name="connsiteX1926" fmla="*/ 953097 w 1195280"/>
                <a:gd name="connsiteY1926" fmla="*/ 749296 h 972482"/>
                <a:gd name="connsiteX1927" fmla="*/ 954002 w 1195280"/>
                <a:gd name="connsiteY1927" fmla="*/ 748779 h 972482"/>
                <a:gd name="connsiteX1928" fmla="*/ 955165 w 1195280"/>
                <a:gd name="connsiteY1928" fmla="*/ 747487 h 972482"/>
                <a:gd name="connsiteX1929" fmla="*/ 956070 w 1195280"/>
                <a:gd name="connsiteY1929" fmla="*/ 746453 h 972482"/>
                <a:gd name="connsiteX1930" fmla="*/ 956716 w 1195280"/>
                <a:gd name="connsiteY1930" fmla="*/ 746194 h 972482"/>
                <a:gd name="connsiteX1931" fmla="*/ 957233 w 1195280"/>
                <a:gd name="connsiteY1931" fmla="*/ 746194 h 972482"/>
                <a:gd name="connsiteX1932" fmla="*/ 958267 w 1195280"/>
                <a:gd name="connsiteY1932" fmla="*/ 746711 h 972482"/>
                <a:gd name="connsiteX1933" fmla="*/ 958784 w 1195280"/>
                <a:gd name="connsiteY1933" fmla="*/ 746970 h 972482"/>
                <a:gd name="connsiteX1934" fmla="*/ 959430 w 1195280"/>
                <a:gd name="connsiteY1934" fmla="*/ 747099 h 972482"/>
                <a:gd name="connsiteX1935" fmla="*/ 960205 w 1195280"/>
                <a:gd name="connsiteY1935" fmla="*/ 747099 h 972482"/>
                <a:gd name="connsiteX1936" fmla="*/ 961368 w 1195280"/>
                <a:gd name="connsiteY1936" fmla="*/ 746840 h 972482"/>
                <a:gd name="connsiteX1937" fmla="*/ 963178 w 1195280"/>
                <a:gd name="connsiteY1937" fmla="*/ 746194 h 972482"/>
                <a:gd name="connsiteX1938" fmla="*/ 963695 w 1195280"/>
                <a:gd name="connsiteY1938" fmla="*/ 746324 h 972482"/>
                <a:gd name="connsiteX1939" fmla="*/ 964212 w 1195280"/>
                <a:gd name="connsiteY1939" fmla="*/ 746582 h 972482"/>
                <a:gd name="connsiteX1940" fmla="*/ 964599 w 1195280"/>
                <a:gd name="connsiteY1940" fmla="*/ 746970 h 972482"/>
                <a:gd name="connsiteX1941" fmla="*/ 964987 w 1195280"/>
                <a:gd name="connsiteY1941" fmla="*/ 747357 h 972482"/>
                <a:gd name="connsiteX1942" fmla="*/ 965633 w 1195280"/>
                <a:gd name="connsiteY1942" fmla="*/ 747616 h 972482"/>
                <a:gd name="connsiteX1943" fmla="*/ 966279 w 1195280"/>
                <a:gd name="connsiteY1943" fmla="*/ 747616 h 972482"/>
                <a:gd name="connsiteX1944" fmla="*/ 966925 w 1195280"/>
                <a:gd name="connsiteY1944" fmla="*/ 747487 h 972482"/>
                <a:gd name="connsiteX1945" fmla="*/ 967571 w 1195280"/>
                <a:gd name="connsiteY1945" fmla="*/ 747357 h 972482"/>
                <a:gd name="connsiteX1946" fmla="*/ 968218 w 1195280"/>
                <a:gd name="connsiteY1946" fmla="*/ 746970 h 972482"/>
                <a:gd name="connsiteX1947" fmla="*/ 968993 w 1195280"/>
                <a:gd name="connsiteY1947" fmla="*/ 746582 h 972482"/>
                <a:gd name="connsiteX1948" fmla="*/ 969898 w 1195280"/>
                <a:gd name="connsiteY1948" fmla="*/ 745548 h 972482"/>
                <a:gd name="connsiteX1949" fmla="*/ 970415 w 1195280"/>
                <a:gd name="connsiteY1949" fmla="*/ 744902 h 972482"/>
                <a:gd name="connsiteX1950" fmla="*/ 972224 w 1195280"/>
                <a:gd name="connsiteY1950" fmla="*/ 740637 h 972482"/>
                <a:gd name="connsiteX1951" fmla="*/ 973904 w 1195280"/>
                <a:gd name="connsiteY1951" fmla="*/ 737665 h 972482"/>
                <a:gd name="connsiteX1952" fmla="*/ 974162 w 1195280"/>
                <a:gd name="connsiteY1952" fmla="*/ 737019 h 972482"/>
                <a:gd name="connsiteX1953" fmla="*/ 974162 w 1195280"/>
                <a:gd name="connsiteY1953" fmla="*/ 735597 h 972482"/>
                <a:gd name="connsiteX1954" fmla="*/ 974808 w 1195280"/>
                <a:gd name="connsiteY1954" fmla="*/ 733013 h 972482"/>
                <a:gd name="connsiteX1955" fmla="*/ 976230 w 1195280"/>
                <a:gd name="connsiteY1955" fmla="*/ 732625 h 972482"/>
                <a:gd name="connsiteX1956" fmla="*/ 977135 w 1195280"/>
                <a:gd name="connsiteY1956" fmla="*/ 732625 h 972482"/>
                <a:gd name="connsiteX1957" fmla="*/ 978556 w 1195280"/>
                <a:gd name="connsiteY1957" fmla="*/ 732237 h 972482"/>
                <a:gd name="connsiteX1958" fmla="*/ 979461 w 1195280"/>
                <a:gd name="connsiteY1958" fmla="*/ 731849 h 972482"/>
                <a:gd name="connsiteX1959" fmla="*/ 979849 w 1195280"/>
                <a:gd name="connsiteY1959" fmla="*/ 731332 h 972482"/>
                <a:gd name="connsiteX1960" fmla="*/ 980882 w 1195280"/>
                <a:gd name="connsiteY1960" fmla="*/ 729911 h 972482"/>
                <a:gd name="connsiteX1961" fmla="*/ 979202 w 1195280"/>
                <a:gd name="connsiteY1961" fmla="*/ 729006 h 972482"/>
                <a:gd name="connsiteX1962" fmla="*/ 979073 w 1195280"/>
                <a:gd name="connsiteY1962" fmla="*/ 728489 h 972482"/>
                <a:gd name="connsiteX1963" fmla="*/ 978944 w 1195280"/>
                <a:gd name="connsiteY1963" fmla="*/ 727585 h 972482"/>
                <a:gd name="connsiteX1964" fmla="*/ 979202 w 1195280"/>
                <a:gd name="connsiteY1964" fmla="*/ 727068 h 972482"/>
                <a:gd name="connsiteX1965" fmla="*/ 979719 w 1195280"/>
                <a:gd name="connsiteY1965" fmla="*/ 726680 h 972482"/>
                <a:gd name="connsiteX1966" fmla="*/ 980366 w 1195280"/>
                <a:gd name="connsiteY1966" fmla="*/ 726034 h 972482"/>
                <a:gd name="connsiteX1967" fmla="*/ 981141 w 1195280"/>
                <a:gd name="connsiteY1967" fmla="*/ 724871 h 972482"/>
                <a:gd name="connsiteX1968" fmla="*/ 983338 w 1195280"/>
                <a:gd name="connsiteY1968" fmla="*/ 719701 h 972482"/>
                <a:gd name="connsiteX1969" fmla="*/ 984113 w 1195280"/>
                <a:gd name="connsiteY1969" fmla="*/ 718280 h 972482"/>
                <a:gd name="connsiteX1970" fmla="*/ 986440 w 1195280"/>
                <a:gd name="connsiteY1970" fmla="*/ 715178 h 972482"/>
                <a:gd name="connsiteX1971" fmla="*/ 986827 w 1195280"/>
                <a:gd name="connsiteY1971" fmla="*/ 714274 h 972482"/>
                <a:gd name="connsiteX1972" fmla="*/ 986698 w 1195280"/>
                <a:gd name="connsiteY1972" fmla="*/ 713498 h 972482"/>
                <a:gd name="connsiteX1973" fmla="*/ 986310 w 1195280"/>
                <a:gd name="connsiteY1973" fmla="*/ 713110 h 972482"/>
                <a:gd name="connsiteX1974" fmla="*/ 985793 w 1195280"/>
                <a:gd name="connsiteY1974" fmla="*/ 712852 h 972482"/>
                <a:gd name="connsiteX1975" fmla="*/ 985147 w 1195280"/>
                <a:gd name="connsiteY1975" fmla="*/ 712852 h 972482"/>
                <a:gd name="connsiteX1976" fmla="*/ 984630 w 1195280"/>
                <a:gd name="connsiteY1976" fmla="*/ 712981 h 972482"/>
                <a:gd name="connsiteX1977" fmla="*/ 983726 w 1195280"/>
                <a:gd name="connsiteY1977" fmla="*/ 713627 h 972482"/>
                <a:gd name="connsiteX1978" fmla="*/ 983209 w 1195280"/>
                <a:gd name="connsiteY1978" fmla="*/ 713886 h 972482"/>
                <a:gd name="connsiteX1979" fmla="*/ 982563 w 1195280"/>
                <a:gd name="connsiteY1979" fmla="*/ 713886 h 972482"/>
                <a:gd name="connsiteX1980" fmla="*/ 982045 w 1195280"/>
                <a:gd name="connsiteY1980" fmla="*/ 713498 h 972482"/>
                <a:gd name="connsiteX1981" fmla="*/ 981917 w 1195280"/>
                <a:gd name="connsiteY1981" fmla="*/ 712981 h 972482"/>
                <a:gd name="connsiteX1982" fmla="*/ 982175 w 1195280"/>
                <a:gd name="connsiteY1982" fmla="*/ 712464 h 972482"/>
                <a:gd name="connsiteX1983" fmla="*/ 983467 w 1195280"/>
                <a:gd name="connsiteY1983" fmla="*/ 710526 h 972482"/>
                <a:gd name="connsiteX1984" fmla="*/ 984113 w 1195280"/>
                <a:gd name="connsiteY1984" fmla="*/ 709363 h 972482"/>
                <a:gd name="connsiteX1985" fmla="*/ 985535 w 1195280"/>
                <a:gd name="connsiteY1985" fmla="*/ 704840 h 972482"/>
                <a:gd name="connsiteX1986" fmla="*/ 985793 w 1195280"/>
                <a:gd name="connsiteY1986" fmla="*/ 704193 h 972482"/>
                <a:gd name="connsiteX1987" fmla="*/ 986181 w 1195280"/>
                <a:gd name="connsiteY1987" fmla="*/ 703676 h 972482"/>
                <a:gd name="connsiteX1988" fmla="*/ 987344 w 1195280"/>
                <a:gd name="connsiteY1988" fmla="*/ 703030 h 972482"/>
                <a:gd name="connsiteX1989" fmla="*/ 987991 w 1195280"/>
                <a:gd name="connsiteY1989" fmla="*/ 702513 h 972482"/>
                <a:gd name="connsiteX1990" fmla="*/ 988119 w 1195280"/>
                <a:gd name="connsiteY1990" fmla="*/ 701867 h 972482"/>
                <a:gd name="connsiteX1991" fmla="*/ 987991 w 1195280"/>
                <a:gd name="connsiteY1991" fmla="*/ 701350 h 972482"/>
                <a:gd name="connsiteX1992" fmla="*/ 987086 w 1195280"/>
                <a:gd name="connsiteY1992" fmla="*/ 699153 h 972482"/>
                <a:gd name="connsiteX1993" fmla="*/ 986956 w 1195280"/>
                <a:gd name="connsiteY1993" fmla="*/ 698378 h 972482"/>
                <a:gd name="connsiteX1994" fmla="*/ 986827 w 1195280"/>
                <a:gd name="connsiteY1994" fmla="*/ 695406 h 972482"/>
                <a:gd name="connsiteX1995" fmla="*/ 988119 w 1195280"/>
                <a:gd name="connsiteY1995" fmla="*/ 690107 h 972482"/>
                <a:gd name="connsiteX1996" fmla="*/ 984501 w 1195280"/>
                <a:gd name="connsiteY1996" fmla="*/ 688427 h 972482"/>
                <a:gd name="connsiteX1997" fmla="*/ 983984 w 1195280"/>
                <a:gd name="connsiteY1997" fmla="*/ 687910 h 972482"/>
                <a:gd name="connsiteX1998" fmla="*/ 983467 w 1195280"/>
                <a:gd name="connsiteY1998" fmla="*/ 687264 h 972482"/>
                <a:gd name="connsiteX1999" fmla="*/ 982821 w 1195280"/>
                <a:gd name="connsiteY1999" fmla="*/ 685584 h 972482"/>
                <a:gd name="connsiteX2000" fmla="*/ 982175 w 1195280"/>
                <a:gd name="connsiteY2000" fmla="*/ 684291 h 972482"/>
                <a:gd name="connsiteX2001" fmla="*/ 981917 w 1195280"/>
                <a:gd name="connsiteY2001" fmla="*/ 683387 h 972482"/>
                <a:gd name="connsiteX2002" fmla="*/ 981787 w 1195280"/>
                <a:gd name="connsiteY2002" fmla="*/ 682353 h 972482"/>
                <a:gd name="connsiteX2003" fmla="*/ 981917 w 1195280"/>
                <a:gd name="connsiteY2003" fmla="*/ 681577 h 972482"/>
                <a:gd name="connsiteX2004" fmla="*/ 982045 w 1195280"/>
                <a:gd name="connsiteY2004" fmla="*/ 681061 h 972482"/>
                <a:gd name="connsiteX2005" fmla="*/ 982304 w 1195280"/>
                <a:gd name="connsiteY2005" fmla="*/ 680414 h 972482"/>
                <a:gd name="connsiteX2006" fmla="*/ 983338 w 1195280"/>
                <a:gd name="connsiteY2006" fmla="*/ 679122 h 972482"/>
                <a:gd name="connsiteX2007" fmla="*/ 984113 w 1195280"/>
                <a:gd name="connsiteY2007" fmla="*/ 678347 h 972482"/>
                <a:gd name="connsiteX2008" fmla="*/ 986052 w 1195280"/>
                <a:gd name="connsiteY2008" fmla="*/ 677054 h 972482"/>
                <a:gd name="connsiteX2009" fmla="*/ 989541 w 1195280"/>
                <a:gd name="connsiteY2009" fmla="*/ 675116 h 972482"/>
                <a:gd name="connsiteX2010" fmla="*/ 990187 w 1195280"/>
                <a:gd name="connsiteY2010" fmla="*/ 674340 h 972482"/>
                <a:gd name="connsiteX2011" fmla="*/ 990834 w 1195280"/>
                <a:gd name="connsiteY2011" fmla="*/ 673307 h 972482"/>
                <a:gd name="connsiteX2012" fmla="*/ 992513 w 1195280"/>
                <a:gd name="connsiteY2012" fmla="*/ 668396 h 972482"/>
                <a:gd name="connsiteX2013" fmla="*/ 992772 w 1195280"/>
                <a:gd name="connsiteY2013" fmla="*/ 667879 h 972482"/>
                <a:gd name="connsiteX2014" fmla="*/ 993418 w 1195280"/>
                <a:gd name="connsiteY2014" fmla="*/ 666974 h 972482"/>
                <a:gd name="connsiteX2015" fmla="*/ 993806 w 1195280"/>
                <a:gd name="connsiteY2015" fmla="*/ 666457 h 972482"/>
                <a:gd name="connsiteX2016" fmla="*/ 994323 w 1195280"/>
                <a:gd name="connsiteY2016" fmla="*/ 665940 h 972482"/>
                <a:gd name="connsiteX2017" fmla="*/ 995357 w 1195280"/>
                <a:gd name="connsiteY2017" fmla="*/ 665423 h 972482"/>
                <a:gd name="connsiteX2018" fmla="*/ 996778 w 1195280"/>
                <a:gd name="connsiteY2018" fmla="*/ 665294 h 972482"/>
                <a:gd name="connsiteX2019" fmla="*/ 1026761 w 1195280"/>
                <a:gd name="connsiteY2019" fmla="*/ 665811 h 972482"/>
                <a:gd name="connsiteX2020" fmla="*/ 1029991 w 1195280"/>
                <a:gd name="connsiteY2020" fmla="*/ 665811 h 972482"/>
                <a:gd name="connsiteX2021" fmla="*/ 1031154 w 1195280"/>
                <a:gd name="connsiteY2021" fmla="*/ 664519 h 972482"/>
                <a:gd name="connsiteX2022" fmla="*/ 1033093 w 1195280"/>
                <a:gd name="connsiteY2022" fmla="*/ 663743 h 972482"/>
                <a:gd name="connsiteX2023" fmla="*/ 1033739 w 1195280"/>
                <a:gd name="connsiteY2023" fmla="*/ 663356 h 972482"/>
                <a:gd name="connsiteX2024" fmla="*/ 1034127 w 1195280"/>
                <a:gd name="connsiteY2024" fmla="*/ 662839 h 972482"/>
                <a:gd name="connsiteX2025" fmla="*/ 1036582 w 1195280"/>
                <a:gd name="connsiteY2025" fmla="*/ 656506 h 972482"/>
                <a:gd name="connsiteX2026" fmla="*/ 1036711 w 1195280"/>
                <a:gd name="connsiteY2026" fmla="*/ 655860 h 972482"/>
                <a:gd name="connsiteX2027" fmla="*/ 1036841 w 1195280"/>
                <a:gd name="connsiteY2027" fmla="*/ 655214 h 972482"/>
                <a:gd name="connsiteX2028" fmla="*/ 1036841 w 1195280"/>
                <a:gd name="connsiteY2028" fmla="*/ 653792 h 972482"/>
                <a:gd name="connsiteX2029" fmla="*/ 1037616 w 1195280"/>
                <a:gd name="connsiteY2029" fmla="*/ 650303 h 972482"/>
                <a:gd name="connsiteX2030" fmla="*/ 1040072 w 1195280"/>
                <a:gd name="connsiteY2030" fmla="*/ 642678 h 972482"/>
                <a:gd name="connsiteX2031" fmla="*/ 1040330 w 1195280"/>
                <a:gd name="connsiteY2031" fmla="*/ 641515 h 972482"/>
                <a:gd name="connsiteX2032" fmla="*/ 1040330 w 1195280"/>
                <a:gd name="connsiteY2032" fmla="*/ 641257 h 972482"/>
                <a:gd name="connsiteX2033" fmla="*/ 1040330 w 1195280"/>
                <a:gd name="connsiteY2033" fmla="*/ 638801 h 972482"/>
                <a:gd name="connsiteX2034" fmla="*/ 1040459 w 1195280"/>
                <a:gd name="connsiteY2034" fmla="*/ 637250 h 972482"/>
                <a:gd name="connsiteX2035" fmla="*/ 1040718 w 1195280"/>
                <a:gd name="connsiteY2035" fmla="*/ 636475 h 972482"/>
                <a:gd name="connsiteX2036" fmla="*/ 1041105 w 1195280"/>
                <a:gd name="connsiteY2036" fmla="*/ 635958 h 972482"/>
                <a:gd name="connsiteX2037" fmla="*/ 1042010 w 1195280"/>
                <a:gd name="connsiteY2037" fmla="*/ 634795 h 972482"/>
                <a:gd name="connsiteX2038" fmla="*/ 1043173 w 1195280"/>
                <a:gd name="connsiteY2038" fmla="*/ 633373 h 972482"/>
                <a:gd name="connsiteX2039" fmla="*/ 1043561 w 1195280"/>
                <a:gd name="connsiteY2039" fmla="*/ 632857 h 972482"/>
                <a:gd name="connsiteX2040" fmla="*/ 1044078 w 1195280"/>
                <a:gd name="connsiteY2040" fmla="*/ 632469 h 972482"/>
                <a:gd name="connsiteX2041" fmla="*/ 1044595 w 1195280"/>
                <a:gd name="connsiteY2041" fmla="*/ 632340 h 972482"/>
                <a:gd name="connsiteX2042" fmla="*/ 1045241 w 1195280"/>
                <a:gd name="connsiteY2042" fmla="*/ 632210 h 972482"/>
                <a:gd name="connsiteX2043" fmla="*/ 1045887 w 1195280"/>
                <a:gd name="connsiteY2043" fmla="*/ 632340 h 972482"/>
                <a:gd name="connsiteX2044" fmla="*/ 1046533 w 1195280"/>
                <a:gd name="connsiteY2044" fmla="*/ 632469 h 972482"/>
                <a:gd name="connsiteX2045" fmla="*/ 1047438 w 1195280"/>
                <a:gd name="connsiteY2045" fmla="*/ 632210 h 972482"/>
                <a:gd name="connsiteX2046" fmla="*/ 1048342 w 1195280"/>
                <a:gd name="connsiteY2046" fmla="*/ 631693 h 972482"/>
                <a:gd name="connsiteX2047" fmla="*/ 1050281 w 1195280"/>
                <a:gd name="connsiteY2047" fmla="*/ 629238 h 972482"/>
                <a:gd name="connsiteX2048" fmla="*/ 1051057 w 1195280"/>
                <a:gd name="connsiteY2048" fmla="*/ 628592 h 972482"/>
                <a:gd name="connsiteX2049" fmla="*/ 1052736 w 1195280"/>
                <a:gd name="connsiteY2049" fmla="*/ 627687 h 972482"/>
                <a:gd name="connsiteX2050" fmla="*/ 1053253 w 1195280"/>
                <a:gd name="connsiteY2050" fmla="*/ 627041 h 972482"/>
                <a:gd name="connsiteX2051" fmla="*/ 1053512 w 1195280"/>
                <a:gd name="connsiteY2051" fmla="*/ 626395 h 972482"/>
                <a:gd name="connsiteX2052" fmla="*/ 1054416 w 1195280"/>
                <a:gd name="connsiteY2052" fmla="*/ 620192 h 972482"/>
                <a:gd name="connsiteX2053" fmla="*/ 1054416 w 1195280"/>
                <a:gd name="connsiteY2053" fmla="*/ 618770 h 972482"/>
                <a:gd name="connsiteX2054" fmla="*/ 1054029 w 1195280"/>
                <a:gd name="connsiteY2054" fmla="*/ 617478 h 972482"/>
                <a:gd name="connsiteX2055" fmla="*/ 1055709 w 1195280"/>
                <a:gd name="connsiteY2055" fmla="*/ 606364 h 972482"/>
                <a:gd name="connsiteX2056" fmla="*/ 1056614 w 1195280"/>
                <a:gd name="connsiteY2056" fmla="*/ 603262 h 972482"/>
                <a:gd name="connsiteX2057" fmla="*/ 1057260 w 1195280"/>
                <a:gd name="connsiteY2057" fmla="*/ 602357 h 972482"/>
                <a:gd name="connsiteX2058" fmla="*/ 1057647 w 1195280"/>
                <a:gd name="connsiteY2058" fmla="*/ 602099 h 972482"/>
                <a:gd name="connsiteX2059" fmla="*/ 1061266 w 1195280"/>
                <a:gd name="connsiteY2059" fmla="*/ 600031 h 972482"/>
                <a:gd name="connsiteX2060" fmla="*/ 1061912 w 1195280"/>
                <a:gd name="connsiteY2060" fmla="*/ 599256 h 972482"/>
                <a:gd name="connsiteX2061" fmla="*/ 1062946 w 1195280"/>
                <a:gd name="connsiteY2061" fmla="*/ 598093 h 972482"/>
                <a:gd name="connsiteX2062" fmla="*/ 1063592 w 1195280"/>
                <a:gd name="connsiteY2062" fmla="*/ 596800 h 972482"/>
                <a:gd name="connsiteX2063" fmla="*/ 1064238 w 1195280"/>
                <a:gd name="connsiteY2063" fmla="*/ 596413 h 972482"/>
                <a:gd name="connsiteX2064" fmla="*/ 1064755 w 1195280"/>
                <a:gd name="connsiteY2064" fmla="*/ 596283 h 972482"/>
                <a:gd name="connsiteX2065" fmla="*/ 1065401 w 1195280"/>
                <a:gd name="connsiteY2065" fmla="*/ 596283 h 972482"/>
                <a:gd name="connsiteX2066" fmla="*/ 1065918 w 1195280"/>
                <a:gd name="connsiteY2066" fmla="*/ 596154 h 972482"/>
                <a:gd name="connsiteX2067" fmla="*/ 1066306 w 1195280"/>
                <a:gd name="connsiteY2067" fmla="*/ 595766 h 972482"/>
                <a:gd name="connsiteX2068" fmla="*/ 1069408 w 1195280"/>
                <a:gd name="connsiteY2068" fmla="*/ 592277 h 972482"/>
                <a:gd name="connsiteX2069" fmla="*/ 1069925 w 1195280"/>
                <a:gd name="connsiteY2069" fmla="*/ 591243 h 972482"/>
                <a:gd name="connsiteX2070" fmla="*/ 1070183 w 1195280"/>
                <a:gd name="connsiteY2070" fmla="*/ 590468 h 972482"/>
                <a:gd name="connsiteX2071" fmla="*/ 1070054 w 1195280"/>
                <a:gd name="connsiteY2071" fmla="*/ 589951 h 972482"/>
                <a:gd name="connsiteX2072" fmla="*/ 1068374 w 1195280"/>
                <a:gd name="connsiteY2072" fmla="*/ 586979 h 972482"/>
                <a:gd name="connsiteX2073" fmla="*/ 1068244 w 1195280"/>
                <a:gd name="connsiteY2073" fmla="*/ 586332 h 972482"/>
                <a:gd name="connsiteX2074" fmla="*/ 1068115 w 1195280"/>
                <a:gd name="connsiteY2074" fmla="*/ 585686 h 972482"/>
                <a:gd name="connsiteX2075" fmla="*/ 1068244 w 1195280"/>
                <a:gd name="connsiteY2075" fmla="*/ 585169 h 972482"/>
                <a:gd name="connsiteX2076" fmla="*/ 1068503 w 1195280"/>
                <a:gd name="connsiteY2076" fmla="*/ 584135 h 972482"/>
                <a:gd name="connsiteX2077" fmla="*/ 1069020 w 1195280"/>
                <a:gd name="connsiteY2077" fmla="*/ 584006 h 972482"/>
                <a:gd name="connsiteX2078" fmla="*/ 1069537 w 1195280"/>
                <a:gd name="connsiteY2078" fmla="*/ 583877 h 972482"/>
                <a:gd name="connsiteX2079" fmla="*/ 1071605 w 1195280"/>
                <a:gd name="connsiteY2079" fmla="*/ 585169 h 972482"/>
                <a:gd name="connsiteX2080" fmla="*/ 1072121 w 1195280"/>
                <a:gd name="connsiteY2080" fmla="*/ 585428 h 972482"/>
                <a:gd name="connsiteX2081" fmla="*/ 1072638 w 1195280"/>
                <a:gd name="connsiteY2081" fmla="*/ 585557 h 972482"/>
                <a:gd name="connsiteX2082" fmla="*/ 1073672 w 1195280"/>
                <a:gd name="connsiteY2082" fmla="*/ 585557 h 972482"/>
                <a:gd name="connsiteX2083" fmla="*/ 1074448 w 1195280"/>
                <a:gd name="connsiteY2083" fmla="*/ 585299 h 972482"/>
                <a:gd name="connsiteX2084" fmla="*/ 1075223 w 1195280"/>
                <a:gd name="connsiteY2084" fmla="*/ 584782 h 972482"/>
                <a:gd name="connsiteX2085" fmla="*/ 1076645 w 1195280"/>
                <a:gd name="connsiteY2085" fmla="*/ 583489 h 972482"/>
                <a:gd name="connsiteX2086" fmla="*/ 1077291 w 1195280"/>
                <a:gd name="connsiteY2086" fmla="*/ 582714 h 972482"/>
                <a:gd name="connsiteX2087" fmla="*/ 1077679 w 1195280"/>
                <a:gd name="connsiteY2087" fmla="*/ 581939 h 972482"/>
                <a:gd name="connsiteX2088" fmla="*/ 1077808 w 1195280"/>
                <a:gd name="connsiteY2088" fmla="*/ 581292 h 972482"/>
                <a:gd name="connsiteX2089" fmla="*/ 1077937 w 1195280"/>
                <a:gd name="connsiteY2089" fmla="*/ 580646 h 972482"/>
                <a:gd name="connsiteX2090" fmla="*/ 1077937 w 1195280"/>
                <a:gd name="connsiteY2090" fmla="*/ 580000 h 972482"/>
                <a:gd name="connsiteX2091" fmla="*/ 1077937 w 1195280"/>
                <a:gd name="connsiteY2091" fmla="*/ 579354 h 972482"/>
                <a:gd name="connsiteX2092" fmla="*/ 1077549 w 1195280"/>
                <a:gd name="connsiteY2092" fmla="*/ 578191 h 972482"/>
                <a:gd name="connsiteX2093" fmla="*/ 1077679 w 1195280"/>
                <a:gd name="connsiteY2093" fmla="*/ 577157 h 972482"/>
                <a:gd name="connsiteX2094" fmla="*/ 1078066 w 1195280"/>
                <a:gd name="connsiteY2094" fmla="*/ 575606 h 972482"/>
                <a:gd name="connsiteX2095" fmla="*/ 1080392 w 1195280"/>
                <a:gd name="connsiteY2095" fmla="*/ 570178 h 972482"/>
                <a:gd name="connsiteX2096" fmla="*/ 1080522 w 1195280"/>
                <a:gd name="connsiteY2096" fmla="*/ 569532 h 972482"/>
                <a:gd name="connsiteX2097" fmla="*/ 1080780 w 1195280"/>
                <a:gd name="connsiteY2097" fmla="*/ 568110 h 972482"/>
                <a:gd name="connsiteX2098" fmla="*/ 1080780 w 1195280"/>
                <a:gd name="connsiteY2098" fmla="*/ 565009 h 972482"/>
                <a:gd name="connsiteX2099" fmla="*/ 1081297 w 1195280"/>
                <a:gd name="connsiteY2099" fmla="*/ 562166 h 972482"/>
                <a:gd name="connsiteX2100" fmla="*/ 1081297 w 1195280"/>
                <a:gd name="connsiteY2100" fmla="*/ 561132 h 972482"/>
                <a:gd name="connsiteX2101" fmla="*/ 1081038 w 1195280"/>
                <a:gd name="connsiteY2101" fmla="*/ 560486 h 972482"/>
                <a:gd name="connsiteX2102" fmla="*/ 1080522 w 1195280"/>
                <a:gd name="connsiteY2102" fmla="*/ 560098 h 972482"/>
                <a:gd name="connsiteX2103" fmla="*/ 1080134 w 1195280"/>
                <a:gd name="connsiteY2103" fmla="*/ 559710 h 972482"/>
                <a:gd name="connsiteX2104" fmla="*/ 1079746 w 1195280"/>
                <a:gd name="connsiteY2104" fmla="*/ 559064 h 972482"/>
                <a:gd name="connsiteX2105" fmla="*/ 1079617 w 1195280"/>
                <a:gd name="connsiteY2105" fmla="*/ 557901 h 972482"/>
                <a:gd name="connsiteX2106" fmla="*/ 1080263 w 1195280"/>
                <a:gd name="connsiteY2106" fmla="*/ 555058 h 972482"/>
                <a:gd name="connsiteX2107" fmla="*/ 1080522 w 1195280"/>
                <a:gd name="connsiteY2107" fmla="*/ 552215 h 972482"/>
                <a:gd name="connsiteX2108" fmla="*/ 1080263 w 1195280"/>
                <a:gd name="connsiteY2108" fmla="*/ 548338 h 972482"/>
                <a:gd name="connsiteX2109" fmla="*/ 1079488 w 1195280"/>
                <a:gd name="connsiteY2109" fmla="*/ 545236 h 972482"/>
                <a:gd name="connsiteX2110" fmla="*/ 1079229 w 1195280"/>
                <a:gd name="connsiteY2110" fmla="*/ 544719 h 972482"/>
                <a:gd name="connsiteX2111" fmla="*/ 1077679 w 1195280"/>
                <a:gd name="connsiteY2111" fmla="*/ 542264 h 972482"/>
                <a:gd name="connsiteX2112" fmla="*/ 1077032 w 1195280"/>
                <a:gd name="connsiteY2112" fmla="*/ 541488 h 972482"/>
                <a:gd name="connsiteX2113" fmla="*/ 1071475 w 1195280"/>
                <a:gd name="connsiteY2113" fmla="*/ 536061 h 972482"/>
                <a:gd name="connsiteX2114" fmla="*/ 1070958 w 1195280"/>
                <a:gd name="connsiteY2114" fmla="*/ 535673 h 972482"/>
                <a:gd name="connsiteX2115" fmla="*/ 1070442 w 1195280"/>
                <a:gd name="connsiteY2115" fmla="*/ 535544 h 972482"/>
                <a:gd name="connsiteX2116" fmla="*/ 1069020 w 1195280"/>
                <a:gd name="connsiteY2116" fmla="*/ 535285 h 972482"/>
                <a:gd name="connsiteX2117" fmla="*/ 1068374 w 1195280"/>
                <a:gd name="connsiteY2117" fmla="*/ 534898 h 972482"/>
                <a:gd name="connsiteX2118" fmla="*/ 1067857 w 1195280"/>
                <a:gd name="connsiteY2118" fmla="*/ 534122 h 972482"/>
                <a:gd name="connsiteX2119" fmla="*/ 1067857 w 1195280"/>
                <a:gd name="connsiteY2119" fmla="*/ 533347 h 972482"/>
                <a:gd name="connsiteX2120" fmla="*/ 1067857 w 1195280"/>
                <a:gd name="connsiteY2120" fmla="*/ 532701 h 972482"/>
                <a:gd name="connsiteX2121" fmla="*/ 1069925 w 1195280"/>
                <a:gd name="connsiteY2121" fmla="*/ 528565 h 972482"/>
                <a:gd name="connsiteX2122" fmla="*/ 1070571 w 1195280"/>
                <a:gd name="connsiteY2122" fmla="*/ 526756 h 972482"/>
                <a:gd name="connsiteX2123" fmla="*/ 1070442 w 1195280"/>
                <a:gd name="connsiteY2123" fmla="*/ 525851 h 972482"/>
                <a:gd name="connsiteX2124" fmla="*/ 1070183 w 1195280"/>
                <a:gd name="connsiteY2124" fmla="*/ 525334 h 972482"/>
                <a:gd name="connsiteX2125" fmla="*/ 1069666 w 1195280"/>
                <a:gd name="connsiteY2125" fmla="*/ 525076 h 972482"/>
                <a:gd name="connsiteX2126" fmla="*/ 1068890 w 1195280"/>
                <a:gd name="connsiteY2126" fmla="*/ 524946 h 972482"/>
                <a:gd name="connsiteX2127" fmla="*/ 1068244 w 1195280"/>
                <a:gd name="connsiteY2127" fmla="*/ 524817 h 972482"/>
                <a:gd name="connsiteX2128" fmla="*/ 1067598 w 1195280"/>
                <a:gd name="connsiteY2128" fmla="*/ 524300 h 972482"/>
                <a:gd name="connsiteX2129" fmla="*/ 1067340 w 1195280"/>
                <a:gd name="connsiteY2129" fmla="*/ 523396 h 972482"/>
                <a:gd name="connsiteX2130" fmla="*/ 1067469 w 1195280"/>
                <a:gd name="connsiteY2130" fmla="*/ 522491 h 972482"/>
                <a:gd name="connsiteX2131" fmla="*/ 1067727 w 1195280"/>
                <a:gd name="connsiteY2131" fmla="*/ 521586 h 972482"/>
                <a:gd name="connsiteX2132" fmla="*/ 1067598 w 1195280"/>
                <a:gd name="connsiteY2132" fmla="*/ 520940 h 972482"/>
                <a:gd name="connsiteX2133" fmla="*/ 1067211 w 1195280"/>
                <a:gd name="connsiteY2133" fmla="*/ 520682 h 972482"/>
                <a:gd name="connsiteX2134" fmla="*/ 1066047 w 1195280"/>
                <a:gd name="connsiteY2134" fmla="*/ 520294 h 972482"/>
                <a:gd name="connsiteX2135" fmla="*/ 1065531 w 1195280"/>
                <a:gd name="connsiteY2135" fmla="*/ 520036 h 972482"/>
                <a:gd name="connsiteX2136" fmla="*/ 1065014 w 1195280"/>
                <a:gd name="connsiteY2136" fmla="*/ 519648 h 972482"/>
                <a:gd name="connsiteX2137" fmla="*/ 1064755 w 1195280"/>
                <a:gd name="connsiteY2137" fmla="*/ 519260 h 972482"/>
                <a:gd name="connsiteX2138" fmla="*/ 1063463 w 1195280"/>
                <a:gd name="connsiteY2138" fmla="*/ 517322 h 972482"/>
                <a:gd name="connsiteX2139" fmla="*/ 1063075 w 1195280"/>
                <a:gd name="connsiteY2139" fmla="*/ 516934 h 972482"/>
                <a:gd name="connsiteX2140" fmla="*/ 1062688 w 1195280"/>
                <a:gd name="connsiteY2140" fmla="*/ 516546 h 972482"/>
                <a:gd name="connsiteX2141" fmla="*/ 1062170 w 1195280"/>
                <a:gd name="connsiteY2141" fmla="*/ 516288 h 972482"/>
                <a:gd name="connsiteX2142" fmla="*/ 1061524 w 1195280"/>
                <a:gd name="connsiteY2142" fmla="*/ 516159 h 972482"/>
                <a:gd name="connsiteX2143" fmla="*/ 1060878 w 1195280"/>
                <a:gd name="connsiteY2143" fmla="*/ 516159 h 972482"/>
                <a:gd name="connsiteX2144" fmla="*/ 1060103 w 1195280"/>
                <a:gd name="connsiteY2144" fmla="*/ 516159 h 972482"/>
                <a:gd name="connsiteX2145" fmla="*/ 1059457 w 1195280"/>
                <a:gd name="connsiteY2145" fmla="*/ 516288 h 972482"/>
                <a:gd name="connsiteX2146" fmla="*/ 1058423 w 1195280"/>
                <a:gd name="connsiteY2146" fmla="*/ 516676 h 972482"/>
                <a:gd name="connsiteX2147" fmla="*/ 1057906 w 1195280"/>
                <a:gd name="connsiteY2147" fmla="*/ 517063 h 972482"/>
                <a:gd name="connsiteX2148" fmla="*/ 1056742 w 1195280"/>
                <a:gd name="connsiteY2148" fmla="*/ 518097 h 972482"/>
                <a:gd name="connsiteX2149" fmla="*/ 1056226 w 1195280"/>
                <a:gd name="connsiteY2149" fmla="*/ 518356 h 972482"/>
                <a:gd name="connsiteX2150" fmla="*/ 1055709 w 1195280"/>
                <a:gd name="connsiteY2150" fmla="*/ 518356 h 972482"/>
                <a:gd name="connsiteX2151" fmla="*/ 1055192 w 1195280"/>
                <a:gd name="connsiteY2151" fmla="*/ 518226 h 972482"/>
                <a:gd name="connsiteX2152" fmla="*/ 1054287 w 1195280"/>
                <a:gd name="connsiteY2152" fmla="*/ 517580 h 972482"/>
                <a:gd name="connsiteX2153" fmla="*/ 1053253 w 1195280"/>
                <a:gd name="connsiteY2153" fmla="*/ 517063 h 972482"/>
                <a:gd name="connsiteX2154" fmla="*/ 1051573 w 1195280"/>
                <a:gd name="connsiteY2154" fmla="*/ 516417 h 972482"/>
                <a:gd name="connsiteX2155" fmla="*/ 1051057 w 1195280"/>
                <a:gd name="connsiteY2155" fmla="*/ 516159 h 972482"/>
                <a:gd name="connsiteX2156" fmla="*/ 1050798 w 1195280"/>
                <a:gd name="connsiteY2156" fmla="*/ 515512 h 972482"/>
                <a:gd name="connsiteX2157" fmla="*/ 1049764 w 1195280"/>
                <a:gd name="connsiteY2157" fmla="*/ 513186 h 972482"/>
                <a:gd name="connsiteX2158" fmla="*/ 1048084 w 1195280"/>
                <a:gd name="connsiteY2158" fmla="*/ 512282 h 972482"/>
                <a:gd name="connsiteX2159" fmla="*/ 1047826 w 1195280"/>
                <a:gd name="connsiteY2159" fmla="*/ 511894 h 972482"/>
                <a:gd name="connsiteX2160" fmla="*/ 1047696 w 1195280"/>
                <a:gd name="connsiteY2160" fmla="*/ 511248 h 972482"/>
                <a:gd name="connsiteX2161" fmla="*/ 1047826 w 1195280"/>
                <a:gd name="connsiteY2161" fmla="*/ 510602 h 972482"/>
                <a:gd name="connsiteX2162" fmla="*/ 1048084 w 1195280"/>
                <a:gd name="connsiteY2162" fmla="*/ 510085 h 972482"/>
                <a:gd name="connsiteX2163" fmla="*/ 1048472 w 1195280"/>
                <a:gd name="connsiteY2163" fmla="*/ 509568 h 972482"/>
                <a:gd name="connsiteX2164" fmla="*/ 1049118 w 1195280"/>
                <a:gd name="connsiteY2164" fmla="*/ 508792 h 972482"/>
                <a:gd name="connsiteX2165" fmla="*/ 1049635 w 1195280"/>
                <a:gd name="connsiteY2165" fmla="*/ 508405 h 972482"/>
                <a:gd name="connsiteX2166" fmla="*/ 1050152 w 1195280"/>
                <a:gd name="connsiteY2166" fmla="*/ 508017 h 972482"/>
                <a:gd name="connsiteX2167" fmla="*/ 1050927 w 1195280"/>
                <a:gd name="connsiteY2167" fmla="*/ 507629 h 972482"/>
                <a:gd name="connsiteX2168" fmla="*/ 1052349 w 1195280"/>
                <a:gd name="connsiteY2168" fmla="*/ 507242 h 972482"/>
                <a:gd name="connsiteX2169" fmla="*/ 1055192 w 1195280"/>
                <a:gd name="connsiteY2169" fmla="*/ 507112 h 972482"/>
                <a:gd name="connsiteX2170" fmla="*/ 1058035 w 1195280"/>
                <a:gd name="connsiteY2170" fmla="*/ 507242 h 972482"/>
                <a:gd name="connsiteX2171" fmla="*/ 1060103 w 1195280"/>
                <a:gd name="connsiteY2171" fmla="*/ 506983 h 972482"/>
                <a:gd name="connsiteX2172" fmla="*/ 1060878 w 1195280"/>
                <a:gd name="connsiteY2172" fmla="*/ 507112 h 972482"/>
                <a:gd name="connsiteX2173" fmla="*/ 1061524 w 1195280"/>
                <a:gd name="connsiteY2173" fmla="*/ 507242 h 972482"/>
                <a:gd name="connsiteX2174" fmla="*/ 1061912 w 1195280"/>
                <a:gd name="connsiteY2174" fmla="*/ 507629 h 972482"/>
                <a:gd name="connsiteX2175" fmla="*/ 1062041 w 1195280"/>
                <a:gd name="connsiteY2175" fmla="*/ 508146 h 972482"/>
                <a:gd name="connsiteX2176" fmla="*/ 1062170 w 1195280"/>
                <a:gd name="connsiteY2176" fmla="*/ 508792 h 972482"/>
                <a:gd name="connsiteX2177" fmla="*/ 1062688 w 1195280"/>
                <a:gd name="connsiteY2177" fmla="*/ 509309 h 972482"/>
                <a:gd name="connsiteX2178" fmla="*/ 1063592 w 1195280"/>
                <a:gd name="connsiteY2178" fmla="*/ 509697 h 972482"/>
                <a:gd name="connsiteX2179" fmla="*/ 1075223 w 1195280"/>
                <a:gd name="connsiteY2179" fmla="*/ 509309 h 972482"/>
                <a:gd name="connsiteX2180" fmla="*/ 1077679 w 1195280"/>
                <a:gd name="connsiteY2180" fmla="*/ 508921 h 972482"/>
                <a:gd name="connsiteX2181" fmla="*/ 1079358 w 1195280"/>
                <a:gd name="connsiteY2181" fmla="*/ 508146 h 972482"/>
                <a:gd name="connsiteX2182" fmla="*/ 1079875 w 1195280"/>
                <a:gd name="connsiteY2182" fmla="*/ 507888 h 972482"/>
                <a:gd name="connsiteX2183" fmla="*/ 1080651 w 1195280"/>
                <a:gd name="connsiteY2183" fmla="*/ 507112 h 972482"/>
                <a:gd name="connsiteX2184" fmla="*/ 1081038 w 1195280"/>
                <a:gd name="connsiteY2184" fmla="*/ 506595 h 972482"/>
                <a:gd name="connsiteX2185" fmla="*/ 1081426 w 1195280"/>
                <a:gd name="connsiteY2185" fmla="*/ 505949 h 972482"/>
                <a:gd name="connsiteX2186" fmla="*/ 1081943 w 1195280"/>
                <a:gd name="connsiteY2186" fmla="*/ 504915 h 972482"/>
                <a:gd name="connsiteX2187" fmla="*/ 1082202 w 1195280"/>
                <a:gd name="connsiteY2187" fmla="*/ 504140 h 972482"/>
                <a:gd name="connsiteX2188" fmla="*/ 1082202 w 1195280"/>
                <a:gd name="connsiteY2188" fmla="*/ 503235 h 972482"/>
                <a:gd name="connsiteX2189" fmla="*/ 1082202 w 1195280"/>
                <a:gd name="connsiteY2189" fmla="*/ 501814 h 972482"/>
                <a:gd name="connsiteX2190" fmla="*/ 1081168 w 1195280"/>
                <a:gd name="connsiteY2190" fmla="*/ 494318 h 972482"/>
                <a:gd name="connsiteX2191" fmla="*/ 1081038 w 1195280"/>
                <a:gd name="connsiteY2191" fmla="*/ 493801 h 972482"/>
                <a:gd name="connsiteX2192" fmla="*/ 1080780 w 1195280"/>
                <a:gd name="connsiteY2192" fmla="*/ 493284 h 972482"/>
                <a:gd name="connsiteX2193" fmla="*/ 1080392 w 1195280"/>
                <a:gd name="connsiteY2193" fmla="*/ 492767 h 972482"/>
                <a:gd name="connsiteX2194" fmla="*/ 1080005 w 1195280"/>
                <a:gd name="connsiteY2194" fmla="*/ 492380 h 972482"/>
                <a:gd name="connsiteX2195" fmla="*/ 1079617 w 1195280"/>
                <a:gd name="connsiteY2195" fmla="*/ 491992 h 972482"/>
                <a:gd name="connsiteX2196" fmla="*/ 1079100 w 1195280"/>
                <a:gd name="connsiteY2196" fmla="*/ 491734 h 972482"/>
                <a:gd name="connsiteX2197" fmla="*/ 1078454 w 1195280"/>
                <a:gd name="connsiteY2197" fmla="*/ 491604 h 972482"/>
                <a:gd name="connsiteX2198" fmla="*/ 1073026 w 1195280"/>
                <a:gd name="connsiteY2198" fmla="*/ 491346 h 972482"/>
                <a:gd name="connsiteX2199" fmla="*/ 1071863 w 1195280"/>
                <a:gd name="connsiteY2199" fmla="*/ 491217 h 972482"/>
                <a:gd name="connsiteX2200" fmla="*/ 1071346 w 1195280"/>
                <a:gd name="connsiteY2200" fmla="*/ 490958 h 972482"/>
                <a:gd name="connsiteX2201" fmla="*/ 1070958 w 1195280"/>
                <a:gd name="connsiteY2201" fmla="*/ 490570 h 972482"/>
                <a:gd name="connsiteX2202" fmla="*/ 1070571 w 1195280"/>
                <a:gd name="connsiteY2202" fmla="*/ 490053 h 972482"/>
                <a:gd name="connsiteX2203" fmla="*/ 1070442 w 1195280"/>
                <a:gd name="connsiteY2203" fmla="*/ 489536 h 972482"/>
                <a:gd name="connsiteX2204" fmla="*/ 1070312 w 1195280"/>
                <a:gd name="connsiteY2204" fmla="*/ 488890 h 972482"/>
                <a:gd name="connsiteX2205" fmla="*/ 1070312 w 1195280"/>
                <a:gd name="connsiteY2205" fmla="*/ 488115 h 972482"/>
                <a:gd name="connsiteX2206" fmla="*/ 1071088 w 1195280"/>
                <a:gd name="connsiteY2206" fmla="*/ 482687 h 972482"/>
                <a:gd name="connsiteX2207" fmla="*/ 1072380 w 1195280"/>
                <a:gd name="connsiteY2207" fmla="*/ 477130 h 972482"/>
                <a:gd name="connsiteX2208" fmla="*/ 1072638 w 1195280"/>
                <a:gd name="connsiteY2208" fmla="*/ 472090 h 972482"/>
                <a:gd name="connsiteX2209" fmla="*/ 1073026 w 1195280"/>
                <a:gd name="connsiteY2209" fmla="*/ 468859 h 972482"/>
                <a:gd name="connsiteX2210" fmla="*/ 1073155 w 1195280"/>
                <a:gd name="connsiteY2210" fmla="*/ 467308 h 972482"/>
                <a:gd name="connsiteX2211" fmla="*/ 1072768 w 1195280"/>
                <a:gd name="connsiteY2211" fmla="*/ 465370 h 972482"/>
                <a:gd name="connsiteX2212" fmla="*/ 1072380 w 1195280"/>
                <a:gd name="connsiteY2212" fmla="*/ 464207 h 972482"/>
                <a:gd name="connsiteX2213" fmla="*/ 1072121 w 1195280"/>
                <a:gd name="connsiteY2213" fmla="*/ 463690 h 972482"/>
                <a:gd name="connsiteX2214" fmla="*/ 1070829 w 1195280"/>
                <a:gd name="connsiteY2214" fmla="*/ 461880 h 972482"/>
                <a:gd name="connsiteX2215" fmla="*/ 1070183 w 1195280"/>
                <a:gd name="connsiteY2215" fmla="*/ 461105 h 972482"/>
                <a:gd name="connsiteX2216" fmla="*/ 1068890 w 1195280"/>
                <a:gd name="connsiteY2216" fmla="*/ 459942 h 972482"/>
                <a:gd name="connsiteX2217" fmla="*/ 1067857 w 1195280"/>
                <a:gd name="connsiteY2217" fmla="*/ 459425 h 972482"/>
                <a:gd name="connsiteX2218" fmla="*/ 1066306 w 1195280"/>
                <a:gd name="connsiteY2218" fmla="*/ 458650 h 972482"/>
                <a:gd name="connsiteX2219" fmla="*/ 1065272 w 1195280"/>
                <a:gd name="connsiteY2219" fmla="*/ 458004 h 972482"/>
                <a:gd name="connsiteX2220" fmla="*/ 1064497 w 1195280"/>
                <a:gd name="connsiteY2220" fmla="*/ 457357 h 972482"/>
                <a:gd name="connsiteX2221" fmla="*/ 1063721 w 1195280"/>
                <a:gd name="connsiteY2221" fmla="*/ 456453 h 972482"/>
                <a:gd name="connsiteX2222" fmla="*/ 1060490 w 1195280"/>
                <a:gd name="connsiteY2222" fmla="*/ 459684 h 972482"/>
                <a:gd name="connsiteX2223" fmla="*/ 1058940 w 1195280"/>
                <a:gd name="connsiteY2223" fmla="*/ 460459 h 972482"/>
                <a:gd name="connsiteX2224" fmla="*/ 1058294 w 1195280"/>
                <a:gd name="connsiteY2224" fmla="*/ 460459 h 972482"/>
                <a:gd name="connsiteX2225" fmla="*/ 1057389 w 1195280"/>
                <a:gd name="connsiteY2225" fmla="*/ 460201 h 972482"/>
                <a:gd name="connsiteX2226" fmla="*/ 1059327 w 1195280"/>
                <a:gd name="connsiteY2226" fmla="*/ 455936 h 972482"/>
                <a:gd name="connsiteX2227" fmla="*/ 1059457 w 1195280"/>
                <a:gd name="connsiteY2227" fmla="*/ 454127 h 972482"/>
                <a:gd name="connsiteX2228" fmla="*/ 1058681 w 1195280"/>
                <a:gd name="connsiteY2228" fmla="*/ 452446 h 972482"/>
                <a:gd name="connsiteX2229" fmla="*/ 1058294 w 1195280"/>
                <a:gd name="connsiteY2229" fmla="*/ 451542 h 972482"/>
                <a:gd name="connsiteX2230" fmla="*/ 1058035 w 1195280"/>
                <a:gd name="connsiteY2230" fmla="*/ 449862 h 972482"/>
                <a:gd name="connsiteX2231" fmla="*/ 1058164 w 1195280"/>
                <a:gd name="connsiteY2231" fmla="*/ 448957 h 972482"/>
                <a:gd name="connsiteX2232" fmla="*/ 1058552 w 1195280"/>
                <a:gd name="connsiteY2232" fmla="*/ 448440 h 972482"/>
                <a:gd name="connsiteX2233" fmla="*/ 1061266 w 1195280"/>
                <a:gd name="connsiteY2233" fmla="*/ 446502 h 972482"/>
                <a:gd name="connsiteX2234" fmla="*/ 1063075 w 1195280"/>
                <a:gd name="connsiteY2234" fmla="*/ 443659 h 972482"/>
                <a:gd name="connsiteX2235" fmla="*/ 1065143 w 1195280"/>
                <a:gd name="connsiteY2235" fmla="*/ 439394 h 972482"/>
                <a:gd name="connsiteX2236" fmla="*/ 1066177 w 1195280"/>
                <a:gd name="connsiteY2236" fmla="*/ 437714 h 972482"/>
                <a:gd name="connsiteX2237" fmla="*/ 1067081 w 1195280"/>
                <a:gd name="connsiteY2237" fmla="*/ 436680 h 972482"/>
                <a:gd name="connsiteX2238" fmla="*/ 1067727 w 1195280"/>
                <a:gd name="connsiteY2238" fmla="*/ 436551 h 972482"/>
                <a:gd name="connsiteX2239" fmla="*/ 1068374 w 1195280"/>
                <a:gd name="connsiteY2239" fmla="*/ 436421 h 972482"/>
                <a:gd name="connsiteX2240" fmla="*/ 1070442 w 1195280"/>
                <a:gd name="connsiteY2240" fmla="*/ 436551 h 972482"/>
                <a:gd name="connsiteX2241" fmla="*/ 1071088 w 1195280"/>
                <a:gd name="connsiteY2241" fmla="*/ 436421 h 972482"/>
                <a:gd name="connsiteX2242" fmla="*/ 1071734 w 1195280"/>
                <a:gd name="connsiteY2242" fmla="*/ 436292 h 972482"/>
                <a:gd name="connsiteX2243" fmla="*/ 1078842 w 1195280"/>
                <a:gd name="connsiteY2243" fmla="*/ 429701 h 972482"/>
                <a:gd name="connsiteX2244" fmla="*/ 1079875 w 1195280"/>
                <a:gd name="connsiteY2244" fmla="*/ 428926 h 972482"/>
                <a:gd name="connsiteX2245" fmla="*/ 1080651 w 1195280"/>
                <a:gd name="connsiteY2245" fmla="*/ 428538 h 972482"/>
                <a:gd name="connsiteX2246" fmla="*/ 1081297 w 1195280"/>
                <a:gd name="connsiteY2246" fmla="*/ 428280 h 972482"/>
                <a:gd name="connsiteX2247" fmla="*/ 1082073 w 1195280"/>
                <a:gd name="connsiteY2247" fmla="*/ 428151 h 972482"/>
                <a:gd name="connsiteX2248" fmla="*/ 1082719 w 1195280"/>
                <a:gd name="connsiteY2248" fmla="*/ 428151 h 972482"/>
                <a:gd name="connsiteX2249" fmla="*/ 1083365 w 1195280"/>
                <a:gd name="connsiteY2249" fmla="*/ 428280 h 972482"/>
                <a:gd name="connsiteX2250" fmla="*/ 1083882 w 1195280"/>
                <a:gd name="connsiteY2250" fmla="*/ 428409 h 972482"/>
                <a:gd name="connsiteX2251" fmla="*/ 1084399 w 1195280"/>
                <a:gd name="connsiteY2251" fmla="*/ 428797 h 972482"/>
                <a:gd name="connsiteX2252" fmla="*/ 1084786 w 1195280"/>
                <a:gd name="connsiteY2252" fmla="*/ 429055 h 972482"/>
                <a:gd name="connsiteX2253" fmla="*/ 1085820 w 1195280"/>
                <a:gd name="connsiteY2253" fmla="*/ 430348 h 972482"/>
                <a:gd name="connsiteX2254" fmla="*/ 1086337 w 1195280"/>
                <a:gd name="connsiteY2254" fmla="*/ 430735 h 972482"/>
                <a:gd name="connsiteX2255" fmla="*/ 1086725 w 1195280"/>
                <a:gd name="connsiteY2255" fmla="*/ 430994 h 972482"/>
                <a:gd name="connsiteX2256" fmla="*/ 1088405 w 1195280"/>
                <a:gd name="connsiteY2256" fmla="*/ 431769 h 972482"/>
                <a:gd name="connsiteX2257" fmla="*/ 1088793 w 1195280"/>
                <a:gd name="connsiteY2257" fmla="*/ 432157 h 972482"/>
                <a:gd name="connsiteX2258" fmla="*/ 1089568 w 1195280"/>
                <a:gd name="connsiteY2258" fmla="*/ 432932 h 972482"/>
                <a:gd name="connsiteX2259" fmla="*/ 1090085 w 1195280"/>
                <a:gd name="connsiteY2259" fmla="*/ 433191 h 972482"/>
                <a:gd name="connsiteX2260" fmla="*/ 1090602 w 1195280"/>
                <a:gd name="connsiteY2260" fmla="*/ 433449 h 972482"/>
                <a:gd name="connsiteX2261" fmla="*/ 1091377 w 1195280"/>
                <a:gd name="connsiteY2261" fmla="*/ 433449 h 972482"/>
                <a:gd name="connsiteX2262" fmla="*/ 1094221 w 1195280"/>
                <a:gd name="connsiteY2262" fmla="*/ 433449 h 972482"/>
                <a:gd name="connsiteX2263" fmla="*/ 1095642 w 1195280"/>
                <a:gd name="connsiteY2263" fmla="*/ 433708 h 972482"/>
                <a:gd name="connsiteX2264" fmla="*/ 1096417 w 1195280"/>
                <a:gd name="connsiteY2264" fmla="*/ 433837 h 972482"/>
                <a:gd name="connsiteX2265" fmla="*/ 1097580 w 1195280"/>
                <a:gd name="connsiteY2265" fmla="*/ 433449 h 972482"/>
                <a:gd name="connsiteX2266" fmla="*/ 1098097 w 1195280"/>
                <a:gd name="connsiteY2266" fmla="*/ 432932 h 972482"/>
                <a:gd name="connsiteX2267" fmla="*/ 1098227 w 1195280"/>
                <a:gd name="connsiteY2267" fmla="*/ 432157 h 972482"/>
                <a:gd name="connsiteX2268" fmla="*/ 1098227 w 1195280"/>
                <a:gd name="connsiteY2268" fmla="*/ 429960 h 972482"/>
                <a:gd name="connsiteX2269" fmla="*/ 1097968 w 1195280"/>
                <a:gd name="connsiteY2269" fmla="*/ 428668 h 972482"/>
                <a:gd name="connsiteX2270" fmla="*/ 1097839 w 1195280"/>
                <a:gd name="connsiteY2270" fmla="*/ 428151 h 972482"/>
                <a:gd name="connsiteX2271" fmla="*/ 1097580 w 1195280"/>
                <a:gd name="connsiteY2271" fmla="*/ 427634 h 972482"/>
                <a:gd name="connsiteX2272" fmla="*/ 1097193 w 1195280"/>
                <a:gd name="connsiteY2272" fmla="*/ 427117 h 972482"/>
                <a:gd name="connsiteX2273" fmla="*/ 1082848 w 1195280"/>
                <a:gd name="connsiteY2273" fmla="*/ 413418 h 972482"/>
                <a:gd name="connsiteX2274" fmla="*/ 1082460 w 1195280"/>
                <a:gd name="connsiteY2274" fmla="*/ 412901 h 972482"/>
                <a:gd name="connsiteX2275" fmla="*/ 1082331 w 1195280"/>
                <a:gd name="connsiteY2275" fmla="*/ 412384 h 972482"/>
                <a:gd name="connsiteX2276" fmla="*/ 1082460 w 1195280"/>
                <a:gd name="connsiteY2276" fmla="*/ 411221 h 972482"/>
                <a:gd name="connsiteX2277" fmla="*/ 1082848 w 1195280"/>
                <a:gd name="connsiteY2277" fmla="*/ 410833 h 972482"/>
                <a:gd name="connsiteX2278" fmla="*/ 1083494 w 1195280"/>
                <a:gd name="connsiteY2278" fmla="*/ 410833 h 972482"/>
                <a:gd name="connsiteX2279" fmla="*/ 1083882 w 1195280"/>
                <a:gd name="connsiteY2279" fmla="*/ 411092 h 972482"/>
                <a:gd name="connsiteX2280" fmla="*/ 1085174 w 1195280"/>
                <a:gd name="connsiteY2280" fmla="*/ 412255 h 972482"/>
                <a:gd name="connsiteX2281" fmla="*/ 1085562 w 1195280"/>
                <a:gd name="connsiteY2281" fmla="*/ 412513 h 972482"/>
                <a:gd name="connsiteX2282" fmla="*/ 1086208 w 1195280"/>
                <a:gd name="connsiteY2282" fmla="*/ 412772 h 972482"/>
                <a:gd name="connsiteX2283" fmla="*/ 1086854 w 1195280"/>
                <a:gd name="connsiteY2283" fmla="*/ 412901 h 972482"/>
                <a:gd name="connsiteX2284" fmla="*/ 1087500 w 1195280"/>
                <a:gd name="connsiteY2284" fmla="*/ 412901 h 972482"/>
                <a:gd name="connsiteX2285" fmla="*/ 1088922 w 1195280"/>
                <a:gd name="connsiteY2285" fmla="*/ 412643 h 972482"/>
                <a:gd name="connsiteX2286" fmla="*/ 1090731 w 1195280"/>
                <a:gd name="connsiteY2286" fmla="*/ 412126 h 972482"/>
                <a:gd name="connsiteX2287" fmla="*/ 1091248 w 1195280"/>
                <a:gd name="connsiteY2287" fmla="*/ 411996 h 972482"/>
                <a:gd name="connsiteX2288" fmla="*/ 1091894 w 1195280"/>
                <a:gd name="connsiteY2288" fmla="*/ 411996 h 972482"/>
                <a:gd name="connsiteX2289" fmla="*/ 1092540 w 1195280"/>
                <a:gd name="connsiteY2289" fmla="*/ 412255 h 972482"/>
                <a:gd name="connsiteX2290" fmla="*/ 1093057 w 1195280"/>
                <a:gd name="connsiteY2290" fmla="*/ 412513 h 972482"/>
                <a:gd name="connsiteX2291" fmla="*/ 1093833 w 1195280"/>
                <a:gd name="connsiteY2291" fmla="*/ 413160 h 972482"/>
                <a:gd name="connsiteX2292" fmla="*/ 1094479 w 1195280"/>
                <a:gd name="connsiteY2292" fmla="*/ 413418 h 972482"/>
                <a:gd name="connsiteX2293" fmla="*/ 1094996 w 1195280"/>
                <a:gd name="connsiteY2293" fmla="*/ 413676 h 972482"/>
                <a:gd name="connsiteX2294" fmla="*/ 1095642 w 1195280"/>
                <a:gd name="connsiteY2294" fmla="*/ 413676 h 972482"/>
                <a:gd name="connsiteX2295" fmla="*/ 1096159 w 1195280"/>
                <a:gd name="connsiteY2295" fmla="*/ 413547 h 972482"/>
                <a:gd name="connsiteX2296" fmla="*/ 1097580 w 1195280"/>
                <a:gd name="connsiteY2296" fmla="*/ 412643 h 972482"/>
                <a:gd name="connsiteX2297" fmla="*/ 1099260 w 1195280"/>
                <a:gd name="connsiteY2297" fmla="*/ 412126 h 972482"/>
                <a:gd name="connsiteX2298" fmla="*/ 1100811 w 1195280"/>
                <a:gd name="connsiteY2298" fmla="*/ 411092 h 972482"/>
                <a:gd name="connsiteX2299" fmla="*/ 1101845 w 1195280"/>
                <a:gd name="connsiteY2299" fmla="*/ 410575 h 972482"/>
                <a:gd name="connsiteX2300" fmla="*/ 1102621 w 1195280"/>
                <a:gd name="connsiteY2300" fmla="*/ 410446 h 972482"/>
                <a:gd name="connsiteX2301" fmla="*/ 1103267 w 1195280"/>
                <a:gd name="connsiteY2301" fmla="*/ 410446 h 972482"/>
                <a:gd name="connsiteX2302" fmla="*/ 1106369 w 1195280"/>
                <a:gd name="connsiteY2302" fmla="*/ 411350 h 972482"/>
                <a:gd name="connsiteX2303" fmla="*/ 1107661 w 1195280"/>
                <a:gd name="connsiteY2303" fmla="*/ 411609 h 972482"/>
                <a:gd name="connsiteX2304" fmla="*/ 1109082 w 1195280"/>
                <a:gd name="connsiteY2304" fmla="*/ 411738 h 972482"/>
                <a:gd name="connsiteX2305" fmla="*/ 1110375 w 1195280"/>
                <a:gd name="connsiteY2305" fmla="*/ 411350 h 972482"/>
                <a:gd name="connsiteX2306" fmla="*/ 1112054 w 1195280"/>
                <a:gd name="connsiteY2306" fmla="*/ 410575 h 972482"/>
                <a:gd name="connsiteX2307" fmla="*/ 1116836 w 1195280"/>
                <a:gd name="connsiteY2307" fmla="*/ 407473 h 972482"/>
                <a:gd name="connsiteX2308" fmla="*/ 1117999 w 1195280"/>
                <a:gd name="connsiteY2308" fmla="*/ 406956 h 972482"/>
                <a:gd name="connsiteX2309" fmla="*/ 1119292 w 1195280"/>
                <a:gd name="connsiteY2309" fmla="*/ 406698 h 972482"/>
                <a:gd name="connsiteX2310" fmla="*/ 1123427 w 1195280"/>
                <a:gd name="connsiteY2310" fmla="*/ 405405 h 972482"/>
                <a:gd name="connsiteX2311" fmla="*/ 1124073 w 1195280"/>
                <a:gd name="connsiteY2311" fmla="*/ 405405 h 972482"/>
                <a:gd name="connsiteX2312" fmla="*/ 1124719 w 1195280"/>
                <a:gd name="connsiteY2312" fmla="*/ 405405 h 972482"/>
                <a:gd name="connsiteX2313" fmla="*/ 1125366 w 1195280"/>
                <a:gd name="connsiteY2313" fmla="*/ 405664 h 972482"/>
                <a:gd name="connsiteX2314" fmla="*/ 1125883 w 1195280"/>
                <a:gd name="connsiteY2314" fmla="*/ 405923 h 972482"/>
                <a:gd name="connsiteX2315" fmla="*/ 1127821 w 1195280"/>
                <a:gd name="connsiteY2315" fmla="*/ 407861 h 972482"/>
                <a:gd name="connsiteX2316" fmla="*/ 1128726 w 1195280"/>
                <a:gd name="connsiteY2316" fmla="*/ 408378 h 972482"/>
                <a:gd name="connsiteX2317" fmla="*/ 1129243 w 1195280"/>
                <a:gd name="connsiteY2317" fmla="*/ 408636 h 972482"/>
                <a:gd name="connsiteX2318" fmla="*/ 1129760 w 1195280"/>
                <a:gd name="connsiteY2318" fmla="*/ 408765 h 972482"/>
                <a:gd name="connsiteX2319" fmla="*/ 1130535 w 1195280"/>
                <a:gd name="connsiteY2319" fmla="*/ 408765 h 972482"/>
                <a:gd name="connsiteX2320" fmla="*/ 1131310 w 1195280"/>
                <a:gd name="connsiteY2320" fmla="*/ 408636 h 972482"/>
                <a:gd name="connsiteX2321" fmla="*/ 1131828 w 1195280"/>
                <a:gd name="connsiteY2321" fmla="*/ 408249 h 972482"/>
                <a:gd name="connsiteX2322" fmla="*/ 1132215 w 1195280"/>
                <a:gd name="connsiteY2322" fmla="*/ 407732 h 972482"/>
                <a:gd name="connsiteX2323" fmla="*/ 1132215 w 1195280"/>
                <a:gd name="connsiteY2323" fmla="*/ 407086 h 972482"/>
                <a:gd name="connsiteX2324" fmla="*/ 1131828 w 1195280"/>
                <a:gd name="connsiteY2324" fmla="*/ 405147 h 972482"/>
                <a:gd name="connsiteX2325" fmla="*/ 1131828 w 1195280"/>
                <a:gd name="connsiteY2325" fmla="*/ 404501 h 972482"/>
                <a:gd name="connsiteX2326" fmla="*/ 1132086 w 1195280"/>
                <a:gd name="connsiteY2326" fmla="*/ 403725 h 972482"/>
                <a:gd name="connsiteX2327" fmla="*/ 1132603 w 1195280"/>
                <a:gd name="connsiteY2327" fmla="*/ 402821 h 972482"/>
                <a:gd name="connsiteX2328" fmla="*/ 1133120 w 1195280"/>
                <a:gd name="connsiteY2328" fmla="*/ 402562 h 972482"/>
                <a:gd name="connsiteX2329" fmla="*/ 1133637 w 1195280"/>
                <a:gd name="connsiteY2329" fmla="*/ 402692 h 972482"/>
                <a:gd name="connsiteX2330" fmla="*/ 1133895 w 1195280"/>
                <a:gd name="connsiteY2330" fmla="*/ 403209 h 972482"/>
                <a:gd name="connsiteX2331" fmla="*/ 1134412 w 1195280"/>
                <a:gd name="connsiteY2331" fmla="*/ 404372 h 972482"/>
                <a:gd name="connsiteX2332" fmla="*/ 1134670 w 1195280"/>
                <a:gd name="connsiteY2332" fmla="*/ 404759 h 972482"/>
                <a:gd name="connsiteX2333" fmla="*/ 1135058 w 1195280"/>
                <a:gd name="connsiteY2333" fmla="*/ 405147 h 972482"/>
                <a:gd name="connsiteX2334" fmla="*/ 1135704 w 1195280"/>
                <a:gd name="connsiteY2334" fmla="*/ 405276 h 972482"/>
                <a:gd name="connsiteX2335" fmla="*/ 1140615 w 1195280"/>
                <a:gd name="connsiteY2335" fmla="*/ 406698 h 972482"/>
                <a:gd name="connsiteX2336" fmla="*/ 1141132 w 1195280"/>
                <a:gd name="connsiteY2336" fmla="*/ 406956 h 972482"/>
                <a:gd name="connsiteX2337" fmla="*/ 1142037 w 1195280"/>
                <a:gd name="connsiteY2337" fmla="*/ 407602 h 972482"/>
                <a:gd name="connsiteX2338" fmla="*/ 1142554 w 1195280"/>
                <a:gd name="connsiteY2338" fmla="*/ 407861 h 972482"/>
                <a:gd name="connsiteX2339" fmla="*/ 1144363 w 1195280"/>
                <a:gd name="connsiteY2339" fmla="*/ 407861 h 972482"/>
                <a:gd name="connsiteX2340" fmla="*/ 1145009 w 1195280"/>
                <a:gd name="connsiteY2340" fmla="*/ 407990 h 972482"/>
                <a:gd name="connsiteX2341" fmla="*/ 1145397 w 1195280"/>
                <a:gd name="connsiteY2341" fmla="*/ 408378 h 972482"/>
                <a:gd name="connsiteX2342" fmla="*/ 1145785 w 1195280"/>
                <a:gd name="connsiteY2342" fmla="*/ 408765 h 972482"/>
                <a:gd name="connsiteX2343" fmla="*/ 1146043 w 1195280"/>
                <a:gd name="connsiteY2343" fmla="*/ 409153 h 972482"/>
                <a:gd name="connsiteX2344" fmla="*/ 1146948 w 1195280"/>
                <a:gd name="connsiteY2344" fmla="*/ 409929 h 972482"/>
                <a:gd name="connsiteX2345" fmla="*/ 1147335 w 1195280"/>
                <a:gd name="connsiteY2345" fmla="*/ 410187 h 972482"/>
                <a:gd name="connsiteX2346" fmla="*/ 1147982 w 1195280"/>
                <a:gd name="connsiteY2346" fmla="*/ 410446 h 972482"/>
                <a:gd name="connsiteX2347" fmla="*/ 1148628 w 1195280"/>
                <a:gd name="connsiteY2347" fmla="*/ 410446 h 972482"/>
                <a:gd name="connsiteX2348" fmla="*/ 1149403 w 1195280"/>
                <a:gd name="connsiteY2348" fmla="*/ 410446 h 972482"/>
                <a:gd name="connsiteX2349" fmla="*/ 1150696 w 1195280"/>
                <a:gd name="connsiteY2349" fmla="*/ 410316 h 972482"/>
                <a:gd name="connsiteX2350" fmla="*/ 1151342 w 1195280"/>
                <a:gd name="connsiteY2350" fmla="*/ 410316 h 972482"/>
                <a:gd name="connsiteX2351" fmla="*/ 1151988 w 1195280"/>
                <a:gd name="connsiteY2351" fmla="*/ 410446 h 972482"/>
                <a:gd name="connsiteX2352" fmla="*/ 1152505 w 1195280"/>
                <a:gd name="connsiteY2352" fmla="*/ 410833 h 972482"/>
                <a:gd name="connsiteX2353" fmla="*/ 1152892 w 1195280"/>
                <a:gd name="connsiteY2353" fmla="*/ 411092 h 972482"/>
                <a:gd name="connsiteX2354" fmla="*/ 1153280 w 1195280"/>
                <a:gd name="connsiteY2354" fmla="*/ 411479 h 972482"/>
                <a:gd name="connsiteX2355" fmla="*/ 1154185 w 1195280"/>
                <a:gd name="connsiteY2355" fmla="*/ 412255 h 972482"/>
                <a:gd name="connsiteX2356" fmla="*/ 1154702 w 1195280"/>
                <a:gd name="connsiteY2356" fmla="*/ 412513 h 972482"/>
                <a:gd name="connsiteX2357" fmla="*/ 1155219 w 1195280"/>
                <a:gd name="connsiteY2357" fmla="*/ 412772 h 972482"/>
                <a:gd name="connsiteX2358" fmla="*/ 1157157 w 1195280"/>
                <a:gd name="connsiteY2358" fmla="*/ 413547 h 972482"/>
                <a:gd name="connsiteX2359" fmla="*/ 1158191 w 1195280"/>
                <a:gd name="connsiteY2359" fmla="*/ 414193 h 972482"/>
                <a:gd name="connsiteX2360" fmla="*/ 1156123 w 1195280"/>
                <a:gd name="connsiteY2360" fmla="*/ 409412 h 972482"/>
                <a:gd name="connsiteX2361" fmla="*/ 1155865 w 1195280"/>
                <a:gd name="connsiteY2361" fmla="*/ 407344 h 972482"/>
                <a:gd name="connsiteX2362" fmla="*/ 1155994 w 1195280"/>
                <a:gd name="connsiteY2362" fmla="*/ 406827 h 972482"/>
                <a:gd name="connsiteX2363" fmla="*/ 1156511 w 1195280"/>
                <a:gd name="connsiteY2363" fmla="*/ 405793 h 972482"/>
                <a:gd name="connsiteX2364" fmla="*/ 1157157 w 1195280"/>
                <a:gd name="connsiteY2364" fmla="*/ 404759 h 972482"/>
                <a:gd name="connsiteX2365" fmla="*/ 1158837 w 1195280"/>
                <a:gd name="connsiteY2365" fmla="*/ 402692 h 972482"/>
                <a:gd name="connsiteX2366" fmla="*/ 1159354 w 1195280"/>
                <a:gd name="connsiteY2366" fmla="*/ 401787 h 972482"/>
                <a:gd name="connsiteX2367" fmla="*/ 1159742 w 1195280"/>
                <a:gd name="connsiteY2367" fmla="*/ 400753 h 972482"/>
                <a:gd name="connsiteX2368" fmla="*/ 1160388 w 1195280"/>
                <a:gd name="connsiteY2368" fmla="*/ 398427 h 972482"/>
                <a:gd name="connsiteX2369" fmla="*/ 1160517 w 1195280"/>
                <a:gd name="connsiteY2369" fmla="*/ 397264 h 972482"/>
                <a:gd name="connsiteX2370" fmla="*/ 1160517 w 1195280"/>
                <a:gd name="connsiteY2370" fmla="*/ 396230 h 972482"/>
                <a:gd name="connsiteX2371" fmla="*/ 1160388 w 1195280"/>
                <a:gd name="connsiteY2371" fmla="*/ 395454 h 972482"/>
                <a:gd name="connsiteX2372" fmla="*/ 1159613 w 1195280"/>
                <a:gd name="connsiteY2372" fmla="*/ 393257 h 972482"/>
                <a:gd name="connsiteX2373" fmla="*/ 1158191 w 1195280"/>
                <a:gd name="connsiteY2373" fmla="*/ 390414 h 972482"/>
                <a:gd name="connsiteX2374" fmla="*/ 1155735 w 1195280"/>
                <a:gd name="connsiteY2374" fmla="*/ 387830 h 972482"/>
                <a:gd name="connsiteX2375" fmla="*/ 1154314 w 1195280"/>
                <a:gd name="connsiteY2375" fmla="*/ 386925 h 972482"/>
                <a:gd name="connsiteX2376" fmla="*/ 1150049 w 1195280"/>
                <a:gd name="connsiteY2376" fmla="*/ 384987 h 972482"/>
                <a:gd name="connsiteX2377" fmla="*/ 1149015 w 1195280"/>
                <a:gd name="connsiteY2377" fmla="*/ 384211 h 972482"/>
                <a:gd name="connsiteX2378" fmla="*/ 1148369 w 1195280"/>
                <a:gd name="connsiteY2378" fmla="*/ 383565 h 972482"/>
                <a:gd name="connsiteX2379" fmla="*/ 1147982 w 1195280"/>
                <a:gd name="connsiteY2379" fmla="*/ 382143 h 972482"/>
                <a:gd name="connsiteX2380" fmla="*/ 1147594 w 1195280"/>
                <a:gd name="connsiteY2380" fmla="*/ 381239 h 972482"/>
                <a:gd name="connsiteX2381" fmla="*/ 1146689 w 1195280"/>
                <a:gd name="connsiteY2381" fmla="*/ 379946 h 972482"/>
                <a:gd name="connsiteX2382" fmla="*/ 1146043 w 1195280"/>
                <a:gd name="connsiteY2382" fmla="*/ 379300 h 972482"/>
                <a:gd name="connsiteX2383" fmla="*/ 1145526 w 1195280"/>
                <a:gd name="connsiteY2383" fmla="*/ 378783 h 972482"/>
                <a:gd name="connsiteX2384" fmla="*/ 1141132 w 1195280"/>
                <a:gd name="connsiteY2384" fmla="*/ 376069 h 972482"/>
                <a:gd name="connsiteX2385" fmla="*/ 1140098 w 1195280"/>
                <a:gd name="connsiteY2385" fmla="*/ 375294 h 972482"/>
                <a:gd name="connsiteX2386" fmla="*/ 1139581 w 1195280"/>
                <a:gd name="connsiteY2386" fmla="*/ 374648 h 972482"/>
                <a:gd name="connsiteX2387" fmla="*/ 1139065 w 1195280"/>
                <a:gd name="connsiteY2387" fmla="*/ 373614 h 972482"/>
                <a:gd name="connsiteX2388" fmla="*/ 1138160 w 1195280"/>
                <a:gd name="connsiteY2388" fmla="*/ 369866 h 972482"/>
                <a:gd name="connsiteX2389" fmla="*/ 1137384 w 1195280"/>
                <a:gd name="connsiteY2389" fmla="*/ 368445 h 972482"/>
                <a:gd name="connsiteX2390" fmla="*/ 1136867 w 1195280"/>
                <a:gd name="connsiteY2390" fmla="*/ 367798 h 972482"/>
                <a:gd name="connsiteX2391" fmla="*/ 1136221 w 1195280"/>
                <a:gd name="connsiteY2391" fmla="*/ 367282 h 972482"/>
                <a:gd name="connsiteX2392" fmla="*/ 1134929 w 1195280"/>
                <a:gd name="connsiteY2392" fmla="*/ 367023 h 972482"/>
                <a:gd name="connsiteX2393" fmla="*/ 1133507 w 1195280"/>
                <a:gd name="connsiteY2393" fmla="*/ 367023 h 972482"/>
                <a:gd name="connsiteX2394" fmla="*/ 1132215 w 1195280"/>
                <a:gd name="connsiteY2394" fmla="*/ 367282 h 972482"/>
                <a:gd name="connsiteX2395" fmla="*/ 1131569 w 1195280"/>
                <a:gd name="connsiteY2395" fmla="*/ 367411 h 972482"/>
                <a:gd name="connsiteX2396" fmla="*/ 1130923 w 1195280"/>
                <a:gd name="connsiteY2396" fmla="*/ 367540 h 972482"/>
                <a:gd name="connsiteX2397" fmla="*/ 1130018 w 1195280"/>
                <a:gd name="connsiteY2397" fmla="*/ 367669 h 972482"/>
                <a:gd name="connsiteX2398" fmla="*/ 1128726 w 1195280"/>
                <a:gd name="connsiteY2398" fmla="*/ 367282 h 972482"/>
                <a:gd name="connsiteX2399" fmla="*/ 1128209 w 1195280"/>
                <a:gd name="connsiteY2399" fmla="*/ 366765 h 972482"/>
                <a:gd name="connsiteX2400" fmla="*/ 1127821 w 1195280"/>
                <a:gd name="connsiteY2400" fmla="*/ 366248 h 972482"/>
                <a:gd name="connsiteX2401" fmla="*/ 1127304 w 1195280"/>
                <a:gd name="connsiteY2401" fmla="*/ 363663 h 972482"/>
                <a:gd name="connsiteX2402" fmla="*/ 1127304 w 1195280"/>
                <a:gd name="connsiteY2402" fmla="*/ 362888 h 972482"/>
                <a:gd name="connsiteX2403" fmla="*/ 1127433 w 1195280"/>
                <a:gd name="connsiteY2403" fmla="*/ 361595 h 972482"/>
                <a:gd name="connsiteX2404" fmla="*/ 1127563 w 1195280"/>
                <a:gd name="connsiteY2404" fmla="*/ 360820 h 972482"/>
                <a:gd name="connsiteX2405" fmla="*/ 1129113 w 1195280"/>
                <a:gd name="connsiteY2405" fmla="*/ 356943 h 972482"/>
                <a:gd name="connsiteX2406" fmla="*/ 1129113 w 1195280"/>
                <a:gd name="connsiteY2406" fmla="*/ 356297 h 972482"/>
                <a:gd name="connsiteX2407" fmla="*/ 1129113 w 1195280"/>
                <a:gd name="connsiteY2407" fmla="*/ 355392 h 972482"/>
                <a:gd name="connsiteX2408" fmla="*/ 1128855 w 1195280"/>
                <a:gd name="connsiteY2408" fmla="*/ 354358 h 972482"/>
                <a:gd name="connsiteX2409" fmla="*/ 1128209 w 1195280"/>
                <a:gd name="connsiteY2409" fmla="*/ 352808 h 972482"/>
                <a:gd name="connsiteX2410" fmla="*/ 1127692 w 1195280"/>
                <a:gd name="connsiteY2410" fmla="*/ 352161 h 972482"/>
                <a:gd name="connsiteX2411" fmla="*/ 1127175 w 1195280"/>
                <a:gd name="connsiteY2411" fmla="*/ 351774 h 972482"/>
                <a:gd name="connsiteX2412" fmla="*/ 1126787 w 1195280"/>
                <a:gd name="connsiteY2412" fmla="*/ 351774 h 972482"/>
                <a:gd name="connsiteX2413" fmla="*/ 1126400 w 1195280"/>
                <a:gd name="connsiteY2413" fmla="*/ 351903 h 972482"/>
                <a:gd name="connsiteX2414" fmla="*/ 1125883 w 1195280"/>
                <a:gd name="connsiteY2414" fmla="*/ 352161 h 972482"/>
                <a:gd name="connsiteX2415" fmla="*/ 1125107 w 1195280"/>
                <a:gd name="connsiteY2415" fmla="*/ 352808 h 972482"/>
                <a:gd name="connsiteX2416" fmla="*/ 1124590 w 1195280"/>
                <a:gd name="connsiteY2416" fmla="*/ 353066 h 972482"/>
                <a:gd name="connsiteX2417" fmla="*/ 1123944 w 1195280"/>
                <a:gd name="connsiteY2417" fmla="*/ 353066 h 972482"/>
                <a:gd name="connsiteX2418" fmla="*/ 1123298 w 1195280"/>
                <a:gd name="connsiteY2418" fmla="*/ 352808 h 972482"/>
                <a:gd name="connsiteX2419" fmla="*/ 1122910 w 1195280"/>
                <a:gd name="connsiteY2419" fmla="*/ 352420 h 972482"/>
                <a:gd name="connsiteX2420" fmla="*/ 1122781 w 1195280"/>
                <a:gd name="connsiteY2420" fmla="*/ 351774 h 972482"/>
                <a:gd name="connsiteX2421" fmla="*/ 1122910 w 1195280"/>
                <a:gd name="connsiteY2421" fmla="*/ 351127 h 972482"/>
                <a:gd name="connsiteX2422" fmla="*/ 1123169 w 1195280"/>
                <a:gd name="connsiteY2422" fmla="*/ 350610 h 972482"/>
                <a:gd name="connsiteX2423" fmla="*/ 1123427 w 1195280"/>
                <a:gd name="connsiteY2423" fmla="*/ 350094 h 972482"/>
                <a:gd name="connsiteX2424" fmla="*/ 1124978 w 1195280"/>
                <a:gd name="connsiteY2424" fmla="*/ 347897 h 972482"/>
                <a:gd name="connsiteX2425" fmla="*/ 1125236 w 1195280"/>
                <a:gd name="connsiteY2425" fmla="*/ 347250 h 972482"/>
                <a:gd name="connsiteX2426" fmla="*/ 1125366 w 1195280"/>
                <a:gd name="connsiteY2426" fmla="*/ 346604 h 972482"/>
                <a:gd name="connsiteX2427" fmla="*/ 1125107 w 1195280"/>
                <a:gd name="connsiteY2427" fmla="*/ 345700 h 972482"/>
                <a:gd name="connsiteX2428" fmla="*/ 1124590 w 1195280"/>
                <a:gd name="connsiteY2428" fmla="*/ 345312 h 972482"/>
                <a:gd name="connsiteX2429" fmla="*/ 1124073 w 1195280"/>
                <a:gd name="connsiteY2429" fmla="*/ 345312 h 972482"/>
                <a:gd name="connsiteX2430" fmla="*/ 1123039 w 1195280"/>
                <a:gd name="connsiteY2430" fmla="*/ 345958 h 972482"/>
                <a:gd name="connsiteX2431" fmla="*/ 1122523 w 1195280"/>
                <a:gd name="connsiteY2431" fmla="*/ 346087 h 972482"/>
                <a:gd name="connsiteX2432" fmla="*/ 1121230 w 1195280"/>
                <a:gd name="connsiteY2432" fmla="*/ 346217 h 972482"/>
                <a:gd name="connsiteX2433" fmla="*/ 1120713 w 1195280"/>
                <a:gd name="connsiteY2433" fmla="*/ 346475 h 972482"/>
                <a:gd name="connsiteX2434" fmla="*/ 1120326 w 1195280"/>
                <a:gd name="connsiteY2434" fmla="*/ 346992 h 972482"/>
                <a:gd name="connsiteX2435" fmla="*/ 1120067 w 1195280"/>
                <a:gd name="connsiteY2435" fmla="*/ 347380 h 972482"/>
                <a:gd name="connsiteX2436" fmla="*/ 1119292 w 1195280"/>
                <a:gd name="connsiteY2436" fmla="*/ 349706 h 972482"/>
                <a:gd name="connsiteX2437" fmla="*/ 1119033 w 1195280"/>
                <a:gd name="connsiteY2437" fmla="*/ 350223 h 972482"/>
                <a:gd name="connsiteX2438" fmla="*/ 1118645 w 1195280"/>
                <a:gd name="connsiteY2438" fmla="*/ 350610 h 972482"/>
                <a:gd name="connsiteX2439" fmla="*/ 1117999 w 1195280"/>
                <a:gd name="connsiteY2439" fmla="*/ 350869 h 972482"/>
                <a:gd name="connsiteX2440" fmla="*/ 1117224 w 1195280"/>
                <a:gd name="connsiteY2440" fmla="*/ 350740 h 972482"/>
                <a:gd name="connsiteX2441" fmla="*/ 1115932 w 1195280"/>
                <a:gd name="connsiteY2441" fmla="*/ 350094 h 972482"/>
                <a:gd name="connsiteX2442" fmla="*/ 1115415 w 1195280"/>
                <a:gd name="connsiteY2442" fmla="*/ 349447 h 972482"/>
                <a:gd name="connsiteX2443" fmla="*/ 1115156 w 1195280"/>
                <a:gd name="connsiteY2443" fmla="*/ 348672 h 972482"/>
                <a:gd name="connsiteX2444" fmla="*/ 1115156 w 1195280"/>
                <a:gd name="connsiteY2444" fmla="*/ 348026 h 972482"/>
                <a:gd name="connsiteX2445" fmla="*/ 1115544 w 1195280"/>
                <a:gd name="connsiteY2445" fmla="*/ 345183 h 972482"/>
                <a:gd name="connsiteX2446" fmla="*/ 1115802 w 1195280"/>
                <a:gd name="connsiteY2446" fmla="*/ 340013 h 972482"/>
                <a:gd name="connsiteX2447" fmla="*/ 1116061 w 1195280"/>
                <a:gd name="connsiteY2447" fmla="*/ 338721 h 972482"/>
                <a:gd name="connsiteX2448" fmla="*/ 1116836 w 1195280"/>
                <a:gd name="connsiteY2448" fmla="*/ 337041 h 972482"/>
                <a:gd name="connsiteX2449" fmla="*/ 1117095 w 1195280"/>
                <a:gd name="connsiteY2449" fmla="*/ 336653 h 972482"/>
                <a:gd name="connsiteX2450" fmla="*/ 1117612 w 1195280"/>
                <a:gd name="connsiteY2450" fmla="*/ 336265 h 972482"/>
                <a:gd name="connsiteX2451" fmla="*/ 1119163 w 1195280"/>
                <a:gd name="connsiteY2451" fmla="*/ 335619 h 972482"/>
                <a:gd name="connsiteX2452" fmla="*/ 1119550 w 1195280"/>
                <a:gd name="connsiteY2452" fmla="*/ 335232 h 972482"/>
                <a:gd name="connsiteX2453" fmla="*/ 1119809 w 1195280"/>
                <a:gd name="connsiteY2453" fmla="*/ 334715 h 972482"/>
                <a:gd name="connsiteX2454" fmla="*/ 1120067 w 1195280"/>
                <a:gd name="connsiteY2454" fmla="*/ 334198 h 972482"/>
                <a:gd name="connsiteX2455" fmla="*/ 1120196 w 1195280"/>
                <a:gd name="connsiteY2455" fmla="*/ 333423 h 972482"/>
                <a:gd name="connsiteX2456" fmla="*/ 1120326 w 1195280"/>
                <a:gd name="connsiteY2456" fmla="*/ 332518 h 972482"/>
                <a:gd name="connsiteX2457" fmla="*/ 1120067 w 1195280"/>
                <a:gd name="connsiteY2457" fmla="*/ 329933 h 972482"/>
                <a:gd name="connsiteX2458" fmla="*/ 1119938 w 1195280"/>
                <a:gd name="connsiteY2458" fmla="*/ 329028 h 972482"/>
                <a:gd name="connsiteX2459" fmla="*/ 1120196 w 1195280"/>
                <a:gd name="connsiteY2459" fmla="*/ 327736 h 972482"/>
                <a:gd name="connsiteX2460" fmla="*/ 1120326 w 1195280"/>
                <a:gd name="connsiteY2460" fmla="*/ 327090 h 972482"/>
                <a:gd name="connsiteX2461" fmla="*/ 1120326 w 1195280"/>
                <a:gd name="connsiteY2461" fmla="*/ 326185 h 972482"/>
                <a:gd name="connsiteX2462" fmla="*/ 1120196 w 1195280"/>
                <a:gd name="connsiteY2462" fmla="*/ 324893 h 972482"/>
                <a:gd name="connsiteX2463" fmla="*/ 1118904 w 1195280"/>
                <a:gd name="connsiteY2463" fmla="*/ 319982 h 972482"/>
                <a:gd name="connsiteX2464" fmla="*/ 1119033 w 1195280"/>
                <a:gd name="connsiteY2464" fmla="*/ 318561 h 972482"/>
                <a:gd name="connsiteX2465" fmla="*/ 1119680 w 1195280"/>
                <a:gd name="connsiteY2465" fmla="*/ 316105 h 972482"/>
                <a:gd name="connsiteX2466" fmla="*/ 1121359 w 1195280"/>
                <a:gd name="connsiteY2466" fmla="*/ 311711 h 972482"/>
                <a:gd name="connsiteX2467" fmla="*/ 1124202 w 1195280"/>
                <a:gd name="connsiteY2467" fmla="*/ 297366 h 972482"/>
                <a:gd name="connsiteX2468" fmla="*/ 1124590 w 1195280"/>
                <a:gd name="connsiteY2468" fmla="*/ 296332 h 972482"/>
                <a:gd name="connsiteX2469" fmla="*/ 1124978 w 1195280"/>
                <a:gd name="connsiteY2469" fmla="*/ 295816 h 972482"/>
                <a:gd name="connsiteX2470" fmla="*/ 1125366 w 1195280"/>
                <a:gd name="connsiteY2470" fmla="*/ 295428 h 972482"/>
                <a:gd name="connsiteX2471" fmla="*/ 1127563 w 1195280"/>
                <a:gd name="connsiteY2471" fmla="*/ 293102 h 972482"/>
                <a:gd name="connsiteX2472" fmla="*/ 1127950 w 1195280"/>
                <a:gd name="connsiteY2472" fmla="*/ 292585 h 972482"/>
                <a:gd name="connsiteX2473" fmla="*/ 1128726 w 1195280"/>
                <a:gd name="connsiteY2473" fmla="*/ 291163 h 972482"/>
                <a:gd name="connsiteX2474" fmla="*/ 1128984 w 1195280"/>
                <a:gd name="connsiteY2474" fmla="*/ 290775 h 972482"/>
                <a:gd name="connsiteX2475" fmla="*/ 1129501 w 1195280"/>
                <a:gd name="connsiteY2475" fmla="*/ 290517 h 972482"/>
                <a:gd name="connsiteX2476" fmla="*/ 1130018 w 1195280"/>
                <a:gd name="connsiteY2476" fmla="*/ 290517 h 972482"/>
                <a:gd name="connsiteX2477" fmla="*/ 1132991 w 1195280"/>
                <a:gd name="connsiteY2477" fmla="*/ 291551 h 972482"/>
                <a:gd name="connsiteX2478" fmla="*/ 1136738 w 1195280"/>
                <a:gd name="connsiteY2478" fmla="*/ 292197 h 972482"/>
                <a:gd name="connsiteX2479" fmla="*/ 1144880 w 1195280"/>
                <a:gd name="connsiteY2479" fmla="*/ 292197 h 972482"/>
                <a:gd name="connsiteX2480" fmla="*/ 1147335 w 1195280"/>
                <a:gd name="connsiteY2480" fmla="*/ 291938 h 972482"/>
                <a:gd name="connsiteX2481" fmla="*/ 1148757 w 1195280"/>
                <a:gd name="connsiteY2481" fmla="*/ 291680 h 972482"/>
                <a:gd name="connsiteX2482" fmla="*/ 1149145 w 1195280"/>
                <a:gd name="connsiteY2482" fmla="*/ 291292 h 972482"/>
                <a:gd name="connsiteX2483" fmla="*/ 1149791 w 1195280"/>
                <a:gd name="connsiteY2483" fmla="*/ 290388 h 972482"/>
                <a:gd name="connsiteX2484" fmla="*/ 1150178 w 1195280"/>
                <a:gd name="connsiteY2484" fmla="*/ 290000 h 972482"/>
                <a:gd name="connsiteX2485" fmla="*/ 1150696 w 1195280"/>
                <a:gd name="connsiteY2485" fmla="*/ 289483 h 972482"/>
                <a:gd name="connsiteX2486" fmla="*/ 1151600 w 1195280"/>
                <a:gd name="connsiteY2486" fmla="*/ 288837 h 972482"/>
                <a:gd name="connsiteX2487" fmla="*/ 1153280 w 1195280"/>
                <a:gd name="connsiteY2487" fmla="*/ 287932 h 972482"/>
                <a:gd name="connsiteX2488" fmla="*/ 1153926 w 1195280"/>
                <a:gd name="connsiteY2488" fmla="*/ 287286 h 972482"/>
                <a:gd name="connsiteX2489" fmla="*/ 1154314 w 1195280"/>
                <a:gd name="connsiteY2489" fmla="*/ 286511 h 972482"/>
                <a:gd name="connsiteX2490" fmla="*/ 1154314 w 1195280"/>
                <a:gd name="connsiteY2490" fmla="*/ 285864 h 972482"/>
                <a:gd name="connsiteX2491" fmla="*/ 1154314 w 1195280"/>
                <a:gd name="connsiteY2491" fmla="*/ 285218 h 972482"/>
                <a:gd name="connsiteX2492" fmla="*/ 1153926 w 1195280"/>
                <a:gd name="connsiteY2492" fmla="*/ 283926 h 972482"/>
                <a:gd name="connsiteX2493" fmla="*/ 1153022 w 1195280"/>
                <a:gd name="connsiteY2493" fmla="*/ 281858 h 972482"/>
                <a:gd name="connsiteX2494" fmla="*/ 1152505 w 1195280"/>
                <a:gd name="connsiteY2494" fmla="*/ 280824 h 972482"/>
                <a:gd name="connsiteX2495" fmla="*/ 1150566 w 1195280"/>
                <a:gd name="connsiteY2495" fmla="*/ 278886 h 972482"/>
                <a:gd name="connsiteX2496" fmla="*/ 1150308 w 1195280"/>
                <a:gd name="connsiteY2496" fmla="*/ 278369 h 972482"/>
                <a:gd name="connsiteX2497" fmla="*/ 1150178 w 1195280"/>
                <a:gd name="connsiteY2497" fmla="*/ 277852 h 972482"/>
                <a:gd name="connsiteX2498" fmla="*/ 1150049 w 1195280"/>
                <a:gd name="connsiteY2498" fmla="*/ 277206 h 972482"/>
                <a:gd name="connsiteX2499" fmla="*/ 1150178 w 1195280"/>
                <a:gd name="connsiteY2499" fmla="*/ 276560 h 972482"/>
                <a:gd name="connsiteX2500" fmla="*/ 1151342 w 1195280"/>
                <a:gd name="connsiteY2500" fmla="*/ 269969 h 972482"/>
                <a:gd name="connsiteX2501" fmla="*/ 1151471 w 1195280"/>
                <a:gd name="connsiteY2501" fmla="*/ 265575 h 972482"/>
                <a:gd name="connsiteX2502" fmla="*/ 1151213 w 1195280"/>
                <a:gd name="connsiteY2502" fmla="*/ 262086 h 972482"/>
                <a:gd name="connsiteX2503" fmla="*/ 1151213 w 1195280"/>
                <a:gd name="connsiteY2503" fmla="*/ 261181 h 972482"/>
                <a:gd name="connsiteX2504" fmla="*/ 1151342 w 1195280"/>
                <a:gd name="connsiteY2504" fmla="*/ 260147 h 972482"/>
                <a:gd name="connsiteX2505" fmla="*/ 1151988 w 1195280"/>
                <a:gd name="connsiteY2505" fmla="*/ 258467 h 972482"/>
                <a:gd name="connsiteX2506" fmla="*/ 1152376 w 1195280"/>
                <a:gd name="connsiteY2506" fmla="*/ 257692 h 972482"/>
                <a:gd name="connsiteX2507" fmla="*/ 1152892 w 1195280"/>
                <a:gd name="connsiteY2507" fmla="*/ 257045 h 972482"/>
                <a:gd name="connsiteX2508" fmla="*/ 1153409 w 1195280"/>
                <a:gd name="connsiteY2508" fmla="*/ 256787 h 972482"/>
                <a:gd name="connsiteX2509" fmla="*/ 1159354 w 1195280"/>
                <a:gd name="connsiteY2509" fmla="*/ 254461 h 972482"/>
                <a:gd name="connsiteX2510" fmla="*/ 1160776 w 1195280"/>
                <a:gd name="connsiteY2510" fmla="*/ 254331 h 972482"/>
                <a:gd name="connsiteX2511" fmla="*/ 1161939 w 1195280"/>
                <a:gd name="connsiteY2511" fmla="*/ 254590 h 972482"/>
                <a:gd name="connsiteX2512" fmla="*/ 1163102 w 1195280"/>
                <a:gd name="connsiteY2512" fmla="*/ 255107 h 972482"/>
                <a:gd name="connsiteX2513" fmla="*/ 1163748 w 1195280"/>
                <a:gd name="connsiteY2513" fmla="*/ 255236 h 972482"/>
                <a:gd name="connsiteX2514" fmla="*/ 1164394 w 1195280"/>
                <a:gd name="connsiteY2514" fmla="*/ 255107 h 972482"/>
                <a:gd name="connsiteX2515" fmla="*/ 1165299 w 1195280"/>
                <a:gd name="connsiteY2515" fmla="*/ 254849 h 972482"/>
                <a:gd name="connsiteX2516" fmla="*/ 1165687 w 1195280"/>
                <a:gd name="connsiteY2516" fmla="*/ 254461 h 972482"/>
                <a:gd name="connsiteX2517" fmla="*/ 1165945 w 1195280"/>
                <a:gd name="connsiteY2517" fmla="*/ 253815 h 972482"/>
                <a:gd name="connsiteX2518" fmla="*/ 1165945 w 1195280"/>
                <a:gd name="connsiteY2518" fmla="*/ 253168 h 972482"/>
                <a:gd name="connsiteX2519" fmla="*/ 1165816 w 1195280"/>
                <a:gd name="connsiteY2519" fmla="*/ 252522 h 972482"/>
                <a:gd name="connsiteX2520" fmla="*/ 1165428 w 1195280"/>
                <a:gd name="connsiteY2520" fmla="*/ 251488 h 972482"/>
                <a:gd name="connsiteX2521" fmla="*/ 1166074 w 1195280"/>
                <a:gd name="connsiteY2521" fmla="*/ 249808 h 972482"/>
                <a:gd name="connsiteX2522" fmla="*/ 1174216 w 1195280"/>
                <a:gd name="connsiteY2522" fmla="*/ 237919 h 972482"/>
                <a:gd name="connsiteX2523" fmla="*/ 1181970 w 1195280"/>
                <a:gd name="connsiteY2523" fmla="*/ 233267 h 972482"/>
                <a:gd name="connsiteX2524" fmla="*/ 1183650 w 1195280"/>
                <a:gd name="connsiteY2524" fmla="*/ 231974 h 972482"/>
                <a:gd name="connsiteX2525" fmla="*/ 1186105 w 1195280"/>
                <a:gd name="connsiteY2525" fmla="*/ 229519 h 972482"/>
                <a:gd name="connsiteX2526" fmla="*/ 1186752 w 1195280"/>
                <a:gd name="connsiteY2526" fmla="*/ 228872 h 972482"/>
                <a:gd name="connsiteX2527" fmla="*/ 1187915 w 1195280"/>
                <a:gd name="connsiteY2527" fmla="*/ 226934 h 972482"/>
                <a:gd name="connsiteX2528" fmla="*/ 1189078 w 1195280"/>
                <a:gd name="connsiteY2528" fmla="*/ 224220 h 972482"/>
                <a:gd name="connsiteX2529" fmla="*/ 1189336 w 1195280"/>
                <a:gd name="connsiteY2529" fmla="*/ 222798 h 972482"/>
                <a:gd name="connsiteX2530" fmla="*/ 1189336 w 1195280"/>
                <a:gd name="connsiteY2530" fmla="*/ 221119 h 972482"/>
                <a:gd name="connsiteX2531" fmla="*/ 1189595 w 1195280"/>
                <a:gd name="connsiteY2531" fmla="*/ 218146 h 972482"/>
                <a:gd name="connsiteX2532" fmla="*/ 1190112 w 1195280"/>
                <a:gd name="connsiteY2532" fmla="*/ 216337 h 972482"/>
                <a:gd name="connsiteX2533" fmla="*/ 1191662 w 1195280"/>
                <a:gd name="connsiteY2533" fmla="*/ 212977 h 972482"/>
                <a:gd name="connsiteX2534" fmla="*/ 1192309 w 1195280"/>
                <a:gd name="connsiteY2534" fmla="*/ 211943 h 972482"/>
                <a:gd name="connsiteX2535" fmla="*/ 1192825 w 1195280"/>
                <a:gd name="connsiteY2535" fmla="*/ 211297 h 972482"/>
                <a:gd name="connsiteX2536" fmla="*/ 1194118 w 1195280"/>
                <a:gd name="connsiteY2536" fmla="*/ 210909 h 972482"/>
                <a:gd name="connsiteX2537" fmla="*/ 1194893 w 1195280"/>
                <a:gd name="connsiteY2537" fmla="*/ 210392 h 972482"/>
                <a:gd name="connsiteX2538" fmla="*/ 1195281 w 1195280"/>
                <a:gd name="connsiteY2538" fmla="*/ 209100 h 972482"/>
                <a:gd name="connsiteX2539" fmla="*/ 1195281 w 1195280"/>
                <a:gd name="connsiteY2539" fmla="*/ 208324 h 97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Lst>
              <a:rect l="l" t="t" r="r" b="b"/>
              <a:pathLst>
                <a:path w="1195280" h="972482">
                  <a:moveTo>
                    <a:pt x="1195152" y="207549"/>
                  </a:moveTo>
                  <a:lnTo>
                    <a:pt x="1194764" y="206386"/>
                  </a:lnTo>
                  <a:lnTo>
                    <a:pt x="1193730" y="204447"/>
                  </a:lnTo>
                  <a:lnTo>
                    <a:pt x="1193342" y="203930"/>
                  </a:lnTo>
                  <a:lnTo>
                    <a:pt x="1192955" y="202380"/>
                  </a:lnTo>
                  <a:lnTo>
                    <a:pt x="1192696" y="201734"/>
                  </a:lnTo>
                  <a:lnTo>
                    <a:pt x="1192438" y="201216"/>
                  </a:lnTo>
                  <a:lnTo>
                    <a:pt x="1192179" y="200700"/>
                  </a:lnTo>
                  <a:lnTo>
                    <a:pt x="1190370" y="199407"/>
                  </a:lnTo>
                  <a:lnTo>
                    <a:pt x="1189724" y="198632"/>
                  </a:lnTo>
                  <a:lnTo>
                    <a:pt x="1188819" y="197210"/>
                  </a:lnTo>
                  <a:lnTo>
                    <a:pt x="1188303" y="195918"/>
                  </a:lnTo>
                  <a:lnTo>
                    <a:pt x="1188044" y="195272"/>
                  </a:lnTo>
                  <a:lnTo>
                    <a:pt x="1187398" y="194238"/>
                  </a:lnTo>
                  <a:lnTo>
                    <a:pt x="1184942" y="193463"/>
                  </a:lnTo>
                  <a:lnTo>
                    <a:pt x="1183133" y="193592"/>
                  </a:lnTo>
                  <a:lnTo>
                    <a:pt x="1181970" y="193850"/>
                  </a:lnTo>
                  <a:lnTo>
                    <a:pt x="1181194" y="193850"/>
                  </a:lnTo>
                  <a:lnTo>
                    <a:pt x="1180678" y="193721"/>
                  </a:lnTo>
                  <a:lnTo>
                    <a:pt x="1179902" y="193463"/>
                  </a:lnTo>
                  <a:lnTo>
                    <a:pt x="1176930" y="191782"/>
                  </a:lnTo>
                  <a:lnTo>
                    <a:pt x="1176284" y="191266"/>
                  </a:lnTo>
                  <a:lnTo>
                    <a:pt x="1175767" y="190878"/>
                  </a:lnTo>
                  <a:lnTo>
                    <a:pt x="1175120" y="189844"/>
                  </a:lnTo>
                  <a:lnTo>
                    <a:pt x="1174604" y="188164"/>
                  </a:lnTo>
                  <a:lnTo>
                    <a:pt x="1173828" y="187259"/>
                  </a:lnTo>
                  <a:lnTo>
                    <a:pt x="1172536" y="186096"/>
                  </a:lnTo>
                  <a:lnTo>
                    <a:pt x="1169434" y="183770"/>
                  </a:lnTo>
                  <a:lnTo>
                    <a:pt x="1167754" y="182865"/>
                  </a:lnTo>
                  <a:lnTo>
                    <a:pt x="1166333" y="182219"/>
                  </a:lnTo>
                  <a:lnTo>
                    <a:pt x="1165557" y="182219"/>
                  </a:lnTo>
                  <a:lnTo>
                    <a:pt x="1164911" y="182219"/>
                  </a:lnTo>
                  <a:lnTo>
                    <a:pt x="1163748" y="182607"/>
                  </a:lnTo>
                  <a:lnTo>
                    <a:pt x="1162972" y="182736"/>
                  </a:lnTo>
                  <a:lnTo>
                    <a:pt x="1162197" y="182736"/>
                  </a:lnTo>
                  <a:lnTo>
                    <a:pt x="1161809" y="182348"/>
                  </a:lnTo>
                  <a:lnTo>
                    <a:pt x="1161680" y="181831"/>
                  </a:lnTo>
                  <a:lnTo>
                    <a:pt x="1161809" y="180668"/>
                  </a:lnTo>
                  <a:lnTo>
                    <a:pt x="1161551" y="180022"/>
                  </a:lnTo>
                  <a:lnTo>
                    <a:pt x="1160905" y="179635"/>
                  </a:lnTo>
                  <a:lnTo>
                    <a:pt x="1159225" y="179247"/>
                  </a:lnTo>
                  <a:lnTo>
                    <a:pt x="1158579" y="178859"/>
                  </a:lnTo>
                  <a:lnTo>
                    <a:pt x="1158062" y="178471"/>
                  </a:lnTo>
                  <a:lnTo>
                    <a:pt x="1157933" y="177954"/>
                  </a:lnTo>
                  <a:lnTo>
                    <a:pt x="1158062" y="177567"/>
                  </a:lnTo>
                  <a:lnTo>
                    <a:pt x="1158191" y="176921"/>
                  </a:lnTo>
                  <a:lnTo>
                    <a:pt x="1158191" y="176145"/>
                  </a:lnTo>
                  <a:lnTo>
                    <a:pt x="1157545" y="175111"/>
                  </a:lnTo>
                  <a:lnTo>
                    <a:pt x="1157028" y="174594"/>
                  </a:lnTo>
                  <a:lnTo>
                    <a:pt x="1156382" y="174207"/>
                  </a:lnTo>
                  <a:lnTo>
                    <a:pt x="1155089" y="173948"/>
                  </a:lnTo>
                  <a:lnTo>
                    <a:pt x="1149532" y="174078"/>
                  </a:lnTo>
                  <a:lnTo>
                    <a:pt x="1148886" y="174207"/>
                  </a:lnTo>
                  <a:lnTo>
                    <a:pt x="1147077" y="174724"/>
                  </a:lnTo>
                  <a:lnTo>
                    <a:pt x="1145009" y="174724"/>
                  </a:lnTo>
                  <a:lnTo>
                    <a:pt x="1142554" y="174207"/>
                  </a:lnTo>
                  <a:lnTo>
                    <a:pt x="1139194" y="173173"/>
                  </a:lnTo>
                  <a:lnTo>
                    <a:pt x="1130793" y="169425"/>
                  </a:lnTo>
                  <a:lnTo>
                    <a:pt x="1129630" y="169167"/>
                  </a:lnTo>
                  <a:lnTo>
                    <a:pt x="1129113" y="169296"/>
                  </a:lnTo>
                  <a:lnTo>
                    <a:pt x="1127175" y="170201"/>
                  </a:lnTo>
                  <a:lnTo>
                    <a:pt x="1126787" y="170330"/>
                  </a:lnTo>
                  <a:lnTo>
                    <a:pt x="1125107" y="170588"/>
                  </a:lnTo>
                  <a:lnTo>
                    <a:pt x="1124590" y="170717"/>
                  </a:lnTo>
                  <a:lnTo>
                    <a:pt x="1124202" y="171105"/>
                  </a:lnTo>
                  <a:lnTo>
                    <a:pt x="1123686" y="171493"/>
                  </a:lnTo>
                  <a:lnTo>
                    <a:pt x="1123039" y="171751"/>
                  </a:lnTo>
                  <a:lnTo>
                    <a:pt x="1122135" y="171881"/>
                  </a:lnTo>
                  <a:lnTo>
                    <a:pt x="1121489" y="171622"/>
                  </a:lnTo>
                  <a:lnTo>
                    <a:pt x="1121101" y="171234"/>
                  </a:lnTo>
                  <a:lnTo>
                    <a:pt x="1118904" y="167357"/>
                  </a:lnTo>
                  <a:lnTo>
                    <a:pt x="1117870" y="166582"/>
                  </a:lnTo>
                  <a:lnTo>
                    <a:pt x="1112443" y="163739"/>
                  </a:lnTo>
                  <a:lnTo>
                    <a:pt x="1110762" y="162963"/>
                  </a:lnTo>
                  <a:lnTo>
                    <a:pt x="1109341" y="162705"/>
                  </a:lnTo>
                  <a:lnTo>
                    <a:pt x="1108695" y="162834"/>
                  </a:lnTo>
                  <a:lnTo>
                    <a:pt x="1105722" y="163610"/>
                  </a:lnTo>
                  <a:lnTo>
                    <a:pt x="1104688" y="163997"/>
                  </a:lnTo>
                  <a:lnTo>
                    <a:pt x="1102750" y="165160"/>
                  </a:lnTo>
                  <a:lnTo>
                    <a:pt x="1101328" y="165548"/>
                  </a:lnTo>
                  <a:lnTo>
                    <a:pt x="1100165" y="165677"/>
                  </a:lnTo>
                  <a:lnTo>
                    <a:pt x="1099390" y="165419"/>
                  </a:lnTo>
                  <a:lnTo>
                    <a:pt x="1098873" y="165160"/>
                  </a:lnTo>
                  <a:lnTo>
                    <a:pt x="1096288" y="161671"/>
                  </a:lnTo>
                  <a:lnTo>
                    <a:pt x="1095771" y="161154"/>
                  </a:lnTo>
                  <a:lnTo>
                    <a:pt x="1094996" y="160508"/>
                  </a:lnTo>
                  <a:lnTo>
                    <a:pt x="1093316" y="159474"/>
                  </a:lnTo>
                  <a:lnTo>
                    <a:pt x="1092282" y="159216"/>
                  </a:lnTo>
                  <a:lnTo>
                    <a:pt x="1091506" y="158957"/>
                  </a:lnTo>
                  <a:lnTo>
                    <a:pt x="1090860" y="159086"/>
                  </a:lnTo>
                  <a:lnTo>
                    <a:pt x="1090343" y="159216"/>
                  </a:lnTo>
                  <a:lnTo>
                    <a:pt x="1088276" y="160120"/>
                  </a:lnTo>
                  <a:lnTo>
                    <a:pt x="1086983" y="160508"/>
                  </a:lnTo>
                  <a:lnTo>
                    <a:pt x="1086208" y="160637"/>
                  </a:lnTo>
                  <a:lnTo>
                    <a:pt x="1084916" y="160508"/>
                  </a:lnTo>
                  <a:lnTo>
                    <a:pt x="1083882" y="160120"/>
                  </a:lnTo>
                  <a:lnTo>
                    <a:pt x="1081168" y="158440"/>
                  </a:lnTo>
                  <a:lnTo>
                    <a:pt x="1080134" y="158053"/>
                  </a:lnTo>
                  <a:lnTo>
                    <a:pt x="1079229" y="158053"/>
                  </a:lnTo>
                  <a:lnTo>
                    <a:pt x="1078712" y="158182"/>
                  </a:lnTo>
                  <a:lnTo>
                    <a:pt x="1078195" y="158440"/>
                  </a:lnTo>
                  <a:lnTo>
                    <a:pt x="1077291" y="159086"/>
                  </a:lnTo>
                  <a:lnTo>
                    <a:pt x="1076774" y="159216"/>
                  </a:lnTo>
                  <a:lnTo>
                    <a:pt x="1075611" y="159603"/>
                  </a:lnTo>
                  <a:lnTo>
                    <a:pt x="1075094" y="159862"/>
                  </a:lnTo>
                  <a:lnTo>
                    <a:pt x="1074706" y="160249"/>
                  </a:lnTo>
                  <a:lnTo>
                    <a:pt x="1073801" y="161542"/>
                  </a:lnTo>
                  <a:lnTo>
                    <a:pt x="1070183" y="164773"/>
                  </a:lnTo>
                  <a:lnTo>
                    <a:pt x="1067469" y="165807"/>
                  </a:lnTo>
                  <a:lnTo>
                    <a:pt x="1063334" y="166841"/>
                  </a:lnTo>
                  <a:lnTo>
                    <a:pt x="1058423" y="169683"/>
                  </a:lnTo>
                  <a:lnTo>
                    <a:pt x="1056484" y="169942"/>
                  </a:lnTo>
                  <a:lnTo>
                    <a:pt x="1053253" y="167745"/>
                  </a:lnTo>
                  <a:lnTo>
                    <a:pt x="1052736" y="167487"/>
                  </a:lnTo>
                  <a:lnTo>
                    <a:pt x="1051832" y="167228"/>
                  </a:lnTo>
                  <a:lnTo>
                    <a:pt x="1046792" y="166453"/>
                  </a:lnTo>
                  <a:lnTo>
                    <a:pt x="1041881" y="165031"/>
                  </a:lnTo>
                  <a:lnTo>
                    <a:pt x="1038779" y="165548"/>
                  </a:lnTo>
                  <a:lnTo>
                    <a:pt x="1037874" y="162834"/>
                  </a:lnTo>
                  <a:lnTo>
                    <a:pt x="1034773" y="138280"/>
                  </a:lnTo>
                  <a:lnTo>
                    <a:pt x="1019782" y="124323"/>
                  </a:lnTo>
                  <a:lnTo>
                    <a:pt x="987603" y="95762"/>
                  </a:lnTo>
                  <a:lnTo>
                    <a:pt x="986052" y="96537"/>
                  </a:lnTo>
                  <a:lnTo>
                    <a:pt x="985535" y="96796"/>
                  </a:lnTo>
                  <a:lnTo>
                    <a:pt x="985018" y="96925"/>
                  </a:lnTo>
                  <a:lnTo>
                    <a:pt x="982304" y="97054"/>
                  </a:lnTo>
                  <a:lnTo>
                    <a:pt x="981787" y="97183"/>
                  </a:lnTo>
                  <a:lnTo>
                    <a:pt x="981399" y="97571"/>
                  </a:lnTo>
                  <a:lnTo>
                    <a:pt x="981012" y="97959"/>
                  </a:lnTo>
                  <a:lnTo>
                    <a:pt x="980236" y="98734"/>
                  </a:lnTo>
                  <a:lnTo>
                    <a:pt x="978556" y="99897"/>
                  </a:lnTo>
                  <a:lnTo>
                    <a:pt x="974938" y="101578"/>
                  </a:lnTo>
                  <a:lnTo>
                    <a:pt x="974421" y="101836"/>
                  </a:lnTo>
                  <a:lnTo>
                    <a:pt x="973387" y="102353"/>
                  </a:lnTo>
                  <a:lnTo>
                    <a:pt x="972870" y="102611"/>
                  </a:lnTo>
                  <a:lnTo>
                    <a:pt x="972224" y="102741"/>
                  </a:lnTo>
                  <a:lnTo>
                    <a:pt x="971319" y="102870"/>
                  </a:lnTo>
                  <a:lnTo>
                    <a:pt x="967830" y="102094"/>
                  </a:lnTo>
                  <a:lnTo>
                    <a:pt x="966667" y="102094"/>
                  </a:lnTo>
                  <a:lnTo>
                    <a:pt x="963824" y="102611"/>
                  </a:lnTo>
                  <a:lnTo>
                    <a:pt x="962532" y="102611"/>
                  </a:lnTo>
                  <a:lnTo>
                    <a:pt x="961627" y="102611"/>
                  </a:lnTo>
                  <a:lnTo>
                    <a:pt x="960981" y="102741"/>
                  </a:lnTo>
                  <a:lnTo>
                    <a:pt x="958784" y="103645"/>
                  </a:lnTo>
                  <a:lnTo>
                    <a:pt x="958008" y="103774"/>
                  </a:lnTo>
                  <a:lnTo>
                    <a:pt x="956974" y="103774"/>
                  </a:lnTo>
                  <a:lnTo>
                    <a:pt x="956458" y="103387"/>
                  </a:lnTo>
                  <a:lnTo>
                    <a:pt x="956070" y="102870"/>
                  </a:lnTo>
                  <a:lnTo>
                    <a:pt x="955811" y="102353"/>
                  </a:lnTo>
                  <a:lnTo>
                    <a:pt x="955553" y="101965"/>
                  </a:lnTo>
                  <a:lnTo>
                    <a:pt x="954131" y="100285"/>
                  </a:lnTo>
                  <a:lnTo>
                    <a:pt x="953485" y="99897"/>
                  </a:lnTo>
                  <a:lnTo>
                    <a:pt x="951288" y="98605"/>
                  </a:lnTo>
                  <a:lnTo>
                    <a:pt x="950512" y="98088"/>
                  </a:lnTo>
                  <a:lnTo>
                    <a:pt x="949996" y="97571"/>
                  </a:lnTo>
                  <a:lnTo>
                    <a:pt x="949349" y="96408"/>
                  </a:lnTo>
                  <a:lnTo>
                    <a:pt x="948574" y="95633"/>
                  </a:lnTo>
                  <a:lnTo>
                    <a:pt x="947928" y="95374"/>
                  </a:lnTo>
                  <a:lnTo>
                    <a:pt x="947411" y="95374"/>
                  </a:lnTo>
                  <a:lnTo>
                    <a:pt x="945602" y="96667"/>
                  </a:lnTo>
                  <a:lnTo>
                    <a:pt x="945085" y="96796"/>
                  </a:lnTo>
                  <a:lnTo>
                    <a:pt x="943922" y="96796"/>
                  </a:lnTo>
                  <a:lnTo>
                    <a:pt x="938494" y="95633"/>
                  </a:lnTo>
                  <a:lnTo>
                    <a:pt x="935780" y="94599"/>
                  </a:lnTo>
                  <a:lnTo>
                    <a:pt x="933454" y="93177"/>
                  </a:lnTo>
                  <a:lnTo>
                    <a:pt x="920272" y="87362"/>
                  </a:lnTo>
                  <a:lnTo>
                    <a:pt x="916912" y="84519"/>
                  </a:lnTo>
                  <a:lnTo>
                    <a:pt x="915490" y="83743"/>
                  </a:lnTo>
                  <a:lnTo>
                    <a:pt x="914198" y="82193"/>
                  </a:lnTo>
                  <a:lnTo>
                    <a:pt x="913423" y="81417"/>
                  </a:lnTo>
                  <a:lnTo>
                    <a:pt x="910450" y="79349"/>
                  </a:lnTo>
                  <a:lnTo>
                    <a:pt x="906832" y="77928"/>
                  </a:lnTo>
                  <a:lnTo>
                    <a:pt x="905410" y="76506"/>
                  </a:lnTo>
                  <a:lnTo>
                    <a:pt x="904764" y="76248"/>
                  </a:lnTo>
                  <a:lnTo>
                    <a:pt x="904118" y="76119"/>
                  </a:lnTo>
                  <a:lnTo>
                    <a:pt x="900241" y="77023"/>
                  </a:lnTo>
                  <a:lnTo>
                    <a:pt x="898819" y="77023"/>
                  </a:lnTo>
                  <a:lnTo>
                    <a:pt x="897785" y="76765"/>
                  </a:lnTo>
                  <a:lnTo>
                    <a:pt x="896881" y="76248"/>
                  </a:lnTo>
                  <a:lnTo>
                    <a:pt x="894813" y="74955"/>
                  </a:lnTo>
                  <a:lnTo>
                    <a:pt x="894296" y="74438"/>
                  </a:lnTo>
                  <a:lnTo>
                    <a:pt x="893391" y="73146"/>
                  </a:lnTo>
                  <a:lnTo>
                    <a:pt x="892616" y="72500"/>
                  </a:lnTo>
                  <a:lnTo>
                    <a:pt x="887317" y="69140"/>
                  </a:lnTo>
                  <a:lnTo>
                    <a:pt x="886154" y="67848"/>
                  </a:lnTo>
                  <a:lnTo>
                    <a:pt x="881243" y="64100"/>
                  </a:lnTo>
                  <a:lnTo>
                    <a:pt x="879305" y="62161"/>
                  </a:lnTo>
                  <a:lnTo>
                    <a:pt x="870905" y="56216"/>
                  </a:lnTo>
                  <a:lnTo>
                    <a:pt x="870259" y="55312"/>
                  </a:lnTo>
                  <a:lnTo>
                    <a:pt x="869871" y="54924"/>
                  </a:lnTo>
                  <a:lnTo>
                    <a:pt x="868708" y="52340"/>
                  </a:lnTo>
                  <a:lnTo>
                    <a:pt x="868191" y="51693"/>
                  </a:lnTo>
                  <a:lnTo>
                    <a:pt x="867415" y="50918"/>
                  </a:lnTo>
                  <a:lnTo>
                    <a:pt x="865994" y="49496"/>
                  </a:lnTo>
                  <a:lnTo>
                    <a:pt x="865089" y="48850"/>
                  </a:lnTo>
                  <a:lnTo>
                    <a:pt x="864314" y="48463"/>
                  </a:lnTo>
                  <a:lnTo>
                    <a:pt x="863022" y="48333"/>
                  </a:lnTo>
                  <a:lnTo>
                    <a:pt x="861083" y="48592"/>
                  </a:lnTo>
                  <a:lnTo>
                    <a:pt x="860178" y="48463"/>
                  </a:lnTo>
                  <a:lnTo>
                    <a:pt x="855526" y="46524"/>
                  </a:lnTo>
                  <a:lnTo>
                    <a:pt x="854234" y="46395"/>
                  </a:lnTo>
                  <a:lnTo>
                    <a:pt x="853071" y="46524"/>
                  </a:lnTo>
                  <a:lnTo>
                    <a:pt x="852424" y="46524"/>
                  </a:lnTo>
                  <a:lnTo>
                    <a:pt x="847643" y="45619"/>
                  </a:lnTo>
                  <a:lnTo>
                    <a:pt x="845058" y="44456"/>
                  </a:lnTo>
                  <a:lnTo>
                    <a:pt x="842215" y="43552"/>
                  </a:lnTo>
                  <a:lnTo>
                    <a:pt x="840276" y="43293"/>
                  </a:lnTo>
                  <a:lnTo>
                    <a:pt x="836787" y="43552"/>
                  </a:lnTo>
                  <a:lnTo>
                    <a:pt x="835495" y="43681"/>
                  </a:lnTo>
                  <a:lnTo>
                    <a:pt x="834849" y="43810"/>
                  </a:lnTo>
                  <a:lnTo>
                    <a:pt x="832652" y="44715"/>
                  </a:lnTo>
                  <a:lnTo>
                    <a:pt x="829162" y="45490"/>
                  </a:lnTo>
                  <a:lnTo>
                    <a:pt x="817919" y="50789"/>
                  </a:lnTo>
                  <a:lnTo>
                    <a:pt x="817531" y="51176"/>
                  </a:lnTo>
                  <a:lnTo>
                    <a:pt x="817144" y="51564"/>
                  </a:lnTo>
                  <a:lnTo>
                    <a:pt x="816756" y="51952"/>
                  </a:lnTo>
                  <a:lnTo>
                    <a:pt x="816627" y="52469"/>
                  </a:lnTo>
                  <a:lnTo>
                    <a:pt x="816239" y="53761"/>
                  </a:lnTo>
                  <a:lnTo>
                    <a:pt x="816110" y="54278"/>
                  </a:lnTo>
                  <a:lnTo>
                    <a:pt x="815722" y="54666"/>
                  </a:lnTo>
                  <a:lnTo>
                    <a:pt x="815334" y="55053"/>
                  </a:lnTo>
                  <a:lnTo>
                    <a:pt x="814042" y="56087"/>
                  </a:lnTo>
                  <a:lnTo>
                    <a:pt x="813396" y="56863"/>
                  </a:lnTo>
                  <a:lnTo>
                    <a:pt x="813008" y="57250"/>
                  </a:lnTo>
                  <a:lnTo>
                    <a:pt x="812233" y="58672"/>
                  </a:lnTo>
                  <a:lnTo>
                    <a:pt x="811845" y="58930"/>
                  </a:lnTo>
                  <a:lnTo>
                    <a:pt x="811328" y="59318"/>
                  </a:lnTo>
                  <a:lnTo>
                    <a:pt x="806547" y="60481"/>
                  </a:lnTo>
                  <a:lnTo>
                    <a:pt x="783672" y="54666"/>
                  </a:lnTo>
                  <a:lnTo>
                    <a:pt x="783284" y="54537"/>
                  </a:lnTo>
                  <a:lnTo>
                    <a:pt x="782380" y="53244"/>
                  </a:lnTo>
                  <a:lnTo>
                    <a:pt x="781217" y="52340"/>
                  </a:lnTo>
                  <a:lnTo>
                    <a:pt x="780312" y="51952"/>
                  </a:lnTo>
                  <a:lnTo>
                    <a:pt x="770878" y="50013"/>
                  </a:lnTo>
                  <a:lnTo>
                    <a:pt x="769844" y="49626"/>
                  </a:lnTo>
                  <a:lnTo>
                    <a:pt x="768940" y="49109"/>
                  </a:lnTo>
                  <a:lnTo>
                    <a:pt x="768423" y="48721"/>
                  </a:lnTo>
                  <a:lnTo>
                    <a:pt x="767259" y="47429"/>
                  </a:lnTo>
                  <a:lnTo>
                    <a:pt x="766743" y="46912"/>
                  </a:lnTo>
                  <a:lnTo>
                    <a:pt x="766484" y="46266"/>
                  </a:lnTo>
                  <a:lnTo>
                    <a:pt x="766226" y="45102"/>
                  </a:lnTo>
                  <a:lnTo>
                    <a:pt x="766226" y="44456"/>
                  </a:lnTo>
                  <a:lnTo>
                    <a:pt x="766226" y="43810"/>
                  </a:lnTo>
                  <a:lnTo>
                    <a:pt x="766355" y="43293"/>
                  </a:lnTo>
                  <a:lnTo>
                    <a:pt x="766613" y="42776"/>
                  </a:lnTo>
                  <a:lnTo>
                    <a:pt x="766743" y="42130"/>
                  </a:lnTo>
                  <a:lnTo>
                    <a:pt x="766743" y="41484"/>
                  </a:lnTo>
                  <a:lnTo>
                    <a:pt x="766613" y="40192"/>
                  </a:lnTo>
                  <a:lnTo>
                    <a:pt x="766484" y="39545"/>
                  </a:lnTo>
                  <a:lnTo>
                    <a:pt x="766226" y="38899"/>
                  </a:lnTo>
                  <a:lnTo>
                    <a:pt x="765321" y="37478"/>
                  </a:lnTo>
                  <a:lnTo>
                    <a:pt x="765062" y="36831"/>
                  </a:lnTo>
                  <a:lnTo>
                    <a:pt x="764804" y="35539"/>
                  </a:lnTo>
                  <a:lnTo>
                    <a:pt x="765838" y="31791"/>
                  </a:lnTo>
                  <a:lnTo>
                    <a:pt x="765967" y="30370"/>
                  </a:lnTo>
                  <a:lnTo>
                    <a:pt x="766484" y="28690"/>
                  </a:lnTo>
                  <a:lnTo>
                    <a:pt x="768423" y="25200"/>
                  </a:lnTo>
                  <a:lnTo>
                    <a:pt x="769586" y="20548"/>
                  </a:lnTo>
                  <a:lnTo>
                    <a:pt x="771136" y="17188"/>
                  </a:lnTo>
                  <a:lnTo>
                    <a:pt x="773075" y="13957"/>
                  </a:lnTo>
                  <a:lnTo>
                    <a:pt x="774497" y="11631"/>
                  </a:lnTo>
                  <a:lnTo>
                    <a:pt x="774238" y="11243"/>
                  </a:lnTo>
                  <a:lnTo>
                    <a:pt x="772558" y="10339"/>
                  </a:lnTo>
                  <a:lnTo>
                    <a:pt x="771266" y="9305"/>
                  </a:lnTo>
                  <a:lnTo>
                    <a:pt x="770361" y="8788"/>
                  </a:lnTo>
                  <a:lnTo>
                    <a:pt x="769586" y="8529"/>
                  </a:lnTo>
                  <a:lnTo>
                    <a:pt x="768940" y="8529"/>
                  </a:lnTo>
                  <a:lnTo>
                    <a:pt x="768423" y="8659"/>
                  </a:lnTo>
                  <a:lnTo>
                    <a:pt x="767647" y="8659"/>
                  </a:lnTo>
                  <a:lnTo>
                    <a:pt x="766872" y="8529"/>
                  </a:lnTo>
                  <a:lnTo>
                    <a:pt x="764933" y="7496"/>
                  </a:lnTo>
                  <a:lnTo>
                    <a:pt x="764287" y="7237"/>
                  </a:lnTo>
                  <a:lnTo>
                    <a:pt x="763641" y="7108"/>
                  </a:lnTo>
                  <a:lnTo>
                    <a:pt x="762995" y="6979"/>
                  </a:lnTo>
                  <a:lnTo>
                    <a:pt x="762349" y="7108"/>
                  </a:lnTo>
                  <a:lnTo>
                    <a:pt x="761056" y="7366"/>
                  </a:lnTo>
                  <a:lnTo>
                    <a:pt x="760410" y="7366"/>
                  </a:lnTo>
                  <a:lnTo>
                    <a:pt x="757825" y="7237"/>
                  </a:lnTo>
                  <a:lnTo>
                    <a:pt x="757179" y="6979"/>
                  </a:lnTo>
                  <a:lnTo>
                    <a:pt x="754724" y="5169"/>
                  </a:lnTo>
                  <a:lnTo>
                    <a:pt x="753302" y="4265"/>
                  </a:lnTo>
                  <a:lnTo>
                    <a:pt x="752527" y="4006"/>
                  </a:lnTo>
                  <a:lnTo>
                    <a:pt x="752010" y="3877"/>
                  </a:lnTo>
                  <a:lnTo>
                    <a:pt x="751493" y="4006"/>
                  </a:lnTo>
                  <a:lnTo>
                    <a:pt x="751105" y="4135"/>
                  </a:lnTo>
                  <a:lnTo>
                    <a:pt x="749684" y="5040"/>
                  </a:lnTo>
                  <a:lnTo>
                    <a:pt x="749167" y="5299"/>
                  </a:lnTo>
                  <a:lnTo>
                    <a:pt x="748391" y="5299"/>
                  </a:lnTo>
                  <a:lnTo>
                    <a:pt x="747487" y="5040"/>
                  </a:lnTo>
                  <a:lnTo>
                    <a:pt x="745807" y="4394"/>
                  </a:lnTo>
                  <a:lnTo>
                    <a:pt x="744644" y="4006"/>
                  </a:lnTo>
                  <a:lnTo>
                    <a:pt x="743739" y="3877"/>
                  </a:lnTo>
                  <a:lnTo>
                    <a:pt x="742576" y="3619"/>
                  </a:lnTo>
                  <a:lnTo>
                    <a:pt x="741671" y="3489"/>
                  </a:lnTo>
                  <a:lnTo>
                    <a:pt x="740896" y="3489"/>
                  </a:lnTo>
                  <a:lnTo>
                    <a:pt x="740379" y="3619"/>
                  </a:lnTo>
                  <a:lnTo>
                    <a:pt x="739474" y="4265"/>
                  </a:lnTo>
                  <a:lnTo>
                    <a:pt x="738957" y="4394"/>
                  </a:lnTo>
                  <a:lnTo>
                    <a:pt x="738182" y="4265"/>
                  </a:lnTo>
                  <a:lnTo>
                    <a:pt x="737536" y="3619"/>
                  </a:lnTo>
                  <a:lnTo>
                    <a:pt x="736890" y="3489"/>
                  </a:lnTo>
                  <a:lnTo>
                    <a:pt x="736373" y="3360"/>
                  </a:lnTo>
                  <a:lnTo>
                    <a:pt x="735080" y="3619"/>
                  </a:lnTo>
                  <a:lnTo>
                    <a:pt x="734305" y="3489"/>
                  </a:lnTo>
                  <a:lnTo>
                    <a:pt x="733271" y="2972"/>
                  </a:lnTo>
                  <a:lnTo>
                    <a:pt x="731333" y="1938"/>
                  </a:lnTo>
                  <a:lnTo>
                    <a:pt x="730299" y="1163"/>
                  </a:lnTo>
                  <a:lnTo>
                    <a:pt x="729394" y="258"/>
                  </a:lnTo>
                  <a:lnTo>
                    <a:pt x="728877" y="0"/>
                  </a:lnTo>
                  <a:lnTo>
                    <a:pt x="728489" y="258"/>
                  </a:lnTo>
                  <a:lnTo>
                    <a:pt x="728102" y="517"/>
                  </a:lnTo>
                  <a:lnTo>
                    <a:pt x="727585" y="646"/>
                  </a:lnTo>
                  <a:lnTo>
                    <a:pt x="727326" y="1034"/>
                  </a:lnTo>
                  <a:lnTo>
                    <a:pt x="727068" y="1551"/>
                  </a:lnTo>
                  <a:lnTo>
                    <a:pt x="726809" y="1938"/>
                  </a:lnTo>
                  <a:lnTo>
                    <a:pt x="726163" y="2068"/>
                  </a:lnTo>
                  <a:lnTo>
                    <a:pt x="725517" y="2068"/>
                  </a:lnTo>
                  <a:lnTo>
                    <a:pt x="723708" y="1292"/>
                  </a:lnTo>
                  <a:lnTo>
                    <a:pt x="723062" y="1163"/>
                  </a:lnTo>
                  <a:lnTo>
                    <a:pt x="722416" y="1163"/>
                  </a:lnTo>
                  <a:lnTo>
                    <a:pt x="721252" y="1551"/>
                  </a:lnTo>
                  <a:lnTo>
                    <a:pt x="720477" y="1551"/>
                  </a:lnTo>
                  <a:lnTo>
                    <a:pt x="718539" y="905"/>
                  </a:lnTo>
                  <a:lnTo>
                    <a:pt x="717892" y="775"/>
                  </a:lnTo>
                  <a:lnTo>
                    <a:pt x="717375" y="1034"/>
                  </a:lnTo>
                  <a:lnTo>
                    <a:pt x="716471" y="1551"/>
                  </a:lnTo>
                  <a:lnTo>
                    <a:pt x="714532" y="3231"/>
                  </a:lnTo>
                  <a:lnTo>
                    <a:pt x="713628" y="3877"/>
                  </a:lnTo>
                  <a:lnTo>
                    <a:pt x="712335" y="4006"/>
                  </a:lnTo>
                  <a:lnTo>
                    <a:pt x="708846" y="4911"/>
                  </a:lnTo>
                  <a:lnTo>
                    <a:pt x="702126" y="8400"/>
                  </a:lnTo>
                  <a:lnTo>
                    <a:pt x="691916" y="11760"/>
                  </a:lnTo>
                  <a:lnTo>
                    <a:pt x="690624" y="12536"/>
                  </a:lnTo>
                  <a:lnTo>
                    <a:pt x="689590" y="13182"/>
                  </a:lnTo>
                  <a:lnTo>
                    <a:pt x="686488" y="14862"/>
                  </a:lnTo>
                  <a:lnTo>
                    <a:pt x="683904" y="16930"/>
                  </a:lnTo>
                  <a:lnTo>
                    <a:pt x="682224" y="17576"/>
                  </a:lnTo>
                  <a:lnTo>
                    <a:pt x="681448" y="18093"/>
                  </a:lnTo>
                  <a:lnTo>
                    <a:pt x="680802" y="18610"/>
                  </a:lnTo>
                  <a:lnTo>
                    <a:pt x="680415" y="19256"/>
                  </a:lnTo>
                  <a:lnTo>
                    <a:pt x="678476" y="20677"/>
                  </a:lnTo>
                  <a:lnTo>
                    <a:pt x="676667" y="22487"/>
                  </a:lnTo>
                  <a:lnTo>
                    <a:pt x="665940" y="29336"/>
                  </a:lnTo>
                  <a:lnTo>
                    <a:pt x="664648" y="29982"/>
                  </a:lnTo>
                  <a:lnTo>
                    <a:pt x="663356" y="30370"/>
                  </a:lnTo>
                  <a:lnTo>
                    <a:pt x="662710" y="30757"/>
                  </a:lnTo>
                  <a:lnTo>
                    <a:pt x="662451" y="31274"/>
                  </a:lnTo>
                  <a:lnTo>
                    <a:pt x="662580" y="31791"/>
                  </a:lnTo>
                  <a:lnTo>
                    <a:pt x="662322" y="32825"/>
                  </a:lnTo>
                  <a:lnTo>
                    <a:pt x="660642" y="35281"/>
                  </a:lnTo>
                  <a:lnTo>
                    <a:pt x="660513" y="35798"/>
                  </a:lnTo>
                  <a:lnTo>
                    <a:pt x="660383" y="36831"/>
                  </a:lnTo>
                  <a:lnTo>
                    <a:pt x="660254" y="37348"/>
                  </a:lnTo>
                  <a:lnTo>
                    <a:pt x="657799" y="39545"/>
                  </a:lnTo>
                  <a:lnTo>
                    <a:pt x="634278" y="52856"/>
                  </a:lnTo>
                  <a:lnTo>
                    <a:pt x="632210" y="53503"/>
                  </a:lnTo>
                  <a:lnTo>
                    <a:pt x="631564" y="53632"/>
                  </a:lnTo>
                  <a:lnTo>
                    <a:pt x="630918" y="53503"/>
                  </a:lnTo>
                  <a:lnTo>
                    <a:pt x="630272" y="53373"/>
                  </a:lnTo>
                  <a:lnTo>
                    <a:pt x="629626" y="53373"/>
                  </a:lnTo>
                  <a:lnTo>
                    <a:pt x="628463" y="53503"/>
                  </a:lnTo>
                  <a:lnTo>
                    <a:pt x="626783" y="54149"/>
                  </a:lnTo>
                  <a:lnTo>
                    <a:pt x="626266" y="54149"/>
                  </a:lnTo>
                  <a:lnTo>
                    <a:pt x="623939" y="54149"/>
                  </a:lnTo>
                  <a:lnTo>
                    <a:pt x="622647" y="54407"/>
                  </a:lnTo>
                  <a:lnTo>
                    <a:pt x="621743" y="54795"/>
                  </a:lnTo>
                  <a:lnTo>
                    <a:pt x="621226" y="55183"/>
                  </a:lnTo>
                  <a:lnTo>
                    <a:pt x="620709" y="55570"/>
                  </a:lnTo>
                  <a:lnTo>
                    <a:pt x="620450" y="55958"/>
                  </a:lnTo>
                  <a:lnTo>
                    <a:pt x="619933" y="57121"/>
                  </a:lnTo>
                  <a:lnTo>
                    <a:pt x="619675" y="57638"/>
                  </a:lnTo>
                  <a:lnTo>
                    <a:pt x="619416" y="58026"/>
                  </a:lnTo>
                  <a:lnTo>
                    <a:pt x="615410" y="61386"/>
                  </a:lnTo>
                  <a:lnTo>
                    <a:pt x="615022" y="61903"/>
                  </a:lnTo>
                  <a:lnTo>
                    <a:pt x="614376" y="63454"/>
                  </a:lnTo>
                  <a:lnTo>
                    <a:pt x="614118" y="63971"/>
                  </a:lnTo>
                  <a:lnTo>
                    <a:pt x="613213" y="64875"/>
                  </a:lnTo>
                  <a:lnTo>
                    <a:pt x="612438" y="65651"/>
                  </a:lnTo>
                  <a:lnTo>
                    <a:pt x="611921" y="66297"/>
                  </a:lnTo>
                  <a:lnTo>
                    <a:pt x="610887" y="67848"/>
                  </a:lnTo>
                  <a:lnTo>
                    <a:pt x="610241" y="68235"/>
                  </a:lnTo>
                  <a:lnTo>
                    <a:pt x="609465" y="68494"/>
                  </a:lnTo>
                  <a:lnTo>
                    <a:pt x="607527" y="69011"/>
                  </a:lnTo>
                  <a:lnTo>
                    <a:pt x="606881" y="69398"/>
                  </a:lnTo>
                  <a:lnTo>
                    <a:pt x="606364" y="69786"/>
                  </a:lnTo>
                  <a:lnTo>
                    <a:pt x="604684" y="71466"/>
                  </a:lnTo>
                  <a:lnTo>
                    <a:pt x="601711" y="73922"/>
                  </a:lnTo>
                  <a:lnTo>
                    <a:pt x="597834" y="76248"/>
                  </a:lnTo>
                  <a:lnTo>
                    <a:pt x="595767" y="77152"/>
                  </a:lnTo>
                  <a:lnTo>
                    <a:pt x="592536" y="77669"/>
                  </a:lnTo>
                  <a:lnTo>
                    <a:pt x="592019" y="77669"/>
                  </a:lnTo>
                  <a:lnTo>
                    <a:pt x="591631" y="77540"/>
                  </a:lnTo>
                  <a:lnTo>
                    <a:pt x="590339" y="76894"/>
                  </a:lnTo>
                  <a:lnTo>
                    <a:pt x="589693" y="76765"/>
                  </a:lnTo>
                  <a:lnTo>
                    <a:pt x="589176" y="76506"/>
                  </a:lnTo>
                  <a:lnTo>
                    <a:pt x="588530" y="76506"/>
                  </a:lnTo>
                  <a:lnTo>
                    <a:pt x="585945" y="76635"/>
                  </a:lnTo>
                  <a:lnTo>
                    <a:pt x="585428" y="77023"/>
                  </a:lnTo>
                  <a:lnTo>
                    <a:pt x="585169" y="77540"/>
                  </a:lnTo>
                  <a:lnTo>
                    <a:pt x="584911" y="78057"/>
                  </a:lnTo>
                  <a:lnTo>
                    <a:pt x="584653" y="78574"/>
                  </a:lnTo>
                  <a:lnTo>
                    <a:pt x="583619" y="79737"/>
                  </a:lnTo>
                  <a:lnTo>
                    <a:pt x="582714" y="80900"/>
                  </a:lnTo>
                  <a:lnTo>
                    <a:pt x="581551" y="82193"/>
                  </a:lnTo>
                  <a:lnTo>
                    <a:pt x="581163" y="82709"/>
                  </a:lnTo>
                  <a:lnTo>
                    <a:pt x="580776" y="83743"/>
                  </a:lnTo>
                  <a:lnTo>
                    <a:pt x="580646" y="84002"/>
                  </a:lnTo>
                  <a:lnTo>
                    <a:pt x="580259" y="84389"/>
                  </a:lnTo>
                  <a:lnTo>
                    <a:pt x="578320" y="86328"/>
                  </a:lnTo>
                  <a:lnTo>
                    <a:pt x="576769" y="87103"/>
                  </a:lnTo>
                  <a:lnTo>
                    <a:pt x="574960" y="88396"/>
                  </a:lnTo>
                  <a:lnTo>
                    <a:pt x="574572" y="88913"/>
                  </a:lnTo>
                  <a:lnTo>
                    <a:pt x="574185" y="90076"/>
                  </a:lnTo>
                  <a:lnTo>
                    <a:pt x="573668" y="92531"/>
                  </a:lnTo>
                  <a:lnTo>
                    <a:pt x="572505" y="94082"/>
                  </a:lnTo>
                  <a:lnTo>
                    <a:pt x="568628" y="97442"/>
                  </a:lnTo>
                  <a:lnTo>
                    <a:pt x="565268" y="99639"/>
                  </a:lnTo>
                  <a:lnTo>
                    <a:pt x="564621" y="99768"/>
                  </a:lnTo>
                  <a:lnTo>
                    <a:pt x="563329" y="99768"/>
                  </a:lnTo>
                  <a:lnTo>
                    <a:pt x="555446" y="98605"/>
                  </a:lnTo>
                  <a:lnTo>
                    <a:pt x="554153" y="98217"/>
                  </a:lnTo>
                  <a:lnTo>
                    <a:pt x="548338" y="97442"/>
                  </a:lnTo>
                  <a:lnTo>
                    <a:pt x="547046" y="97442"/>
                  </a:lnTo>
                  <a:lnTo>
                    <a:pt x="546012" y="97701"/>
                  </a:lnTo>
                  <a:lnTo>
                    <a:pt x="545624" y="98088"/>
                  </a:lnTo>
                  <a:lnTo>
                    <a:pt x="544978" y="98993"/>
                  </a:lnTo>
                  <a:lnTo>
                    <a:pt x="543944" y="100931"/>
                  </a:lnTo>
                  <a:lnTo>
                    <a:pt x="543427" y="101836"/>
                  </a:lnTo>
                  <a:lnTo>
                    <a:pt x="543039" y="102224"/>
                  </a:lnTo>
                  <a:lnTo>
                    <a:pt x="541747" y="104033"/>
                  </a:lnTo>
                  <a:lnTo>
                    <a:pt x="541489" y="104550"/>
                  </a:lnTo>
                  <a:lnTo>
                    <a:pt x="540842" y="104938"/>
                  </a:lnTo>
                  <a:lnTo>
                    <a:pt x="540196" y="105325"/>
                  </a:lnTo>
                  <a:lnTo>
                    <a:pt x="534768" y="107522"/>
                  </a:lnTo>
                  <a:lnTo>
                    <a:pt x="534122" y="108039"/>
                  </a:lnTo>
                  <a:lnTo>
                    <a:pt x="533347" y="108685"/>
                  </a:lnTo>
                  <a:lnTo>
                    <a:pt x="531925" y="110365"/>
                  </a:lnTo>
                  <a:lnTo>
                    <a:pt x="531021" y="110882"/>
                  </a:lnTo>
                  <a:lnTo>
                    <a:pt x="530245" y="111012"/>
                  </a:lnTo>
                  <a:lnTo>
                    <a:pt x="529599" y="110495"/>
                  </a:lnTo>
                  <a:lnTo>
                    <a:pt x="529341" y="109978"/>
                  </a:lnTo>
                  <a:lnTo>
                    <a:pt x="529082" y="109461"/>
                  </a:lnTo>
                  <a:lnTo>
                    <a:pt x="529211" y="108815"/>
                  </a:lnTo>
                  <a:lnTo>
                    <a:pt x="529341" y="108168"/>
                  </a:lnTo>
                  <a:lnTo>
                    <a:pt x="530245" y="106101"/>
                  </a:lnTo>
                  <a:lnTo>
                    <a:pt x="530633" y="105584"/>
                  </a:lnTo>
                  <a:lnTo>
                    <a:pt x="531925" y="103904"/>
                  </a:lnTo>
                  <a:lnTo>
                    <a:pt x="534122" y="100027"/>
                  </a:lnTo>
                  <a:lnTo>
                    <a:pt x="536061" y="94987"/>
                  </a:lnTo>
                  <a:lnTo>
                    <a:pt x="536836" y="91239"/>
                  </a:lnTo>
                  <a:lnTo>
                    <a:pt x="538645" y="86845"/>
                  </a:lnTo>
                  <a:lnTo>
                    <a:pt x="539162" y="85940"/>
                  </a:lnTo>
                  <a:lnTo>
                    <a:pt x="540584" y="84260"/>
                  </a:lnTo>
                  <a:lnTo>
                    <a:pt x="540713" y="83872"/>
                  </a:lnTo>
                  <a:lnTo>
                    <a:pt x="540842" y="83485"/>
                  </a:lnTo>
                  <a:lnTo>
                    <a:pt x="540842" y="82968"/>
                  </a:lnTo>
                  <a:lnTo>
                    <a:pt x="540713" y="82451"/>
                  </a:lnTo>
                  <a:lnTo>
                    <a:pt x="540584" y="81934"/>
                  </a:lnTo>
                  <a:lnTo>
                    <a:pt x="537870" y="77928"/>
                  </a:lnTo>
                  <a:lnTo>
                    <a:pt x="537612" y="77411"/>
                  </a:lnTo>
                  <a:lnTo>
                    <a:pt x="537482" y="76765"/>
                  </a:lnTo>
                  <a:lnTo>
                    <a:pt x="537353" y="74697"/>
                  </a:lnTo>
                  <a:lnTo>
                    <a:pt x="537353" y="74051"/>
                  </a:lnTo>
                  <a:lnTo>
                    <a:pt x="536061" y="71466"/>
                  </a:lnTo>
                  <a:lnTo>
                    <a:pt x="535802" y="70432"/>
                  </a:lnTo>
                  <a:lnTo>
                    <a:pt x="535673" y="69269"/>
                  </a:lnTo>
                  <a:lnTo>
                    <a:pt x="532571" y="70949"/>
                  </a:lnTo>
                  <a:lnTo>
                    <a:pt x="531538" y="71983"/>
                  </a:lnTo>
                  <a:lnTo>
                    <a:pt x="530762" y="73792"/>
                  </a:lnTo>
                  <a:lnTo>
                    <a:pt x="529858" y="75214"/>
                  </a:lnTo>
                  <a:lnTo>
                    <a:pt x="528694" y="75989"/>
                  </a:lnTo>
                  <a:lnTo>
                    <a:pt x="527919" y="76248"/>
                  </a:lnTo>
                  <a:lnTo>
                    <a:pt x="527273" y="76248"/>
                  </a:lnTo>
                  <a:lnTo>
                    <a:pt x="525722" y="75472"/>
                  </a:lnTo>
                  <a:lnTo>
                    <a:pt x="524688" y="75472"/>
                  </a:lnTo>
                  <a:lnTo>
                    <a:pt x="523267" y="75601"/>
                  </a:lnTo>
                  <a:lnTo>
                    <a:pt x="518614" y="76635"/>
                  </a:lnTo>
                  <a:lnTo>
                    <a:pt x="517580" y="76635"/>
                  </a:lnTo>
                  <a:lnTo>
                    <a:pt x="517063" y="76377"/>
                  </a:lnTo>
                  <a:lnTo>
                    <a:pt x="515383" y="74955"/>
                  </a:lnTo>
                  <a:lnTo>
                    <a:pt x="514996" y="74697"/>
                  </a:lnTo>
                  <a:lnTo>
                    <a:pt x="514479" y="74438"/>
                  </a:lnTo>
                  <a:lnTo>
                    <a:pt x="511765" y="74180"/>
                  </a:lnTo>
                  <a:lnTo>
                    <a:pt x="508663" y="74309"/>
                  </a:lnTo>
                  <a:lnTo>
                    <a:pt x="507242" y="74051"/>
                  </a:lnTo>
                  <a:lnTo>
                    <a:pt x="506337" y="73792"/>
                  </a:lnTo>
                  <a:lnTo>
                    <a:pt x="506079" y="73275"/>
                  </a:lnTo>
                  <a:lnTo>
                    <a:pt x="504140" y="67072"/>
                  </a:lnTo>
                  <a:lnTo>
                    <a:pt x="503752" y="66038"/>
                  </a:lnTo>
                  <a:lnTo>
                    <a:pt x="503365" y="65651"/>
                  </a:lnTo>
                  <a:lnTo>
                    <a:pt x="500392" y="61774"/>
                  </a:lnTo>
                  <a:lnTo>
                    <a:pt x="498454" y="59964"/>
                  </a:lnTo>
                  <a:lnTo>
                    <a:pt x="496645" y="58801"/>
                  </a:lnTo>
                  <a:lnTo>
                    <a:pt x="488115" y="54407"/>
                  </a:lnTo>
                  <a:lnTo>
                    <a:pt x="485789" y="52727"/>
                  </a:lnTo>
                  <a:lnTo>
                    <a:pt x="484238" y="52081"/>
                  </a:lnTo>
                  <a:lnTo>
                    <a:pt x="483463" y="51952"/>
                  </a:lnTo>
                  <a:lnTo>
                    <a:pt x="482816" y="52210"/>
                  </a:lnTo>
                  <a:lnTo>
                    <a:pt x="477260" y="58672"/>
                  </a:lnTo>
                  <a:lnTo>
                    <a:pt x="476096" y="60740"/>
                  </a:lnTo>
                  <a:lnTo>
                    <a:pt x="475967" y="61257"/>
                  </a:lnTo>
                  <a:lnTo>
                    <a:pt x="475838" y="61903"/>
                  </a:lnTo>
                  <a:lnTo>
                    <a:pt x="475838" y="62549"/>
                  </a:lnTo>
                  <a:lnTo>
                    <a:pt x="476096" y="64487"/>
                  </a:lnTo>
                  <a:lnTo>
                    <a:pt x="476226" y="65004"/>
                  </a:lnTo>
                  <a:lnTo>
                    <a:pt x="476484" y="65521"/>
                  </a:lnTo>
                  <a:lnTo>
                    <a:pt x="478164" y="67718"/>
                  </a:lnTo>
                  <a:lnTo>
                    <a:pt x="478293" y="68235"/>
                  </a:lnTo>
                  <a:lnTo>
                    <a:pt x="478423" y="68752"/>
                  </a:lnTo>
                  <a:lnTo>
                    <a:pt x="478552" y="69398"/>
                  </a:lnTo>
                  <a:lnTo>
                    <a:pt x="478423" y="69915"/>
                  </a:lnTo>
                  <a:lnTo>
                    <a:pt x="478164" y="70432"/>
                  </a:lnTo>
                  <a:lnTo>
                    <a:pt x="476613" y="72629"/>
                  </a:lnTo>
                  <a:lnTo>
                    <a:pt x="476355" y="73275"/>
                  </a:lnTo>
                  <a:lnTo>
                    <a:pt x="476355" y="73922"/>
                  </a:lnTo>
                  <a:lnTo>
                    <a:pt x="476226" y="74568"/>
                  </a:lnTo>
                  <a:lnTo>
                    <a:pt x="476484" y="75085"/>
                  </a:lnTo>
                  <a:lnTo>
                    <a:pt x="477001" y="75989"/>
                  </a:lnTo>
                  <a:lnTo>
                    <a:pt x="478035" y="77152"/>
                  </a:lnTo>
                  <a:lnTo>
                    <a:pt x="478423" y="77540"/>
                  </a:lnTo>
                  <a:lnTo>
                    <a:pt x="478552" y="78057"/>
                  </a:lnTo>
                  <a:lnTo>
                    <a:pt x="478681" y="78703"/>
                  </a:lnTo>
                  <a:lnTo>
                    <a:pt x="478423" y="81417"/>
                  </a:lnTo>
                  <a:lnTo>
                    <a:pt x="478939" y="84777"/>
                  </a:lnTo>
                  <a:lnTo>
                    <a:pt x="479715" y="86845"/>
                  </a:lnTo>
                  <a:lnTo>
                    <a:pt x="479715" y="87491"/>
                  </a:lnTo>
                  <a:lnTo>
                    <a:pt x="479456" y="88008"/>
                  </a:lnTo>
                  <a:lnTo>
                    <a:pt x="477518" y="89946"/>
                  </a:lnTo>
                  <a:lnTo>
                    <a:pt x="474804" y="91756"/>
                  </a:lnTo>
                  <a:lnTo>
                    <a:pt x="473770" y="92143"/>
                  </a:lnTo>
                  <a:lnTo>
                    <a:pt x="472865" y="92273"/>
                  </a:lnTo>
                  <a:lnTo>
                    <a:pt x="472219" y="92143"/>
                  </a:lnTo>
                  <a:lnTo>
                    <a:pt x="470022" y="91368"/>
                  </a:lnTo>
                  <a:lnTo>
                    <a:pt x="459425" y="85811"/>
                  </a:lnTo>
                  <a:lnTo>
                    <a:pt x="458391" y="85423"/>
                  </a:lnTo>
                  <a:lnTo>
                    <a:pt x="455807" y="84777"/>
                  </a:lnTo>
                  <a:lnTo>
                    <a:pt x="453222" y="84648"/>
                  </a:lnTo>
                  <a:lnTo>
                    <a:pt x="448957" y="85165"/>
                  </a:lnTo>
                  <a:lnTo>
                    <a:pt x="447794" y="85423"/>
                  </a:lnTo>
                  <a:lnTo>
                    <a:pt x="445727" y="86199"/>
                  </a:lnTo>
                  <a:lnTo>
                    <a:pt x="444822" y="86716"/>
                  </a:lnTo>
                  <a:lnTo>
                    <a:pt x="444046" y="87491"/>
                  </a:lnTo>
                  <a:lnTo>
                    <a:pt x="443400" y="88267"/>
                  </a:lnTo>
                  <a:lnTo>
                    <a:pt x="443013" y="88654"/>
                  </a:lnTo>
                  <a:lnTo>
                    <a:pt x="442754" y="89171"/>
                  </a:lnTo>
                  <a:lnTo>
                    <a:pt x="442366" y="90205"/>
                  </a:lnTo>
                  <a:lnTo>
                    <a:pt x="442366" y="90980"/>
                  </a:lnTo>
                  <a:lnTo>
                    <a:pt x="438619" y="108944"/>
                  </a:lnTo>
                  <a:lnTo>
                    <a:pt x="438748" y="110236"/>
                  </a:lnTo>
                  <a:lnTo>
                    <a:pt x="439394" y="110365"/>
                  </a:lnTo>
                  <a:lnTo>
                    <a:pt x="441074" y="109978"/>
                  </a:lnTo>
                  <a:lnTo>
                    <a:pt x="442366" y="109848"/>
                  </a:lnTo>
                  <a:lnTo>
                    <a:pt x="443013" y="109978"/>
                  </a:lnTo>
                  <a:lnTo>
                    <a:pt x="443400" y="110365"/>
                  </a:lnTo>
                  <a:lnTo>
                    <a:pt x="443788" y="111141"/>
                  </a:lnTo>
                  <a:lnTo>
                    <a:pt x="444563" y="113208"/>
                  </a:lnTo>
                  <a:lnTo>
                    <a:pt x="445985" y="115922"/>
                  </a:lnTo>
                  <a:lnTo>
                    <a:pt x="446631" y="117602"/>
                  </a:lnTo>
                  <a:lnTo>
                    <a:pt x="446760" y="118636"/>
                  </a:lnTo>
                  <a:lnTo>
                    <a:pt x="446631" y="119412"/>
                  </a:lnTo>
                  <a:lnTo>
                    <a:pt x="445339" y="121221"/>
                  </a:lnTo>
                  <a:lnTo>
                    <a:pt x="444305" y="122384"/>
                  </a:lnTo>
                  <a:lnTo>
                    <a:pt x="443013" y="124840"/>
                  </a:lnTo>
                  <a:lnTo>
                    <a:pt x="442366" y="125744"/>
                  </a:lnTo>
                  <a:lnTo>
                    <a:pt x="441591" y="126520"/>
                  </a:lnTo>
                  <a:lnTo>
                    <a:pt x="439523" y="128200"/>
                  </a:lnTo>
                  <a:lnTo>
                    <a:pt x="439006" y="128716"/>
                  </a:lnTo>
                  <a:lnTo>
                    <a:pt x="438489" y="129363"/>
                  </a:lnTo>
                  <a:lnTo>
                    <a:pt x="437972" y="130526"/>
                  </a:lnTo>
                  <a:lnTo>
                    <a:pt x="437843" y="131301"/>
                  </a:lnTo>
                  <a:lnTo>
                    <a:pt x="438489" y="143966"/>
                  </a:lnTo>
                  <a:lnTo>
                    <a:pt x="438748" y="144483"/>
                  </a:lnTo>
                  <a:lnTo>
                    <a:pt x="439006" y="144871"/>
                  </a:lnTo>
                  <a:lnTo>
                    <a:pt x="439265" y="145388"/>
                  </a:lnTo>
                  <a:lnTo>
                    <a:pt x="439653" y="145775"/>
                  </a:lnTo>
                  <a:lnTo>
                    <a:pt x="440945" y="146809"/>
                  </a:lnTo>
                  <a:lnTo>
                    <a:pt x="441462" y="146938"/>
                  </a:lnTo>
                  <a:lnTo>
                    <a:pt x="444046" y="147585"/>
                  </a:lnTo>
                  <a:lnTo>
                    <a:pt x="444563" y="147843"/>
                  </a:lnTo>
                  <a:lnTo>
                    <a:pt x="444951" y="147972"/>
                  </a:lnTo>
                  <a:lnTo>
                    <a:pt x="445209" y="148877"/>
                  </a:lnTo>
                  <a:lnTo>
                    <a:pt x="446760" y="163093"/>
                  </a:lnTo>
                  <a:lnTo>
                    <a:pt x="447148" y="164256"/>
                  </a:lnTo>
                  <a:lnTo>
                    <a:pt x="448182" y="167228"/>
                  </a:lnTo>
                  <a:lnTo>
                    <a:pt x="448570" y="168520"/>
                  </a:lnTo>
                  <a:lnTo>
                    <a:pt x="448570" y="169554"/>
                  </a:lnTo>
                  <a:lnTo>
                    <a:pt x="448440" y="172139"/>
                  </a:lnTo>
                  <a:lnTo>
                    <a:pt x="449087" y="176921"/>
                  </a:lnTo>
                  <a:lnTo>
                    <a:pt x="448957" y="178084"/>
                  </a:lnTo>
                  <a:lnTo>
                    <a:pt x="448699" y="179118"/>
                  </a:lnTo>
                  <a:lnTo>
                    <a:pt x="448182" y="179635"/>
                  </a:lnTo>
                  <a:lnTo>
                    <a:pt x="445727" y="180927"/>
                  </a:lnTo>
                  <a:lnTo>
                    <a:pt x="444046" y="181315"/>
                  </a:lnTo>
                  <a:lnTo>
                    <a:pt x="443400" y="181444"/>
                  </a:lnTo>
                  <a:lnTo>
                    <a:pt x="441591" y="182607"/>
                  </a:lnTo>
                  <a:lnTo>
                    <a:pt x="440428" y="182995"/>
                  </a:lnTo>
                  <a:lnTo>
                    <a:pt x="439911" y="183124"/>
                  </a:lnTo>
                  <a:lnTo>
                    <a:pt x="437843" y="183382"/>
                  </a:lnTo>
                  <a:lnTo>
                    <a:pt x="437197" y="183512"/>
                  </a:lnTo>
                  <a:lnTo>
                    <a:pt x="436680" y="183641"/>
                  </a:lnTo>
                  <a:lnTo>
                    <a:pt x="435259" y="184416"/>
                  </a:lnTo>
                  <a:lnTo>
                    <a:pt x="434612" y="184545"/>
                  </a:lnTo>
                  <a:lnTo>
                    <a:pt x="433966" y="184675"/>
                  </a:lnTo>
                  <a:lnTo>
                    <a:pt x="428926" y="184416"/>
                  </a:lnTo>
                  <a:lnTo>
                    <a:pt x="428280" y="184545"/>
                  </a:lnTo>
                  <a:lnTo>
                    <a:pt x="427634" y="184675"/>
                  </a:lnTo>
                  <a:lnTo>
                    <a:pt x="427117" y="184933"/>
                  </a:lnTo>
                  <a:lnTo>
                    <a:pt x="426729" y="185192"/>
                  </a:lnTo>
                  <a:lnTo>
                    <a:pt x="426342" y="185579"/>
                  </a:lnTo>
                  <a:lnTo>
                    <a:pt x="425437" y="186096"/>
                  </a:lnTo>
                  <a:lnTo>
                    <a:pt x="424403" y="186613"/>
                  </a:lnTo>
                  <a:lnTo>
                    <a:pt x="422723" y="187259"/>
                  </a:lnTo>
                  <a:lnTo>
                    <a:pt x="422077" y="187389"/>
                  </a:lnTo>
                  <a:lnTo>
                    <a:pt x="421431" y="187389"/>
                  </a:lnTo>
                  <a:lnTo>
                    <a:pt x="420784" y="187259"/>
                  </a:lnTo>
                  <a:lnTo>
                    <a:pt x="420268" y="187130"/>
                  </a:lnTo>
                  <a:lnTo>
                    <a:pt x="419234" y="186742"/>
                  </a:lnTo>
                  <a:lnTo>
                    <a:pt x="418846" y="186484"/>
                  </a:lnTo>
                  <a:lnTo>
                    <a:pt x="418587" y="186226"/>
                  </a:lnTo>
                  <a:lnTo>
                    <a:pt x="418458" y="185967"/>
                  </a:lnTo>
                  <a:lnTo>
                    <a:pt x="418200" y="185579"/>
                  </a:lnTo>
                  <a:lnTo>
                    <a:pt x="417812" y="185321"/>
                  </a:lnTo>
                  <a:lnTo>
                    <a:pt x="417295" y="185450"/>
                  </a:lnTo>
                  <a:lnTo>
                    <a:pt x="416778" y="185708"/>
                  </a:lnTo>
                  <a:lnTo>
                    <a:pt x="416390" y="186096"/>
                  </a:lnTo>
                  <a:lnTo>
                    <a:pt x="415744" y="187001"/>
                  </a:lnTo>
                  <a:lnTo>
                    <a:pt x="413418" y="191653"/>
                  </a:lnTo>
                  <a:lnTo>
                    <a:pt x="413160" y="192170"/>
                  </a:lnTo>
                  <a:lnTo>
                    <a:pt x="412772" y="192429"/>
                  </a:lnTo>
                  <a:lnTo>
                    <a:pt x="411221" y="193333"/>
                  </a:lnTo>
                  <a:lnTo>
                    <a:pt x="410963" y="193721"/>
                  </a:lnTo>
                  <a:lnTo>
                    <a:pt x="410446" y="194109"/>
                  </a:lnTo>
                  <a:lnTo>
                    <a:pt x="409541" y="195530"/>
                  </a:lnTo>
                  <a:lnTo>
                    <a:pt x="408895" y="196306"/>
                  </a:lnTo>
                  <a:lnTo>
                    <a:pt x="408120" y="197081"/>
                  </a:lnTo>
                  <a:lnTo>
                    <a:pt x="407603" y="197339"/>
                  </a:lnTo>
                  <a:lnTo>
                    <a:pt x="407086" y="197598"/>
                  </a:lnTo>
                  <a:lnTo>
                    <a:pt x="406569" y="197727"/>
                  </a:lnTo>
                  <a:lnTo>
                    <a:pt x="405793" y="197727"/>
                  </a:lnTo>
                  <a:lnTo>
                    <a:pt x="405147" y="197727"/>
                  </a:lnTo>
                  <a:lnTo>
                    <a:pt x="402692" y="197081"/>
                  </a:lnTo>
                  <a:lnTo>
                    <a:pt x="402175" y="197081"/>
                  </a:lnTo>
                  <a:lnTo>
                    <a:pt x="398686" y="198503"/>
                  </a:lnTo>
                  <a:lnTo>
                    <a:pt x="398298" y="202121"/>
                  </a:lnTo>
                  <a:lnTo>
                    <a:pt x="395584" y="207808"/>
                  </a:lnTo>
                  <a:lnTo>
                    <a:pt x="395067" y="209229"/>
                  </a:lnTo>
                  <a:lnTo>
                    <a:pt x="394938" y="210392"/>
                  </a:lnTo>
                  <a:lnTo>
                    <a:pt x="396489" y="219438"/>
                  </a:lnTo>
                  <a:lnTo>
                    <a:pt x="396359" y="220472"/>
                  </a:lnTo>
                  <a:lnTo>
                    <a:pt x="396101" y="221506"/>
                  </a:lnTo>
                  <a:lnTo>
                    <a:pt x="393775" y="227451"/>
                  </a:lnTo>
                  <a:lnTo>
                    <a:pt x="391965" y="230811"/>
                  </a:lnTo>
                  <a:lnTo>
                    <a:pt x="391578" y="231328"/>
                  </a:lnTo>
                  <a:lnTo>
                    <a:pt x="391190" y="231716"/>
                  </a:lnTo>
                  <a:lnTo>
                    <a:pt x="390802" y="232233"/>
                  </a:lnTo>
                  <a:lnTo>
                    <a:pt x="390415" y="232749"/>
                  </a:lnTo>
                  <a:lnTo>
                    <a:pt x="389251" y="235334"/>
                  </a:lnTo>
                  <a:lnTo>
                    <a:pt x="388605" y="236239"/>
                  </a:lnTo>
                  <a:lnTo>
                    <a:pt x="384728" y="239599"/>
                  </a:lnTo>
                  <a:lnTo>
                    <a:pt x="384341" y="240374"/>
                  </a:lnTo>
                  <a:lnTo>
                    <a:pt x="382531" y="248645"/>
                  </a:lnTo>
                  <a:lnTo>
                    <a:pt x="382531" y="249421"/>
                  </a:lnTo>
                  <a:lnTo>
                    <a:pt x="382661" y="249550"/>
                  </a:lnTo>
                  <a:lnTo>
                    <a:pt x="382661" y="249550"/>
                  </a:lnTo>
                  <a:lnTo>
                    <a:pt x="382661" y="249550"/>
                  </a:lnTo>
                  <a:lnTo>
                    <a:pt x="383824" y="252135"/>
                  </a:lnTo>
                  <a:lnTo>
                    <a:pt x="384341" y="253039"/>
                  </a:lnTo>
                  <a:lnTo>
                    <a:pt x="387830" y="257175"/>
                  </a:lnTo>
                  <a:lnTo>
                    <a:pt x="388734" y="257950"/>
                  </a:lnTo>
                  <a:lnTo>
                    <a:pt x="390802" y="258984"/>
                  </a:lnTo>
                  <a:lnTo>
                    <a:pt x="392741" y="259372"/>
                  </a:lnTo>
                  <a:lnTo>
                    <a:pt x="393904" y="259889"/>
                  </a:lnTo>
                  <a:lnTo>
                    <a:pt x="394808" y="260535"/>
                  </a:lnTo>
                  <a:lnTo>
                    <a:pt x="395067" y="260922"/>
                  </a:lnTo>
                  <a:lnTo>
                    <a:pt x="395584" y="261956"/>
                  </a:lnTo>
                  <a:lnTo>
                    <a:pt x="395972" y="262344"/>
                  </a:lnTo>
                  <a:lnTo>
                    <a:pt x="396489" y="262602"/>
                  </a:lnTo>
                  <a:lnTo>
                    <a:pt x="398298" y="263249"/>
                  </a:lnTo>
                  <a:lnTo>
                    <a:pt x="398686" y="263507"/>
                  </a:lnTo>
                  <a:lnTo>
                    <a:pt x="399202" y="263895"/>
                  </a:lnTo>
                  <a:lnTo>
                    <a:pt x="399461" y="264283"/>
                  </a:lnTo>
                  <a:lnTo>
                    <a:pt x="400236" y="265833"/>
                  </a:lnTo>
                  <a:lnTo>
                    <a:pt x="400624" y="266221"/>
                  </a:lnTo>
                  <a:lnTo>
                    <a:pt x="401141" y="266350"/>
                  </a:lnTo>
                  <a:lnTo>
                    <a:pt x="401916" y="266867"/>
                  </a:lnTo>
                  <a:lnTo>
                    <a:pt x="402563" y="267513"/>
                  </a:lnTo>
                  <a:lnTo>
                    <a:pt x="404113" y="271003"/>
                  </a:lnTo>
                  <a:lnTo>
                    <a:pt x="404760" y="271907"/>
                  </a:lnTo>
                  <a:lnTo>
                    <a:pt x="406439" y="275397"/>
                  </a:lnTo>
                  <a:lnTo>
                    <a:pt x="408249" y="282892"/>
                  </a:lnTo>
                  <a:lnTo>
                    <a:pt x="408895" y="284184"/>
                  </a:lnTo>
                  <a:lnTo>
                    <a:pt x="410187" y="285864"/>
                  </a:lnTo>
                  <a:lnTo>
                    <a:pt x="410446" y="286640"/>
                  </a:lnTo>
                  <a:lnTo>
                    <a:pt x="410834" y="287545"/>
                  </a:lnTo>
                  <a:lnTo>
                    <a:pt x="411738" y="291551"/>
                  </a:lnTo>
                  <a:lnTo>
                    <a:pt x="412126" y="292714"/>
                  </a:lnTo>
                  <a:lnTo>
                    <a:pt x="412772" y="293619"/>
                  </a:lnTo>
                  <a:lnTo>
                    <a:pt x="413806" y="296203"/>
                  </a:lnTo>
                  <a:lnTo>
                    <a:pt x="414710" y="299693"/>
                  </a:lnTo>
                  <a:lnTo>
                    <a:pt x="414969" y="301372"/>
                  </a:lnTo>
                  <a:lnTo>
                    <a:pt x="414969" y="302536"/>
                  </a:lnTo>
                  <a:lnTo>
                    <a:pt x="414581" y="303053"/>
                  </a:lnTo>
                  <a:lnTo>
                    <a:pt x="414323" y="303569"/>
                  </a:lnTo>
                  <a:lnTo>
                    <a:pt x="413806" y="303828"/>
                  </a:lnTo>
                  <a:lnTo>
                    <a:pt x="413418" y="304086"/>
                  </a:lnTo>
                  <a:lnTo>
                    <a:pt x="412772" y="304086"/>
                  </a:lnTo>
                  <a:lnTo>
                    <a:pt x="412255" y="303957"/>
                  </a:lnTo>
                  <a:lnTo>
                    <a:pt x="411738" y="303699"/>
                  </a:lnTo>
                  <a:lnTo>
                    <a:pt x="411221" y="303569"/>
                  </a:lnTo>
                  <a:lnTo>
                    <a:pt x="410575" y="303569"/>
                  </a:lnTo>
                  <a:lnTo>
                    <a:pt x="410058" y="303699"/>
                  </a:lnTo>
                  <a:lnTo>
                    <a:pt x="409541" y="303957"/>
                  </a:lnTo>
                  <a:lnTo>
                    <a:pt x="408507" y="305120"/>
                  </a:lnTo>
                  <a:lnTo>
                    <a:pt x="408120" y="305637"/>
                  </a:lnTo>
                  <a:lnTo>
                    <a:pt x="407215" y="306413"/>
                  </a:lnTo>
                  <a:lnTo>
                    <a:pt x="406956" y="306800"/>
                  </a:lnTo>
                  <a:lnTo>
                    <a:pt x="406569" y="307446"/>
                  </a:lnTo>
                  <a:lnTo>
                    <a:pt x="406310" y="308222"/>
                  </a:lnTo>
                  <a:lnTo>
                    <a:pt x="406310" y="308868"/>
                  </a:lnTo>
                  <a:lnTo>
                    <a:pt x="406439" y="309385"/>
                  </a:lnTo>
                  <a:lnTo>
                    <a:pt x="406698" y="309902"/>
                  </a:lnTo>
                  <a:lnTo>
                    <a:pt x="408378" y="312357"/>
                  </a:lnTo>
                  <a:lnTo>
                    <a:pt x="408766" y="313133"/>
                  </a:lnTo>
                  <a:lnTo>
                    <a:pt x="408507" y="313520"/>
                  </a:lnTo>
                  <a:lnTo>
                    <a:pt x="408120" y="313650"/>
                  </a:lnTo>
                  <a:lnTo>
                    <a:pt x="407603" y="313650"/>
                  </a:lnTo>
                  <a:lnTo>
                    <a:pt x="406439" y="313908"/>
                  </a:lnTo>
                  <a:lnTo>
                    <a:pt x="405406" y="314554"/>
                  </a:lnTo>
                  <a:lnTo>
                    <a:pt x="405147" y="314942"/>
                  </a:lnTo>
                  <a:lnTo>
                    <a:pt x="403338" y="316234"/>
                  </a:lnTo>
                  <a:lnTo>
                    <a:pt x="402950" y="316751"/>
                  </a:lnTo>
                  <a:lnTo>
                    <a:pt x="402692" y="317268"/>
                  </a:lnTo>
                  <a:lnTo>
                    <a:pt x="402046" y="319594"/>
                  </a:lnTo>
                  <a:lnTo>
                    <a:pt x="401658" y="320111"/>
                  </a:lnTo>
                  <a:lnTo>
                    <a:pt x="400882" y="320757"/>
                  </a:lnTo>
                  <a:lnTo>
                    <a:pt x="400365" y="321016"/>
                  </a:lnTo>
                  <a:lnTo>
                    <a:pt x="399978" y="321275"/>
                  </a:lnTo>
                  <a:lnTo>
                    <a:pt x="399461" y="321275"/>
                  </a:lnTo>
                  <a:lnTo>
                    <a:pt x="399073" y="320887"/>
                  </a:lnTo>
                  <a:lnTo>
                    <a:pt x="398556" y="320757"/>
                  </a:lnTo>
                  <a:lnTo>
                    <a:pt x="398039" y="320757"/>
                  </a:lnTo>
                  <a:lnTo>
                    <a:pt x="397652" y="321016"/>
                  </a:lnTo>
                  <a:lnTo>
                    <a:pt x="397264" y="321404"/>
                  </a:lnTo>
                  <a:lnTo>
                    <a:pt x="396876" y="321791"/>
                  </a:lnTo>
                  <a:lnTo>
                    <a:pt x="396489" y="322179"/>
                  </a:lnTo>
                  <a:lnTo>
                    <a:pt x="395325" y="322696"/>
                  </a:lnTo>
                  <a:lnTo>
                    <a:pt x="395067" y="323213"/>
                  </a:lnTo>
                  <a:lnTo>
                    <a:pt x="395196" y="323730"/>
                  </a:lnTo>
                  <a:lnTo>
                    <a:pt x="395325" y="324505"/>
                  </a:lnTo>
                  <a:lnTo>
                    <a:pt x="395067" y="324764"/>
                  </a:lnTo>
                  <a:lnTo>
                    <a:pt x="394033" y="324893"/>
                  </a:lnTo>
                  <a:lnTo>
                    <a:pt x="393904" y="325281"/>
                  </a:lnTo>
                  <a:lnTo>
                    <a:pt x="394421" y="326315"/>
                  </a:lnTo>
                  <a:lnTo>
                    <a:pt x="394292" y="326961"/>
                  </a:lnTo>
                  <a:lnTo>
                    <a:pt x="393904" y="327478"/>
                  </a:lnTo>
                  <a:lnTo>
                    <a:pt x="393387" y="328382"/>
                  </a:lnTo>
                  <a:lnTo>
                    <a:pt x="391836" y="329545"/>
                  </a:lnTo>
                  <a:lnTo>
                    <a:pt x="390931" y="331355"/>
                  </a:lnTo>
                  <a:lnTo>
                    <a:pt x="390415" y="331742"/>
                  </a:lnTo>
                  <a:lnTo>
                    <a:pt x="389898" y="331742"/>
                  </a:lnTo>
                  <a:lnTo>
                    <a:pt x="389510" y="331613"/>
                  </a:lnTo>
                  <a:lnTo>
                    <a:pt x="388993" y="331484"/>
                  </a:lnTo>
                  <a:lnTo>
                    <a:pt x="388605" y="331613"/>
                  </a:lnTo>
                  <a:lnTo>
                    <a:pt x="388088" y="332389"/>
                  </a:lnTo>
                  <a:lnTo>
                    <a:pt x="387701" y="332647"/>
                  </a:lnTo>
                  <a:lnTo>
                    <a:pt x="387313" y="333035"/>
                  </a:lnTo>
                  <a:lnTo>
                    <a:pt x="386538" y="334586"/>
                  </a:lnTo>
                  <a:lnTo>
                    <a:pt x="385891" y="335361"/>
                  </a:lnTo>
                  <a:lnTo>
                    <a:pt x="386021" y="335878"/>
                  </a:lnTo>
                  <a:lnTo>
                    <a:pt x="386279" y="336395"/>
                  </a:lnTo>
                  <a:lnTo>
                    <a:pt x="386538" y="337429"/>
                  </a:lnTo>
                  <a:lnTo>
                    <a:pt x="386408" y="338333"/>
                  </a:lnTo>
                  <a:lnTo>
                    <a:pt x="386021" y="339367"/>
                  </a:lnTo>
                  <a:lnTo>
                    <a:pt x="385504" y="339884"/>
                  </a:lnTo>
                  <a:lnTo>
                    <a:pt x="384857" y="340143"/>
                  </a:lnTo>
                  <a:lnTo>
                    <a:pt x="384341" y="340530"/>
                  </a:lnTo>
                  <a:lnTo>
                    <a:pt x="383953" y="341306"/>
                  </a:lnTo>
                  <a:lnTo>
                    <a:pt x="384082" y="341823"/>
                  </a:lnTo>
                  <a:lnTo>
                    <a:pt x="384211" y="342469"/>
                  </a:lnTo>
                  <a:lnTo>
                    <a:pt x="384211" y="342857"/>
                  </a:lnTo>
                  <a:lnTo>
                    <a:pt x="383824" y="343115"/>
                  </a:lnTo>
                  <a:lnTo>
                    <a:pt x="383436" y="343244"/>
                  </a:lnTo>
                  <a:lnTo>
                    <a:pt x="383048" y="343503"/>
                  </a:lnTo>
                  <a:lnTo>
                    <a:pt x="382531" y="343632"/>
                  </a:lnTo>
                  <a:lnTo>
                    <a:pt x="382014" y="343503"/>
                  </a:lnTo>
                  <a:lnTo>
                    <a:pt x="380980" y="342986"/>
                  </a:lnTo>
                  <a:lnTo>
                    <a:pt x="380464" y="342857"/>
                  </a:lnTo>
                  <a:lnTo>
                    <a:pt x="380076" y="342598"/>
                  </a:lnTo>
                  <a:lnTo>
                    <a:pt x="378783" y="341564"/>
                  </a:lnTo>
                  <a:lnTo>
                    <a:pt x="378267" y="341435"/>
                  </a:lnTo>
                  <a:lnTo>
                    <a:pt x="377620" y="341823"/>
                  </a:lnTo>
                  <a:lnTo>
                    <a:pt x="376328" y="344278"/>
                  </a:lnTo>
                  <a:lnTo>
                    <a:pt x="376199" y="345312"/>
                  </a:lnTo>
                  <a:lnTo>
                    <a:pt x="375553" y="347250"/>
                  </a:lnTo>
                  <a:lnTo>
                    <a:pt x="374777" y="348413"/>
                  </a:lnTo>
                  <a:lnTo>
                    <a:pt x="374907" y="349706"/>
                  </a:lnTo>
                  <a:lnTo>
                    <a:pt x="375036" y="350352"/>
                  </a:lnTo>
                  <a:lnTo>
                    <a:pt x="374519" y="351386"/>
                  </a:lnTo>
                  <a:lnTo>
                    <a:pt x="374390" y="352808"/>
                  </a:lnTo>
                  <a:lnTo>
                    <a:pt x="374260" y="355780"/>
                  </a:lnTo>
                  <a:lnTo>
                    <a:pt x="374777" y="357331"/>
                  </a:lnTo>
                  <a:lnTo>
                    <a:pt x="375165" y="358235"/>
                  </a:lnTo>
                  <a:lnTo>
                    <a:pt x="378913" y="362629"/>
                  </a:lnTo>
                  <a:lnTo>
                    <a:pt x="379947" y="363534"/>
                  </a:lnTo>
                  <a:lnTo>
                    <a:pt x="380464" y="363792"/>
                  </a:lnTo>
                  <a:lnTo>
                    <a:pt x="380980" y="364051"/>
                  </a:lnTo>
                  <a:lnTo>
                    <a:pt x="381497" y="364051"/>
                  </a:lnTo>
                  <a:lnTo>
                    <a:pt x="382144" y="363922"/>
                  </a:lnTo>
                  <a:lnTo>
                    <a:pt x="382531" y="363534"/>
                  </a:lnTo>
                  <a:lnTo>
                    <a:pt x="383565" y="362371"/>
                  </a:lnTo>
                  <a:lnTo>
                    <a:pt x="384082" y="361983"/>
                  </a:lnTo>
                  <a:lnTo>
                    <a:pt x="384470" y="361595"/>
                  </a:lnTo>
                  <a:lnTo>
                    <a:pt x="384987" y="361337"/>
                  </a:lnTo>
                  <a:lnTo>
                    <a:pt x="386538" y="360691"/>
                  </a:lnTo>
                  <a:lnTo>
                    <a:pt x="387184" y="360561"/>
                  </a:lnTo>
                  <a:lnTo>
                    <a:pt x="387830" y="360691"/>
                  </a:lnTo>
                  <a:lnTo>
                    <a:pt x="388476" y="360820"/>
                  </a:lnTo>
                  <a:lnTo>
                    <a:pt x="388476" y="360820"/>
                  </a:lnTo>
                  <a:lnTo>
                    <a:pt x="390415" y="361983"/>
                  </a:lnTo>
                  <a:lnTo>
                    <a:pt x="391061" y="362242"/>
                  </a:lnTo>
                  <a:lnTo>
                    <a:pt x="391707" y="362242"/>
                  </a:lnTo>
                  <a:lnTo>
                    <a:pt x="393128" y="362242"/>
                  </a:lnTo>
                  <a:lnTo>
                    <a:pt x="393775" y="362371"/>
                  </a:lnTo>
                  <a:lnTo>
                    <a:pt x="394808" y="362758"/>
                  </a:lnTo>
                  <a:lnTo>
                    <a:pt x="398427" y="364697"/>
                  </a:lnTo>
                  <a:lnTo>
                    <a:pt x="399461" y="365472"/>
                  </a:lnTo>
                  <a:lnTo>
                    <a:pt x="400236" y="366119"/>
                  </a:lnTo>
                  <a:lnTo>
                    <a:pt x="400882" y="367023"/>
                  </a:lnTo>
                  <a:lnTo>
                    <a:pt x="402046" y="369866"/>
                  </a:lnTo>
                  <a:lnTo>
                    <a:pt x="402563" y="371417"/>
                  </a:lnTo>
                  <a:lnTo>
                    <a:pt x="402821" y="374131"/>
                  </a:lnTo>
                  <a:lnTo>
                    <a:pt x="402563" y="378525"/>
                  </a:lnTo>
                  <a:lnTo>
                    <a:pt x="402433" y="379171"/>
                  </a:lnTo>
                  <a:lnTo>
                    <a:pt x="402175" y="379817"/>
                  </a:lnTo>
                  <a:lnTo>
                    <a:pt x="401658" y="380205"/>
                  </a:lnTo>
                  <a:lnTo>
                    <a:pt x="400753" y="380851"/>
                  </a:lnTo>
                  <a:lnTo>
                    <a:pt x="399978" y="381497"/>
                  </a:lnTo>
                  <a:lnTo>
                    <a:pt x="399590" y="381885"/>
                  </a:lnTo>
                  <a:lnTo>
                    <a:pt x="398427" y="383953"/>
                  </a:lnTo>
                  <a:lnTo>
                    <a:pt x="397135" y="385762"/>
                  </a:lnTo>
                  <a:lnTo>
                    <a:pt x="396618" y="386796"/>
                  </a:lnTo>
                  <a:lnTo>
                    <a:pt x="396359" y="387442"/>
                  </a:lnTo>
                  <a:lnTo>
                    <a:pt x="396101" y="387959"/>
                  </a:lnTo>
                  <a:lnTo>
                    <a:pt x="395842" y="390156"/>
                  </a:lnTo>
                  <a:lnTo>
                    <a:pt x="395584" y="390673"/>
                  </a:lnTo>
                  <a:lnTo>
                    <a:pt x="394679" y="392094"/>
                  </a:lnTo>
                  <a:lnTo>
                    <a:pt x="394421" y="392741"/>
                  </a:lnTo>
                  <a:lnTo>
                    <a:pt x="394292" y="393387"/>
                  </a:lnTo>
                  <a:lnTo>
                    <a:pt x="394162" y="394679"/>
                  </a:lnTo>
                  <a:lnTo>
                    <a:pt x="394033" y="395325"/>
                  </a:lnTo>
                  <a:lnTo>
                    <a:pt x="393775" y="395842"/>
                  </a:lnTo>
                  <a:lnTo>
                    <a:pt x="393128" y="396876"/>
                  </a:lnTo>
                  <a:lnTo>
                    <a:pt x="392999" y="397651"/>
                  </a:lnTo>
                  <a:lnTo>
                    <a:pt x="392999" y="399073"/>
                  </a:lnTo>
                  <a:lnTo>
                    <a:pt x="393516" y="400624"/>
                  </a:lnTo>
                  <a:lnTo>
                    <a:pt x="393904" y="403209"/>
                  </a:lnTo>
                  <a:lnTo>
                    <a:pt x="394292" y="404242"/>
                  </a:lnTo>
                  <a:lnTo>
                    <a:pt x="395196" y="405535"/>
                  </a:lnTo>
                  <a:lnTo>
                    <a:pt x="395455" y="406569"/>
                  </a:lnTo>
                  <a:lnTo>
                    <a:pt x="395713" y="408119"/>
                  </a:lnTo>
                  <a:lnTo>
                    <a:pt x="396230" y="409929"/>
                  </a:lnTo>
                  <a:lnTo>
                    <a:pt x="396489" y="410575"/>
                  </a:lnTo>
                  <a:lnTo>
                    <a:pt x="398039" y="411996"/>
                  </a:lnTo>
                  <a:lnTo>
                    <a:pt x="398298" y="412513"/>
                  </a:lnTo>
                  <a:lnTo>
                    <a:pt x="398298" y="413289"/>
                  </a:lnTo>
                  <a:lnTo>
                    <a:pt x="398168" y="415357"/>
                  </a:lnTo>
                  <a:lnTo>
                    <a:pt x="398944" y="417553"/>
                  </a:lnTo>
                  <a:lnTo>
                    <a:pt x="401399" y="423369"/>
                  </a:lnTo>
                  <a:lnTo>
                    <a:pt x="399461" y="423627"/>
                  </a:lnTo>
                  <a:lnTo>
                    <a:pt x="398944" y="423886"/>
                  </a:lnTo>
                  <a:lnTo>
                    <a:pt x="398168" y="424532"/>
                  </a:lnTo>
                  <a:lnTo>
                    <a:pt x="396747" y="424920"/>
                  </a:lnTo>
                  <a:lnTo>
                    <a:pt x="395067" y="426083"/>
                  </a:lnTo>
                  <a:lnTo>
                    <a:pt x="394292" y="426987"/>
                  </a:lnTo>
                  <a:lnTo>
                    <a:pt x="393645" y="428538"/>
                  </a:lnTo>
                  <a:lnTo>
                    <a:pt x="392999" y="429055"/>
                  </a:lnTo>
                  <a:lnTo>
                    <a:pt x="392094" y="429443"/>
                  </a:lnTo>
                  <a:lnTo>
                    <a:pt x="390544" y="430089"/>
                  </a:lnTo>
                  <a:lnTo>
                    <a:pt x="389768" y="430735"/>
                  </a:lnTo>
                  <a:lnTo>
                    <a:pt x="389251" y="431381"/>
                  </a:lnTo>
                  <a:lnTo>
                    <a:pt x="388993" y="432157"/>
                  </a:lnTo>
                  <a:lnTo>
                    <a:pt x="388347" y="432545"/>
                  </a:lnTo>
                  <a:lnTo>
                    <a:pt x="387701" y="432674"/>
                  </a:lnTo>
                  <a:lnTo>
                    <a:pt x="386925" y="432545"/>
                  </a:lnTo>
                  <a:lnTo>
                    <a:pt x="386408" y="432932"/>
                  </a:lnTo>
                  <a:lnTo>
                    <a:pt x="386021" y="433449"/>
                  </a:lnTo>
                  <a:lnTo>
                    <a:pt x="385504" y="434742"/>
                  </a:lnTo>
                  <a:lnTo>
                    <a:pt x="384728" y="435258"/>
                  </a:lnTo>
                  <a:lnTo>
                    <a:pt x="371934" y="439911"/>
                  </a:lnTo>
                  <a:lnTo>
                    <a:pt x="369349" y="441720"/>
                  </a:lnTo>
                  <a:lnTo>
                    <a:pt x="367411" y="443529"/>
                  </a:lnTo>
                  <a:lnTo>
                    <a:pt x="366377" y="445080"/>
                  </a:lnTo>
                  <a:lnTo>
                    <a:pt x="364697" y="449086"/>
                  </a:lnTo>
                  <a:lnTo>
                    <a:pt x="363146" y="451283"/>
                  </a:lnTo>
                  <a:lnTo>
                    <a:pt x="361466" y="452576"/>
                  </a:lnTo>
                  <a:lnTo>
                    <a:pt x="334844" y="466921"/>
                  </a:lnTo>
                  <a:lnTo>
                    <a:pt x="333164" y="467308"/>
                  </a:lnTo>
                  <a:lnTo>
                    <a:pt x="331872" y="467438"/>
                  </a:lnTo>
                  <a:lnTo>
                    <a:pt x="330967" y="467308"/>
                  </a:lnTo>
                  <a:lnTo>
                    <a:pt x="330063" y="466791"/>
                  </a:lnTo>
                  <a:lnTo>
                    <a:pt x="326832" y="465628"/>
                  </a:lnTo>
                  <a:lnTo>
                    <a:pt x="323213" y="465370"/>
                  </a:lnTo>
                  <a:lnTo>
                    <a:pt x="321921" y="465111"/>
                  </a:lnTo>
                  <a:lnTo>
                    <a:pt x="320499" y="464594"/>
                  </a:lnTo>
                  <a:lnTo>
                    <a:pt x="319724" y="464207"/>
                  </a:lnTo>
                  <a:lnTo>
                    <a:pt x="319078" y="463690"/>
                  </a:lnTo>
                  <a:lnTo>
                    <a:pt x="318819" y="463302"/>
                  </a:lnTo>
                  <a:lnTo>
                    <a:pt x="318561" y="462914"/>
                  </a:lnTo>
                  <a:lnTo>
                    <a:pt x="318302" y="462527"/>
                  </a:lnTo>
                  <a:lnTo>
                    <a:pt x="317915" y="462010"/>
                  </a:lnTo>
                  <a:lnTo>
                    <a:pt x="317398" y="462010"/>
                  </a:lnTo>
                  <a:lnTo>
                    <a:pt x="316105" y="462527"/>
                  </a:lnTo>
                  <a:lnTo>
                    <a:pt x="314942" y="462785"/>
                  </a:lnTo>
                  <a:lnTo>
                    <a:pt x="312228" y="462785"/>
                  </a:lnTo>
                  <a:lnTo>
                    <a:pt x="311065" y="462656"/>
                  </a:lnTo>
                  <a:lnTo>
                    <a:pt x="310290" y="462397"/>
                  </a:lnTo>
                  <a:lnTo>
                    <a:pt x="309902" y="461880"/>
                  </a:lnTo>
                  <a:lnTo>
                    <a:pt x="308610" y="460847"/>
                  </a:lnTo>
                  <a:lnTo>
                    <a:pt x="305896" y="459167"/>
                  </a:lnTo>
                  <a:lnTo>
                    <a:pt x="300856" y="456970"/>
                  </a:lnTo>
                  <a:lnTo>
                    <a:pt x="296333" y="455677"/>
                  </a:lnTo>
                  <a:lnTo>
                    <a:pt x="292197" y="455419"/>
                  </a:lnTo>
                  <a:lnTo>
                    <a:pt x="284831" y="456065"/>
                  </a:lnTo>
                  <a:lnTo>
                    <a:pt x="258338" y="454773"/>
                  </a:lnTo>
                  <a:lnTo>
                    <a:pt x="236497" y="456065"/>
                  </a:lnTo>
                  <a:lnTo>
                    <a:pt x="232750" y="455419"/>
                  </a:lnTo>
                  <a:lnTo>
                    <a:pt x="226159" y="453480"/>
                  </a:lnTo>
                  <a:lnTo>
                    <a:pt x="222152" y="453222"/>
                  </a:lnTo>
                  <a:lnTo>
                    <a:pt x="215045" y="457616"/>
                  </a:lnTo>
                  <a:lnTo>
                    <a:pt x="202897" y="462268"/>
                  </a:lnTo>
                  <a:lnTo>
                    <a:pt x="200312" y="463819"/>
                  </a:lnTo>
                  <a:lnTo>
                    <a:pt x="198761" y="465111"/>
                  </a:lnTo>
                  <a:lnTo>
                    <a:pt x="195918" y="469247"/>
                  </a:lnTo>
                  <a:lnTo>
                    <a:pt x="178342" y="486564"/>
                  </a:lnTo>
                  <a:lnTo>
                    <a:pt x="176662" y="487339"/>
                  </a:lnTo>
                  <a:lnTo>
                    <a:pt x="175241" y="487469"/>
                  </a:lnTo>
                  <a:lnTo>
                    <a:pt x="173690" y="486435"/>
                  </a:lnTo>
                  <a:lnTo>
                    <a:pt x="171751" y="484626"/>
                  </a:lnTo>
                  <a:lnTo>
                    <a:pt x="168262" y="480232"/>
                  </a:lnTo>
                  <a:lnTo>
                    <a:pt x="167099" y="478293"/>
                  </a:lnTo>
                  <a:lnTo>
                    <a:pt x="165548" y="473770"/>
                  </a:lnTo>
                  <a:lnTo>
                    <a:pt x="165160" y="473124"/>
                  </a:lnTo>
                  <a:lnTo>
                    <a:pt x="164902" y="472736"/>
                  </a:lnTo>
                  <a:lnTo>
                    <a:pt x="164644" y="472607"/>
                  </a:lnTo>
                  <a:lnTo>
                    <a:pt x="164385" y="472478"/>
                  </a:lnTo>
                  <a:lnTo>
                    <a:pt x="163739" y="472219"/>
                  </a:lnTo>
                  <a:lnTo>
                    <a:pt x="163093" y="472219"/>
                  </a:lnTo>
                  <a:lnTo>
                    <a:pt x="162059" y="472219"/>
                  </a:lnTo>
                  <a:lnTo>
                    <a:pt x="161025" y="472607"/>
                  </a:lnTo>
                  <a:lnTo>
                    <a:pt x="160896" y="472736"/>
                  </a:lnTo>
                  <a:lnTo>
                    <a:pt x="160767" y="472865"/>
                  </a:lnTo>
                  <a:lnTo>
                    <a:pt x="159345" y="474675"/>
                  </a:lnTo>
                  <a:lnTo>
                    <a:pt x="157665" y="475967"/>
                  </a:lnTo>
                  <a:lnTo>
                    <a:pt x="155856" y="476742"/>
                  </a:lnTo>
                  <a:lnTo>
                    <a:pt x="153530" y="477518"/>
                  </a:lnTo>
                  <a:lnTo>
                    <a:pt x="131560" y="486435"/>
                  </a:lnTo>
                  <a:lnTo>
                    <a:pt x="127553" y="486952"/>
                  </a:lnTo>
                  <a:lnTo>
                    <a:pt x="120833" y="485918"/>
                  </a:lnTo>
                  <a:lnTo>
                    <a:pt x="110882" y="485401"/>
                  </a:lnTo>
                  <a:lnTo>
                    <a:pt x="108168" y="485789"/>
                  </a:lnTo>
                  <a:lnTo>
                    <a:pt x="105713" y="486823"/>
                  </a:lnTo>
                  <a:lnTo>
                    <a:pt x="103775" y="488244"/>
                  </a:lnTo>
                  <a:lnTo>
                    <a:pt x="100673" y="490053"/>
                  </a:lnTo>
                  <a:lnTo>
                    <a:pt x="97959" y="490958"/>
                  </a:lnTo>
                  <a:lnTo>
                    <a:pt x="81676" y="493931"/>
                  </a:lnTo>
                  <a:lnTo>
                    <a:pt x="78057" y="495094"/>
                  </a:lnTo>
                  <a:lnTo>
                    <a:pt x="75343" y="496774"/>
                  </a:lnTo>
                  <a:lnTo>
                    <a:pt x="61644" y="515642"/>
                  </a:lnTo>
                  <a:lnTo>
                    <a:pt x="58930" y="518614"/>
                  </a:lnTo>
                  <a:lnTo>
                    <a:pt x="56604" y="520682"/>
                  </a:lnTo>
                  <a:lnTo>
                    <a:pt x="56217" y="521069"/>
                  </a:lnTo>
                  <a:lnTo>
                    <a:pt x="55958" y="521716"/>
                  </a:lnTo>
                  <a:lnTo>
                    <a:pt x="55958" y="522233"/>
                  </a:lnTo>
                  <a:lnTo>
                    <a:pt x="55958" y="522879"/>
                  </a:lnTo>
                  <a:lnTo>
                    <a:pt x="55958" y="523396"/>
                  </a:lnTo>
                  <a:lnTo>
                    <a:pt x="56087" y="523913"/>
                  </a:lnTo>
                  <a:lnTo>
                    <a:pt x="56863" y="525464"/>
                  </a:lnTo>
                  <a:lnTo>
                    <a:pt x="57380" y="527143"/>
                  </a:lnTo>
                  <a:lnTo>
                    <a:pt x="57767" y="529211"/>
                  </a:lnTo>
                  <a:lnTo>
                    <a:pt x="57897" y="530504"/>
                  </a:lnTo>
                  <a:lnTo>
                    <a:pt x="57509" y="531150"/>
                  </a:lnTo>
                  <a:lnTo>
                    <a:pt x="57380" y="532184"/>
                  </a:lnTo>
                  <a:lnTo>
                    <a:pt x="57121" y="533217"/>
                  </a:lnTo>
                  <a:lnTo>
                    <a:pt x="56863" y="533993"/>
                  </a:lnTo>
                  <a:lnTo>
                    <a:pt x="56346" y="534251"/>
                  </a:lnTo>
                  <a:lnTo>
                    <a:pt x="55312" y="535156"/>
                  </a:lnTo>
                  <a:lnTo>
                    <a:pt x="52856" y="539550"/>
                  </a:lnTo>
                  <a:lnTo>
                    <a:pt x="51564" y="541101"/>
                  </a:lnTo>
                  <a:lnTo>
                    <a:pt x="49884" y="542005"/>
                  </a:lnTo>
                  <a:lnTo>
                    <a:pt x="47170" y="542781"/>
                  </a:lnTo>
                  <a:lnTo>
                    <a:pt x="44456" y="543039"/>
                  </a:lnTo>
                  <a:lnTo>
                    <a:pt x="39933" y="541230"/>
                  </a:lnTo>
                  <a:lnTo>
                    <a:pt x="37866" y="542522"/>
                  </a:lnTo>
                  <a:lnTo>
                    <a:pt x="35410" y="545753"/>
                  </a:lnTo>
                  <a:lnTo>
                    <a:pt x="33342" y="547046"/>
                  </a:lnTo>
                  <a:lnTo>
                    <a:pt x="31404" y="547950"/>
                  </a:lnTo>
                  <a:lnTo>
                    <a:pt x="29982" y="549372"/>
                  </a:lnTo>
                  <a:lnTo>
                    <a:pt x="29465" y="552344"/>
                  </a:lnTo>
                  <a:lnTo>
                    <a:pt x="28561" y="554153"/>
                  </a:lnTo>
                  <a:lnTo>
                    <a:pt x="26493" y="555833"/>
                  </a:lnTo>
                  <a:lnTo>
                    <a:pt x="23004" y="558160"/>
                  </a:lnTo>
                  <a:lnTo>
                    <a:pt x="20936" y="560098"/>
                  </a:lnTo>
                  <a:lnTo>
                    <a:pt x="19644" y="562036"/>
                  </a:lnTo>
                  <a:lnTo>
                    <a:pt x="18868" y="564234"/>
                  </a:lnTo>
                  <a:lnTo>
                    <a:pt x="18610" y="566947"/>
                  </a:lnTo>
                  <a:lnTo>
                    <a:pt x="17963" y="569403"/>
                  </a:lnTo>
                  <a:lnTo>
                    <a:pt x="15767" y="573151"/>
                  </a:lnTo>
                  <a:lnTo>
                    <a:pt x="15637" y="575089"/>
                  </a:lnTo>
                  <a:lnTo>
                    <a:pt x="18868" y="578708"/>
                  </a:lnTo>
                  <a:lnTo>
                    <a:pt x="20160" y="581034"/>
                  </a:lnTo>
                  <a:lnTo>
                    <a:pt x="18868" y="582068"/>
                  </a:lnTo>
                  <a:lnTo>
                    <a:pt x="18351" y="582326"/>
                  </a:lnTo>
                  <a:lnTo>
                    <a:pt x="17317" y="583360"/>
                  </a:lnTo>
                  <a:lnTo>
                    <a:pt x="16800" y="583619"/>
                  </a:lnTo>
                  <a:lnTo>
                    <a:pt x="16154" y="583489"/>
                  </a:lnTo>
                  <a:lnTo>
                    <a:pt x="15767" y="583231"/>
                  </a:lnTo>
                  <a:lnTo>
                    <a:pt x="15637" y="582972"/>
                  </a:lnTo>
                  <a:lnTo>
                    <a:pt x="14216" y="582585"/>
                  </a:lnTo>
                  <a:lnTo>
                    <a:pt x="13053" y="581163"/>
                  </a:lnTo>
                  <a:lnTo>
                    <a:pt x="12019" y="580517"/>
                  </a:lnTo>
                  <a:lnTo>
                    <a:pt x="9563" y="580000"/>
                  </a:lnTo>
                  <a:lnTo>
                    <a:pt x="8012" y="580646"/>
                  </a:lnTo>
                  <a:lnTo>
                    <a:pt x="7108" y="582197"/>
                  </a:lnTo>
                  <a:lnTo>
                    <a:pt x="6849" y="584782"/>
                  </a:lnTo>
                  <a:lnTo>
                    <a:pt x="7625" y="586979"/>
                  </a:lnTo>
                  <a:lnTo>
                    <a:pt x="8917" y="588788"/>
                  </a:lnTo>
                  <a:lnTo>
                    <a:pt x="9693" y="590726"/>
                  </a:lnTo>
                  <a:lnTo>
                    <a:pt x="8271" y="592923"/>
                  </a:lnTo>
                  <a:lnTo>
                    <a:pt x="7366" y="593311"/>
                  </a:lnTo>
                  <a:lnTo>
                    <a:pt x="5428" y="593311"/>
                  </a:lnTo>
                  <a:lnTo>
                    <a:pt x="4652" y="593699"/>
                  </a:lnTo>
                  <a:lnTo>
                    <a:pt x="4136" y="594603"/>
                  </a:lnTo>
                  <a:lnTo>
                    <a:pt x="3877" y="595508"/>
                  </a:lnTo>
                  <a:lnTo>
                    <a:pt x="3877" y="601711"/>
                  </a:lnTo>
                  <a:lnTo>
                    <a:pt x="3231" y="604167"/>
                  </a:lnTo>
                  <a:lnTo>
                    <a:pt x="775" y="607527"/>
                  </a:lnTo>
                  <a:lnTo>
                    <a:pt x="129" y="610628"/>
                  </a:lnTo>
                  <a:lnTo>
                    <a:pt x="0" y="613859"/>
                  </a:lnTo>
                  <a:lnTo>
                    <a:pt x="2197" y="630918"/>
                  </a:lnTo>
                  <a:lnTo>
                    <a:pt x="2455" y="644875"/>
                  </a:lnTo>
                  <a:lnTo>
                    <a:pt x="3619" y="653275"/>
                  </a:lnTo>
                  <a:lnTo>
                    <a:pt x="8012" y="647847"/>
                  </a:lnTo>
                  <a:lnTo>
                    <a:pt x="14216" y="642549"/>
                  </a:lnTo>
                  <a:lnTo>
                    <a:pt x="16671" y="641127"/>
                  </a:lnTo>
                  <a:lnTo>
                    <a:pt x="35152" y="634536"/>
                  </a:lnTo>
                  <a:lnTo>
                    <a:pt x="37866" y="633373"/>
                  </a:lnTo>
                  <a:lnTo>
                    <a:pt x="39804" y="632081"/>
                  </a:lnTo>
                  <a:lnTo>
                    <a:pt x="48075" y="624327"/>
                  </a:lnTo>
                  <a:lnTo>
                    <a:pt x="50272" y="619933"/>
                  </a:lnTo>
                  <a:lnTo>
                    <a:pt x="53761" y="618253"/>
                  </a:lnTo>
                  <a:lnTo>
                    <a:pt x="57509" y="617090"/>
                  </a:lnTo>
                  <a:lnTo>
                    <a:pt x="61127" y="616961"/>
                  </a:lnTo>
                  <a:lnTo>
                    <a:pt x="64358" y="618124"/>
                  </a:lnTo>
                  <a:lnTo>
                    <a:pt x="66943" y="620450"/>
                  </a:lnTo>
                  <a:lnTo>
                    <a:pt x="70949" y="625749"/>
                  </a:lnTo>
                  <a:lnTo>
                    <a:pt x="73792" y="626912"/>
                  </a:lnTo>
                  <a:lnTo>
                    <a:pt x="108298" y="631823"/>
                  </a:lnTo>
                  <a:lnTo>
                    <a:pt x="122513" y="633890"/>
                  </a:lnTo>
                  <a:lnTo>
                    <a:pt x="158440" y="633761"/>
                  </a:lnTo>
                  <a:lnTo>
                    <a:pt x="163610" y="634795"/>
                  </a:lnTo>
                  <a:lnTo>
                    <a:pt x="173431" y="637897"/>
                  </a:lnTo>
                  <a:lnTo>
                    <a:pt x="175758" y="639447"/>
                  </a:lnTo>
                  <a:lnTo>
                    <a:pt x="182995" y="638026"/>
                  </a:lnTo>
                  <a:lnTo>
                    <a:pt x="185450" y="637897"/>
                  </a:lnTo>
                  <a:lnTo>
                    <a:pt x="187776" y="638155"/>
                  </a:lnTo>
                  <a:lnTo>
                    <a:pt x="189973" y="639060"/>
                  </a:lnTo>
                  <a:lnTo>
                    <a:pt x="191007" y="640481"/>
                  </a:lnTo>
                  <a:lnTo>
                    <a:pt x="190232" y="642549"/>
                  </a:lnTo>
                  <a:lnTo>
                    <a:pt x="186613" y="643841"/>
                  </a:lnTo>
                  <a:lnTo>
                    <a:pt x="186226" y="644100"/>
                  </a:lnTo>
                  <a:lnTo>
                    <a:pt x="185450" y="644617"/>
                  </a:lnTo>
                  <a:lnTo>
                    <a:pt x="185192" y="645909"/>
                  </a:lnTo>
                  <a:lnTo>
                    <a:pt x="185063" y="647331"/>
                  </a:lnTo>
                  <a:lnTo>
                    <a:pt x="184158" y="650174"/>
                  </a:lnTo>
                  <a:lnTo>
                    <a:pt x="184287" y="653017"/>
                  </a:lnTo>
                  <a:lnTo>
                    <a:pt x="185063" y="658057"/>
                  </a:lnTo>
                  <a:lnTo>
                    <a:pt x="185838" y="660383"/>
                  </a:lnTo>
                  <a:lnTo>
                    <a:pt x="188423" y="665811"/>
                  </a:lnTo>
                  <a:lnTo>
                    <a:pt x="191137" y="669430"/>
                  </a:lnTo>
                  <a:lnTo>
                    <a:pt x="192558" y="673307"/>
                  </a:lnTo>
                  <a:lnTo>
                    <a:pt x="193850" y="674987"/>
                  </a:lnTo>
                  <a:lnTo>
                    <a:pt x="197598" y="676667"/>
                  </a:lnTo>
                  <a:lnTo>
                    <a:pt x="201087" y="675245"/>
                  </a:lnTo>
                  <a:lnTo>
                    <a:pt x="204060" y="672143"/>
                  </a:lnTo>
                  <a:lnTo>
                    <a:pt x="206386" y="668913"/>
                  </a:lnTo>
                  <a:lnTo>
                    <a:pt x="209746" y="661029"/>
                  </a:lnTo>
                  <a:lnTo>
                    <a:pt x="212589" y="657928"/>
                  </a:lnTo>
                  <a:lnTo>
                    <a:pt x="216725" y="658832"/>
                  </a:lnTo>
                  <a:lnTo>
                    <a:pt x="219309" y="662709"/>
                  </a:lnTo>
                  <a:lnTo>
                    <a:pt x="220085" y="667879"/>
                  </a:lnTo>
                  <a:lnTo>
                    <a:pt x="219568" y="678088"/>
                  </a:lnTo>
                  <a:lnTo>
                    <a:pt x="220214" y="687135"/>
                  </a:lnTo>
                  <a:lnTo>
                    <a:pt x="221248" y="688427"/>
                  </a:lnTo>
                  <a:lnTo>
                    <a:pt x="225900" y="690365"/>
                  </a:lnTo>
                  <a:lnTo>
                    <a:pt x="227580" y="691528"/>
                  </a:lnTo>
                  <a:lnTo>
                    <a:pt x="230811" y="688944"/>
                  </a:lnTo>
                  <a:lnTo>
                    <a:pt x="231199" y="687910"/>
                  </a:lnTo>
                  <a:lnTo>
                    <a:pt x="231070" y="686230"/>
                  </a:lnTo>
                  <a:lnTo>
                    <a:pt x="230036" y="683258"/>
                  </a:lnTo>
                  <a:lnTo>
                    <a:pt x="229907" y="681707"/>
                  </a:lnTo>
                  <a:lnTo>
                    <a:pt x="229907" y="675374"/>
                  </a:lnTo>
                  <a:lnTo>
                    <a:pt x="229519" y="673565"/>
                  </a:lnTo>
                  <a:lnTo>
                    <a:pt x="229002" y="672402"/>
                  </a:lnTo>
                  <a:lnTo>
                    <a:pt x="229002" y="671239"/>
                  </a:lnTo>
                  <a:lnTo>
                    <a:pt x="230165" y="669300"/>
                  </a:lnTo>
                  <a:lnTo>
                    <a:pt x="231586" y="666199"/>
                  </a:lnTo>
                  <a:lnTo>
                    <a:pt x="232491" y="662968"/>
                  </a:lnTo>
                  <a:lnTo>
                    <a:pt x="233654" y="660254"/>
                  </a:lnTo>
                  <a:lnTo>
                    <a:pt x="236368" y="658832"/>
                  </a:lnTo>
                  <a:lnTo>
                    <a:pt x="241667" y="658832"/>
                  </a:lnTo>
                  <a:lnTo>
                    <a:pt x="245802" y="658057"/>
                  </a:lnTo>
                  <a:lnTo>
                    <a:pt x="247482" y="658057"/>
                  </a:lnTo>
                  <a:lnTo>
                    <a:pt x="253427" y="659349"/>
                  </a:lnTo>
                  <a:lnTo>
                    <a:pt x="255882" y="659608"/>
                  </a:lnTo>
                  <a:lnTo>
                    <a:pt x="257692" y="659091"/>
                  </a:lnTo>
                  <a:lnTo>
                    <a:pt x="261439" y="656635"/>
                  </a:lnTo>
                  <a:lnTo>
                    <a:pt x="263507" y="655731"/>
                  </a:lnTo>
                  <a:lnTo>
                    <a:pt x="271778" y="656506"/>
                  </a:lnTo>
                  <a:lnTo>
                    <a:pt x="273071" y="656118"/>
                  </a:lnTo>
                  <a:lnTo>
                    <a:pt x="274104" y="655472"/>
                  </a:lnTo>
                  <a:lnTo>
                    <a:pt x="276560" y="654826"/>
                  </a:lnTo>
                  <a:lnTo>
                    <a:pt x="281083" y="654180"/>
                  </a:lnTo>
                  <a:lnTo>
                    <a:pt x="290259" y="654180"/>
                  </a:lnTo>
                  <a:lnTo>
                    <a:pt x="292714" y="654826"/>
                  </a:lnTo>
                  <a:lnTo>
                    <a:pt x="296074" y="657282"/>
                  </a:lnTo>
                  <a:lnTo>
                    <a:pt x="298142" y="657282"/>
                  </a:lnTo>
                  <a:lnTo>
                    <a:pt x="300468" y="654568"/>
                  </a:lnTo>
                  <a:lnTo>
                    <a:pt x="298013" y="646555"/>
                  </a:lnTo>
                  <a:lnTo>
                    <a:pt x="300209" y="643195"/>
                  </a:lnTo>
                  <a:lnTo>
                    <a:pt x="302665" y="645263"/>
                  </a:lnTo>
                  <a:lnTo>
                    <a:pt x="303828" y="647847"/>
                  </a:lnTo>
                  <a:lnTo>
                    <a:pt x="304733" y="650691"/>
                  </a:lnTo>
                  <a:lnTo>
                    <a:pt x="306025" y="653405"/>
                  </a:lnTo>
                  <a:lnTo>
                    <a:pt x="307705" y="654826"/>
                  </a:lnTo>
                  <a:lnTo>
                    <a:pt x="311970" y="656635"/>
                  </a:lnTo>
                  <a:lnTo>
                    <a:pt x="315071" y="658574"/>
                  </a:lnTo>
                  <a:lnTo>
                    <a:pt x="316364" y="658832"/>
                  </a:lnTo>
                  <a:lnTo>
                    <a:pt x="317656" y="658574"/>
                  </a:lnTo>
                  <a:lnTo>
                    <a:pt x="318948" y="657669"/>
                  </a:lnTo>
                  <a:lnTo>
                    <a:pt x="319465" y="657023"/>
                  </a:lnTo>
                  <a:lnTo>
                    <a:pt x="320370" y="656118"/>
                  </a:lnTo>
                  <a:lnTo>
                    <a:pt x="320758" y="655731"/>
                  </a:lnTo>
                  <a:lnTo>
                    <a:pt x="321404" y="655343"/>
                  </a:lnTo>
                  <a:lnTo>
                    <a:pt x="322825" y="654955"/>
                  </a:lnTo>
                  <a:lnTo>
                    <a:pt x="323342" y="654568"/>
                  </a:lnTo>
                  <a:lnTo>
                    <a:pt x="324635" y="652500"/>
                  </a:lnTo>
                  <a:lnTo>
                    <a:pt x="325152" y="650174"/>
                  </a:lnTo>
                  <a:lnTo>
                    <a:pt x="325152" y="644875"/>
                  </a:lnTo>
                  <a:lnTo>
                    <a:pt x="326573" y="645392"/>
                  </a:lnTo>
                  <a:lnTo>
                    <a:pt x="327865" y="646168"/>
                  </a:lnTo>
                  <a:lnTo>
                    <a:pt x="328770" y="647331"/>
                  </a:lnTo>
                  <a:lnTo>
                    <a:pt x="329546" y="648752"/>
                  </a:lnTo>
                  <a:lnTo>
                    <a:pt x="329804" y="650045"/>
                  </a:lnTo>
                  <a:lnTo>
                    <a:pt x="329804" y="651337"/>
                  </a:lnTo>
                  <a:lnTo>
                    <a:pt x="330063" y="652629"/>
                  </a:lnTo>
                  <a:lnTo>
                    <a:pt x="330709" y="653792"/>
                  </a:lnTo>
                  <a:lnTo>
                    <a:pt x="331872" y="654568"/>
                  </a:lnTo>
                  <a:lnTo>
                    <a:pt x="332906" y="654697"/>
                  </a:lnTo>
                  <a:lnTo>
                    <a:pt x="333939" y="654309"/>
                  </a:lnTo>
                  <a:lnTo>
                    <a:pt x="335103" y="654180"/>
                  </a:lnTo>
                  <a:lnTo>
                    <a:pt x="336653" y="653017"/>
                  </a:lnTo>
                  <a:lnTo>
                    <a:pt x="337687" y="650432"/>
                  </a:lnTo>
                  <a:lnTo>
                    <a:pt x="338204" y="647589"/>
                  </a:lnTo>
                  <a:lnTo>
                    <a:pt x="338333" y="645521"/>
                  </a:lnTo>
                  <a:lnTo>
                    <a:pt x="337429" y="643712"/>
                  </a:lnTo>
                  <a:lnTo>
                    <a:pt x="337170" y="642291"/>
                  </a:lnTo>
                  <a:lnTo>
                    <a:pt x="338075" y="641644"/>
                  </a:lnTo>
                  <a:lnTo>
                    <a:pt x="338980" y="640481"/>
                  </a:lnTo>
                  <a:lnTo>
                    <a:pt x="339755" y="639706"/>
                  </a:lnTo>
                  <a:lnTo>
                    <a:pt x="341047" y="639447"/>
                  </a:lnTo>
                  <a:lnTo>
                    <a:pt x="354488" y="638931"/>
                  </a:lnTo>
                  <a:lnTo>
                    <a:pt x="356426" y="639447"/>
                  </a:lnTo>
                  <a:lnTo>
                    <a:pt x="358494" y="641257"/>
                  </a:lnTo>
                  <a:lnTo>
                    <a:pt x="361208" y="645005"/>
                  </a:lnTo>
                  <a:lnTo>
                    <a:pt x="363017" y="646038"/>
                  </a:lnTo>
                  <a:lnTo>
                    <a:pt x="365602" y="645521"/>
                  </a:lnTo>
                  <a:lnTo>
                    <a:pt x="367153" y="644100"/>
                  </a:lnTo>
                  <a:lnTo>
                    <a:pt x="367928" y="642291"/>
                  </a:lnTo>
                  <a:lnTo>
                    <a:pt x="369091" y="640740"/>
                  </a:lnTo>
                  <a:lnTo>
                    <a:pt x="371805" y="640094"/>
                  </a:lnTo>
                  <a:lnTo>
                    <a:pt x="374131" y="639964"/>
                  </a:lnTo>
                  <a:lnTo>
                    <a:pt x="376587" y="639318"/>
                  </a:lnTo>
                  <a:lnTo>
                    <a:pt x="378913" y="638284"/>
                  </a:lnTo>
                  <a:lnTo>
                    <a:pt x="380980" y="637121"/>
                  </a:lnTo>
                  <a:lnTo>
                    <a:pt x="382014" y="638026"/>
                  </a:lnTo>
                  <a:lnTo>
                    <a:pt x="383953" y="639447"/>
                  </a:lnTo>
                  <a:lnTo>
                    <a:pt x="384599" y="640094"/>
                  </a:lnTo>
                  <a:lnTo>
                    <a:pt x="384987" y="641386"/>
                  </a:lnTo>
                  <a:lnTo>
                    <a:pt x="384857" y="642291"/>
                  </a:lnTo>
                  <a:lnTo>
                    <a:pt x="384599" y="643066"/>
                  </a:lnTo>
                  <a:lnTo>
                    <a:pt x="384599" y="644100"/>
                  </a:lnTo>
                  <a:lnTo>
                    <a:pt x="384470" y="644875"/>
                  </a:lnTo>
                  <a:lnTo>
                    <a:pt x="384082" y="645263"/>
                  </a:lnTo>
                  <a:lnTo>
                    <a:pt x="384082" y="645780"/>
                  </a:lnTo>
                  <a:lnTo>
                    <a:pt x="386796" y="648752"/>
                  </a:lnTo>
                  <a:lnTo>
                    <a:pt x="388347" y="649915"/>
                  </a:lnTo>
                  <a:lnTo>
                    <a:pt x="389381" y="650174"/>
                  </a:lnTo>
                  <a:lnTo>
                    <a:pt x="390802" y="650303"/>
                  </a:lnTo>
                  <a:lnTo>
                    <a:pt x="398556" y="655343"/>
                  </a:lnTo>
                  <a:lnTo>
                    <a:pt x="399590" y="657023"/>
                  </a:lnTo>
                  <a:lnTo>
                    <a:pt x="403855" y="660513"/>
                  </a:lnTo>
                  <a:lnTo>
                    <a:pt x="404501" y="662709"/>
                  </a:lnTo>
                  <a:lnTo>
                    <a:pt x="405923" y="665036"/>
                  </a:lnTo>
                  <a:lnTo>
                    <a:pt x="405535" y="666974"/>
                  </a:lnTo>
                  <a:lnTo>
                    <a:pt x="405535" y="667491"/>
                  </a:lnTo>
                  <a:lnTo>
                    <a:pt x="405535" y="668525"/>
                  </a:lnTo>
                  <a:lnTo>
                    <a:pt x="405276" y="670334"/>
                  </a:lnTo>
                  <a:lnTo>
                    <a:pt x="404889" y="671368"/>
                  </a:lnTo>
                  <a:lnTo>
                    <a:pt x="404501" y="672014"/>
                  </a:lnTo>
                  <a:lnTo>
                    <a:pt x="404113" y="672402"/>
                  </a:lnTo>
                  <a:lnTo>
                    <a:pt x="402433" y="673824"/>
                  </a:lnTo>
                  <a:lnTo>
                    <a:pt x="402046" y="674340"/>
                  </a:lnTo>
                  <a:lnTo>
                    <a:pt x="401787" y="674857"/>
                  </a:lnTo>
                  <a:lnTo>
                    <a:pt x="401658" y="675503"/>
                  </a:lnTo>
                  <a:lnTo>
                    <a:pt x="401270" y="677701"/>
                  </a:lnTo>
                  <a:lnTo>
                    <a:pt x="401012" y="684550"/>
                  </a:lnTo>
                  <a:lnTo>
                    <a:pt x="400495" y="687393"/>
                  </a:lnTo>
                  <a:lnTo>
                    <a:pt x="400107" y="688685"/>
                  </a:lnTo>
                  <a:lnTo>
                    <a:pt x="399719" y="689848"/>
                  </a:lnTo>
                  <a:lnTo>
                    <a:pt x="399590" y="690624"/>
                  </a:lnTo>
                  <a:lnTo>
                    <a:pt x="399849" y="691270"/>
                  </a:lnTo>
                  <a:lnTo>
                    <a:pt x="400365" y="692304"/>
                  </a:lnTo>
                  <a:lnTo>
                    <a:pt x="403338" y="695276"/>
                  </a:lnTo>
                  <a:lnTo>
                    <a:pt x="404242" y="696052"/>
                  </a:lnTo>
                  <a:lnTo>
                    <a:pt x="414710" y="701221"/>
                  </a:lnTo>
                  <a:lnTo>
                    <a:pt x="415098" y="701609"/>
                  </a:lnTo>
                  <a:lnTo>
                    <a:pt x="415486" y="701996"/>
                  </a:lnTo>
                  <a:lnTo>
                    <a:pt x="415874" y="702513"/>
                  </a:lnTo>
                  <a:lnTo>
                    <a:pt x="416132" y="702901"/>
                  </a:lnTo>
                  <a:lnTo>
                    <a:pt x="416649" y="703935"/>
                  </a:lnTo>
                  <a:lnTo>
                    <a:pt x="419363" y="713498"/>
                  </a:lnTo>
                  <a:lnTo>
                    <a:pt x="419492" y="714403"/>
                  </a:lnTo>
                  <a:lnTo>
                    <a:pt x="419363" y="716212"/>
                  </a:lnTo>
                  <a:lnTo>
                    <a:pt x="419234" y="717246"/>
                  </a:lnTo>
                  <a:lnTo>
                    <a:pt x="418846" y="718151"/>
                  </a:lnTo>
                  <a:lnTo>
                    <a:pt x="417812" y="719443"/>
                  </a:lnTo>
                  <a:lnTo>
                    <a:pt x="417166" y="720089"/>
                  </a:lnTo>
                  <a:lnTo>
                    <a:pt x="416520" y="720477"/>
                  </a:lnTo>
                  <a:lnTo>
                    <a:pt x="415227" y="720735"/>
                  </a:lnTo>
                  <a:lnTo>
                    <a:pt x="414581" y="720994"/>
                  </a:lnTo>
                  <a:lnTo>
                    <a:pt x="414194" y="721640"/>
                  </a:lnTo>
                  <a:lnTo>
                    <a:pt x="413935" y="724225"/>
                  </a:lnTo>
                  <a:lnTo>
                    <a:pt x="413677" y="725517"/>
                  </a:lnTo>
                  <a:lnTo>
                    <a:pt x="413160" y="726939"/>
                  </a:lnTo>
                  <a:lnTo>
                    <a:pt x="412126" y="728748"/>
                  </a:lnTo>
                  <a:lnTo>
                    <a:pt x="411480" y="729652"/>
                  </a:lnTo>
                  <a:lnTo>
                    <a:pt x="410834" y="730299"/>
                  </a:lnTo>
                  <a:lnTo>
                    <a:pt x="409412" y="731203"/>
                  </a:lnTo>
                  <a:lnTo>
                    <a:pt x="408507" y="733400"/>
                  </a:lnTo>
                  <a:lnTo>
                    <a:pt x="407603" y="741671"/>
                  </a:lnTo>
                  <a:lnTo>
                    <a:pt x="407086" y="743997"/>
                  </a:lnTo>
                  <a:lnTo>
                    <a:pt x="407086" y="744773"/>
                  </a:lnTo>
                  <a:lnTo>
                    <a:pt x="407473" y="745548"/>
                  </a:lnTo>
                  <a:lnTo>
                    <a:pt x="408378" y="746582"/>
                  </a:lnTo>
                  <a:lnTo>
                    <a:pt x="409024" y="746970"/>
                  </a:lnTo>
                  <a:lnTo>
                    <a:pt x="409800" y="747228"/>
                  </a:lnTo>
                  <a:lnTo>
                    <a:pt x="410446" y="747228"/>
                  </a:lnTo>
                  <a:lnTo>
                    <a:pt x="411221" y="747616"/>
                  </a:lnTo>
                  <a:lnTo>
                    <a:pt x="411997" y="748650"/>
                  </a:lnTo>
                  <a:lnTo>
                    <a:pt x="413418" y="750717"/>
                  </a:lnTo>
                  <a:lnTo>
                    <a:pt x="414194" y="751622"/>
                  </a:lnTo>
                  <a:lnTo>
                    <a:pt x="415357" y="752656"/>
                  </a:lnTo>
                  <a:lnTo>
                    <a:pt x="415615" y="753044"/>
                  </a:lnTo>
                  <a:lnTo>
                    <a:pt x="415357" y="753819"/>
                  </a:lnTo>
                  <a:lnTo>
                    <a:pt x="414969" y="754853"/>
                  </a:lnTo>
                  <a:lnTo>
                    <a:pt x="414710" y="755241"/>
                  </a:lnTo>
                  <a:lnTo>
                    <a:pt x="414710" y="755370"/>
                  </a:lnTo>
                  <a:lnTo>
                    <a:pt x="414710" y="755887"/>
                  </a:lnTo>
                  <a:lnTo>
                    <a:pt x="414840" y="757179"/>
                  </a:lnTo>
                  <a:lnTo>
                    <a:pt x="416908" y="764287"/>
                  </a:lnTo>
                  <a:lnTo>
                    <a:pt x="417037" y="765321"/>
                  </a:lnTo>
                  <a:lnTo>
                    <a:pt x="416908" y="768422"/>
                  </a:lnTo>
                  <a:lnTo>
                    <a:pt x="417166" y="769327"/>
                  </a:lnTo>
                  <a:lnTo>
                    <a:pt x="417683" y="770232"/>
                  </a:lnTo>
                  <a:lnTo>
                    <a:pt x="422723" y="776306"/>
                  </a:lnTo>
                  <a:lnTo>
                    <a:pt x="423757" y="776952"/>
                  </a:lnTo>
                  <a:lnTo>
                    <a:pt x="424532" y="777340"/>
                  </a:lnTo>
                  <a:lnTo>
                    <a:pt x="425178" y="777727"/>
                  </a:lnTo>
                  <a:lnTo>
                    <a:pt x="425566" y="778503"/>
                  </a:lnTo>
                  <a:lnTo>
                    <a:pt x="426212" y="781733"/>
                  </a:lnTo>
                  <a:lnTo>
                    <a:pt x="428151" y="786515"/>
                  </a:lnTo>
                  <a:lnTo>
                    <a:pt x="428538" y="787678"/>
                  </a:lnTo>
                  <a:lnTo>
                    <a:pt x="429185" y="790004"/>
                  </a:lnTo>
                  <a:lnTo>
                    <a:pt x="429702" y="791168"/>
                  </a:lnTo>
                  <a:lnTo>
                    <a:pt x="431640" y="794657"/>
                  </a:lnTo>
                  <a:lnTo>
                    <a:pt x="431898" y="795174"/>
                  </a:lnTo>
                  <a:lnTo>
                    <a:pt x="432028" y="795820"/>
                  </a:lnTo>
                  <a:lnTo>
                    <a:pt x="432028" y="796466"/>
                  </a:lnTo>
                  <a:lnTo>
                    <a:pt x="432028" y="797242"/>
                  </a:lnTo>
                  <a:lnTo>
                    <a:pt x="431123" y="799955"/>
                  </a:lnTo>
                  <a:lnTo>
                    <a:pt x="430994" y="800472"/>
                  </a:lnTo>
                  <a:lnTo>
                    <a:pt x="430994" y="801118"/>
                  </a:lnTo>
                  <a:lnTo>
                    <a:pt x="431382" y="801635"/>
                  </a:lnTo>
                  <a:lnTo>
                    <a:pt x="432157" y="802023"/>
                  </a:lnTo>
                  <a:lnTo>
                    <a:pt x="433708" y="802282"/>
                  </a:lnTo>
                  <a:lnTo>
                    <a:pt x="442496" y="801635"/>
                  </a:lnTo>
                  <a:lnTo>
                    <a:pt x="443013" y="801506"/>
                  </a:lnTo>
                  <a:lnTo>
                    <a:pt x="443659" y="801248"/>
                  </a:lnTo>
                  <a:lnTo>
                    <a:pt x="444046" y="800860"/>
                  </a:lnTo>
                  <a:lnTo>
                    <a:pt x="444951" y="800085"/>
                  </a:lnTo>
                  <a:lnTo>
                    <a:pt x="445339" y="799826"/>
                  </a:lnTo>
                  <a:lnTo>
                    <a:pt x="445856" y="799568"/>
                  </a:lnTo>
                  <a:lnTo>
                    <a:pt x="447148" y="799568"/>
                  </a:lnTo>
                  <a:lnTo>
                    <a:pt x="447794" y="799439"/>
                  </a:lnTo>
                  <a:lnTo>
                    <a:pt x="448311" y="799180"/>
                  </a:lnTo>
                  <a:lnTo>
                    <a:pt x="448699" y="798792"/>
                  </a:lnTo>
                  <a:lnTo>
                    <a:pt x="449087" y="798405"/>
                  </a:lnTo>
                  <a:lnTo>
                    <a:pt x="449604" y="797371"/>
                  </a:lnTo>
                  <a:lnTo>
                    <a:pt x="449991" y="796854"/>
                  </a:lnTo>
                  <a:lnTo>
                    <a:pt x="450379" y="796466"/>
                  </a:lnTo>
                  <a:lnTo>
                    <a:pt x="451025" y="796337"/>
                  </a:lnTo>
                  <a:lnTo>
                    <a:pt x="453868" y="796466"/>
                  </a:lnTo>
                  <a:lnTo>
                    <a:pt x="455290" y="796337"/>
                  </a:lnTo>
                  <a:lnTo>
                    <a:pt x="455936" y="796337"/>
                  </a:lnTo>
                  <a:lnTo>
                    <a:pt x="456453" y="796466"/>
                  </a:lnTo>
                  <a:lnTo>
                    <a:pt x="458779" y="797242"/>
                  </a:lnTo>
                  <a:lnTo>
                    <a:pt x="461622" y="798921"/>
                  </a:lnTo>
                  <a:lnTo>
                    <a:pt x="463431" y="800214"/>
                  </a:lnTo>
                  <a:lnTo>
                    <a:pt x="463949" y="800472"/>
                  </a:lnTo>
                  <a:lnTo>
                    <a:pt x="464595" y="800602"/>
                  </a:lnTo>
                  <a:lnTo>
                    <a:pt x="465112" y="800602"/>
                  </a:lnTo>
                  <a:lnTo>
                    <a:pt x="465628" y="800214"/>
                  </a:lnTo>
                  <a:lnTo>
                    <a:pt x="466662" y="798921"/>
                  </a:lnTo>
                  <a:lnTo>
                    <a:pt x="467050" y="798534"/>
                  </a:lnTo>
                  <a:lnTo>
                    <a:pt x="467955" y="797758"/>
                  </a:lnTo>
                  <a:lnTo>
                    <a:pt x="468342" y="797500"/>
                  </a:lnTo>
                  <a:lnTo>
                    <a:pt x="468859" y="797500"/>
                  </a:lnTo>
                  <a:lnTo>
                    <a:pt x="469247" y="798017"/>
                  </a:lnTo>
                  <a:lnTo>
                    <a:pt x="469505" y="799955"/>
                  </a:lnTo>
                  <a:lnTo>
                    <a:pt x="469764" y="800860"/>
                  </a:lnTo>
                  <a:lnTo>
                    <a:pt x="470539" y="801377"/>
                  </a:lnTo>
                  <a:lnTo>
                    <a:pt x="472090" y="801894"/>
                  </a:lnTo>
                  <a:lnTo>
                    <a:pt x="472607" y="802152"/>
                  </a:lnTo>
                  <a:lnTo>
                    <a:pt x="472995" y="802669"/>
                  </a:lnTo>
                  <a:lnTo>
                    <a:pt x="473253" y="803574"/>
                  </a:lnTo>
                  <a:lnTo>
                    <a:pt x="473512" y="804349"/>
                  </a:lnTo>
                  <a:lnTo>
                    <a:pt x="474416" y="804737"/>
                  </a:lnTo>
                  <a:lnTo>
                    <a:pt x="475063" y="804737"/>
                  </a:lnTo>
                  <a:lnTo>
                    <a:pt x="475579" y="804608"/>
                  </a:lnTo>
                  <a:lnTo>
                    <a:pt x="476355" y="804349"/>
                  </a:lnTo>
                  <a:lnTo>
                    <a:pt x="477001" y="804220"/>
                  </a:lnTo>
                  <a:lnTo>
                    <a:pt x="477647" y="804220"/>
                  </a:lnTo>
                  <a:lnTo>
                    <a:pt x="478293" y="804220"/>
                  </a:lnTo>
                  <a:lnTo>
                    <a:pt x="479715" y="804479"/>
                  </a:lnTo>
                  <a:lnTo>
                    <a:pt x="481007" y="804866"/>
                  </a:lnTo>
                  <a:lnTo>
                    <a:pt x="481653" y="805254"/>
                  </a:lnTo>
                  <a:lnTo>
                    <a:pt x="482170" y="805513"/>
                  </a:lnTo>
                  <a:lnTo>
                    <a:pt x="482816" y="806159"/>
                  </a:lnTo>
                  <a:lnTo>
                    <a:pt x="483204" y="806676"/>
                  </a:lnTo>
                  <a:lnTo>
                    <a:pt x="483592" y="807192"/>
                  </a:lnTo>
                  <a:lnTo>
                    <a:pt x="483850" y="807709"/>
                  </a:lnTo>
                  <a:lnTo>
                    <a:pt x="484367" y="812750"/>
                  </a:lnTo>
                  <a:lnTo>
                    <a:pt x="484755" y="813783"/>
                  </a:lnTo>
                  <a:lnTo>
                    <a:pt x="485143" y="814429"/>
                  </a:lnTo>
                  <a:lnTo>
                    <a:pt x="485401" y="814817"/>
                  </a:lnTo>
                  <a:lnTo>
                    <a:pt x="485401" y="815205"/>
                  </a:lnTo>
                  <a:lnTo>
                    <a:pt x="485013" y="815722"/>
                  </a:lnTo>
                  <a:lnTo>
                    <a:pt x="483980" y="816627"/>
                  </a:lnTo>
                  <a:lnTo>
                    <a:pt x="483592" y="817014"/>
                  </a:lnTo>
                  <a:lnTo>
                    <a:pt x="483204" y="817402"/>
                  </a:lnTo>
                  <a:lnTo>
                    <a:pt x="482687" y="818436"/>
                  </a:lnTo>
                  <a:lnTo>
                    <a:pt x="482170" y="819987"/>
                  </a:lnTo>
                  <a:lnTo>
                    <a:pt x="482300" y="823088"/>
                  </a:lnTo>
                  <a:lnTo>
                    <a:pt x="482687" y="823734"/>
                  </a:lnTo>
                  <a:lnTo>
                    <a:pt x="482558" y="824122"/>
                  </a:lnTo>
                  <a:lnTo>
                    <a:pt x="482041" y="824639"/>
                  </a:lnTo>
                  <a:lnTo>
                    <a:pt x="481136" y="825544"/>
                  </a:lnTo>
                  <a:lnTo>
                    <a:pt x="480749" y="825931"/>
                  </a:lnTo>
                  <a:lnTo>
                    <a:pt x="480490" y="826448"/>
                  </a:lnTo>
                  <a:lnTo>
                    <a:pt x="480103" y="826965"/>
                  </a:lnTo>
                  <a:lnTo>
                    <a:pt x="478164" y="832264"/>
                  </a:lnTo>
                  <a:lnTo>
                    <a:pt x="477647" y="833039"/>
                  </a:lnTo>
                  <a:lnTo>
                    <a:pt x="477130" y="833427"/>
                  </a:lnTo>
                  <a:lnTo>
                    <a:pt x="476484" y="833427"/>
                  </a:lnTo>
                  <a:lnTo>
                    <a:pt x="473899" y="832910"/>
                  </a:lnTo>
                  <a:lnTo>
                    <a:pt x="473253" y="833039"/>
                  </a:lnTo>
                  <a:lnTo>
                    <a:pt x="472736" y="834332"/>
                  </a:lnTo>
                  <a:lnTo>
                    <a:pt x="470798" y="843378"/>
                  </a:lnTo>
                  <a:lnTo>
                    <a:pt x="470281" y="844670"/>
                  </a:lnTo>
                  <a:lnTo>
                    <a:pt x="469893" y="845187"/>
                  </a:lnTo>
                  <a:lnTo>
                    <a:pt x="468084" y="846480"/>
                  </a:lnTo>
                  <a:lnTo>
                    <a:pt x="467179" y="847255"/>
                  </a:lnTo>
                  <a:lnTo>
                    <a:pt x="466791" y="847643"/>
                  </a:lnTo>
                  <a:lnTo>
                    <a:pt x="466533" y="848159"/>
                  </a:lnTo>
                  <a:lnTo>
                    <a:pt x="466404" y="849064"/>
                  </a:lnTo>
                  <a:lnTo>
                    <a:pt x="466533" y="849969"/>
                  </a:lnTo>
                  <a:lnTo>
                    <a:pt x="466921" y="851520"/>
                  </a:lnTo>
                  <a:lnTo>
                    <a:pt x="467438" y="852295"/>
                  </a:lnTo>
                  <a:lnTo>
                    <a:pt x="467825" y="852683"/>
                  </a:lnTo>
                  <a:lnTo>
                    <a:pt x="468213" y="852812"/>
                  </a:lnTo>
                  <a:lnTo>
                    <a:pt x="468601" y="853200"/>
                  </a:lnTo>
                  <a:lnTo>
                    <a:pt x="468989" y="853587"/>
                  </a:lnTo>
                  <a:lnTo>
                    <a:pt x="469118" y="854233"/>
                  </a:lnTo>
                  <a:lnTo>
                    <a:pt x="468989" y="854880"/>
                  </a:lnTo>
                  <a:lnTo>
                    <a:pt x="468472" y="855914"/>
                  </a:lnTo>
                  <a:lnTo>
                    <a:pt x="467438" y="856818"/>
                  </a:lnTo>
                  <a:lnTo>
                    <a:pt x="467179" y="857464"/>
                  </a:lnTo>
                  <a:lnTo>
                    <a:pt x="467438" y="858628"/>
                  </a:lnTo>
                  <a:lnTo>
                    <a:pt x="470022" y="865089"/>
                  </a:lnTo>
                  <a:lnTo>
                    <a:pt x="471961" y="867932"/>
                  </a:lnTo>
                  <a:lnTo>
                    <a:pt x="472090" y="868578"/>
                  </a:lnTo>
                  <a:lnTo>
                    <a:pt x="471832" y="869225"/>
                  </a:lnTo>
                  <a:lnTo>
                    <a:pt x="471056" y="870258"/>
                  </a:lnTo>
                  <a:lnTo>
                    <a:pt x="470281" y="870517"/>
                  </a:lnTo>
                  <a:lnTo>
                    <a:pt x="469505" y="870517"/>
                  </a:lnTo>
                  <a:lnTo>
                    <a:pt x="468859" y="870388"/>
                  </a:lnTo>
                  <a:lnTo>
                    <a:pt x="468342" y="870517"/>
                  </a:lnTo>
                  <a:lnTo>
                    <a:pt x="467825" y="870775"/>
                  </a:lnTo>
                  <a:lnTo>
                    <a:pt x="467309" y="871163"/>
                  </a:lnTo>
                  <a:lnTo>
                    <a:pt x="466662" y="871939"/>
                  </a:lnTo>
                  <a:lnTo>
                    <a:pt x="466404" y="872585"/>
                  </a:lnTo>
                  <a:lnTo>
                    <a:pt x="466275" y="873102"/>
                  </a:lnTo>
                  <a:lnTo>
                    <a:pt x="466533" y="874135"/>
                  </a:lnTo>
                  <a:lnTo>
                    <a:pt x="467050" y="874652"/>
                  </a:lnTo>
                  <a:lnTo>
                    <a:pt x="467438" y="875040"/>
                  </a:lnTo>
                  <a:lnTo>
                    <a:pt x="467438" y="875557"/>
                  </a:lnTo>
                  <a:lnTo>
                    <a:pt x="466921" y="876074"/>
                  </a:lnTo>
                  <a:lnTo>
                    <a:pt x="466275" y="876332"/>
                  </a:lnTo>
                  <a:lnTo>
                    <a:pt x="464207" y="876591"/>
                  </a:lnTo>
                  <a:lnTo>
                    <a:pt x="463561" y="876849"/>
                  </a:lnTo>
                  <a:lnTo>
                    <a:pt x="463302" y="877366"/>
                  </a:lnTo>
                  <a:lnTo>
                    <a:pt x="463431" y="878013"/>
                  </a:lnTo>
                  <a:lnTo>
                    <a:pt x="464078" y="879176"/>
                  </a:lnTo>
                  <a:lnTo>
                    <a:pt x="464724" y="879692"/>
                  </a:lnTo>
                  <a:lnTo>
                    <a:pt x="465370" y="879951"/>
                  </a:lnTo>
                  <a:lnTo>
                    <a:pt x="466016" y="880080"/>
                  </a:lnTo>
                  <a:lnTo>
                    <a:pt x="469635" y="880339"/>
                  </a:lnTo>
                  <a:lnTo>
                    <a:pt x="470281" y="880468"/>
                  </a:lnTo>
                  <a:lnTo>
                    <a:pt x="470798" y="880856"/>
                  </a:lnTo>
                  <a:lnTo>
                    <a:pt x="471186" y="881243"/>
                  </a:lnTo>
                  <a:lnTo>
                    <a:pt x="473899" y="884991"/>
                  </a:lnTo>
                  <a:lnTo>
                    <a:pt x="473770" y="885637"/>
                  </a:lnTo>
                  <a:lnTo>
                    <a:pt x="473253" y="886542"/>
                  </a:lnTo>
                  <a:lnTo>
                    <a:pt x="470410" y="888868"/>
                  </a:lnTo>
                  <a:lnTo>
                    <a:pt x="468989" y="890290"/>
                  </a:lnTo>
                  <a:lnTo>
                    <a:pt x="467050" y="893262"/>
                  </a:lnTo>
                  <a:lnTo>
                    <a:pt x="463173" y="902179"/>
                  </a:lnTo>
                  <a:lnTo>
                    <a:pt x="462656" y="904893"/>
                  </a:lnTo>
                  <a:lnTo>
                    <a:pt x="462915" y="905927"/>
                  </a:lnTo>
                  <a:lnTo>
                    <a:pt x="463044" y="906185"/>
                  </a:lnTo>
                  <a:lnTo>
                    <a:pt x="463431" y="906832"/>
                  </a:lnTo>
                  <a:lnTo>
                    <a:pt x="467179" y="910967"/>
                  </a:lnTo>
                  <a:lnTo>
                    <a:pt x="467567" y="911742"/>
                  </a:lnTo>
                  <a:lnTo>
                    <a:pt x="467696" y="912518"/>
                  </a:lnTo>
                  <a:lnTo>
                    <a:pt x="467567" y="914715"/>
                  </a:lnTo>
                  <a:lnTo>
                    <a:pt x="467567" y="915361"/>
                  </a:lnTo>
                  <a:lnTo>
                    <a:pt x="468213" y="916136"/>
                  </a:lnTo>
                  <a:lnTo>
                    <a:pt x="469505" y="916912"/>
                  </a:lnTo>
                  <a:lnTo>
                    <a:pt x="474804" y="918980"/>
                  </a:lnTo>
                  <a:lnTo>
                    <a:pt x="478423" y="919626"/>
                  </a:lnTo>
                  <a:lnTo>
                    <a:pt x="479069" y="920013"/>
                  </a:lnTo>
                  <a:lnTo>
                    <a:pt x="479456" y="920530"/>
                  </a:lnTo>
                  <a:lnTo>
                    <a:pt x="479715" y="921564"/>
                  </a:lnTo>
                  <a:lnTo>
                    <a:pt x="479715" y="923244"/>
                  </a:lnTo>
                  <a:lnTo>
                    <a:pt x="479844" y="923890"/>
                  </a:lnTo>
                  <a:lnTo>
                    <a:pt x="480232" y="924407"/>
                  </a:lnTo>
                  <a:lnTo>
                    <a:pt x="480878" y="924795"/>
                  </a:lnTo>
                  <a:lnTo>
                    <a:pt x="483075" y="925312"/>
                  </a:lnTo>
                  <a:lnTo>
                    <a:pt x="485143" y="926217"/>
                  </a:lnTo>
                  <a:lnTo>
                    <a:pt x="489666" y="929189"/>
                  </a:lnTo>
                  <a:lnTo>
                    <a:pt x="490571" y="929577"/>
                  </a:lnTo>
                  <a:lnTo>
                    <a:pt x="493026" y="930352"/>
                  </a:lnTo>
                  <a:lnTo>
                    <a:pt x="494577" y="930481"/>
                  </a:lnTo>
                  <a:lnTo>
                    <a:pt x="496128" y="930481"/>
                  </a:lnTo>
                  <a:lnTo>
                    <a:pt x="496645" y="930610"/>
                  </a:lnTo>
                  <a:lnTo>
                    <a:pt x="496903" y="930869"/>
                  </a:lnTo>
                  <a:lnTo>
                    <a:pt x="496386" y="931774"/>
                  </a:lnTo>
                  <a:lnTo>
                    <a:pt x="495869" y="932291"/>
                  </a:lnTo>
                  <a:lnTo>
                    <a:pt x="495352" y="932807"/>
                  </a:lnTo>
                  <a:lnTo>
                    <a:pt x="494318" y="933324"/>
                  </a:lnTo>
                  <a:lnTo>
                    <a:pt x="493931" y="933712"/>
                  </a:lnTo>
                  <a:lnTo>
                    <a:pt x="493672" y="934358"/>
                  </a:lnTo>
                  <a:lnTo>
                    <a:pt x="493543" y="935263"/>
                  </a:lnTo>
                  <a:lnTo>
                    <a:pt x="493672" y="936684"/>
                  </a:lnTo>
                  <a:lnTo>
                    <a:pt x="493931" y="937460"/>
                  </a:lnTo>
                  <a:lnTo>
                    <a:pt x="494318" y="938106"/>
                  </a:lnTo>
                  <a:lnTo>
                    <a:pt x="495869" y="940562"/>
                  </a:lnTo>
                  <a:lnTo>
                    <a:pt x="495998" y="941208"/>
                  </a:lnTo>
                  <a:lnTo>
                    <a:pt x="495740" y="941854"/>
                  </a:lnTo>
                  <a:lnTo>
                    <a:pt x="495094" y="942500"/>
                  </a:lnTo>
                  <a:lnTo>
                    <a:pt x="494448" y="942888"/>
                  </a:lnTo>
                  <a:lnTo>
                    <a:pt x="489149" y="944826"/>
                  </a:lnTo>
                  <a:lnTo>
                    <a:pt x="488115" y="945472"/>
                  </a:lnTo>
                  <a:lnTo>
                    <a:pt x="487727" y="945860"/>
                  </a:lnTo>
                  <a:lnTo>
                    <a:pt x="487340" y="946248"/>
                  </a:lnTo>
                  <a:lnTo>
                    <a:pt x="487210" y="946894"/>
                  </a:lnTo>
                  <a:lnTo>
                    <a:pt x="487469" y="947669"/>
                  </a:lnTo>
                  <a:lnTo>
                    <a:pt x="487727" y="948315"/>
                  </a:lnTo>
                  <a:lnTo>
                    <a:pt x="490700" y="950642"/>
                  </a:lnTo>
                  <a:lnTo>
                    <a:pt x="492638" y="952192"/>
                  </a:lnTo>
                  <a:lnTo>
                    <a:pt x="498842" y="955811"/>
                  </a:lnTo>
                  <a:lnTo>
                    <a:pt x="500005" y="956845"/>
                  </a:lnTo>
                  <a:lnTo>
                    <a:pt x="500392" y="957620"/>
                  </a:lnTo>
                  <a:lnTo>
                    <a:pt x="499488" y="959300"/>
                  </a:lnTo>
                  <a:lnTo>
                    <a:pt x="499358" y="959947"/>
                  </a:lnTo>
                  <a:lnTo>
                    <a:pt x="499229" y="960722"/>
                  </a:lnTo>
                  <a:lnTo>
                    <a:pt x="498971" y="962919"/>
                  </a:lnTo>
                  <a:lnTo>
                    <a:pt x="499100" y="964340"/>
                  </a:lnTo>
                  <a:lnTo>
                    <a:pt x="499358" y="965633"/>
                  </a:lnTo>
                  <a:lnTo>
                    <a:pt x="499617" y="966925"/>
                  </a:lnTo>
                  <a:lnTo>
                    <a:pt x="500263" y="968476"/>
                  </a:lnTo>
                  <a:lnTo>
                    <a:pt x="500780" y="969122"/>
                  </a:lnTo>
                  <a:lnTo>
                    <a:pt x="501168" y="969381"/>
                  </a:lnTo>
                  <a:lnTo>
                    <a:pt x="501943" y="969639"/>
                  </a:lnTo>
                  <a:lnTo>
                    <a:pt x="502977" y="969898"/>
                  </a:lnTo>
                  <a:lnTo>
                    <a:pt x="505045" y="969898"/>
                  </a:lnTo>
                  <a:lnTo>
                    <a:pt x="506208" y="970414"/>
                  </a:lnTo>
                  <a:lnTo>
                    <a:pt x="507371" y="971190"/>
                  </a:lnTo>
                  <a:lnTo>
                    <a:pt x="508146" y="971190"/>
                  </a:lnTo>
                  <a:lnTo>
                    <a:pt x="509180" y="970802"/>
                  </a:lnTo>
                  <a:lnTo>
                    <a:pt x="509826" y="970414"/>
                  </a:lnTo>
                  <a:lnTo>
                    <a:pt x="510343" y="970027"/>
                  </a:lnTo>
                  <a:lnTo>
                    <a:pt x="510731" y="969768"/>
                  </a:lnTo>
                  <a:lnTo>
                    <a:pt x="511377" y="969768"/>
                  </a:lnTo>
                  <a:lnTo>
                    <a:pt x="512153" y="970027"/>
                  </a:lnTo>
                  <a:lnTo>
                    <a:pt x="512799" y="970414"/>
                  </a:lnTo>
                  <a:lnTo>
                    <a:pt x="513703" y="970414"/>
                  </a:lnTo>
                  <a:lnTo>
                    <a:pt x="514866" y="970156"/>
                  </a:lnTo>
                  <a:lnTo>
                    <a:pt x="515642" y="969639"/>
                  </a:lnTo>
                  <a:lnTo>
                    <a:pt x="516159" y="969122"/>
                  </a:lnTo>
                  <a:lnTo>
                    <a:pt x="516546" y="968734"/>
                  </a:lnTo>
                  <a:lnTo>
                    <a:pt x="516934" y="968347"/>
                  </a:lnTo>
                  <a:lnTo>
                    <a:pt x="517580" y="968217"/>
                  </a:lnTo>
                  <a:lnTo>
                    <a:pt x="518097" y="967959"/>
                  </a:lnTo>
                  <a:lnTo>
                    <a:pt x="521457" y="967313"/>
                  </a:lnTo>
                  <a:lnTo>
                    <a:pt x="522104" y="967442"/>
                  </a:lnTo>
                  <a:lnTo>
                    <a:pt x="522750" y="967700"/>
                  </a:lnTo>
                  <a:lnTo>
                    <a:pt x="523267" y="968476"/>
                  </a:lnTo>
                  <a:lnTo>
                    <a:pt x="523267" y="969122"/>
                  </a:lnTo>
                  <a:lnTo>
                    <a:pt x="523008" y="969639"/>
                  </a:lnTo>
                  <a:lnTo>
                    <a:pt x="522620" y="970156"/>
                  </a:lnTo>
                  <a:lnTo>
                    <a:pt x="522362" y="970673"/>
                  </a:lnTo>
                  <a:lnTo>
                    <a:pt x="522233" y="971190"/>
                  </a:lnTo>
                  <a:lnTo>
                    <a:pt x="522362" y="971836"/>
                  </a:lnTo>
                  <a:lnTo>
                    <a:pt x="522620" y="972224"/>
                  </a:lnTo>
                  <a:lnTo>
                    <a:pt x="525076" y="972482"/>
                  </a:lnTo>
                  <a:lnTo>
                    <a:pt x="533476" y="970802"/>
                  </a:lnTo>
                  <a:lnTo>
                    <a:pt x="536061" y="970544"/>
                  </a:lnTo>
                  <a:lnTo>
                    <a:pt x="536965" y="970156"/>
                  </a:lnTo>
                  <a:lnTo>
                    <a:pt x="537870" y="969639"/>
                  </a:lnTo>
                  <a:lnTo>
                    <a:pt x="539162" y="968734"/>
                  </a:lnTo>
                  <a:lnTo>
                    <a:pt x="539938" y="968088"/>
                  </a:lnTo>
                  <a:lnTo>
                    <a:pt x="540455" y="967442"/>
                  </a:lnTo>
                  <a:lnTo>
                    <a:pt x="540972" y="966408"/>
                  </a:lnTo>
                  <a:lnTo>
                    <a:pt x="541489" y="966021"/>
                  </a:lnTo>
                  <a:lnTo>
                    <a:pt x="542135" y="965762"/>
                  </a:lnTo>
                  <a:lnTo>
                    <a:pt x="543169" y="965762"/>
                  </a:lnTo>
                  <a:lnTo>
                    <a:pt x="544461" y="966279"/>
                  </a:lnTo>
                  <a:lnTo>
                    <a:pt x="545107" y="966150"/>
                  </a:lnTo>
                  <a:lnTo>
                    <a:pt x="545624" y="965633"/>
                  </a:lnTo>
                  <a:lnTo>
                    <a:pt x="546399" y="964470"/>
                  </a:lnTo>
                  <a:lnTo>
                    <a:pt x="546787" y="964082"/>
                  </a:lnTo>
                  <a:lnTo>
                    <a:pt x="547304" y="963953"/>
                  </a:lnTo>
                  <a:lnTo>
                    <a:pt x="547950" y="964211"/>
                  </a:lnTo>
                  <a:lnTo>
                    <a:pt x="548209" y="964599"/>
                  </a:lnTo>
                  <a:lnTo>
                    <a:pt x="548726" y="965891"/>
                  </a:lnTo>
                  <a:lnTo>
                    <a:pt x="548984" y="966279"/>
                  </a:lnTo>
                  <a:lnTo>
                    <a:pt x="549501" y="966667"/>
                  </a:lnTo>
                  <a:lnTo>
                    <a:pt x="550406" y="967184"/>
                  </a:lnTo>
                  <a:lnTo>
                    <a:pt x="551310" y="967959"/>
                  </a:lnTo>
                  <a:lnTo>
                    <a:pt x="552215" y="968734"/>
                  </a:lnTo>
                  <a:lnTo>
                    <a:pt x="552732" y="968864"/>
                  </a:lnTo>
                  <a:lnTo>
                    <a:pt x="553378" y="968734"/>
                  </a:lnTo>
                  <a:lnTo>
                    <a:pt x="554283" y="967830"/>
                  </a:lnTo>
                  <a:lnTo>
                    <a:pt x="554800" y="967184"/>
                  </a:lnTo>
                  <a:lnTo>
                    <a:pt x="555575" y="966021"/>
                  </a:lnTo>
                  <a:lnTo>
                    <a:pt x="555834" y="965503"/>
                  </a:lnTo>
                  <a:lnTo>
                    <a:pt x="556480" y="965116"/>
                  </a:lnTo>
                  <a:lnTo>
                    <a:pt x="557126" y="964857"/>
                  </a:lnTo>
                  <a:lnTo>
                    <a:pt x="558160" y="964857"/>
                  </a:lnTo>
                  <a:lnTo>
                    <a:pt x="558677" y="965245"/>
                  </a:lnTo>
                  <a:lnTo>
                    <a:pt x="558935" y="965762"/>
                  </a:lnTo>
                  <a:lnTo>
                    <a:pt x="559064" y="966408"/>
                  </a:lnTo>
                  <a:lnTo>
                    <a:pt x="559323" y="967054"/>
                  </a:lnTo>
                  <a:lnTo>
                    <a:pt x="559710" y="967442"/>
                  </a:lnTo>
                  <a:lnTo>
                    <a:pt x="560357" y="967571"/>
                  </a:lnTo>
                  <a:lnTo>
                    <a:pt x="561003" y="967442"/>
                  </a:lnTo>
                  <a:lnTo>
                    <a:pt x="561649" y="967184"/>
                  </a:lnTo>
                  <a:lnTo>
                    <a:pt x="562424" y="966279"/>
                  </a:lnTo>
                  <a:lnTo>
                    <a:pt x="562812" y="965503"/>
                  </a:lnTo>
                  <a:lnTo>
                    <a:pt x="562941" y="964857"/>
                  </a:lnTo>
                  <a:lnTo>
                    <a:pt x="562941" y="964211"/>
                  </a:lnTo>
                  <a:lnTo>
                    <a:pt x="562683" y="963565"/>
                  </a:lnTo>
                  <a:lnTo>
                    <a:pt x="562424" y="963048"/>
                  </a:lnTo>
                  <a:lnTo>
                    <a:pt x="562295" y="962402"/>
                  </a:lnTo>
                  <a:lnTo>
                    <a:pt x="562295" y="961756"/>
                  </a:lnTo>
                  <a:lnTo>
                    <a:pt x="562424" y="961110"/>
                  </a:lnTo>
                  <a:lnTo>
                    <a:pt x="562683" y="960722"/>
                  </a:lnTo>
                  <a:lnTo>
                    <a:pt x="563200" y="960463"/>
                  </a:lnTo>
                  <a:lnTo>
                    <a:pt x="563975" y="960593"/>
                  </a:lnTo>
                  <a:lnTo>
                    <a:pt x="565009" y="961239"/>
                  </a:lnTo>
                  <a:lnTo>
                    <a:pt x="565397" y="961368"/>
                  </a:lnTo>
                  <a:lnTo>
                    <a:pt x="565784" y="961239"/>
                  </a:lnTo>
                  <a:lnTo>
                    <a:pt x="566301" y="960980"/>
                  </a:lnTo>
                  <a:lnTo>
                    <a:pt x="566947" y="959947"/>
                  </a:lnTo>
                  <a:lnTo>
                    <a:pt x="567206" y="959171"/>
                  </a:lnTo>
                  <a:lnTo>
                    <a:pt x="567465" y="957620"/>
                  </a:lnTo>
                  <a:lnTo>
                    <a:pt x="567594" y="956069"/>
                  </a:lnTo>
                  <a:lnTo>
                    <a:pt x="567465" y="955423"/>
                  </a:lnTo>
                  <a:lnTo>
                    <a:pt x="567335" y="954777"/>
                  </a:lnTo>
                  <a:lnTo>
                    <a:pt x="567077" y="954260"/>
                  </a:lnTo>
                  <a:lnTo>
                    <a:pt x="566818" y="953743"/>
                  </a:lnTo>
                  <a:lnTo>
                    <a:pt x="566560" y="953485"/>
                  </a:lnTo>
                  <a:lnTo>
                    <a:pt x="566301" y="953226"/>
                  </a:lnTo>
                  <a:lnTo>
                    <a:pt x="565784" y="953097"/>
                  </a:lnTo>
                  <a:lnTo>
                    <a:pt x="565138" y="952968"/>
                  </a:lnTo>
                  <a:lnTo>
                    <a:pt x="563846" y="952968"/>
                  </a:lnTo>
                  <a:lnTo>
                    <a:pt x="561132" y="953355"/>
                  </a:lnTo>
                  <a:lnTo>
                    <a:pt x="560357" y="953226"/>
                  </a:lnTo>
                  <a:lnTo>
                    <a:pt x="559710" y="953097"/>
                  </a:lnTo>
                  <a:lnTo>
                    <a:pt x="559323" y="952709"/>
                  </a:lnTo>
                  <a:lnTo>
                    <a:pt x="558935" y="952322"/>
                  </a:lnTo>
                  <a:lnTo>
                    <a:pt x="558677" y="951805"/>
                  </a:lnTo>
                  <a:lnTo>
                    <a:pt x="558677" y="951159"/>
                  </a:lnTo>
                  <a:lnTo>
                    <a:pt x="558806" y="950642"/>
                  </a:lnTo>
                  <a:lnTo>
                    <a:pt x="559064" y="950254"/>
                  </a:lnTo>
                  <a:lnTo>
                    <a:pt x="568369" y="944826"/>
                  </a:lnTo>
                  <a:lnTo>
                    <a:pt x="569015" y="943922"/>
                  </a:lnTo>
                  <a:lnTo>
                    <a:pt x="569274" y="943146"/>
                  </a:lnTo>
                  <a:lnTo>
                    <a:pt x="569145" y="942500"/>
                  </a:lnTo>
                  <a:lnTo>
                    <a:pt x="568886" y="941854"/>
                  </a:lnTo>
                  <a:lnTo>
                    <a:pt x="568628" y="941466"/>
                  </a:lnTo>
                  <a:lnTo>
                    <a:pt x="567077" y="939786"/>
                  </a:lnTo>
                  <a:lnTo>
                    <a:pt x="566818" y="939269"/>
                  </a:lnTo>
                  <a:lnTo>
                    <a:pt x="566560" y="938623"/>
                  </a:lnTo>
                  <a:lnTo>
                    <a:pt x="566560" y="938106"/>
                  </a:lnTo>
                  <a:lnTo>
                    <a:pt x="567465" y="937460"/>
                  </a:lnTo>
                  <a:lnTo>
                    <a:pt x="569145" y="936943"/>
                  </a:lnTo>
                  <a:lnTo>
                    <a:pt x="573538" y="936555"/>
                  </a:lnTo>
                  <a:lnTo>
                    <a:pt x="575089" y="936814"/>
                  </a:lnTo>
                  <a:lnTo>
                    <a:pt x="575735" y="937331"/>
                  </a:lnTo>
                  <a:lnTo>
                    <a:pt x="575477" y="937848"/>
                  </a:lnTo>
                  <a:lnTo>
                    <a:pt x="574831" y="939011"/>
                  </a:lnTo>
                  <a:lnTo>
                    <a:pt x="574055" y="939915"/>
                  </a:lnTo>
                  <a:lnTo>
                    <a:pt x="573021" y="940949"/>
                  </a:lnTo>
                  <a:lnTo>
                    <a:pt x="572634" y="941466"/>
                  </a:lnTo>
                  <a:lnTo>
                    <a:pt x="572375" y="942112"/>
                  </a:lnTo>
                  <a:lnTo>
                    <a:pt x="572246" y="942758"/>
                  </a:lnTo>
                  <a:lnTo>
                    <a:pt x="572246" y="943405"/>
                  </a:lnTo>
                  <a:lnTo>
                    <a:pt x="572505" y="943792"/>
                  </a:lnTo>
                  <a:lnTo>
                    <a:pt x="572892" y="944180"/>
                  </a:lnTo>
                  <a:lnTo>
                    <a:pt x="573538" y="944439"/>
                  </a:lnTo>
                  <a:lnTo>
                    <a:pt x="574185" y="944697"/>
                  </a:lnTo>
                  <a:lnTo>
                    <a:pt x="574960" y="944697"/>
                  </a:lnTo>
                  <a:lnTo>
                    <a:pt x="575865" y="944568"/>
                  </a:lnTo>
                  <a:lnTo>
                    <a:pt x="577028" y="944180"/>
                  </a:lnTo>
                  <a:lnTo>
                    <a:pt x="579612" y="942629"/>
                  </a:lnTo>
                  <a:lnTo>
                    <a:pt x="581680" y="941078"/>
                  </a:lnTo>
                  <a:lnTo>
                    <a:pt x="582197" y="940820"/>
                  </a:lnTo>
                  <a:lnTo>
                    <a:pt x="582714" y="940691"/>
                  </a:lnTo>
                  <a:lnTo>
                    <a:pt x="583490" y="940820"/>
                  </a:lnTo>
                  <a:lnTo>
                    <a:pt x="583877" y="941337"/>
                  </a:lnTo>
                  <a:lnTo>
                    <a:pt x="584006" y="941983"/>
                  </a:lnTo>
                  <a:lnTo>
                    <a:pt x="584006" y="942629"/>
                  </a:lnTo>
                  <a:lnTo>
                    <a:pt x="584136" y="943275"/>
                  </a:lnTo>
                  <a:lnTo>
                    <a:pt x="584394" y="943663"/>
                  </a:lnTo>
                  <a:lnTo>
                    <a:pt x="584911" y="944051"/>
                  </a:lnTo>
                  <a:lnTo>
                    <a:pt x="588530" y="944568"/>
                  </a:lnTo>
                  <a:lnTo>
                    <a:pt x="589563" y="944439"/>
                  </a:lnTo>
                  <a:lnTo>
                    <a:pt x="590856" y="943922"/>
                  </a:lnTo>
                  <a:lnTo>
                    <a:pt x="592924" y="942629"/>
                  </a:lnTo>
                  <a:lnTo>
                    <a:pt x="593957" y="941854"/>
                  </a:lnTo>
                  <a:lnTo>
                    <a:pt x="594604" y="941208"/>
                  </a:lnTo>
                  <a:lnTo>
                    <a:pt x="596154" y="938752"/>
                  </a:lnTo>
                  <a:lnTo>
                    <a:pt x="596671" y="938365"/>
                  </a:lnTo>
                  <a:lnTo>
                    <a:pt x="597317" y="938235"/>
                  </a:lnTo>
                  <a:lnTo>
                    <a:pt x="598093" y="938365"/>
                  </a:lnTo>
                  <a:lnTo>
                    <a:pt x="598739" y="938752"/>
                  </a:lnTo>
                  <a:lnTo>
                    <a:pt x="599256" y="939011"/>
                  </a:lnTo>
                  <a:lnTo>
                    <a:pt x="600161" y="939786"/>
                  </a:lnTo>
                  <a:lnTo>
                    <a:pt x="600548" y="940303"/>
                  </a:lnTo>
                  <a:lnTo>
                    <a:pt x="600807" y="940820"/>
                  </a:lnTo>
                  <a:lnTo>
                    <a:pt x="600807" y="941466"/>
                  </a:lnTo>
                  <a:lnTo>
                    <a:pt x="600807" y="943017"/>
                  </a:lnTo>
                  <a:lnTo>
                    <a:pt x="600936" y="943663"/>
                  </a:lnTo>
                  <a:lnTo>
                    <a:pt x="601194" y="944180"/>
                  </a:lnTo>
                  <a:lnTo>
                    <a:pt x="601582" y="944568"/>
                  </a:lnTo>
                  <a:lnTo>
                    <a:pt x="602487" y="944568"/>
                  </a:lnTo>
                  <a:lnTo>
                    <a:pt x="603650" y="944180"/>
                  </a:lnTo>
                  <a:lnTo>
                    <a:pt x="608044" y="941725"/>
                  </a:lnTo>
                  <a:lnTo>
                    <a:pt x="616315" y="939269"/>
                  </a:lnTo>
                  <a:lnTo>
                    <a:pt x="616961" y="938881"/>
                  </a:lnTo>
                  <a:lnTo>
                    <a:pt x="617736" y="938235"/>
                  </a:lnTo>
                  <a:lnTo>
                    <a:pt x="618383" y="937201"/>
                  </a:lnTo>
                  <a:lnTo>
                    <a:pt x="618512" y="936426"/>
                  </a:lnTo>
                  <a:lnTo>
                    <a:pt x="618253" y="935134"/>
                  </a:lnTo>
                  <a:lnTo>
                    <a:pt x="618383" y="934746"/>
                  </a:lnTo>
                  <a:lnTo>
                    <a:pt x="618899" y="934358"/>
                  </a:lnTo>
                  <a:lnTo>
                    <a:pt x="619933" y="934488"/>
                  </a:lnTo>
                  <a:lnTo>
                    <a:pt x="620709" y="934488"/>
                  </a:lnTo>
                  <a:lnTo>
                    <a:pt x="621613" y="934100"/>
                  </a:lnTo>
                  <a:lnTo>
                    <a:pt x="623293" y="932678"/>
                  </a:lnTo>
                  <a:lnTo>
                    <a:pt x="624973" y="930998"/>
                  </a:lnTo>
                  <a:lnTo>
                    <a:pt x="625878" y="930223"/>
                  </a:lnTo>
                  <a:lnTo>
                    <a:pt x="631564" y="926992"/>
                  </a:lnTo>
                  <a:lnTo>
                    <a:pt x="632857" y="926087"/>
                  </a:lnTo>
                  <a:lnTo>
                    <a:pt x="639060" y="923244"/>
                  </a:lnTo>
                  <a:lnTo>
                    <a:pt x="640223" y="922986"/>
                  </a:lnTo>
                  <a:lnTo>
                    <a:pt x="642161" y="923373"/>
                  </a:lnTo>
                  <a:lnTo>
                    <a:pt x="643195" y="923373"/>
                  </a:lnTo>
                  <a:lnTo>
                    <a:pt x="644229" y="922986"/>
                  </a:lnTo>
                  <a:lnTo>
                    <a:pt x="645909" y="922081"/>
                  </a:lnTo>
                  <a:lnTo>
                    <a:pt x="647072" y="921564"/>
                  </a:lnTo>
                  <a:lnTo>
                    <a:pt x="648235" y="921306"/>
                  </a:lnTo>
                  <a:lnTo>
                    <a:pt x="651079" y="921306"/>
                  </a:lnTo>
                  <a:lnTo>
                    <a:pt x="652629" y="921564"/>
                  </a:lnTo>
                  <a:lnTo>
                    <a:pt x="653405" y="921564"/>
                  </a:lnTo>
                  <a:lnTo>
                    <a:pt x="656248" y="920530"/>
                  </a:lnTo>
                  <a:lnTo>
                    <a:pt x="663227" y="916395"/>
                  </a:lnTo>
                  <a:lnTo>
                    <a:pt x="667362" y="913552"/>
                  </a:lnTo>
                  <a:lnTo>
                    <a:pt x="669301" y="912518"/>
                  </a:lnTo>
                  <a:lnTo>
                    <a:pt x="673953" y="910967"/>
                  </a:lnTo>
                  <a:lnTo>
                    <a:pt x="674987" y="910709"/>
                  </a:lnTo>
                  <a:lnTo>
                    <a:pt x="676538" y="910967"/>
                  </a:lnTo>
                  <a:lnTo>
                    <a:pt x="678735" y="911484"/>
                  </a:lnTo>
                  <a:lnTo>
                    <a:pt x="681190" y="912001"/>
                  </a:lnTo>
                  <a:lnTo>
                    <a:pt x="682482" y="911613"/>
                  </a:lnTo>
                  <a:lnTo>
                    <a:pt x="682870" y="911225"/>
                  </a:lnTo>
                  <a:lnTo>
                    <a:pt x="683258" y="910709"/>
                  </a:lnTo>
                  <a:lnTo>
                    <a:pt x="684809" y="907995"/>
                  </a:lnTo>
                  <a:lnTo>
                    <a:pt x="686101" y="906702"/>
                  </a:lnTo>
                  <a:lnTo>
                    <a:pt x="687006" y="906056"/>
                  </a:lnTo>
                  <a:lnTo>
                    <a:pt x="687910" y="905798"/>
                  </a:lnTo>
                  <a:lnTo>
                    <a:pt x="691141" y="905668"/>
                  </a:lnTo>
                  <a:lnTo>
                    <a:pt x="693855" y="905151"/>
                  </a:lnTo>
                  <a:lnTo>
                    <a:pt x="695147" y="904635"/>
                  </a:lnTo>
                  <a:lnTo>
                    <a:pt x="696052" y="904247"/>
                  </a:lnTo>
                  <a:lnTo>
                    <a:pt x="696569" y="903988"/>
                  </a:lnTo>
                  <a:lnTo>
                    <a:pt x="704710" y="899077"/>
                  </a:lnTo>
                  <a:lnTo>
                    <a:pt x="706132" y="898690"/>
                  </a:lnTo>
                  <a:lnTo>
                    <a:pt x="707037" y="898690"/>
                  </a:lnTo>
                  <a:lnTo>
                    <a:pt x="707941" y="898819"/>
                  </a:lnTo>
                  <a:lnTo>
                    <a:pt x="709234" y="898948"/>
                  </a:lnTo>
                  <a:lnTo>
                    <a:pt x="714791" y="898044"/>
                  </a:lnTo>
                  <a:lnTo>
                    <a:pt x="716342" y="898173"/>
                  </a:lnTo>
                  <a:lnTo>
                    <a:pt x="720994" y="897268"/>
                  </a:lnTo>
                  <a:lnTo>
                    <a:pt x="721640" y="897398"/>
                  </a:lnTo>
                  <a:lnTo>
                    <a:pt x="722286" y="897527"/>
                  </a:lnTo>
                  <a:lnTo>
                    <a:pt x="722803" y="897785"/>
                  </a:lnTo>
                  <a:lnTo>
                    <a:pt x="723320" y="898173"/>
                  </a:lnTo>
                  <a:lnTo>
                    <a:pt x="724095" y="898819"/>
                  </a:lnTo>
                  <a:lnTo>
                    <a:pt x="724613" y="899207"/>
                  </a:lnTo>
                  <a:lnTo>
                    <a:pt x="726551" y="899336"/>
                  </a:lnTo>
                  <a:lnTo>
                    <a:pt x="729006" y="898431"/>
                  </a:lnTo>
                  <a:lnTo>
                    <a:pt x="738957" y="893133"/>
                  </a:lnTo>
                  <a:lnTo>
                    <a:pt x="739862" y="892228"/>
                  </a:lnTo>
                  <a:lnTo>
                    <a:pt x="742188" y="889514"/>
                  </a:lnTo>
                  <a:lnTo>
                    <a:pt x="742964" y="889127"/>
                  </a:lnTo>
                  <a:lnTo>
                    <a:pt x="743868" y="888868"/>
                  </a:lnTo>
                  <a:lnTo>
                    <a:pt x="744644" y="888868"/>
                  </a:lnTo>
                  <a:lnTo>
                    <a:pt x="745290" y="888610"/>
                  </a:lnTo>
                  <a:lnTo>
                    <a:pt x="758084" y="883440"/>
                  </a:lnTo>
                  <a:lnTo>
                    <a:pt x="761832" y="882406"/>
                  </a:lnTo>
                  <a:lnTo>
                    <a:pt x="763512" y="881760"/>
                  </a:lnTo>
                  <a:lnTo>
                    <a:pt x="764675" y="880726"/>
                  </a:lnTo>
                  <a:lnTo>
                    <a:pt x="766355" y="879563"/>
                  </a:lnTo>
                  <a:lnTo>
                    <a:pt x="772170" y="877108"/>
                  </a:lnTo>
                  <a:lnTo>
                    <a:pt x="775272" y="876074"/>
                  </a:lnTo>
                  <a:lnTo>
                    <a:pt x="775918" y="876074"/>
                  </a:lnTo>
                  <a:lnTo>
                    <a:pt x="776564" y="876203"/>
                  </a:lnTo>
                  <a:lnTo>
                    <a:pt x="777081" y="876591"/>
                  </a:lnTo>
                  <a:lnTo>
                    <a:pt x="777469" y="876979"/>
                  </a:lnTo>
                  <a:lnTo>
                    <a:pt x="777728" y="877495"/>
                  </a:lnTo>
                  <a:lnTo>
                    <a:pt x="778115" y="877883"/>
                  </a:lnTo>
                  <a:lnTo>
                    <a:pt x="778761" y="878271"/>
                  </a:lnTo>
                  <a:lnTo>
                    <a:pt x="779537" y="878400"/>
                  </a:lnTo>
                  <a:lnTo>
                    <a:pt x="781088" y="878271"/>
                  </a:lnTo>
                  <a:lnTo>
                    <a:pt x="782251" y="877883"/>
                  </a:lnTo>
                  <a:lnTo>
                    <a:pt x="784189" y="876979"/>
                  </a:lnTo>
                  <a:lnTo>
                    <a:pt x="785223" y="876849"/>
                  </a:lnTo>
                  <a:lnTo>
                    <a:pt x="785998" y="876979"/>
                  </a:lnTo>
                  <a:lnTo>
                    <a:pt x="786903" y="877754"/>
                  </a:lnTo>
                  <a:lnTo>
                    <a:pt x="787549" y="877883"/>
                  </a:lnTo>
                  <a:lnTo>
                    <a:pt x="788066" y="877754"/>
                  </a:lnTo>
                  <a:lnTo>
                    <a:pt x="789100" y="876720"/>
                  </a:lnTo>
                  <a:lnTo>
                    <a:pt x="789875" y="876074"/>
                  </a:lnTo>
                  <a:lnTo>
                    <a:pt x="790651" y="875815"/>
                  </a:lnTo>
                  <a:lnTo>
                    <a:pt x="791426" y="875815"/>
                  </a:lnTo>
                  <a:lnTo>
                    <a:pt x="792718" y="876332"/>
                  </a:lnTo>
                  <a:lnTo>
                    <a:pt x="793623" y="876591"/>
                  </a:lnTo>
                  <a:lnTo>
                    <a:pt x="794269" y="876332"/>
                  </a:lnTo>
                  <a:lnTo>
                    <a:pt x="794916" y="875815"/>
                  </a:lnTo>
                  <a:lnTo>
                    <a:pt x="795691" y="875169"/>
                  </a:lnTo>
                  <a:lnTo>
                    <a:pt x="796337" y="875040"/>
                  </a:lnTo>
                  <a:lnTo>
                    <a:pt x="796854" y="875169"/>
                  </a:lnTo>
                  <a:lnTo>
                    <a:pt x="797888" y="876591"/>
                  </a:lnTo>
                  <a:lnTo>
                    <a:pt x="798276" y="876849"/>
                  </a:lnTo>
                  <a:lnTo>
                    <a:pt x="798792" y="877237"/>
                  </a:lnTo>
                  <a:lnTo>
                    <a:pt x="799697" y="877366"/>
                  </a:lnTo>
                  <a:lnTo>
                    <a:pt x="800989" y="877366"/>
                  </a:lnTo>
                  <a:lnTo>
                    <a:pt x="802669" y="876720"/>
                  </a:lnTo>
                  <a:lnTo>
                    <a:pt x="804608" y="876203"/>
                  </a:lnTo>
                  <a:lnTo>
                    <a:pt x="805125" y="876203"/>
                  </a:lnTo>
                  <a:lnTo>
                    <a:pt x="807322" y="876462"/>
                  </a:lnTo>
                  <a:lnTo>
                    <a:pt x="809002" y="876332"/>
                  </a:lnTo>
                  <a:lnTo>
                    <a:pt x="809777" y="876203"/>
                  </a:lnTo>
                  <a:lnTo>
                    <a:pt x="811328" y="875299"/>
                  </a:lnTo>
                  <a:lnTo>
                    <a:pt x="819858" y="870775"/>
                  </a:lnTo>
                  <a:lnTo>
                    <a:pt x="822572" y="869871"/>
                  </a:lnTo>
                  <a:lnTo>
                    <a:pt x="824122" y="869871"/>
                  </a:lnTo>
                  <a:lnTo>
                    <a:pt x="824769" y="870000"/>
                  </a:lnTo>
                  <a:lnTo>
                    <a:pt x="825156" y="870129"/>
                  </a:lnTo>
                  <a:lnTo>
                    <a:pt x="825673" y="870388"/>
                  </a:lnTo>
                  <a:lnTo>
                    <a:pt x="826448" y="870646"/>
                  </a:lnTo>
                  <a:lnTo>
                    <a:pt x="827482" y="870646"/>
                  </a:lnTo>
                  <a:lnTo>
                    <a:pt x="831230" y="870388"/>
                  </a:lnTo>
                  <a:lnTo>
                    <a:pt x="832135" y="870517"/>
                  </a:lnTo>
                  <a:lnTo>
                    <a:pt x="832781" y="870646"/>
                  </a:lnTo>
                  <a:lnTo>
                    <a:pt x="833298" y="871034"/>
                  </a:lnTo>
                  <a:lnTo>
                    <a:pt x="834203" y="871680"/>
                  </a:lnTo>
                  <a:lnTo>
                    <a:pt x="834849" y="872068"/>
                  </a:lnTo>
                  <a:lnTo>
                    <a:pt x="835753" y="872326"/>
                  </a:lnTo>
                  <a:lnTo>
                    <a:pt x="837563" y="872455"/>
                  </a:lnTo>
                  <a:lnTo>
                    <a:pt x="838984" y="872455"/>
                  </a:lnTo>
                  <a:lnTo>
                    <a:pt x="841440" y="872068"/>
                  </a:lnTo>
                  <a:lnTo>
                    <a:pt x="844412" y="872326"/>
                  </a:lnTo>
                  <a:lnTo>
                    <a:pt x="844929" y="872585"/>
                  </a:lnTo>
                  <a:lnTo>
                    <a:pt x="845187" y="872843"/>
                  </a:lnTo>
                  <a:lnTo>
                    <a:pt x="845317" y="873489"/>
                  </a:lnTo>
                  <a:lnTo>
                    <a:pt x="845317" y="874135"/>
                  </a:lnTo>
                  <a:lnTo>
                    <a:pt x="845187" y="874911"/>
                  </a:lnTo>
                  <a:lnTo>
                    <a:pt x="845058" y="875557"/>
                  </a:lnTo>
                  <a:lnTo>
                    <a:pt x="844800" y="876074"/>
                  </a:lnTo>
                  <a:lnTo>
                    <a:pt x="844412" y="876462"/>
                  </a:lnTo>
                  <a:lnTo>
                    <a:pt x="844024" y="876979"/>
                  </a:lnTo>
                  <a:lnTo>
                    <a:pt x="843766" y="877495"/>
                  </a:lnTo>
                  <a:lnTo>
                    <a:pt x="843507" y="878013"/>
                  </a:lnTo>
                  <a:lnTo>
                    <a:pt x="843636" y="878529"/>
                  </a:lnTo>
                  <a:lnTo>
                    <a:pt x="843636" y="878917"/>
                  </a:lnTo>
                  <a:lnTo>
                    <a:pt x="844024" y="879822"/>
                  </a:lnTo>
                  <a:lnTo>
                    <a:pt x="844283" y="880468"/>
                  </a:lnTo>
                  <a:lnTo>
                    <a:pt x="844541" y="880856"/>
                  </a:lnTo>
                  <a:lnTo>
                    <a:pt x="845704" y="880339"/>
                  </a:lnTo>
                  <a:lnTo>
                    <a:pt x="847126" y="878529"/>
                  </a:lnTo>
                  <a:lnTo>
                    <a:pt x="848160" y="877625"/>
                  </a:lnTo>
                  <a:lnTo>
                    <a:pt x="849452" y="877625"/>
                  </a:lnTo>
                  <a:lnTo>
                    <a:pt x="852037" y="878400"/>
                  </a:lnTo>
                  <a:lnTo>
                    <a:pt x="852941" y="878142"/>
                  </a:lnTo>
                  <a:lnTo>
                    <a:pt x="854104" y="875945"/>
                  </a:lnTo>
                  <a:lnTo>
                    <a:pt x="854492" y="874135"/>
                  </a:lnTo>
                  <a:lnTo>
                    <a:pt x="855267" y="872585"/>
                  </a:lnTo>
                  <a:lnTo>
                    <a:pt x="857723" y="871421"/>
                  </a:lnTo>
                  <a:lnTo>
                    <a:pt x="864443" y="870388"/>
                  </a:lnTo>
                  <a:lnTo>
                    <a:pt x="866123" y="869483"/>
                  </a:lnTo>
                  <a:lnTo>
                    <a:pt x="869613" y="866252"/>
                  </a:lnTo>
                  <a:lnTo>
                    <a:pt x="871293" y="865089"/>
                  </a:lnTo>
                  <a:lnTo>
                    <a:pt x="885637" y="859403"/>
                  </a:lnTo>
                  <a:lnTo>
                    <a:pt x="893521" y="854880"/>
                  </a:lnTo>
                  <a:lnTo>
                    <a:pt x="906832" y="850227"/>
                  </a:lnTo>
                  <a:lnTo>
                    <a:pt x="917300" y="844024"/>
                  </a:lnTo>
                  <a:lnTo>
                    <a:pt x="923115" y="842602"/>
                  </a:lnTo>
                  <a:lnTo>
                    <a:pt x="924924" y="841310"/>
                  </a:lnTo>
                  <a:lnTo>
                    <a:pt x="926346" y="839888"/>
                  </a:lnTo>
                  <a:lnTo>
                    <a:pt x="927380" y="839113"/>
                  </a:lnTo>
                  <a:lnTo>
                    <a:pt x="928543" y="839242"/>
                  </a:lnTo>
                  <a:lnTo>
                    <a:pt x="930611" y="840018"/>
                  </a:lnTo>
                  <a:lnTo>
                    <a:pt x="931774" y="840018"/>
                  </a:lnTo>
                  <a:lnTo>
                    <a:pt x="932937" y="839372"/>
                  </a:lnTo>
                  <a:lnTo>
                    <a:pt x="935005" y="837433"/>
                  </a:lnTo>
                  <a:lnTo>
                    <a:pt x="936297" y="836916"/>
                  </a:lnTo>
                  <a:lnTo>
                    <a:pt x="937977" y="833814"/>
                  </a:lnTo>
                  <a:lnTo>
                    <a:pt x="938106" y="832135"/>
                  </a:lnTo>
                  <a:lnTo>
                    <a:pt x="937977" y="831488"/>
                  </a:lnTo>
                  <a:lnTo>
                    <a:pt x="937331" y="830325"/>
                  </a:lnTo>
                  <a:lnTo>
                    <a:pt x="936943" y="829679"/>
                  </a:lnTo>
                  <a:lnTo>
                    <a:pt x="936426" y="829162"/>
                  </a:lnTo>
                  <a:lnTo>
                    <a:pt x="935909" y="828904"/>
                  </a:lnTo>
                  <a:lnTo>
                    <a:pt x="935392" y="828516"/>
                  </a:lnTo>
                  <a:lnTo>
                    <a:pt x="934746" y="828387"/>
                  </a:lnTo>
                  <a:lnTo>
                    <a:pt x="934100" y="828258"/>
                  </a:lnTo>
                  <a:lnTo>
                    <a:pt x="933454" y="828258"/>
                  </a:lnTo>
                  <a:lnTo>
                    <a:pt x="932808" y="828516"/>
                  </a:lnTo>
                  <a:lnTo>
                    <a:pt x="932291" y="828645"/>
                  </a:lnTo>
                  <a:lnTo>
                    <a:pt x="931644" y="828774"/>
                  </a:lnTo>
                  <a:lnTo>
                    <a:pt x="930869" y="828774"/>
                  </a:lnTo>
                  <a:lnTo>
                    <a:pt x="929706" y="828128"/>
                  </a:lnTo>
                  <a:lnTo>
                    <a:pt x="928931" y="827870"/>
                  </a:lnTo>
                  <a:lnTo>
                    <a:pt x="928155" y="827870"/>
                  </a:lnTo>
                  <a:lnTo>
                    <a:pt x="927509" y="827870"/>
                  </a:lnTo>
                  <a:lnTo>
                    <a:pt x="926734" y="827741"/>
                  </a:lnTo>
                  <a:lnTo>
                    <a:pt x="926605" y="827224"/>
                  </a:lnTo>
                  <a:lnTo>
                    <a:pt x="926605" y="826448"/>
                  </a:lnTo>
                  <a:lnTo>
                    <a:pt x="927121" y="823088"/>
                  </a:lnTo>
                  <a:lnTo>
                    <a:pt x="929189" y="818824"/>
                  </a:lnTo>
                  <a:lnTo>
                    <a:pt x="934100" y="810940"/>
                  </a:lnTo>
                  <a:lnTo>
                    <a:pt x="934229" y="810423"/>
                  </a:lnTo>
                  <a:lnTo>
                    <a:pt x="934488" y="809389"/>
                  </a:lnTo>
                  <a:lnTo>
                    <a:pt x="934746" y="807322"/>
                  </a:lnTo>
                  <a:lnTo>
                    <a:pt x="934488" y="803316"/>
                  </a:lnTo>
                  <a:lnTo>
                    <a:pt x="934488" y="802282"/>
                  </a:lnTo>
                  <a:lnTo>
                    <a:pt x="934746" y="801635"/>
                  </a:lnTo>
                  <a:lnTo>
                    <a:pt x="936038" y="798921"/>
                  </a:lnTo>
                  <a:lnTo>
                    <a:pt x="936685" y="798017"/>
                  </a:lnTo>
                  <a:lnTo>
                    <a:pt x="942629" y="793752"/>
                  </a:lnTo>
                  <a:lnTo>
                    <a:pt x="943405" y="787807"/>
                  </a:lnTo>
                  <a:lnTo>
                    <a:pt x="944180" y="785352"/>
                  </a:lnTo>
                  <a:lnTo>
                    <a:pt x="946894" y="779795"/>
                  </a:lnTo>
                  <a:lnTo>
                    <a:pt x="947153" y="778503"/>
                  </a:lnTo>
                  <a:lnTo>
                    <a:pt x="947153" y="777598"/>
                  </a:lnTo>
                  <a:lnTo>
                    <a:pt x="947023" y="776693"/>
                  </a:lnTo>
                  <a:lnTo>
                    <a:pt x="946894" y="775789"/>
                  </a:lnTo>
                  <a:lnTo>
                    <a:pt x="946894" y="773980"/>
                  </a:lnTo>
                  <a:lnTo>
                    <a:pt x="947153" y="772946"/>
                  </a:lnTo>
                  <a:lnTo>
                    <a:pt x="947411" y="772299"/>
                  </a:lnTo>
                  <a:lnTo>
                    <a:pt x="948186" y="771395"/>
                  </a:lnTo>
                  <a:lnTo>
                    <a:pt x="948703" y="770619"/>
                  </a:lnTo>
                  <a:lnTo>
                    <a:pt x="949220" y="769715"/>
                  </a:lnTo>
                  <a:lnTo>
                    <a:pt x="950254" y="767518"/>
                  </a:lnTo>
                  <a:lnTo>
                    <a:pt x="950771" y="766355"/>
                  </a:lnTo>
                  <a:lnTo>
                    <a:pt x="952193" y="764675"/>
                  </a:lnTo>
                  <a:lnTo>
                    <a:pt x="953227" y="762865"/>
                  </a:lnTo>
                  <a:lnTo>
                    <a:pt x="955294" y="758472"/>
                  </a:lnTo>
                  <a:lnTo>
                    <a:pt x="955940" y="756533"/>
                  </a:lnTo>
                  <a:lnTo>
                    <a:pt x="956070" y="755499"/>
                  </a:lnTo>
                  <a:lnTo>
                    <a:pt x="956070" y="755370"/>
                  </a:lnTo>
                  <a:lnTo>
                    <a:pt x="955940" y="755241"/>
                  </a:lnTo>
                  <a:lnTo>
                    <a:pt x="955165" y="755111"/>
                  </a:lnTo>
                  <a:lnTo>
                    <a:pt x="953743" y="754982"/>
                  </a:lnTo>
                  <a:lnTo>
                    <a:pt x="953097" y="754853"/>
                  </a:lnTo>
                  <a:lnTo>
                    <a:pt x="952580" y="754594"/>
                  </a:lnTo>
                  <a:lnTo>
                    <a:pt x="952064" y="754207"/>
                  </a:lnTo>
                  <a:lnTo>
                    <a:pt x="951676" y="753561"/>
                  </a:lnTo>
                  <a:lnTo>
                    <a:pt x="951417" y="752785"/>
                  </a:lnTo>
                  <a:lnTo>
                    <a:pt x="951288" y="751105"/>
                  </a:lnTo>
                  <a:lnTo>
                    <a:pt x="951547" y="750330"/>
                  </a:lnTo>
                  <a:lnTo>
                    <a:pt x="951934" y="749813"/>
                  </a:lnTo>
                  <a:lnTo>
                    <a:pt x="953097" y="749296"/>
                  </a:lnTo>
                  <a:lnTo>
                    <a:pt x="954002" y="748779"/>
                  </a:lnTo>
                  <a:lnTo>
                    <a:pt x="955165" y="747487"/>
                  </a:lnTo>
                  <a:lnTo>
                    <a:pt x="956070" y="746453"/>
                  </a:lnTo>
                  <a:lnTo>
                    <a:pt x="956716" y="746194"/>
                  </a:lnTo>
                  <a:lnTo>
                    <a:pt x="957233" y="746194"/>
                  </a:lnTo>
                  <a:lnTo>
                    <a:pt x="958267" y="746711"/>
                  </a:lnTo>
                  <a:lnTo>
                    <a:pt x="958784" y="746970"/>
                  </a:lnTo>
                  <a:lnTo>
                    <a:pt x="959430" y="747099"/>
                  </a:lnTo>
                  <a:lnTo>
                    <a:pt x="960205" y="747099"/>
                  </a:lnTo>
                  <a:lnTo>
                    <a:pt x="961368" y="746840"/>
                  </a:lnTo>
                  <a:lnTo>
                    <a:pt x="963178" y="746194"/>
                  </a:lnTo>
                  <a:lnTo>
                    <a:pt x="963695" y="746324"/>
                  </a:lnTo>
                  <a:lnTo>
                    <a:pt x="964212" y="746582"/>
                  </a:lnTo>
                  <a:lnTo>
                    <a:pt x="964599" y="746970"/>
                  </a:lnTo>
                  <a:lnTo>
                    <a:pt x="964987" y="747357"/>
                  </a:lnTo>
                  <a:lnTo>
                    <a:pt x="965633" y="747616"/>
                  </a:lnTo>
                  <a:lnTo>
                    <a:pt x="966279" y="747616"/>
                  </a:lnTo>
                  <a:lnTo>
                    <a:pt x="966925" y="747487"/>
                  </a:lnTo>
                  <a:lnTo>
                    <a:pt x="967571" y="747357"/>
                  </a:lnTo>
                  <a:lnTo>
                    <a:pt x="968218" y="746970"/>
                  </a:lnTo>
                  <a:lnTo>
                    <a:pt x="968993" y="746582"/>
                  </a:lnTo>
                  <a:lnTo>
                    <a:pt x="969898" y="745548"/>
                  </a:lnTo>
                  <a:lnTo>
                    <a:pt x="970415" y="744902"/>
                  </a:lnTo>
                  <a:lnTo>
                    <a:pt x="972224" y="740637"/>
                  </a:lnTo>
                  <a:lnTo>
                    <a:pt x="973904" y="737665"/>
                  </a:lnTo>
                  <a:lnTo>
                    <a:pt x="974162" y="737019"/>
                  </a:lnTo>
                  <a:lnTo>
                    <a:pt x="974162" y="735597"/>
                  </a:lnTo>
                  <a:lnTo>
                    <a:pt x="974808" y="733013"/>
                  </a:lnTo>
                  <a:lnTo>
                    <a:pt x="976230" y="732625"/>
                  </a:lnTo>
                  <a:lnTo>
                    <a:pt x="977135" y="732625"/>
                  </a:lnTo>
                  <a:lnTo>
                    <a:pt x="978556" y="732237"/>
                  </a:lnTo>
                  <a:lnTo>
                    <a:pt x="979461" y="731849"/>
                  </a:lnTo>
                  <a:lnTo>
                    <a:pt x="979849" y="731332"/>
                  </a:lnTo>
                  <a:lnTo>
                    <a:pt x="980882" y="729911"/>
                  </a:lnTo>
                  <a:lnTo>
                    <a:pt x="979202" y="729006"/>
                  </a:lnTo>
                  <a:lnTo>
                    <a:pt x="979073" y="728489"/>
                  </a:lnTo>
                  <a:lnTo>
                    <a:pt x="978944" y="727585"/>
                  </a:lnTo>
                  <a:lnTo>
                    <a:pt x="979202" y="727068"/>
                  </a:lnTo>
                  <a:lnTo>
                    <a:pt x="979719" y="726680"/>
                  </a:lnTo>
                  <a:lnTo>
                    <a:pt x="980366" y="726034"/>
                  </a:lnTo>
                  <a:lnTo>
                    <a:pt x="981141" y="724871"/>
                  </a:lnTo>
                  <a:lnTo>
                    <a:pt x="983338" y="719701"/>
                  </a:lnTo>
                  <a:lnTo>
                    <a:pt x="984113" y="718280"/>
                  </a:lnTo>
                  <a:lnTo>
                    <a:pt x="986440" y="715178"/>
                  </a:lnTo>
                  <a:lnTo>
                    <a:pt x="986827" y="714274"/>
                  </a:lnTo>
                  <a:lnTo>
                    <a:pt x="986698" y="713498"/>
                  </a:lnTo>
                  <a:lnTo>
                    <a:pt x="986310" y="713110"/>
                  </a:lnTo>
                  <a:lnTo>
                    <a:pt x="985793" y="712852"/>
                  </a:lnTo>
                  <a:lnTo>
                    <a:pt x="985147" y="712852"/>
                  </a:lnTo>
                  <a:lnTo>
                    <a:pt x="984630" y="712981"/>
                  </a:lnTo>
                  <a:lnTo>
                    <a:pt x="983726" y="713627"/>
                  </a:lnTo>
                  <a:lnTo>
                    <a:pt x="983209" y="713886"/>
                  </a:lnTo>
                  <a:lnTo>
                    <a:pt x="982563" y="713886"/>
                  </a:lnTo>
                  <a:lnTo>
                    <a:pt x="982045" y="713498"/>
                  </a:lnTo>
                  <a:lnTo>
                    <a:pt x="981917" y="712981"/>
                  </a:lnTo>
                  <a:lnTo>
                    <a:pt x="982175" y="712464"/>
                  </a:lnTo>
                  <a:lnTo>
                    <a:pt x="983467" y="710526"/>
                  </a:lnTo>
                  <a:lnTo>
                    <a:pt x="984113" y="709363"/>
                  </a:lnTo>
                  <a:lnTo>
                    <a:pt x="985535" y="704840"/>
                  </a:lnTo>
                  <a:lnTo>
                    <a:pt x="985793" y="704193"/>
                  </a:lnTo>
                  <a:lnTo>
                    <a:pt x="986181" y="703676"/>
                  </a:lnTo>
                  <a:lnTo>
                    <a:pt x="987344" y="703030"/>
                  </a:lnTo>
                  <a:lnTo>
                    <a:pt x="987991" y="702513"/>
                  </a:lnTo>
                  <a:lnTo>
                    <a:pt x="988119" y="701867"/>
                  </a:lnTo>
                  <a:lnTo>
                    <a:pt x="987991" y="701350"/>
                  </a:lnTo>
                  <a:lnTo>
                    <a:pt x="987086" y="699153"/>
                  </a:lnTo>
                  <a:lnTo>
                    <a:pt x="986956" y="698378"/>
                  </a:lnTo>
                  <a:lnTo>
                    <a:pt x="986827" y="695406"/>
                  </a:lnTo>
                  <a:lnTo>
                    <a:pt x="988119" y="690107"/>
                  </a:lnTo>
                  <a:lnTo>
                    <a:pt x="984501" y="688427"/>
                  </a:lnTo>
                  <a:lnTo>
                    <a:pt x="983984" y="687910"/>
                  </a:lnTo>
                  <a:lnTo>
                    <a:pt x="983467" y="687264"/>
                  </a:lnTo>
                  <a:lnTo>
                    <a:pt x="982821" y="685584"/>
                  </a:lnTo>
                  <a:lnTo>
                    <a:pt x="982175" y="684291"/>
                  </a:lnTo>
                  <a:lnTo>
                    <a:pt x="981917" y="683387"/>
                  </a:lnTo>
                  <a:lnTo>
                    <a:pt x="981787" y="682353"/>
                  </a:lnTo>
                  <a:lnTo>
                    <a:pt x="981917" y="681577"/>
                  </a:lnTo>
                  <a:lnTo>
                    <a:pt x="982045" y="681061"/>
                  </a:lnTo>
                  <a:lnTo>
                    <a:pt x="982304" y="680414"/>
                  </a:lnTo>
                  <a:lnTo>
                    <a:pt x="983338" y="679122"/>
                  </a:lnTo>
                  <a:lnTo>
                    <a:pt x="984113" y="678347"/>
                  </a:lnTo>
                  <a:lnTo>
                    <a:pt x="986052" y="677054"/>
                  </a:lnTo>
                  <a:lnTo>
                    <a:pt x="989541" y="675116"/>
                  </a:lnTo>
                  <a:lnTo>
                    <a:pt x="990187" y="674340"/>
                  </a:lnTo>
                  <a:lnTo>
                    <a:pt x="990834" y="673307"/>
                  </a:lnTo>
                  <a:lnTo>
                    <a:pt x="992513" y="668396"/>
                  </a:lnTo>
                  <a:lnTo>
                    <a:pt x="992772" y="667879"/>
                  </a:lnTo>
                  <a:lnTo>
                    <a:pt x="993418" y="666974"/>
                  </a:lnTo>
                  <a:lnTo>
                    <a:pt x="993806" y="666457"/>
                  </a:lnTo>
                  <a:lnTo>
                    <a:pt x="994323" y="665940"/>
                  </a:lnTo>
                  <a:lnTo>
                    <a:pt x="995357" y="665423"/>
                  </a:lnTo>
                  <a:lnTo>
                    <a:pt x="996778" y="665294"/>
                  </a:lnTo>
                  <a:lnTo>
                    <a:pt x="1026761" y="665811"/>
                  </a:lnTo>
                  <a:lnTo>
                    <a:pt x="1029991" y="665811"/>
                  </a:lnTo>
                  <a:lnTo>
                    <a:pt x="1031154" y="664519"/>
                  </a:lnTo>
                  <a:lnTo>
                    <a:pt x="1033093" y="663743"/>
                  </a:lnTo>
                  <a:lnTo>
                    <a:pt x="1033739" y="663356"/>
                  </a:lnTo>
                  <a:lnTo>
                    <a:pt x="1034127" y="662839"/>
                  </a:lnTo>
                  <a:lnTo>
                    <a:pt x="1036582" y="656506"/>
                  </a:lnTo>
                  <a:lnTo>
                    <a:pt x="1036711" y="655860"/>
                  </a:lnTo>
                  <a:lnTo>
                    <a:pt x="1036841" y="655214"/>
                  </a:lnTo>
                  <a:lnTo>
                    <a:pt x="1036841" y="653792"/>
                  </a:lnTo>
                  <a:lnTo>
                    <a:pt x="1037616" y="650303"/>
                  </a:lnTo>
                  <a:lnTo>
                    <a:pt x="1040072" y="642678"/>
                  </a:lnTo>
                  <a:lnTo>
                    <a:pt x="1040330" y="641515"/>
                  </a:lnTo>
                  <a:lnTo>
                    <a:pt x="1040330" y="641257"/>
                  </a:lnTo>
                  <a:lnTo>
                    <a:pt x="1040330" y="638801"/>
                  </a:lnTo>
                  <a:lnTo>
                    <a:pt x="1040459" y="637250"/>
                  </a:lnTo>
                  <a:lnTo>
                    <a:pt x="1040718" y="636475"/>
                  </a:lnTo>
                  <a:lnTo>
                    <a:pt x="1041105" y="635958"/>
                  </a:lnTo>
                  <a:lnTo>
                    <a:pt x="1042010" y="634795"/>
                  </a:lnTo>
                  <a:lnTo>
                    <a:pt x="1043173" y="633373"/>
                  </a:lnTo>
                  <a:lnTo>
                    <a:pt x="1043561" y="632857"/>
                  </a:lnTo>
                  <a:lnTo>
                    <a:pt x="1044078" y="632469"/>
                  </a:lnTo>
                  <a:lnTo>
                    <a:pt x="1044595" y="632340"/>
                  </a:lnTo>
                  <a:lnTo>
                    <a:pt x="1045241" y="632210"/>
                  </a:lnTo>
                  <a:lnTo>
                    <a:pt x="1045887" y="632340"/>
                  </a:lnTo>
                  <a:lnTo>
                    <a:pt x="1046533" y="632469"/>
                  </a:lnTo>
                  <a:lnTo>
                    <a:pt x="1047438" y="632210"/>
                  </a:lnTo>
                  <a:lnTo>
                    <a:pt x="1048342" y="631693"/>
                  </a:lnTo>
                  <a:lnTo>
                    <a:pt x="1050281" y="629238"/>
                  </a:lnTo>
                  <a:lnTo>
                    <a:pt x="1051057" y="628592"/>
                  </a:lnTo>
                  <a:lnTo>
                    <a:pt x="1052736" y="627687"/>
                  </a:lnTo>
                  <a:lnTo>
                    <a:pt x="1053253" y="627041"/>
                  </a:lnTo>
                  <a:lnTo>
                    <a:pt x="1053512" y="626395"/>
                  </a:lnTo>
                  <a:lnTo>
                    <a:pt x="1054416" y="620192"/>
                  </a:lnTo>
                  <a:lnTo>
                    <a:pt x="1054416" y="618770"/>
                  </a:lnTo>
                  <a:lnTo>
                    <a:pt x="1054029" y="617478"/>
                  </a:lnTo>
                  <a:lnTo>
                    <a:pt x="1055709" y="606364"/>
                  </a:lnTo>
                  <a:lnTo>
                    <a:pt x="1056614" y="603262"/>
                  </a:lnTo>
                  <a:lnTo>
                    <a:pt x="1057260" y="602357"/>
                  </a:lnTo>
                  <a:lnTo>
                    <a:pt x="1057647" y="602099"/>
                  </a:lnTo>
                  <a:lnTo>
                    <a:pt x="1061266" y="600031"/>
                  </a:lnTo>
                  <a:lnTo>
                    <a:pt x="1061912" y="599256"/>
                  </a:lnTo>
                  <a:lnTo>
                    <a:pt x="1062946" y="598093"/>
                  </a:lnTo>
                  <a:lnTo>
                    <a:pt x="1063592" y="596800"/>
                  </a:lnTo>
                  <a:lnTo>
                    <a:pt x="1064238" y="596413"/>
                  </a:lnTo>
                  <a:lnTo>
                    <a:pt x="1064755" y="596283"/>
                  </a:lnTo>
                  <a:lnTo>
                    <a:pt x="1065401" y="596283"/>
                  </a:lnTo>
                  <a:lnTo>
                    <a:pt x="1065918" y="596154"/>
                  </a:lnTo>
                  <a:lnTo>
                    <a:pt x="1066306" y="595766"/>
                  </a:lnTo>
                  <a:lnTo>
                    <a:pt x="1069408" y="592277"/>
                  </a:lnTo>
                  <a:lnTo>
                    <a:pt x="1069925" y="591243"/>
                  </a:lnTo>
                  <a:lnTo>
                    <a:pt x="1070183" y="590468"/>
                  </a:lnTo>
                  <a:lnTo>
                    <a:pt x="1070054" y="589951"/>
                  </a:lnTo>
                  <a:lnTo>
                    <a:pt x="1068374" y="586979"/>
                  </a:lnTo>
                  <a:lnTo>
                    <a:pt x="1068244" y="586332"/>
                  </a:lnTo>
                  <a:lnTo>
                    <a:pt x="1068115" y="585686"/>
                  </a:lnTo>
                  <a:lnTo>
                    <a:pt x="1068244" y="585169"/>
                  </a:lnTo>
                  <a:lnTo>
                    <a:pt x="1068503" y="584135"/>
                  </a:lnTo>
                  <a:lnTo>
                    <a:pt x="1069020" y="584006"/>
                  </a:lnTo>
                  <a:lnTo>
                    <a:pt x="1069537" y="583877"/>
                  </a:lnTo>
                  <a:lnTo>
                    <a:pt x="1071605" y="585169"/>
                  </a:lnTo>
                  <a:lnTo>
                    <a:pt x="1072121" y="585428"/>
                  </a:lnTo>
                  <a:lnTo>
                    <a:pt x="1072638" y="585557"/>
                  </a:lnTo>
                  <a:lnTo>
                    <a:pt x="1073672" y="585557"/>
                  </a:lnTo>
                  <a:lnTo>
                    <a:pt x="1074448" y="585299"/>
                  </a:lnTo>
                  <a:lnTo>
                    <a:pt x="1075223" y="584782"/>
                  </a:lnTo>
                  <a:lnTo>
                    <a:pt x="1076645" y="583489"/>
                  </a:lnTo>
                  <a:lnTo>
                    <a:pt x="1077291" y="582714"/>
                  </a:lnTo>
                  <a:lnTo>
                    <a:pt x="1077679" y="581939"/>
                  </a:lnTo>
                  <a:lnTo>
                    <a:pt x="1077808" y="581292"/>
                  </a:lnTo>
                  <a:lnTo>
                    <a:pt x="1077937" y="580646"/>
                  </a:lnTo>
                  <a:lnTo>
                    <a:pt x="1077937" y="580000"/>
                  </a:lnTo>
                  <a:lnTo>
                    <a:pt x="1077937" y="579354"/>
                  </a:lnTo>
                  <a:lnTo>
                    <a:pt x="1077549" y="578191"/>
                  </a:lnTo>
                  <a:lnTo>
                    <a:pt x="1077679" y="577157"/>
                  </a:lnTo>
                  <a:lnTo>
                    <a:pt x="1078066" y="575606"/>
                  </a:lnTo>
                  <a:lnTo>
                    <a:pt x="1080392" y="570178"/>
                  </a:lnTo>
                  <a:lnTo>
                    <a:pt x="1080522" y="569532"/>
                  </a:lnTo>
                  <a:lnTo>
                    <a:pt x="1080780" y="568110"/>
                  </a:lnTo>
                  <a:lnTo>
                    <a:pt x="1080780" y="565009"/>
                  </a:lnTo>
                  <a:lnTo>
                    <a:pt x="1081297" y="562166"/>
                  </a:lnTo>
                  <a:lnTo>
                    <a:pt x="1081297" y="561132"/>
                  </a:lnTo>
                  <a:lnTo>
                    <a:pt x="1081038" y="560486"/>
                  </a:lnTo>
                  <a:lnTo>
                    <a:pt x="1080522" y="560098"/>
                  </a:lnTo>
                  <a:lnTo>
                    <a:pt x="1080134" y="559710"/>
                  </a:lnTo>
                  <a:lnTo>
                    <a:pt x="1079746" y="559064"/>
                  </a:lnTo>
                  <a:lnTo>
                    <a:pt x="1079617" y="557901"/>
                  </a:lnTo>
                  <a:lnTo>
                    <a:pt x="1080263" y="555058"/>
                  </a:lnTo>
                  <a:lnTo>
                    <a:pt x="1080522" y="552215"/>
                  </a:lnTo>
                  <a:lnTo>
                    <a:pt x="1080263" y="548338"/>
                  </a:lnTo>
                  <a:lnTo>
                    <a:pt x="1079488" y="545236"/>
                  </a:lnTo>
                  <a:lnTo>
                    <a:pt x="1079229" y="544719"/>
                  </a:lnTo>
                  <a:lnTo>
                    <a:pt x="1077679" y="542264"/>
                  </a:lnTo>
                  <a:lnTo>
                    <a:pt x="1077032" y="541488"/>
                  </a:lnTo>
                  <a:lnTo>
                    <a:pt x="1071475" y="536061"/>
                  </a:lnTo>
                  <a:lnTo>
                    <a:pt x="1070958" y="535673"/>
                  </a:lnTo>
                  <a:lnTo>
                    <a:pt x="1070442" y="535544"/>
                  </a:lnTo>
                  <a:lnTo>
                    <a:pt x="1069020" y="535285"/>
                  </a:lnTo>
                  <a:lnTo>
                    <a:pt x="1068374" y="534898"/>
                  </a:lnTo>
                  <a:lnTo>
                    <a:pt x="1067857" y="534122"/>
                  </a:lnTo>
                  <a:lnTo>
                    <a:pt x="1067857" y="533347"/>
                  </a:lnTo>
                  <a:lnTo>
                    <a:pt x="1067857" y="532701"/>
                  </a:lnTo>
                  <a:lnTo>
                    <a:pt x="1069925" y="528565"/>
                  </a:lnTo>
                  <a:lnTo>
                    <a:pt x="1070571" y="526756"/>
                  </a:lnTo>
                  <a:lnTo>
                    <a:pt x="1070442" y="525851"/>
                  </a:lnTo>
                  <a:lnTo>
                    <a:pt x="1070183" y="525334"/>
                  </a:lnTo>
                  <a:lnTo>
                    <a:pt x="1069666" y="525076"/>
                  </a:lnTo>
                  <a:lnTo>
                    <a:pt x="1068890" y="524946"/>
                  </a:lnTo>
                  <a:lnTo>
                    <a:pt x="1068244" y="524817"/>
                  </a:lnTo>
                  <a:lnTo>
                    <a:pt x="1067598" y="524300"/>
                  </a:lnTo>
                  <a:lnTo>
                    <a:pt x="1067340" y="523396"/>
                  </a:lnTo>
                  <a:lnTo>
                    <a:pt x="1067469" y="522491"/>
                  </a:lnTo>
                  <a:lnTo>
                    <a:pt x="1067727" y="521586"/>
                  </a:lnTo>
                  <a:lnTo>
                    <a:pt x="1067598" y="520940"/>
                  </a:lnTo>
                  <a:lnTo>
                    <a:pt x="1067211" y="520682"/>
                  </a:lnTo>
                  <a:lnTo>
                    <a:pt x="1066047" y="520294"/>
                  </a:lnTo>
                  <a:lnTo>
                    <a:pt x="1065531" y="520036"/>
                  </a:lnTo>
                  <a:lnTo>
                    <a:pt x="1065014" y="519648"/>
                  </a:lnTo>
                  <a:lnTo>
                    <a:pt x="1064755" y="519260"/>
                  </a:lnTo>
                  <a:lnTo>
                    <a:pt x="1063463" y="517322"/>
                  </a:lnTo>
                  <a:lnTo>
                    <a:pt x="1063075" y="516934"/>
                  </a:lnTo>
                  <a:lnTo>
                    <a:pt x="1062688" y="516546"/>
                  </a:lnTo>
                  <a:lnTo>
                    <a:pt x="1062170" y="516288"/>
                  </a:lnTo>
                  <a:lnTo>
                    <a:pt x="1061524" y="516159"/>
                  </a:lnTo>
                  <a:lnTo>
                    <a:pt x="1060878" y="516159"/>
                  </a:lnTo>
                  <a:lnTo>
                    <a:pt x="1060103" y="516159"/>
                  </a:lnTo>
                  <a:lnTo>
                    <a:pt x="1059457" y="516288"/>
                  </a:lnTo>
                  <a:lnTo>
                    <a:pt x="1058423" y="516676"/>
                  </a:lnTo>
                  <a:lnTo>
                    <a:pt x="1057906" y="517063"/>
                  </a:lnTo>
                  <a:lnTo>
                    <a:pt x="1056742" y="518097"/>
                  </a:lnTo>
                  <a:lnTo>
                    <a:pt x="1056226" y="518356"/>
                  </a:lnTo>
                  <a:lnTo>
                    <a:pt x="1055709" y="518356"/>
                  </a:lnTo>
                  <a:lnTo>
                    <a:pt x="1055192" y="518226"/>
                  </a:lnTo>
                  <a:lnTo>
                    <a:pt x="1054287" y="517580"/>
                  </a:lnTo>
                  <a:lnTo>
                    <a:pt x="1053253" y="517063"/>
                  </a:lnTo>
                  <a:lnTo>
                    <a:pt x="1051573" y="516417"/>
                  </a:lnTo>
                  <a:lnTo>
                    <a:pt x="1051057" y="516159"/>
                  </a:lnTo>
                  <a:lnTo>
                    <a:pt x="1050798" y="515512"/>
                  </a:lnTo>
                  <a:lnTo>
                    <a:pt x="1049764" y="513186"/>
                  </a:lnTo>
                  <a:lnTo>
                    <a:pt x="1048084" y="512282"/>
                  </a:lnTo>
                  <a:lnTo>
                    <a:pt x="1047826" y="511894"/>
                  </a:lnTo>
                  <a:lnTo>
                    <a:pt x="1047696" y="511248"/>
                  </a:lnTo>
                  <a:lnTo>
                    <a:pt x="1047826" y="510602"/>
                  </a:lnTo>
                  <a:lnTo>
                    <a:pt x="1048084" y="510085"/>
                  </a:lnTo>
                  <a:lnTo>
                    <a:pt x="1048472" y="509568"/>
                  </a:lnTo>
                  <a:lnTo>
                    <a:pt x="1049118" y="508792"/>
                  </a:lnTo>
                  <a:lnTo>
                    <a:pt x="1049635" y="508405"/>
                  </a:lnTo>
                  <a:lnTo>
                    <a:pt x="1050152" y="508017"/>
                  </a:lnTo>
                  <a:lnTo>
                    <a:pt x="1050927" y="507629"/>
                  </a:lnTo>
                  <a:lnTo>
                    <a:pt x="1052349" y="507242"/>
                  </a:lnTo>
                  <a:lnTo>
                    <a:pt x="1055192" y="507112"/>
                  </a:lnTo>
                  <a:lnTo>
                    <a:pt x="1058035" y="507242"/>
                  </a:lnTo>
                  <a:lnTo>
                    <a:pt x="1060103" y="506983"/>
                  </a:lnTo>
                  <a:lnTo>
                    <a:pt x="1060878" y="507112"/>
                  </a:lnTo>
                  <a:lnTo>
                    <a:pt x="1061524" y="507242"/>
                  </a:lnTo>
                  <a:lnTo>
                    <a:pt x="1061912" y="507629"/>
                  </a:lnTo>
                  <a:lnTo>
                    <a:pt x="1062041" y="508146"/>
                  </a:lnTo>
                  <a:lnTo>
                    <a:pt x="1062170" y="508792"/>
                  </a:lnTo>
                  <a:lnTo>
                    <a:pt x="1062688" y="509309"/>
                  </a:lnTo>
                  <a:lnTo>
                    <a:pt x="1063592" y="509697"/>
                  </a:lnTo>
                  <a:lnTo>
                    <a:pt x="1075223" y="509309"/>
                  </a:lnTo>
                  <a:lnTo>
                    <a:pt x="1077679" y="508921"/>
                  </a:lnTo>
                  <a:lnTo>
                    <a:pt x="1079358" y="508146"/>
                  </a:lnTo>
                  <a:lnTo>
                    <a:pt x="1079875" y="507888"/>
                  </a:lnTo>
                  <a:lnTo>
                    <a:pt x="1080651" y="507112"/>
                  </a:lnTo>
                  <a:lnTo>
                    <a:pt x="1081038" y="506595"/>
                  </a:lnTo>
                  <a:lnTo>
                    <a:pt x="1081426" y="505949"/>
                  </a:lnTo>
                  <a:lnTo>
                    <a:pt x="1081943" y="504915"/>
                  </a:lnTo>
                  <a:lnTo>
                    <a:pt x="1082202" y="504140"/>
                  </a:lnTo>
                  <a:lnTo>
                    <a:pt x="1082202" y="503235"/>
                  </a:lnTo>
                  <a:lnTo>
                    <a:pt x="1082202" y="501814"/>
                  </a:lnTo>
                  <a:lnTo>
                    <a:pt x="1081168" y="494318"/>
                  </a:lnTo>
                  <a:lnTo>
                    <a:pt x="1081038" y="493801"/>
                  </a:lnTo>
                  <a:lnTo>
                    <a:pt x="1080780" y="493284"/>
                  </a:lnTo>
                  <a:lnTo>
                    <a:pt x="1080392" y="492767"/>
                  </a:lnTo>
                  <a:lnTo>
                    <a:pt x="1080005" y="492380"/>
                  </a:lnTo>
                  <a:lnTo>
                    <a:pt x="1079617" y="491992"/>
                  </a:lnTo>
                  <a:lnTo>
                    <a:pt x="1079100" y="491734"/>
                  </a:lnTo>
                  <a:lnTo>
                    <a:pt x="1078454" y="491604"/>
                  </a:lnTo>
                  <a:lnTo>
                    <a:pt x="1073026" y="491346"/>
                  </a:lnTo>
                  <a:lnTo>
                    <a:pt x="1071863" y="491217"/>
                  </a:lnTo>
                  <a:lnTo>
                    <a:pt x="1071346" y="490958"/>
                  </a:lnTo>
                  <a:lnTo>
                    <a:pt x="1070958" y="490570"/>
                  </a:lnTo>
                  <a:lnTo>
                    <a:pt x="1070571" y="490053"/>
                  </a:lnTo>
                  <a:lnTo>
                    <a:pt x="1070442" y="489536"/>
                  </a:lnTo>
                  <a:lnTo>
                    <a:pt x="1070312" y="488890"/>
                  </a:lnTo>
                  <a:lnTo>
                    <a:pt x="1070312" y="488115"/>
                  </a:lnTo>
                  <a:lnTo>
                    <a:pt x="1071088" y="482687"/>
                  </a:lnTo>
                  <a:lnTo>
                    <a:pt x="1072380" y="477130"/>
                  </a:lnTo>
                  <a:lnTo>
                    <a:pt x="1072638" y="472090"/>
                  </a:lnTo>
                  <a:lnTo>
                    <a:pt x="1073026" y="468859"/>
                  </a:lnTo>
                  <a:lnTo>
                    <a:pt x="1073155" y="467308"/>
                  </a:lnTo>
                  <a:lnTo>
                    <a:pt x="1072768" y="465370"/>
                  </a:lnTo>
                  <a:lnTo>
                    <a:pt x="1072380" y="464207"/>
                  </a:lnTo>
                  <a:lnTo>
                    <a:pt x="1072121" y="463690"/>
                  </a:lnTo>
                  <a:lnTo>
                    <a:pt x="1070829" y="461880"/>
                  </a:lnTo>
                  <a:lnTo>
                    <a:pt x="1070183" y="461105"/>
                  </a:lnTo>
                  <a:lnTo>
                    <a:pt x="1068890" y="459942"/>
                  </a:lnTo>
                  <a:lnTo>
                    <a:pt x="1067857" y="459425"/>
                  </a:lnTo>
                  <a:lnTo>
                    <a:pt x="1066306" y="458650"/>
                  </a:lnTo>
                  <a:lnTo>
                    <a:pt x="1065272" y="458004"/>
                  </a:lnTo>
                  <a:lnTo>
                    <a:pt x="1064497" y="457357"/>
                  </a:lnTo>
                  <a:lnTo>
                    <a:pt x="1063721" y="456453"/>
                  </a:lnTo>
                  <a:lnTo>
                    <a:pt x="1060490" y="459684"/>
                  </a:lnTo>
                  <a:lnTo>
                    <a:pt x="1058940" y="460459"/>
                  </a:lnTo>
                  <a:lnTo>
                    <a:pt x="1058294" y="460459"/>
                  </a:lnTo>
                  <a:lnTo>
                    <a:pt x="1057389" y="460201"/>
                  </a:lnTo>
                  <a:lnTo>
                    <a:pt x="1059327" y="455936"/>
                  </a:lnTo>
                  <a:lnTo>
                    <a:pt x="1059457" y="454127"/>
                  </a:lnTo>
                  <a:lnTo>
                    <a:pt x="1058681" y="452446"/>
                  </a:lnTo>
                  <a:lnTo>
                    <a:pt x="1058294" y="451542"/>
                  </a:lnTo>
                  <a:lnTo>
                    <a:pt x="1058035" y="449862"/>
                  </a:lnTo>
                  <a:lnTo>
                    <a:pt x="1058164" y="448957"/>
                  </a:lnTo>
                  <a:lnTo>
                    <a:pt x="1058552" y="448440"/>
                  </a:lnTo>
                  <a:lnTo>
                    <a:pt x="1061266" y="446502"/>
                  </a:lnTo>
                  <a:lnTo>
                    <a:pt x="1063075" y="443659"/>
                  </a:lnTo>
                  <a:lnTo>
                    <a:pt x="1065143" y="439394"/>
                  </a:lnTo>
                  <a:lnTo>
                    <a:pt x="1066177" y="437714"/>
                  </a:lnTo>
                  <a:lnTo>
                    <a:pt x="1067081" y="436680"/>
                  </a:lnTo>
                  <a:lnTo>
                    <a:pt x="1067727" y="436551"/>
                  </a:lnTo>
                  <a:lnTo>
                    <a:pt x="1068374" y="436421"/>
                  </a:lnTo>
                  <a:lnTo>
                    <a:pt x="1070442" y="436551"/>
                  </a:lnTo>
                  <a:lnTo>
                    <a:pt x="1071088" y="436421"/>
                  </a:lnTo>
                  <a:lnTo>
                    <a:pt x="1071734" y="436292"/>
                  </a:lnTo>
                  <a:lnTo>
                    <a:pt x="1078842" y="429701"/>
                  </a:lnTo>
                  <a:lnTo>
                    <a:pt x="1079875" y="428926"/>
                  </a:lnTo>
                  <a:lnTo>
                    <a:pt x="1080651" y="428538"/>
                  </a:lnTo>
                  <a:lnTo>
                    <a:pt x="1081297" y="428280"/>
                  </a:lnTo>
                  <a:lnTo>
                    <a:pt x="1082073" y="428151"/>
                  </a:lnTo>
                  <a:lnTo>
                    <a:pt x="1082719" y="428151"/>
                  </a:lnTo>
                  <a:lnTo>
                    <a:pt x="1083365" y="428280"/>
                  </a:lnTo>
                  <a:lnTo>
                    <a:pt x="1083882" y="428409"/>
                  </a:lnTo>
                  <a:lnTo>
                    <a:pt x="1084399" y="428797"/>
                  </a:lnTo>
                  <a:lnTo>
                    <a:pt x="1084786" y="429055"/>
                  </a:lnTo>
                  <a:lnTo>
                    <a:pt x="1085820" y="430348"/>
                  </a:lnTo>
                  <a:lnTo>
                    <a:pt x="1086337" y="430735"/>
                  </a:lnTo>
                  <a:lnTo>
                    <a:pt x="1086725" y="430994"/>
                  </a:lnTo>
                  <a:lnTo>
                    <a:pt x="1088405" y="431769"/>
                  </a:lnTo>
                  <a:lnTo>
                    <a:pt x="1088793" y="432157"/>
                  </a:lnTo>
                  <a:lnTo>
                    <a:pt x="1089568" y="432932"/>
                  </a:lnTo>
                  <a:lnTo>
                    <a:pt x="1090085" y="433191"/>
                  </a:lnTo>
                  <a:lnTo>
                    <a:pt x="1090602" y="433449"/>
                  </a:lnTo>
                  <a:lnTo>
                    <a:pt x="1091377" y="433449"/>
                  </a:lnTo>
                  <a:lnTo>
                    <a:pt x="1094221" y="433449"/>
                  </a:lnTo>
                  <a:lnTo>
                    <a:pt x="1095642" y="433708"/>
                  </a:lnTo>
                  <a:lnTo>
                    <a:pt x="1096417" y="433837"/>
                  </a:lnTo>
                  <a:lnTo>
                    <a:pt x="1097580" y="433449"/>
                  </a:lnTo>
                  <a:lnTo>
                    <a:pt x="1098097" y="432932"/>
                  </a:lnTo>
                  <a:lnTo>
                    <a:pt x="1098227" y="432157"/>
                  </a:lnTo>
                  <a:lnTo>
                    <a:pt x="1098227" y="429960"/>
                  </a:lnTo>
                  <a:lnTo>
                    <a:pt x="1097968" y="428668"/>
                  </a:lnTo>
                  <a:lnTo>
                    <a:pt x="1097839" y="428151"/>
                  </a:lnTo>
                  <a:lnTo>
                    <a:pt x="1097580" y="427634"/>
                  </a:lnTo>
                  <a:lnTo>
                    <a:pt x="1097193" y="427117"/>
                  </a:lnTo>
                  <a:lnTo>
                    <a:pt x="1082848" y="413418"/>
                  </a:lnTo>
                  <a:lnTo>
                    <a:pt x="1082460" y="412901"/>
                  </a:lnTo>
                  <a:lnTo>
                    <a:pt x="1082331" y="412384"/>
                  </a:lnTo>
                  <a:lnTo>
                    <a:pt x="1082460" y="411221"/>
                  </a:lnTo>
                  <a:lnTo>
                    <a:pt x="1082848" y="410833"/>
                  </a:lnTo>
                  <a:lnTo>
                    <a:pt x="1083494" y="410833"/>
                  </a:lnTo>
                  <a:lnTo>
                    <a:pt x="1083882" y="411092"/>
                  </a:lnTo>
                  <a:lnTo>
                    <a:pt x="1085174" y="412255"/>
                  </a:lnTo>
                  <a:lnTo>
                    <a:pt x="1085562" y="412513"/>
                  </a:lnTo>
                  <a:lnTo>
                    <a:pt x="1086208" y="412772"/>
                  </a:lnTo>
                  <a:lnTo>
                    <a:pt x="1086854" y="412901"/>
                  </a:lnTo>
                  <a:lnTo>
                    <a:pt x="1087500" y="412901"/>
                  </a:lnTo>
                  <a:lnTo>
                    <a:pt x="1088922" y="412643"/>
                  </a:lnTo>
                  <a:lnTo>
                    <a:pt x="1090731" y="412126"/>
                  </a:lnTo>
                  <a:lnTo>
                    <a:pt x="1091248" y="411996"/>
                  </a:lnTo>
                  <a:lnTo>
                    <a:pt x="1091894" y="411996"/>
                  </a:lnTo>
                  <a:lnTo>
                    <a:pt x="1092540" y="412255"/>
                  </a:lnTo>
                  <a:lnTo>
                    <a:pt x="1093057" y="412513"/>
                  </a:lnTo>
                  <a:lnTo>
                    <a:pt x="1093833" y="413160"/>
                  </a:lnTo>
                  <a:lnTo>
                    <a:pt x="1094479" y="413418"/>
                  </a:lnTo>
                  <a:lnTo>
                    <a:pt x="1094996" y="413676"/>
                  </a:lnTo>
                  <a:lnTo>
                    <a:pt x="1095642" y="413676"/>
                  </a:lnTo>
                  <a:lnTo>
                    <a:pt x="1096159" y="413547"/>
                  </a:lnTo>
                  <a:lnTo>
                    <a:pt x="1097580" y="412643"/>
                  </a:lnTo>
                  <a:lnTo>
                    <a:pt x="1099260" y="412126"/>
                  </a:lnTo>
                  <a:lnTo>
                    <a:pt x="1100811" y="411092"/>
                  </a:lnTo>
                  <a:lnTo>
                    <a:pt x="1101845" y="410575"/>
                  </a:lnTo>
                  <a:lnTo>
                    <a:pt x="1102621" y="410446"/>
                  </a:lnTo>
                  <a:lnTo>
                    <a:pt x="1103267" y="410446"/>
                  </a:lnTo>
                  <a:lnTo>
                    <a:pt x="1106369" y="411350"/>
                  </a:lnTo>
                  <a:lnTo>
                    <a:pt x="1107661" y="411609"/>
                  </a:lnTo>
                  <a:lnTo>
                    <a:pt x="1109082" y="411738"/>
                  </a:lnTo>
                  <a:lnTo>
                    <a:pt x="1110375" y="411350"/>
                  </a:lnTo>
                  <a:lnTo>
                    <a:pt x="1112054" y="410575"/>
                  </a:lnTo>
                  <a:lnTo>
                    <a:pt x="1116836" y="407473"/>
                  </a:lnTo>
                  <a:lnTo>
                    <a:pt x="1117999" y="406956"/>
                  </a:lnTo>
                  <a:lnTo>
                    <a:pt x="1119292" y="406698"/>
                  </a:lnTo>
                  <a:lnTo>
                    <a:pt x="1123427" y="405405"/>
                  </a:lnTo>
                  <a:lnTo>
                    <a:pt x="1124073" y="405405"/>
                  </a:lnTo>
                  <a:lnTo>
                    <a:pt x="1124719" y="405405"/>
                  </a:lnTo>
                  <a:lnTo>
                    <a:pt x="1125366" y="405664"/>
                  </a:lnTo>
                  <a:lnTo>
                    <a:pt x="1125883" y="405923"/>
                  </a:lnTo>
                  <a:lnTo>
                    <a:pt x="1127821" y="407861"/>
                  </a:lnTo>
                  <a:lnTo>
                    <a:pt x="1128726" y="408378"/>
                  </a:lnTo>
                  <a:lnTo>
                    <a:pt x="1129243" y="408636"/>
                  </a:lnTo>
                  <a:lnTo>
                    <a:pt x="1129760" y="408765"/>
                  </a:lnTo>
                  <a:lnTo>
                    <a:pt x="1130535" y="408765"/>
                  </a:lnTo>
                  <a:lnTo>
                    <a:pt x="1131310" y="408636"/>
                  </a:lnTo>
                  <a:lnTo>
                    <a:pt x="1131828" y="408249"/>
                  </a:lnTo>
                  <a:lnTo>
                    <a:pt x="1132215" y="407732"/>
                  </a:lnTo>
                  <a:lnTo>
                    <a:pt x="1132215" y="407086"/>
                  </a:lnTo>
                  <a:lnTo>
                    <a:pt x="1131828" y="405147"/>
                  </a:lnTo>
                  <a:lnTo>
                    <a:pt x="1131828" y="404501"/>
                  </a:lnTo>
                  <a:lnTo>
                    <a:pt x="1132086" y="403725"/>
                  </a:lnTo>
                  <a:lnTo>
                    <a:pt x="1132603" y="402821"/>
                  </a:lnTo>
                  <a:lnTo>
                    <a:pt x="1133120" y="402562"/>
                  </a:lnTo>
                  <a:lnTo>
                    <a:pt x="1133637" y="402692"/>
                  </a:lnTo>
                  <a:lnTo>
                    <a:pt x="1133895" y="403209"/>
                  </a:lnTo>
                  <a:lnTo>
                    <a:pt x="1134412" y="404372"/>
                  </a:lnTo>
                  <a:lnTo>
                    <a:pt x="1134670" y="404759"/>
                  </a:lnTo>
                  <a:lnTo>
                    <a:pt x="1135058" y="405147"/>
                  </a:lnTo>
                  <a:lnTo>
                    <a:pt x="1135704" y="405276"/>
                  </a:lnTo>
                  <a:lnTo>
                    <a:pt x="1140615" y="406698"/>
                  </a:lnTo>
                  <a:lnTo>
                    <a:pt x="1141132" y="406956"/>
                  </a:lnTo>
                  <a:lnTo>
                    <a:pt x="1142037" y="407602"/>
                  </a:lnTo>
                  <a:lnTo>
                    <a:pt x="1142554" y="407861"/>
                  </a:lnTo>
                  <a:lnTo>
                    <a:pt x="1144363" y="407861"/>
                  </a:lnTo>
                  <a:lnTo>
                    <a:pt x="1145009" y="407990"/>
                  </a:lnTo>
                  <a:lnTo>
                    <a:pt x="1145397" y="408378"/>
                  </a:lnTo>
                  <a:lnTo>
                    <a:pt x="1145785" y="408765"/>
                  </a:lnTo>
                  <a:lnTo>
                    <a:pt x="1146043" y="409153"/>
                  </a:lnTo>
                  <a:lnTo>
                    <a:pt x="1146948" y="409929"/>
                  </a:lnTo>
                  <a:lnTo>
                    <a:pt x="1147335" y="410187"/>
                  </a:lnTo>
                  <a:lnTo>
                    <a:pt x="1147982" y="410446"/>
                  </a:lnTo>
                  <a:lnTo>
                    <a:pt x="1148628" y="410446"/>
                  </a:lnTo>
                  <a:lnTo>
                    <a:pt x="1149403" y="410446"/>
                  </a:lnTo>
                  <a:lnTo>
                    <a:pt x="1150696" y="410316"/>
                  </a:lnTo>
                  <a:lnTo>
                    <a:pt x="1151342" y="410316"/>
                  </a:lnTo>
                  <a:lnTo>
                    <a:pt x="1151988" y="410446"/>
                  </a:lnTo>
                  <a:lnTo>
                    <a:pt x="1152505" y="410833"/>
                  </a:lnTo>
                  <a:lnTo>
                    <a:pt x="1152892" y="411092"/>
                  </a:lnTo>
                  <a:lnTo>
                    <a:pt x="1153280" y="411479"/>
                  </a:lnTo>
                  <a:lnTo>
                    <a:pt x="1154185" y="412255"/>
                  </a:lnTo>
                  <a:lnTo>
                    <a:pt x="1154702" y="412513"/>
                  </a:lnTo>
                  <a:lnTo>
                    <a:pt x="1155219" y="412772"/>
                  </a:lnTo>
                  <a:lnTo>
                    <a:pt x="1157157" y="413547"/>
                  </a:lnTo>
                  <a:lnTo>
                    <a:pt x="1158191" y="414193"/>
                  </a:lnTo>
                  <a:lnTo>
                    <a:pt x="1156123" y="409412"/>
                  </a:lnTo>
                  <a:lnTo>
                    <a:pt x="1155865" y="407344"/>
                  </a:lnTo>
                  <a:lnTo>
                    <a:pt x="1155994" y="406827"/>
                  </a:lnTo>
                  <a:lnTo>
                    <a:pt x="1156511" y="405793"/>
                  </a:lnTo>
                  <a:lnTo>
                    <a:pt x="1157157" y="404759"/>
                  </a:lnTo>
                  <a:lnTo>
                    <a:pt x="1158837" y="402692"/>
                  </a:lnTo>
                  <a:lnTo>
                    <a:pt x="1159354" y="401787"/>
                  </a:lnTo>
                  <a:lnTo>
                    <a:pt x="1159742" y="400753"/>
                  </a:lnTo>
                  <a:lnTo>
                    <a:pt x="1160388" y="398427"/>
                  </a:lnTo>
                  <a:lnTo>
                    <a:pt x="1160517" y="397264"/>
                  </a:lnTo>
                  <a:lnTo>
                    <a:pt x="1160517" y="396230"/>
                  </a:lnTo>
                  <a:lnTo>
                    <a:pt x="1160388" y="395454"/>
                  </a:lnTo>
                  <a:lnTo>
                    <a:pt x="1159613" y="393257"/>
                  </a:lnTo>
                  <a:lnTo>
                    <a:pt x="1158191" y="390414"/>
                  </a:lnTo>
                  <a:lnTo>
                    <a:pt x="1155735" y="387830"/>
                  </a:lnTo>
                  <a:lnTo>
                    <a:pt x="1154314" y="386925"/>
                  </a:lnTo>
                  <a:lnTo>
                    <a:pt x="1150049" y="384987"/>
                  </a:lnTo>
                  <a:lnTo>
                    <a:pt x="1149015" y="384211"/>
                  </a:lnTo>
                  <a:lnTo>
                    <a:pt x="1148369" y="383565"/>
                  </a:lnTo>
                  <a:lnTo>
                    <a:pt x="1147982" y="382143"/>
                  </a:lnTo>
                  <a:lnTo>
                    <a:pt x="1147594" y="381239"/>
                  </a:lnTo>
                  <a:lnTo>
                    <a:pt x="1146689" y="379946"/>
                  </a:lnTo>
                  <a:lnTo>
                    <a:pt x="1146043" y="379300"/>
                  </a:lnTo>
                  <a:lnTo>
                    <a:pt x="1145526" y="378783"/>
                  </a:lnTo>
                  <a:lnTo>
                    <a:pt x="1141132" y="376069"/>
                  </a:lnTo>
                  <a:lnTo>
                    <a:pt x="1140098" y="375294"/>
                  </a:lnTo>
                  <a:lnTo>
                    <a:pt x="1139581" y="374648"/>
                  </a:lnTo>
                  <a:lnTo>
                    <a:pt x="1139065" y="373614"/>
                  </a:lnTo>
                  <a:lnTo>
                    <a:pt x="1138160" y="369866"/>
                  </a:lnTo>
                  <a:lnTo>
                    <a:pt x="1137384" y="368445"/>
                  </a:lnTo>
                  <a:lnTo>
                    <a:pt x="1136867" y="367798"/>
                  </a:lnTo>
                  <a:lnTo>
                    <a:pt x="1136221" y="367282"/>
                  </a:lnTo>
                  <a:lnTo>
                    <a:pt x="1134929" y="367023"/>
                  </a:lnTo>
                  <a:lnTo>
                    <a:pt x="1133507" y="367023"/>
                  </a:lnTo>
                  <a:lnTo>
                    <a:pt x="1132215" y="367282"/>
                  </a:lnTo>
                  <a:lnTo>
                    <a:pt x="1131569" y="367411"/>
                  </a:lnTo>
                  <a:lnTo>
                    <a:pt x="1130923" y="367540"/>
                  </a:lnTo>
                  <a:lnTo>
                    <a:pt x="1130018" y="367669"/>
                  </a:lnTo>
                  <a:lnTo>
                    <a:pt x="1128726" y="367282"/>
                  </a:lnTo>
                  <a:lnTo>
                    <a:pt x="1128209" y="366765"/>
                  </a:lnTo>
                  <a:lnTo>
                    <a:pt x="1127821" y="366248"/>
                  </a:lnTo>
                  <a:lnTo>
                    <a:pt x="1127304" y="363663"/>
                  </a:lnTo>
                  <a:lnTo>
                    <a:pt x="1127304" y="362888"/>
                  </a:lnTo>
                  <a:lnTo>
                    <a:pt x="1127433" y="361595"/>
                  </a:lnTo>
                  <a:lnTo>
                    <a:pt x="1127563" y="360820"/>
                  </a:lnTo>
                  <a:lnTo>
                    <a:pt x="1129113" y="356943"/>
                  </a:lnTo>
                  <a:lnTo>
                    <a:pt x="1129113" y="356297"/>
                  </a:lnTo>
                  <a:lnTo>
                    <a:pt x="1129113" y="355392"/>
                  </a:lnTo>
                  <a:lnTo>
                    <a:pt x="1128855" y="354358"/>
                  </a:lnTo>
                  <a:lnTo>
                    <a:pt x="1128209" y="352808"/>
                  </a:lnTo>
                  <a:lnTo>
                    <a:pt x="1127692" y="352161"/>
                  </a:lnTo>
                  <a:lnTo>
                    <a:pt x="1127175" y="351774"/>
                  </a:lnTo>
                  <a:lnTo>
                    <a:pt x="1126787" y="351774"/>
                  </a:lnTo>
                  <a:lnTo>
                    <a:pt x="1126400" y="351903"/>
                  </a:lnTo>
                  <a:lnTo>
                    <a:pt x="1125883" y="352161"/>
                  </a:lnTo>
                  <a:lnTo>
                    <a:pt x="1125107" y="352808"/>
                  </a:lnTo>
                  <a:lnTo>
                    <a:pt x="1124590" y="353066"/>
                  </a:lnTo>
                  <a:lnTo>
                    <a:pt x="1123944" y="353066"/>
                  </a:lnTo>
                  <a:lnTo>
                    <a:pt x="1123298" y="352808"/>
                  </a:lnTo>
                  <a:lnTo>
                    <a:pt x="1122910" y="352420"/>
                  </a:lnTo>
                  <a:lnTo>
                    <a:pt x="1122781" y="351774"/>
                  </a:lnTo>
                  <a:lnTo>
                    <a:pt x="1122910" y="351127"/>
                  </a:lnTo>
                  <a:lnTo>
                    <a:pt x="1123169" y="350610"/>
                  </a:lnTo>
                  <a:lnTo>
                    <a:pt x="1123427" y="350094"/>
                  </a:lnTo>
                  <a:lnTo>
                    <a:pt x="1124978" y="347897"/>
                  </a:lnTo>
                  <a:lnTo>
                    <a:pt x="1125236" y="347250"/>
                  </a:lnTo>
                  <a:lnTo>
                    <a:pt x="1125366" y="346604"/>
                  </a:lnTo>
                  <a:lnTo>
                    <a:pt x="1125107" y="345700"/>
                  </a:lnTo>
                  <a:lnTo>
                    <a:pt x="1124590" y="345312"/>
                  </a:lnTo>
                  <a:lnTo>
                    <a:pt x="1124073" y="345312"/>
                  </a:lnTo>
                  <a:lnTo>
                    <a:pt x="1123039" y="345958"/>
                  </a:lnTo>
                  <a:lnTo>
                    <a:pt x="1122523" y="346087"/>
                  </a:lnTo>
                  <a:lnTo>
                    <a:pt x="1121230" y="346217"/>
                  </a:lnTo>
                  <a:lnTo>
                    <a:pt x="1120713" y="346475"/>
                  </a:lnTo>
                  <a:lnTo>
                    <a:pt x="1120326" y="346992"/>
                  </a:lnTo>
                  <a:lnTo>
                    <a:pt x="1120067" y="347380"/>
                  </a:lnTo>
                  <a:lnTo>
                    <a:pt x="1119292" y="349706"/>
                  </a:lnTo>
                  <a:lnTo>
                    <a:pt x="1119033" y="350223"/>
                  </a:lnTo>
                  <a:lnTo>
                    <a:pt x="1118645" y="350610"/>
                  </a:lnTo>
                  <a:lnTo>
                    <a:pt x="1117999" y="350869"/>
                  </a:lnTo>
                  <a:lnTo>
                    <a:pt x="1117224" y="350740"/>
                  </a:lnTo>
                  <a:lnTo>
                    <a:pt x="1115932" y="350094"/>
                  </a:lnTo>
                  <a:lnTo>
                    <a:pt x="1115415" y="349447"/>
                  </a:lnTo>
                  <a:lnTo>
                    <a:pt x="1115156" y="348672"/>
                  </a:lnTo>
                  <a:lnTo>
                    <a:pt x="1115156" y="348026"/>
                  </a:lnTo>
                  <a:lnTo>
                    <a:pt x="1115544" y="345183"/>
                  </a:lnTo>
                  <a:lnTo>
                    <a:pt x="1115802" y="340013"/>
                  </a:lnTo>
                  <a:lnTo>
                    <a:pt x="1116061" y="338721"/>
                  </a:lnTo>
                  <a:lnTo>
                    <a:pt x="1116836" y="337041"/>
                  </a:lnTo>
                  <a:lnTo>
                    <a:pt x="1117095" y="336653"/>
                  </a:lnTo>
                  <a:lnTo>
                    <a:pt x="1117612" y="336265"/>
                  </a:lnTo>
                  <a:lnTo>
                    <a:pt x="1119163" y="335619"/>
                  </a:lnTo>
                  <a:lnTo>
                    <a:pt x="1119550" y="335232"/>
                  </a:lnTo>
                  <a:lnTo>
                    <a:pt x="1119809" y="334715"/>
                  </a:lnTo>
                  <a:lnTo>
                    <a:pt x="1120067" y="334198"/>
                  </a:lnTo>
                  <a:lnTo>
                    <a:pt x="1120196" y="333423"/>
                  </a:lnTo>
                  <a:lnTo>
                    <a:pt x="1120326" y="332518"/>
                  </a:lnTo>
                  <a:lnTo>
                    <a:pt x="1120067" y="329933"/>
                  </a:lnTo>
                  <a:lnTo>
                    <a:pt x="1119938" y="329028"/>
                  </a:lnTo>
                  <a:lnTo>
                    <a:pt x="1120196" y="327736"/>
                  </a:lnTo>
                  <a:lnTo>
                    <a:pt x="1120326" y="327090"/>
                  </a:lnTo>
                  <a:lnTo>
                    <a:pt x="1120326" y="326185"/>
                  </a:lnTo>
                  <a:lnTo>
                    <a:pt x="1120196" y="324893"/>
                  </a:lnTo>
                  <a:lnTo>
                    <a:pt x="1118904" y="319982"/>
                  </a:lnTo>
                  <a:lnTo>
                    <a:pt x="1119033" y="318561"/>
                  </a:lnTo>
                  <a:lnTo>
                    <a:pt x="1119680" y="316105"/>
                  </a:lnTo>
                  <a:lnTo>
                    <a:pt x="1121359" y="311711"/>
                  </a:lnTo>
                  <a:lnTo>
                    <a:pt x="1124202" y="297366"/>
                  </a:lnTo>
                  <a:lnTo>
                    <a:pt x="1124590" y="296332"/>
                  </a:lnTo>
                  <a:lnTo>
                    <a:pt x="1124978" y="295816"/>
                  </a:lnTo>
                  <a:lnTo>
                    <a:pt x="1125366" y="295428"/>
                  </a:lnTo>
                  <a:lnTo>
                    <a:pt x="1127563" y="293102"/>
                  </a:lnTo>
                  <a:lnTo>
                    <a:pt x="1127950" y="292585"/>
                  </a:lnTo>
                  <a:lnTo>
                    <a:pt x="1128726" y="291163"/>
                  </a:lnTo>
                  <a:lnTo>
                    <a:pt x="1128984" y="290775"/>
                  </a:lnTo>
                  <a:lnTo>
                    <a:pt x="1129501" y="290517"/>
                  </a:lnTo>
                  <a:lnTo>
                    <a:pt x="1130018" y="290517"/>
                  </a:lnTo>
                  <a:lnTo>
                    <a:pt x="1132991" y="291551"/>
                  </a:lnTo>
                  <a:lnTo>
                    <a:pt x="1136738" y="292197"/>
                  </a:lnTo>
                  <a:lnTo>
                    <a:pt x="1144880" y="292197"/>
                  </a:lnTo>
                  <a:lnTo>
                    <a:pt x="1147335" y="291938"/>
                  </a:lnTo>
                  <a:lnTo>
                    <a:pt x="1148757" y="291680"/>
                  </a:lnTo>
                  <a:lnTo>
                    <a:pt x="1149145" y="291292"/>
                  </a:lnTo>
                  <a:lnTo>
                    <a:pt x="1149791" y="290388"/>
                  </a:lnTo>
                  <a:lnTo>
                    <a:pt x="1150178" y="290000"/>
                  </a:lnTo>
                  <a:lnTo>
                    <a:pt x="1150696" y="289483"/>
                  </a:lnTo>
                  <a:lnTo>
                    <a:pt x="1151600" y="288837"/>
                  </a:lnTo>
                  <a:lnTo>
                    <a:pt x="1153280" y="287932"/>
                  </a:lnTo>
                  <a:lnTo>
                    <a:pt x="1153926" y="287286"/>
                  </a:lnTo>
                  <a:lnTo>
                    <a:pt x="1154314" y="286511"/>
                  </a:lnTo>
                  <a:lnTo>
                    <a:pt x="1154314" y="285864"/>
                  </a:lnTo>
                  <a:lnTo>
                    <a:pt x="1154314" y="285218"/>
                  </a:lnTo>
                  <a:lnTo>
                    <a:pt x="1153926" y="283926"/>
                  </a:lnTo>
                  <a:lnTo>
                    <a:pt x="1153022" y="281858"/>
                  </a:lnTo>
                  <a:lnTo>
                    <a:pt x="1152505" y="280824"/>
                  </a:lnTo>
                  <a:lnTo>
                    <a:pt x="1150566" y="278886"/>
                  </a:lnTo>
                  <a:lnTo>
                    <a:pt x="1150308" y="278369"/>
                  </a:lnTo>
                  <a:lnTo>
                    <a:pt x="1150178" y="277852"/>
                  </a:lnTo>
                  <a:lnTo>
                    <a:pt x="1150049" y="277206"/>
                  </a:lnTo>
                  <a:lnTo>
                    <a:pt x="1150178" y="276560"/>
                  </a:lnTo>
                  <a:lnTo>
                    <a:pt x="1151342" y="269969"/>
                  </a:lnTo>
                  <a:lnTo>
                    <a:pt x="1151471" y="265575"/>
                  </a:lnTo>
                  <a:lnTo>
                    <a:pt x="1151213" y="262086"/>
                  </a:lnTo>
                  <a:lnTo>
                    <a:pt x="1151213" y="261181"/>
                  </a:lnTo>
                  <a:lnTo>
                    <a:pt x="1151342" y="260147"/>
                  </a:lnTo>
                  <a:lnTo>
                    <a:pt x="1151988" y="258467"/>
                  </a:lnTo>
                  <a:lnTo>
                    <a:pt x="1152376" y="257692"/>
                  </a:lnTo>
                  <a:lnTo>
                    <a:pt x="1152892" y="257045"/>
                  </a:lnTo>
                  <a:lnTo>
                    <a:pt x="1153409" y="256787"/>
                  </a:lnTo>
                  <a:lnTo>
                    <a:pt x="1159354" y="254461"/>
                  </a:lnTo>
                  <a:lnTo>
                    <a:pt x="1160776" y="254331"/>
                  </a:lnTo>
                  <a:lnTo>
                    <a:pt x="1161939" y="254590"/>
                  </a:lnTo>
                  <a:lnTo>
                    <a:pt x="1163102" y="255107"/>
                  </a:lnTo>
                  <a:lnTo>
                    <a:pt x="1163748" y="255236"/>
                  </a:lnTo>
                  <a:lnTo>
                    <a:pt x="1164394" y="255107"/>
                  </a:lnTo>
                  <a:lnTo>
                    <a:pt x="1165299" y="254849"/>
                  </a:lnTo>
                  <a:lnTo>
                    <a:pt x="1165687" y="254461"/>
                  </a:lnTo>
                  <a:lnTo>
                    <a:pt x="1165945" y="253815"/>
                  </a:lnTo>
                  <a:lnTo>
                    <a:pt x="1165945" y="253168"/>
                  </a:lnTo>
                  <a:lnTo>
                    <a:pt x="1165816" y="252522"/>
                  </a:lnTo>
                  <a:lnTo>
                    <a:pt x="1165428" y="251488"/>
                  </a:lnTo>
                  <a:lnTo>
                    <a:pt x="1166074" y="249808"/>
                  </a:lnTo>
                  <a:lnTo>
                    <a:pt x="1174216" y="237919"/>
                  </a:lnTo>
                  <a:lnTo>
                    <a:pt x="1181970" y="233267"/>
                  </a:lnTo>
                  <a:lnTo>
                    <a:pt x="1183650" y="231974"/>
                  </a:lnTo>
                  <a:lnTo>
                    <a:pt x="1186105" y="229519"/>
                  </a:lnTo>
                  <a:lnTo>
                    <a:pt x="1186752" y="228872"/>
                  </a:lnTo>
                  <a:lnTo>
                    <a:pt x="1187915" y="226934"/>
                  </a:lnTo>
                  <a:lnTo>
                    <a:pt x="1189078" y="224220"/>
                  </a:lnTo>
                  <a:lnTo>
                    <a:pt x="1189336" y="222798"/>
                  </a:lnTo>
                  <a:lnTo>
                    <a:pt x="1189336" y="221119"/>
                  </a:lnTo>
                  <a:lnTo>
                    <a:pt x="1189595" y="218146"/>
                  </a:lnTo>
                  <a:lnTo>
                    <a:pt x="1190112" y="216337"/>
                  </a:lnTo>
                  <a:lnTo>
                    <a:pt x="1191662" y="212977"/>
                  </a:lnTo>
                  <a:lnTo>
                    <a:pt x="1192309" y="211943"/>
                  </a:lnTo>
                  <a:lnTo>
                    <a:pt x="1192825" y="211297"/>
                  </a:lnTo>
                  <a:lnTo>
                    <a:pt x="1194118" y="210909"/>
                  </a:lnTo>
                  <a:lnTo>
                    <a:pt x="1194893" y="210392"/>
                  </a:lnTo>
                  <a:lnTo>
                    <a:pt x="1195281" y="209100"/>
                  </a:lnTo>
                  <a:lnTo>
                    <a:pt x="1195281" y="208324"/>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8" name="Graphic 2">
              <a:extLst>
                <a:ext uri="{FF2B5EF4-FFF2-40B4-BE49-F238E27FC236}">
                  <a16:creationId xmlns:a16="http://schemas.microsoft.com/office/drawing/2014/main" id="{EDCDDEA9-B99D-092E-B800-BB0CDB480EC0}"/>
                </a:ext>
              </a:extLst>
            </p:cNvPr>
            <p:cNvSpPr/>
            <p:nvPr/>
          </p:nvSpPr>
          <p:spPr>
            <a:xfrm>
              <a:off x="5378237" y="3656838"/>
              <a:ext cx="773462" cy="780958"/>
            </a:xfrm>
            <a:custGeom>
              <a:avLst/>
              <a:gdLst>
                <a:gd name="connsiteX0" fmla="*/ 772687 w 773462"/>
                <a:gd name="connsiteY0" fmla="*/ 262861 h 780958"/>
                <a:gd name="connsiteX1" fmla="*/ 771395 w 773462"/>
                <a:gd name="connsiteY1" fmla="*/ 261052 h 780958"/>
                <a:gd name="connsiteX2" fmla="*/ 770619 w 773462"/>
                <a:gd name="connsiteY2" fmla="*/ 258855 h 780958"/>
                <a:gd name="connsiteX3" fmla="*/ 770878 w 773462"/>
                <a:gd name="connsiteY3" fmla="*/ 256270 h 780958"/>
                <a:gd name="connsiteX4" fmla="*/ 762995 w 773462"/>
                <a:gd name="connsiteY4" fmla="*/ 244380 h 780958"/>
                <a:gd name="connsiteX5" fmla="*/ 757567 w 773462"/>
                <a:gd name="connsiteY5" fmla="*/ 238307 h 780958"/>
                <a:gd name="connsiteX6" fmla="*/ 756145 w 773462"/>
                <a:gd name="connsiteY6" fmla="*/ 237014 h 780958"/>
                <a:gd name="connsiteX7" fmla="*/ 754595 w 773462"/>
                <a:gd name="connsiteY7" fmla="*/ 235851 h 780958"/>
                <a:gd name="connsiteX8" fmla="*/ 753302 w 773462"/>
                <a:gd name="connsiteY8" fmla="*/ 235334 h 780958"/>
                <a:gd name="connsiteX9" fmla="*/ 751881 w 773462"/>
                <a:gd name="connsiteY9" fmla="*/ 234946 h 780958"/>
                <a:gd name="connsiteX10" fmla="*/ 750588 w 773462"/>
                <a:gd name="connsiteY10" fmla="*/ 234946 h 780958"/>
                <a:gd name="connsiteX11" fmla="*/ 748133 w 773462"/>
                <a:gd name="connsiteY11" fmla="*/ 235334 h 780958"/>
                <a:gd name="connsiteX12" fmla="*/ 746711 w 773462"/>
                <a:gd name="connsiteY12" fmla="*/ 235205 h 780958"/>
                <a:gd name="connsiteX13" fmla="*/ 743481 w 773462"/>
                <a:gd name="connsiteY13" fmla="*/ 233525 h 780958"/>
                <a:gd name="connsiteX14" fmla="*/ 742059 w 773462"/>
                <a:gd name="connsiteY14" fmla="*/ 233137 h 780958"/>
                <a:gd name="connsiteX15" fmla="*/ 737923 w 773462"/>
                <a:gd name="connsiteY15" fmla="*/ 233008 h 780958"/>
                <a:gd name="connsiteX16" fmla="*/ 736502 w 773462"/>
                <a:gd name="connsiteY16" fmla="*/ 232620 h 780958"/>
                <a:gd name="connsiteX17" fmla="*/ 735080 w 773462"/>
                <a:gd name="connsiteY17" fmla="*/ 232103 h 780958"/>
                <a:gd name="connsiteX18" fmla="*/ 733400 w 773462"/>
                <a:gd name="connsiteY18" fmla="*/ 231328 h 780958"/>
                <a:gd name="connsiteX19" fmla="*/ 732366 w 773462"/>
                <a:gd name="connsiteY19" fmla="*/ 230553 h 780958"/>
                <a:gd name="connsiteX20" fmla="*/ 730169 w 773462"/>
                <a:gd name="connsiteY20" fmla="*/ 227968 h 780958"/>
                <a:gd name="connsiteX21" fmla="*/ 723191 w 773462"/>
                <a:gd name="connsiteY21" fmla="*/ 222023 h 780958"/>
                <a:gd name="connsiteX22" fmla="*/ 721769 w 773462"/>
                <a:gd name="connsiteY22" fmla="*/ 221119 h 780958"/>
                <a:gd name="connsiteX23" fmla="*/ 720606 w 773462"/>
                <a:gd name="connsiteY23" fmla="*/ 220731 h 780958"/>
                <a:gd name="connsiteX24" fmla="*/ 716600 w 773462"/>
                <a:gd name="connsiteY24" fmla="*/ 220085 h 780958"/>
                <a:gd name="connsiteX25" fmla="*/ 709880 w 773462"/>
                <a:gd name="connsiteY25" fmla="*/ 218405 h 780958"/>
                <a:gd name="connsiteX26" fmla="*/ 708717 w 773462"/>
                <a:gd name="connsiteY26" fmla="*/ 218146 h 780958"/>
                <a:gd name="connsiteX27" fmla="*/ 704193 w 773462"/>
                <a:gd name="connsiteY27" fmla="*/ 218405 h 780958"/>
                <a:gd name="connsiteX28" fmla="*/ 699024 w 773462"/>
                <a:gd name="connsiteY28" fmla="*/ 217758 h 780958"/>
                <a:gd name="connsiteX29" fmla="*/ 697861 w 773462"/>
                <a:gd name="connsiteY29" fmla="*/ 217371 h 780958"/>
                <a:gd name="connsiteX30" fmla="*/ 676537 w 773462"/>
                <a:gd name="connsiteY30" fmla="*/ 208324 h 780958"/>
                <a:gd name="connsiteX31" fmla="*/ 675374 w 773462"/>
                <a:gd name="connsiteY31" fmla="*/ 207420 h 780958"/>
                <a:gd name="connsiteX32" fmla="*/ 672790 w 773462"/>
                <a:gd name="connsiteY32" fmla="*/ 204447 h 780958"/>
                <a:gd name="connsiteX33" fmla="*/ 668913 w 773462"/>
                <a:gd name="connsiteY33" fmla="*/ 201604 h 780958"/>
                <a:gd name="connsiteX34" fmla="*/ 664907 w 773462"/>
                <a:gd name="connsiteY34" fmla="*/ 200183 h 780958"/>
                <a:gd name="connsiteX35" fmla="*/ 659091 w 773462"/>
                <a:gd name="connsiteY35" fmla="*/ 199020 h 780958"/>
                <a:gd name="connsiteX36" fmla="*/ 655343 w 773462"/>
                <a:gd name="connsiteY36" fmla="*/ 197598 h 780958"/>
                <a:gd name="connsiteX37" fmla="*/ 653275 w 773462"/>
                <a:gd name="connsiteY37" fmla="*/ 196693 h 780958"/>
                <a:gd name="connsiteX38" fmla="*/ 652112 w 773462"/>
                <a:gd name="connsiteY38" fmla="*/ 195660 h 780958"/>
                <a:gd name="connsiteX39" fmla="*/ 651595 w 773462"/>
                <a:gd name="connsiteY39" fmla="*/ 194626 h 780958"/>
                <a:gd name="connsiteX40" fmla="*/ 651078 w 773462"/>
                <a:gd name="connsiteY40" fmla="*/ 193592 h 780958"/>
                <a:gd name="connsiteX41" fmla="*/ 650562 w 773462"/>
                <a:gd name="connsiteY41" fmla="*/ 192687 h 780958"/>
                <a:gd name="connsiteX42" fmla="*/ 649140 w 773462"/>
                <a:gd name="connsiteY42" fmla="*/ 191265 h 780958"/>
                <a:gd name="connsiteX43" fmla="*/ 640998 w 773462"/>
                <a:gd name="connsiteY43" fmla="*/ 185838 h 780958"/>
                <a:gd name="connsiteX44" fmla="*/ 634924 w 773462"/>
                <a:gd name="connsiteY44" fmla="*/ 182865 h 780958"/>
                <a:gd name="connsiteX45" fmla="*/ 632081 w 773462"/>
                <a:gd name="connsiteY45" fmla="*/ 181961 h 780958"/>
                <a:gd name="connsiteX46" fmla="*/ 630789 w 773462"/>
                <a:gd name="connsiteY46" fmla="*/ 181831 h 780958"/>
                <a:gd name="connsiteX47" fmla="*/ 625103 w 773462"/>
                <a:gd name="connsiteY47" fmla="*/ 182219 h 780958"/>
                <a:gd name="connsiteX48" fmla="*/ 622906 w 773462"/>
                <a:gd name="connsiteY48" fmla="*/ 182090 h 780958"/>
                <a:gd name="connsiteX49" fmla="*/ 621613 w 773462"/>
                <a:gd name="connsiteY49" fmla="*/ 181573 h 780958"/>
                <a:gd name="connsiteX50" fmla="*/ 620450 w 773462"/>
                <a:gd name="connsiteY50" fmla="*/ 180798 h 780958"/>
                <a:gd name="connsiteX51" fmla="*/ 612438 w 773462"/>
                <a:gd name="connsiteY51" fmla="*/ 172785 h 780958"/>
                <a:gd name="connsiteX52" fmla="*/ 609336 w 773462"/>
                <a:gd name="connsiteY52" fmla="*/ 170588 h 780958"/>
                <a:gd name="connsiteX53" fmla="*/ 607914 w 773462"/>
                <a:gd name="connsiteY53" fmla="*/ 170071 h 780958"/>
                <a:gd name="connsiteX54" fmla="*/ 606493 w 773462"/>
                <a:gd name="connsiteY54" fmla="*/ 169683 h 780958"/>
                <a:gd name="connsiteX55" fmla="*/ 593699 w 773462"/>
                <a:gd name="connsiteY55" fmla="*/ 171751 h 780958"/>
                <a:gd name="connsiteX56" fmla="*/ 590856 w 773462"/>
                <a:gd name="connsiteY56" fmla="*/ 171493 h 780958"/>
                <a:gd name="connsiteX57" fmla="*/ 585815 w 773462"/>
                <a:gd name="connsiteY57" fmla="*/ 170330 h 780958"/>
                <a:gd name="connsiteX58" fmla="*/ 578320 w 773462"/>
                <a:gd name="connsiteY58" fmla="*/ 170330 h 780958"/>
                <a:gd name="connsiteX59" fmla="*/ 566560 w 773462"/>
                <a:gd name="connsiteY59" fmla="*/ 166970 h 780958"/>
                <a:gd name="connsiteX60" fmla="*/ 563717 w 773462"/>
                <a:gd name="connsiteY60" fmla="*/ 165160 h 780958"/>
                <a:gd name="connsiteX61" fmla="*/ 563587 w 773462"/>
                <a:gd name="connsiteY61" fmla="*/ 164643 h 780958"/>
                <a:gd name="connsiteX62" fmla="*/ 563587 w 773462"/>
                <a:gd name="connsiteY62" fmla="*/ 164127 h 780958"/>
                <a:gd name="connsiteX63" fmla="*/ 564104 w 773462"/>
                <a:gd name="connsiteY63" fmla="*/ 162188 h 780958"/>
                <a:gd name="connsiteX64" fmla="*/ 567981 w 773462"/>
                <a:gd name="connsiteY64" fmla="*/ 153142 h 780958"/>
                <a:gd name="connsiteX65" fmla="*/ 569274 w 773462"/>
                <a:gd name="connsiteY65" fmla="*/ 150686 h 780958"/>
                <a:gd name="connsiteX66" fmla="*/ 575477 w 773462"/>
                <a:gd name="connsiteY66" fmla="*/ 142415 h 780958"/>
                <a:gd name="connsiteX67" fmla="*/ 576381 w 773462"/>
                <a:gd name="connsiteY67" fmla="*/ 140994 h 780958"/>
                <a:gd name="connsiteX68" fmla="*/ 577028 w 773462"/>
                <a:gd name="connsiteY68" fmla="*/ 139443 h 780958"/>
                <a:gd name="connsiteX69" fmla="*/ 577286 w 773462"/>
                <a:gd name="connsiteY69" fmla="*/ 136858 h 780958"/>
                <a:gd name="connsiteX70" fmla="*/ 576769 w 773462"/>
                <a:gd name="connsiteY70" fmla="*/ 135437 h 780958"/>
                <a:gd name="connsiteX71" fmla="*/ 575735 w 773462"/>
                <a:gd name="connsiteY71" fmla="*/ 134532 h 780958"/>
                <a:gd name="connsiteX72" fmla="*/ 566043 w 773462"/>
                <a:gd name="connsiteY72" fmla="*/ 130267 h 780958"/>
                <a:gd name="connsiteX73" fmla="*/ 563846 w 773462"/>
                <a:gd name="connsiteY73" fmla="*/ 129621 h 780958"/>
                <a:gd name="connsiteX74" fmla="*/ 562941 w 773462"/>
                <a:gd name="connsiteY74" fmla="*/ 129492 h 780958"/>
                <a:gd name="connsiteX75" fmla="*/ 562295 w 773462"/>
                <a:gd name="connsiteY75" fmla="*/ 129492 h 780958"/>
                <a:gd name="connsiteX76" fmla="*/ 561520 w 773462"/>
                <a:gd name="connsiteY76" fmla="*/ 129621 h 780958"/>
                <a:gd name="connsiteX77" fmla="*/ 560615 w 773462"/>
                <a:gd name="connsiteY77" fmla="*/ 130009 h 780958"/>
                <a:gd name="connsiteX78" fmla="*/ 556092 w 773462"/>
                <a:gd name="connsiteY78" fmla="*/ 133110 h 780958"/>
                <a:gd name="connsiteX79" fmla="*/ 554929 w 773462"/>
                <a:gd name="connsiteY79" fmla="*/ 133757 h 780958"/>
                <a:gd name="connsiteX80" fmla="*/ 553895 w 773462"/>
                <a:gd name="connsiteY80" fmla="*/ 134144 h 780958"/>
                <a:gd name="connsiteX81" fmla="*/ 552603 w 773462"/>
                <a:gd name="connsiteY81" fmla="*/ 133886 h 780958"/>
                <a:gd name="connsiteX82" fmla="*/ 551439 w 773462"/>
                <a:gd name="connsiteY82" fmla="*/ 133110 h 780958"/>
                <a:gd name="connsiteX83" fmla="*/ 548984 w 773462"/>
                <a:gd name="connsiteY83" fmla="*/ 130784 h 780958"/>
                <a:gd name="connsiteX84" fmla="*/ 547950 w 773462"/>
                <a:gd name="connsiteY84" fmla="*/ 129104 h 780958"/>
                <a:gd name="connsiteX85" fmla="*/ 547175 w 773462"/>
                <a:gd name="connsiteY85" fmla="*/ 127295 h 780958"/>
                <a:gd name="connsiteX86" fmla="*/ 546787 w 773462"/>
                <a:gd name="connsiteY86" fmla="*/ 125873 h 780958"/>
                <a:gd name="connsiteX87" fmla="*/ 546529 w 773462"/>
                <a:gd name="connsiteY87" fmla="*/ 123547 h 780958"/>
                <a:gd name="connsiteX88" fmla="*/ 548209 w 773462"/>
                <a:gd name="connsiteY88" fmla="*/ 101448 h 780958"/>
                <a:gd name="connsiteX89" fmla="*/ 547950 w 773462"/>
                <a:gd name="connsiteY89" fmla="*/ 98217 h 780958"/>
                <a:gd name="connsiteX90" fmla="*/ 547304 w 773462"/>
                <a:gd name="connsiteY90" fmla="*/ 95762 h 780958"/>
                <a:gd name="connsiteX91" fmla="*/ 546787 w 773462"/>
                <a:gd name="connsiteY91" fmla="*/ 92531 h 780958"/>
                <a:gd name="connsiteX92" fmla="*/ 545624 w 773462"/>
                <a:gd name="connsiteY92" fmla="*/ 93177 h 780958"/>
                <a:gd name="connsiteX93" fmla="*/ 536965 w 773462"/>
                <a:gd name="connsiteY93" fmla="*/ 94211 h 780958"/>
                <a:gd name="connsiteX94" fmla="*/ 532571 w 773462"/>
                <a:gd name="connsiteY94" fmla="*/ 93436 h 780958"/>
                <a:gd name="connsiteX95" fmla="*/ 529987 w 773462"/>
                <a:gd name="connsiteY95" fmla="*/ 92402 h 780958"/>
                <a:gd name="connsiteX96" fmla="*/ 521845 w 773462"/>
                <a:gd name="connsiteY96" fmla="*/ 90593 h 780958"/>
                <a:gd name="connsiteX97" fmla="*/ 519648 w 773462"/>
                <a:gd name="connsiteY97" fmla="*/ 90463 h 780958"/>
                <a:gd name="connsiteX98" fmla="*/ 509568 w 773462"/>
                <a:gd name="connsiteY98" fmla="*/ 90980 h 780958"/>
                <a:gd name="connsiteX99" fmla="*/ 507500 w 773462"/>
                <a:gd name="connsiteY99" fmla="*/ 90722 h 780958"/>
                <a:gd name="connsiteX100" fmla="*/ 506208 w 773462"/>
                <a:gd name="connsiteY100" fmla="*/ 91756 h 780958"/>
                <a:gd name="connsiteX101" fmla="*/ 503106 w 773462"/>
                <a:gd name="connsiteY101" fmla="*/ 92273 h 780958"/>
                <a:gd name="connsiteX102" fmla="*/ 499746 w 773462"/>
                <a:gd name="connsiteY102" fmla="*/ 92014 h 780958"/>
                <a:gd name="connsiteX103" fmla="*/ 490700 w 773462"/>
                <a:gd name="connsiteY103" fmla="*/ 89946 h 780958"/>
                <a:gd name="connsiteX104" fmla="*/ 487857 w 773462"/>
                <a:gd name="connsiteY104" fmla="*/ 89946 h 780958"/>
                <a:gd name="connsiteX105" fmla="*/ 474675 w 773462"/>
                <a:gd name="connsiteY105" fmla="*/ 91627 h 780958"/>
                <a:gd name="connsiteX106" fmla="*/ 470410 w 773462"/>
                <a:gd name="connsiteY106" fmla="*/ 90851 h 780958"/>
                <a:gd name="connsiteX107" fmla="*/ 459554 w 773462"/>
                <a:gd name="connsiteY107" fmla="*/ 84777 h 780958"/>
                <a:gd name="connsiteX108" fmla="*/ 451800 w 773462"/>
                <a:gd name="connsiteY108" fmla="*/ 82709 h 780958"/>
                <a:gd name="connsiteX109" fmla="*/ 448053 w 773462"/>
                <a:gd name="connsiteY109" fmla="*/ 83226 h 780958"/>
                <a:gd name="connsiteX110" fmla="*/ 447148 w 773462"/>
                <a:gd name="connsiteY110" fmla="*/ 81805 h 780958"/>
                <a:gd name="connsiteX111" fmla="*/ 446889 w 773462"/>
                <a:gd name="connsiteY111" fmla="*/ 80771 h 780958"/>
                <a:gd name="connsiteX112" fmla="*/ 446760 w 773462"/>
                <a:gd name="connsiteY112" fmla="*/ 79737 h 780958"/>
                <a:gd name="connsiteX113" fmla="*/ 447019 w 773462"/>
                <a:gd name="connsiteY113" fmla="*/ 78703 h 780958"/>
                <a:gd name="connsiteX114" fmla="*/ 447923 w 773462"/>
                <a:gd name="connsiteY114" fmla="*/ 76635 h 780958"/>
                <a:gd name="connsiteX115" fmla="*/ 449216 w 773462"/>
                <a:gd name="connsiteY115" fmla="*/ 74568 h 780958"/>
                <a:gd name="connsiteX116" fmla="*/ 452834 w 773462"/>
                <a:gd name="connsiteY116" fmla="*/ 70561 h 780958"/>
                <a:gd name="connsiteX117" fmla="*/ 453480 w 773462"/>
                <a:gd name="connsiteY117" fmla="*/ 69657 h 780958"/>
                <a:gd name="connsiteX118" fmla="*/ 454773 w 773462"/>
                <a:gd name="connsiteY118" fmla="*/ 66426 h 780958"/>
                <a:gd name="connsiteX119" fmla="*/ 457099 w 773462"/>
                <a:gd name="connsiteY119" fmla="*/ 63324 h 780958"/>
                <a:gd name="connsiteX120" fmla="*/ 457616 w 773462"/>
                <a:gd name="connsiteY120" fmla="*/ 62290 h 780958"/>
                <a:gd name="connsiteX121" fmla="*/ 458521 w 773462"/>
                <a:gd name="connsiteY121" fmla="*/ 58930 h 780958"/>
                <a:gd name="connsiteX122" fmla="*/ 458908 w 773462"/>
                <a:gd name="connsiteY122" fmla="*/ 57767 h 780958"/>
                <a:gd name="connsiteX123" fmla="*/ 459684 w 773462"/>
                <a:gd name="connsiteY123" fmla="*/ 56734 h 780958"/>
                <a:gd name="connsiteX124" fmla="*/ 460717 w 773462"/>
                <a:gd name="connsiteY124" fmla="*/ 55958 h 780958"/>
                <a:gd name="connsiteX125" fmla="*/ 461751 w 773462"/>
                <a:gd name="connsiteY125" fmla="*/ 55441 h 780958"/>
                <a:gd name="connsiteX126" fmla="*/ 465887 w 773462"/>
                <a:gd name="connsiteY126" fmla="*/ 54020 h 780958"/>
                <a:gd name="connsiteX127" fmla="*/ 470281 w 773462"/>
                <a:gd name="connsiteY127" fmla="*/ 52986 h 780958"/>
                <a:gd name="connsiteX128" fmla="*/ 471185 w 773462"/>
                <a:gd name="connsiteY128" fmla="*/ 52598 h 780958"/>
                <a:gd name="connsiteX129" fmla="*/ 471961 w 773462"/>
                <a:gd name="connsiteY129" fmla="*/ 51693 h 780958"/>
                <a:gd name="connsiteX130" fmla="*/ 472219 w 773462"/>
                <a:gd name="connsiteY130" fmla="*/ 50789 h 780958"/>
                <a:gd name="connsiteX131" fmla="*/ 474287 w 773462"/>
                <a:gd name="connsiteY131" fmla="*/ 39416 h 780958"/>
                <a:gd name="connsiteX132" fmla="*/ 475450 w 773462"/>
                <a:gd name="connsiteY132" fmla="*/ 36056 h 780958"/>
                <a:gd name="connsiteX133" fmla="*/ 475579 w 773462"/>
                <a:gd name="connsiteY133" fmla="*/ 34893 h 780958"/>
                <a:gd name="connsiteX134" fmla="*/ 476096 w 773462"/>
                <a:gd name="connsiteY134" fmla="*/ 27397 h 780958"/>
                <a:gd name="connsiteX135" fmla="*/ 479586 w 773462"/>
                <a:gd name="connsiteY135" fmla="*/ 13440 h 780958"/>
                <a:gd name="connsiteX136" fmla="*/ 479715 w 773462"/>
                <a:gd name="connsiteY136" fmla="*/ 12277 h 780958"/>
                <a:gd name="connsiteX137" fmla="*/ 479715 w 773462"/>
                <a:gd name="connsiteY137" fmla="*/ 11243 h 780958"/>
                <a:gd name="connsiteX138" fmla="*/ 479586 w 773462"/>
                <a:gd name="connsiteY138" fmla="*/ 8917 h 780958"/>
                <a:gd name="connsiteX139" fmla="*/ 479586 w 773462"/>
                <a:gd name="connsiteY139" fmla="*/ 7754 h 780958"/>
                <a:gd name="connsiteX140" fmla="*/ 478810 w 773462"/>
                <a:gd name="connsiteY140" fmla="*/ 6979 h 780958"/>
                <a:gd name="connsiteX141" fmla="*/ 472995 w 773462"/>
                <a:gd name="connsiteY141" fmla="*/ 7496 h 780958"/>
                <a:gd name="connsiteX142" fmla="*/ 471444 w 773462"/>
                <a:gd name="connsiteY142" fmla="*/ 8142 h 780958"/>
                <a:gd name="connsiteX143" fmla="*/ 469764 w 773462"/>
                <a:gd name="connsiteY143" fmla="*/ 8917 h 780958"/>
                <a:gd name="connsiteX144" fmla="*/ 464724 w 773462"/>
                <a:gd name="connsiteY144" fmla="*/ 13182 h 780958"/>
                <a:gd name="connsiteX145" fmla="*/ 463431 w 773462"/>
                <a:gd name="connsiteY145" fmla="*/ 14474 h 780958"/>
                <a:gd name="connsiteX146" fmla="*/ 462527 w 773462"/>
                <a:gd name="connsiteY146" fmla="*/ 15767 h 780958"/>
                <a:gd name="connsiteX147" fmla="*/ 462139 w 773462"/>
                <a:gd name="connsiteY147" fmla="*/ 16800 h 780958"/>
                <a:gd name="connsiteX148" fmla="*/ 460588 w 773462"/>
                <a:gd name="connsiteY148" fmla="*/ 19514 h 780958"/>
                <a:gd name="connsiteX149" fmla="*/ 450766 w 773462"/>
                <a:gd name="connsiteY149" fmla="*/ 30111 h 780958"/>
                <a:gd name="connsiteX150" fmla="*/ 447665 w 773462"/>
                <a:gd name="connsiteY150" fmla="*/ 32825 h 780958"/>
                <a:gd name="connsiteX151" fmla="*/ 441462 w 773462"/>
                <a:gd name="connsiteY151" fmla="*/ 36056 h 780958"/>
                <a:gd name="connsiteX152" fmla="*/ 440299 w 773462"/>
                <a:gd name="connsiteY152" fmla="*/ 37219 h 780958"/>
                <a:gd name="connsiteX153" fmla="*/ 439394 w 773462"/>
                <a:gd name="connsiteY153" fmla="*/ 38382 h 780958"/>
                <a:gd name="connsiteX154" fmla="*/ 438748 w 773462"/>
                <a:gd name="connsiteY154" fmla="*/ 39675 h 780958"/>
                <a:gd name="connsiteX155" fmla="*/ 438489 w 773462"/>
                <a:gd name="connsiteY155" fmla="*/ 40838 h 780958"/>
                <a:gd name="connsiteX156" fmla="*/ 437843 w 773462"/>
                <a:gd name="connsiteY156" fmla="*/ 42518 h 780958"/>
                <a:gd name="connsiteX157" fmla="*/ 436680 w 773462"/>
                <a:gd name="connsiteY157" fmla="*/ 44456 h 780958"/>
                <a:gd name="connsiteX158" fmla="*/ 433578 w 773462"/>
                <a:gd name="connsiteY158" fmla="*/ 47558 h 780958"/>
                <a:gd name="connsiteX159" fmla="*/ 431769 w 773462"/>
                <a:gd name="connsiteY159" fmla="*/ 48721 h 780958"/>
                <a:gd name="connsiteX160" fmla="*/ 430218 w 773462"/>
                <a:gd name="connsiteY160" fmla="*/ 49109 h 780958"/>
                <a:gd name="connsiteX161" fmla="*/ 427763 w 773462"/>
                <a:gd name="connsiteY161" fmla="*/ 48721 h 780958"/>
                <a:gd name="connsiteX162" fmla="*/ 425307 w 773462"/>
                <a:gd name="connsiteY162" fmla="*/ 48850 h 780958"/>
                <a:gd name="connsiteX163" fmla="*/ 420397 w 773462"/>
                <a:gd name="connsiteY163" fmla="*/ 50142 h 780958"/>
                <a:gd name="connsiteX164" fmla="*/ 411350 w 773462"/>
                <a:gd name="connsiteY164" fmla="*/ 54149 h 780958"/>
                <a:gd name="connsiteX165" fmla="*/ 409541 w 773462"/>
                <a:gd name="connsiteY165" fmla="*/ 54666 h 780958"/>
                <a:gd name="connsiteX166" fmla="*/ 407990 w 773462"/>
                <a:gd name="connsiteY166" fmla="*/ 54924 h 780958"/>
                <a:gd name="connsiteX167" fmla="*/ 404501 w 773462"/>
                <a:gd name="connsiteY167" fmla="*/ 54537 h 780958"/>
                <a:gd name="connsiteX168" fmla="*/ 403467 w 773462"/>
                <a:gd name="connsiteY168" fmla="*/ 54020 h 780958"/>
                <a:gd name="connsiteX169" fmla="*/ 402692 w 773462"/>
                <a:gd name="connsiteY169" fmla="*/ 53244 h 780958"/>
                <a:gd name="connsiteX170" fmla="*/ 402304 w 773462"/>
                <a:gd name="connsiteY170" fmla="*/ 52210 h 780958"/>
                <a:gd name="connsiteX171" fmla="*/ 402046 w 773462"/>
                <a:gd name="connsiteY171" fmla="*/ 50142 h 780958"/>
                <a:gd name="connsiteX172" fmla="*/ 401658 w 773462"/>
                <a:gd name="connsiteY172" fmla="*/ 49109 h 780958"/>
                <a:gd name="connsiteX173" fmla="*/ 401399 w 773462"/>
                <a:gd name="connsiteY173" fmla="*/ 46912 h 780958"/>
                <a:gd name="connsiteX174" fmla="*/ 401399 w 773462"/>
                <a:gd name="connsiteY174" fmla="*/ 45878 h 780958"/>
                <a:gd name="connsiteX175" fmla="*/ 401141 w 773462"/>
                <a:gd name="connsiteY175" fmla="*/ 44844 h 780958"/>
                <a:gd name="connsiteX176" fmla="*/ 400495 w 773462"/>
                <a:gd name="connsiteY176" fmla="*/ 43939 h 780958"/>
                <a:gd name="connsiteX177" fmla="*/ 399590 w 773462"/>
                <a:gd name="connsiteY177" fmla="*/ 43164 h 780958"/>
                <a:gd name="connsiteX178" fmla="*/ 393774 w 773462"/>
                <a:gd name="connsiteY178" fmla="*/ 39675 h 780958"/>
                <a:gd name="connsiteX179" fmla="*/ 391319 w 773462"/>
                <a:gd name="connsiteY179" fmla="*/ 37607 h 780958"/>
                <a:gd name="connsiteX180" fmla="*/ 389251 w 773462"/>
                <a:gd name="connsiteY180" fmla="*/ 36315 h 780958"/>
                <a:gd name="connsiteX181" fmla="*/ 388088 w 773462"/>
                <a:gd name="connsiteY181" fmla="*/ 35927 h 780958"/>
                <a:gd name="connsiteX182" fmla="*/ 386925 w 773462"/>
                <a:gd name="connsiteY182" fmla="*/ 35668 h 780958"/>
                <a:gd name="connsiteX183" fmla="*/ 382919 w 773462"/>
                <a:gd name="connsiteY183" fmla="*/ 35668 h 780958"/>
                <a:gd name="connsiteX184" fmla="*/ 381756 w 773462"/>
                <a:gd name="connsiteY184" fmla="*/ 35539 h 780958"/>
                <a:gd name="connsiteX185" fmla="*/ 380593 w 773462"/>
                <a:gd name="connsiteY185" fmla="*/ 35410 h 780958"/>
                <a:gd name="connsiteX186" fmla="*/ 370900 w 773462"/>
                <a:gd name="connsiteY186" fmla="*/ 36702 h 780958"/>
                <a:gd name="connsiteX187" fmla="*/ 365085 w 773462"/>
                <a:gd name="connsiteY187" fmla="*/ 39028 h 780958"/>
                <a:gd name="connsiteX188" fmla="*/ 363275 w 773462"/>
                <a:gd name="connsiteY188" fmla="*/ 40062 h 780958"/>
                <a:gd name="connsiteX189" fmla="*/ 362112 w 773462"/>
                <a:gd name="connsiteY189" fmla="*/ 41096 h 780958"/>
                <a:gd name="connsiteX190" fmla="*/ 361466 w 773462"/>
                <a:gd name="connsiteY190" fmla="*/ 42130 h 780958"/>
                <a:gd name="connsiteX191" fmla="*/ 360432 w 773462"/>
                <a:gd name="connsiteY191" fmla="*/ 44198 h 780958"/>
                <a:gd name="connsiteX192" fmla="*/ 359786 w 773462"/>
                <a:gd name="connsiteY192" fmla="*/ 45232 h 780958"/>
                <a:gd name="connsiteX193" fmla="*/ 358752 w 773462"/>
                <a:gd name="connsiteY193" fmla="*/ 46136 h 780958"/>
                <a:gd name="connsiteX194" fmla="*/ 349318 w 773462"/>
                <a:gd name="connsiteY194" fmla="*/ 51564 h 780958"/>
                <a:gd name="connsiteX195" fmla="*/ 347638 w 773462"/>
                <a:gd name="connsiteY195" fmla="*/ 52081 h 780958"/>
                <a:gd name="connsiteX196" fmla="*/ 346217 w 773462"/>
                <a:gd name="connsiteY196" fmla="*/ 52469 h 780958"/>
                <a:gd name="connsiteX197" fmla="*/ 342986 w 773462"/>
                <a:gd name="connsiteY197" fmla="*/ 52081 h 780958"/>
                <a:gd name="connsiteX198" fmla="*/ 341176 w 773462"/>
                <a:gd name="connsiteY198" fmla="*/ 52339 h 780958"/>
                <a:gd name="connsiteX199" fmla="*/ 330321 w 773462"/>
                <a:gd name="connsiteY199" fmla="*/ 54924 h 780958"/>
                <a:gd name="connsiteX200" fmla="*/ 327478 w 773462"/>
                <a:gd name="connsiteY200" fmla="*/ 54924 h 780958"/>
                <a:gd name="connsiteX201" fmla="*/ 326056 w 773462"/>
                <a:gd name="connsiteY201" fmla="*/ 54666 h 780958"/>
                <a:gd name="connsiteX202" fmla="*/ 319207 w 773462"/>
                <a:gd name="connsiteY202" fmla="*/ 55570 h 780958"/>
                <a:gd name="connsiteX203" fmla="*/ 307576 w 773462"/>
                <a:gd name="connsiteY203" fmla="*/ 49109 h 780958"/>
                <a:gd name="connsiteX204" fmla="*/ 305120 w 773462"/>
                <a:gd name="connsiteY204" fmla="*/ 47041 h 780958"/>
                <a:gd name="connsiteX205" fmla="*/ 304086 w 773462"/>
                <a:gd name="connsiteY205" fmla="*/ 45878 h 780958"/>
                <a:gd name="connsiteX206" fmla="*/ 302277 w 773462"/>
                <a:gd name="connsiteY206" fmla="*/ 44327 h 780958"/>
                <a:gd name="connsiteX207" fmla="*/ 300856 w 773462"/>
                <a:gd name="connsiteY207" fmla="*/ 43681 h 780958"/>
                <a:gd name="connsiteX208" fmla="*/ 298271 w 773462"/>
                <a:gd name="connsiteY208" fmla="*/ 43164 h 780958"/>
                <a:gd name="connsiteX209" fmla="*/ 296979 w 773462"/>
                <a:gd name="connsiteY209" fmla="*/ 42389 h 780958"/>
                <a:gd name="connsiteX210" fmla="*/ 295428 w 773462"/>
                <a:gd name="connsiteY210" fmla="*/ 41355 h 780958"/>
                <a:gd name="connsiteX211" fmla="*/ 291034 w 773462"/>
                <a:gd name="connsiteY211" fmla="*/ 39933 h 780958"/>
                <a:gd name="connsiteX212" fmla="*/ 284055 w 773462"/>
                <a:gd name="connsiteY212" fmla="*/ 36831 h 780958"/>
                <a:gd name="connsiteX213" fmla="*/ 281083 w 773462"/>
                <a:gd name="connsiteY213" fmla="*/ 35022 h 780958"/>
                <a:gd name="connsiteX214" fmla="*/ 280049 w 773462"/>
                <a:gd name="connsiteY214" fmla="*/ 33084 h 780958"/>
                <a:gd name="connsiteX215" fmla="*/ 276947 w 773462"/>
                <a:gd name="connsiteY215" fmla="*/ 29594 h 780958"/>
                <a:gd name="connsiteX216" fmla="*/ 276431 w 773462"/>
                <a:gd name="connsiteY216" fmla="*/ 28690 h 780958"/>
                <a:gd name="connsiteX217" fmla="*/ 276043 w 773462"/>
                <a:gd name="connsiteY217" fmla="*/ 28044 h 780958"/>
                <a:gd name="connsiteX218" fmla="*/ 275526 w 773462"/>
                <a:gd name="connsiteY218" fmla="*/ 25976 h 780958"/>
                <a:gd name="connsiteX219" fmla="*/ 274750 w 773462"/>
                <a:gd name="connsiteY219" fmla="*/ 24554 h 780958"/>
                <a:gd name="connsiteX220" fmla="*/ 273329 w 773462"/>
                <a:gd name="connsiteY220" fmla="*/ 23004 h 780958"/>
                <a:gd name="connsiteX221" fmla="*/ 270873 w 773462"/>
                <a:gd name="connsiteY221" fmla="*/ 21582 h 780958"/>
                <a:gd name="connsiteX222" fmla="*/ 269064 w 773462"/>
                <a:gd name="connsiteY222" fmla="*/ 20936 h 780958"/>
                <a:gd name="connsiteX223" fmla="*/ 266092 w 773462"/>
                <a:gd name="connsiteY223" fmla="*/ 20290 h 780958"/>
                <a:gd name="connsiteX224" fmla="*/ 262861 w 773462"/>
                <a:gd name="connsiteY224" fmla="*/ 19127 h 780958"/>
                <a:gd name="connsiteX225" fmla="*/ 260405 w 773462"/>
                <a:gd name="connsiteY225" fmla="*/ 19643 h 780958"/>
                <a:gd name="connsiteX226" fmla="*/ 254202 w 773462"/>
                <a:gd name="connsiteY226" fmla="*/ 18351 h 780958"/>
                <a:gd name="connsiteX227" fmla="*/ 252651 w 773462"/>
                <a:gd name="connsiteY227" fmla="*/ 17576 h 780958"/>
                <a:gd name="connsiteX228" fmla="*/ 251488 w 773462"/>
                <a:gd name="connsiteY228" fmla="*/ 16800 h 780958"/>
                <a:gd name="connsiteX229" fmla="*/ 250067 w 773462"/>
                <a:gd name="connsiteY229" fmla="*/ 14991 h 780958"/>
                <a:gd name="connsiteX230" fmla="*/ 249291 w 773462"/>
                <a:gd name="connsiteY230" fmla="*/ 13957 h 780958"/>
                <a:gd name="connsiteX231" fmla="*/ 247870 w 773462"/>
                <a:gd name="connsiteY231" fmla="*/ 13182 h 780958"/>
                <a:gd name="connsiteX232" fmla="*/ 244510 w 773462"/>
                <a:gd name="connsiteY232" fmla="*/ 12277 h 780958"/>
                <a:gd name="connsiteX233" fmla="*/ 241279 w 773462"/>
                <a:gd name="connsiteY233" fmla="*/ 10726 h 780958"/>
                <a:gd name="connsiteX234" fmla="*/ 233266 w 773462"/>
                <a:gd name="connsiteY234" fmla="*/ 8788 h 780958"/>
                <a:gd name="connsiteX235" fmla="*/ 231974 w 773462"/>
                <a:gd name="connsiteY235" fmla="*/ 8142 h 780958"/>
                <a:gd name="connsiteX236" fmla="*/ 231457 w 773462"/>
                <a:gd name="connsiteY236" fmla="*/ 7496 h 780958"/>
                <a:gd name="connsiteX237" fmla="*/ 231069 w 773462"/>
                <a:gd name="connsiteY237" fmla="*/ 6979 h 780958"/>
                <a:gd name="connsiteX238" fmla="*/ 230553 w 773462"/>
                <a:gd name="connsiteY238" fmla="*/ 6203 h 780958"/>
                <a:gd name="connsiteX239" fmla="*/ 230165 w 773462"/>
                <a:gd name="connsiteY239" fmla="*/ 5169 h 780958"/>
                <a:gd name="connsiteX240" fmla="*/ 229777 w 773462"/>
                <a:gd name="connsiteY240" fmla="*/ 4006 h 780958"/>
                <a:gd name="connsiteX241" fmla="*/ 228872 w 773462"/>
                <a:gd name="connsiteY241" fmla="*/ 2714 h 780958"/>
                <a:gd name="connsiteX242" fmla="*/ 226805 w 773462"/>
                <a:gd name="connsiteY242" fmla="*/ 1163 h 780958"/>
                <a:gd name="connsiteX243" fmla="*/ 224866 w 773462"/>
                <a:gd name="connsiteY243" fmla="*/ 517 h 780958"/>
                <a:gd name="connsiteX244" fmla="*/ 220472 w 773462"/>
                <a:gd name="connsiteY244" fmla="*/ 0 h 780958"/>
                <a:gd name="connsiteX245" fmla="*/ 218663 w 773462"/>
                <a:gd name="connsiteY245" fmla="*/ 0 h 780958"/>
                <a:gd name="connsiteX246" fmla="*/ 217242 w 773462"/>
                <a:gd name="connsiteY246" fmla="*/ 258 h 780958"/>
                <a:gd name="connsiteX247" fmla="*/ 215045 w 773462"/>
                <a:gd name="connsiteY247" fmla="*/ 1034 h 780958"/>
                <a:gd name="connsiteX248" fmla="*/ 209358 w 773462"/>
                <a:gd name="connsiteY248" fmla="*/ 1809 h 780958"/>
                <a:gd name="connsiteX249" fmla="*/ 207032 w 773462"/>
                <a:gd name="connsiteY249" fmla="*/ 2455 h 780958"/>
                <a:gd name="connsiteX250" fmla="*/ 205869 w 773462"/>
                <a:gd name="connsiteY250" fmla="*/ 2972 h 780958"/>
                <a:gd name="connsiteX251" fmla="*/ 204835 w 773462"/>
                <a:gd name="connsiteY251" fmla="*/ 3489 h 780958"/>
                <a:gd name="connsiteX252" fmla="*/ 203931 w 773462"/>
                <a:gd name="connsiteY252" fmla="*/ 4135 h 780958"/>
                <a:gd name="connsiteX253" fmla="*/ 203155 w 773462"/>
                <a:gd name="connsiteY253" fmla="*/ 4911 h 780958"/>
                <a:gd name="connsiteX254" fmla="*/ 199666 w 773462"/>
                <a:gd name="connsiteY254" fmla="*/ 9046 h 780958"/>
                <a:gd name="connsiteX255" fmla="*/ 198761 w 773462"/>
                <a:gd name="connsiteY255" fmla="*/ 9822 h 780958"/>
                <a:gd name="connsiteX256" fmla="*/ 197727 w 773462"/>
                <a:gd name="connsiteY256" fmla="*/ 10597 h 780958"/>
                <a:gd name="connsiteX257" fmla="*/ 196306 w 773462"/>
                <a:gd name="connsiteY257" fmla="*/ 10985 h 780958"/>
                <a:gd name="connsiteX258" fmla="*/ 195013 w 773462"/>
                <a:gd name="connsiteY258" fmla="*/ 10856 h 780958"/>
                <a:gd name="connsiteX259" fmla="*/ 193721 w 773462"/>
                <a:gd name="connsiteY259" fmla="*/ 10339 h 780958"/>
                <a:gd name="connsiteX260" fmla="*/ 192816 w 773462"/>
                <a:gd name="connsiteY260" fmla="*/ 10468 h 780958"/>
                <a:gd name="connsiteX261" fmla="*/ 190490 w 773462"/>
                <a:gd name="connsiteY261" fmla="*/ 12665 h 780958"/>
                <a:gd name="connsiteX262" fmla="*/ 188293 w 773462"/>
                <a:gd name="connsiteY262" fmla="*/ 13828 h 780958"/>
                <a:gd name="connsiteX263" fmla="*/ 186872 w 773462"/>
                <a:gd name="connsiteY263" fmla="*/ 14345 h 780958"/>
                <a:gd name="connsiteX264" fmla="*/ 184675 w 773462"/>
                <a:gd name="connsiteY264" fmla="*/ 14733 h 780958"/>
                <a:gd name="connsiteX265" fmla="*/ 183124 w 773462"/>
                <a:gd name="connsiteY265" fmla="*/ 14474 h 780958"/>
                <a:gd name="connsiteX266" fmla="*/ 179247 w 773462"/>
                <a:gd name="connsiteY266" fmla="*/ 12923 h 780958"/>
                <a:gd name="connsiteX267" fmla="*/ 178213 w 773462"/>
                <a:gd name="connsiteY267" fmla="*/ 12923 h 780958"/>
                <a:gd name="connsiteX268" fmla="*/ 177438 w 773462"/>
                <a:gd name="connsiteY268" fmla="*/ 13053 h 780958"/>
                <a:gd name="connsiteX269" fmla="*/ 176404 w 773462"/>
                <a:gd name="connsiteY269" fmla="*/ 13440 h 780958"/>
                <a:gd name="connsiteX270" fmla="*/ 174982 w 773462"/>
                <a:gd name="connsiteY270" fmla="*/ 13828 h 780958"/>
                <a:gd name="connsiteX271" fmla="*/ 159991 w 773462"/>
                <a:gd name="connsiteY271" fmla="*/ 14991 h 780958"/>
                <a:gd name="connsiteX272" fmla="*/ 151591 w 773462"/>
                <a:gd name="connsiteY272" fmla="*/ 14345 h 780958"/>
                <a:gd name="connsiteX273" fmla="*/ 150557 w 773462"/>
                <a:gd name="connsiteY273" fmla="*/ 14603 h 780958"/>
                <a:gd name="connsiteX274" fmla="*/ 147972 w 773462"/>
                <a:gd name="connsiteY274" fmla="*/ 16671 h 780958"/>
                <a:gd name="connsiteX275" fmla="*/ 147714 w 773462"/>
                <a:gd name="connsiteY275" fmla="*/ 17059 h 780958"/>
                <a:gd name="connsiteX276" fmla="*/ 147326 w 773462"/>
                <a:gd name="connsiteY276" fmla="*/ 17576 h 780958"/>
                <a:gd name="connsiteX277" fmla="*/ 147197 w 773462"/>
                <a:gd name="connsiteY277" fmla="*/ 18093 h 780958"/>
                <a:gd name="connsiteX278" fmla="*/ 147068 w 773462"/>
                <a:gd name="connsiteY278" fmla="*/ 19385 h 780958"/>
                <a:gd name="connsiteX279" fmla="*/ 146938 w 773462"/>
                <a:gd name="connsiteY279" fmla="*/ 20031 h 780958"/>
                <a:gd name="connsiteX280" fmla="*/ 146680 w 773462"/>
                <a:gd name="connsiteY280" fmla="*/ 20548 h 780958"/>
                <a:gd name="connsiteX281" fmla="*/ 146421 w 773462"/>
                <a:gd name="connsiteY281" fmla="*/ 20936 h 780958"/>
                <a:gd name="connsiteX282" fmla="*/ 146292 w 773462"/>
                <a:gd name="connsiteY282" fmla="*/ 21065 h 780958"/>
                <a:gd name="connsiteX283" fmla="*/ 145517 w 773462"/>
                <a:gd name="connsiteY283" fmla="*/ 21582 h 780958"/>
                <a:gd name="connsiteX284" fmla="*/ 142932 w 773462"/>
                <a:gd name="connsiteY284" fmla="*/ 22616 h 780958"/>
                <a:gd name="connsiteX285" fmla="*/ 142286 w 773462"/>
                <a:gd name="connsiteY285" fmla="*/ 23004 h 780958"/>
                <a:gd name="connsiteX286" fmla="*/ 141640 w 773462"/>
                <a:gd name="connsiteY286" fmla="*/ 23391 h 780958"/>
                <a:gd name="connsiteX287" fmla="*/ 141381 w 773462"/>
                <a:gd name="connsiteY287" fmla="*/ 23779 h 780958"/>
                <a:gd name="connsiteX288" fmla="*/ 141123 w 773462"/>
                <a:gd name="connsiteY288" fmla="*/ 24296 h 780958"/>
                <a:gd name="connsiteX289" fmla="*/ 140994 w 773462"/>
                <a:gd name="connsiteY289" fmla="*/ 24942 h 780958"/>
                <a:gd name="connsiteX290" fmla="*/ 140994 w 773462"/>
                <a:gd name="connsiteY290" fmla="*/ 25588 h 780958"/>
                <a:gd name="connsiteX291" fmla="*/ 141252 w 773462"/>
                <a:gd name="connsiteY291" fmla="*/ 28302 h 780958"/>
                <a:gd name="connsiteX292" fmla="*/ 141252 w 773462"/>
                <a:gd name="connsiteY292" fmla="*/ 28948 h 780958"/>
                <a:gd name="connsiteX293" fmla="*/ 140735 w 773462"/>
                <a:gd name="connsiteY293" fmla="*/ 32179 h 780958"/>
                <a:gd name="connsiteX294" fmla="*/ 140477 w 773462"/>
                <a:gd name="connsiteY294" fmla="*/ 32696 h 780958"/>
                <a:gd name="connsiteX295" fmla="*/ 140218 w 773462"/>
                <a:gd name="connsiteY295" fmla="*/ 33213 h 780958"/>
                <a:gd name="connsiteX296" fmla="*/ 139572 w 773462"/>
                <a:gd name="connsiteY296" fmla="*/ 33859 h 780958"/>
                <a:gd name="connsiteX297" fmla="*/ 139184 w 773462"/>
                <a:gd name="connsiteY297" fmla="*/ 34118 h 780958"/>
                <a:gd name="connsiteX298" fmla="*/ 137763 w 773462"/>
                <a:gd name="connsiteY298" fmla="*/ 35668 h 780958"/>
                <a:gd name="connsiteX299" fmla="*/ 136212 w 773462"/>
                <a:gd name="connsiteY299" fmla="*/ 37995 h 780958"/>
                <a:gd name="connsiteX300" fmla="*/ 135954 w 773462"/>
                <a:gd name="connsiteY300" fmla="*/ 38382 h 780958"/>
                <a:gd name="connsiteX301" fmla="*/ 135566 w 773462"/>
                <a:gd name="connsiteY301" fmla="*/ 38641 h 780958"/>
                <a:gd name="connsiteX302" fmla="*/ 134920 w 773462"/>
                <a:gd name="connsiteY302" fmla="*/ 39028 h 780958"/>
                <a:gd name="connsiteX303" fmla="*/ 133369 w 773462"/>
                <a:gd name="connsiteY303" fmla="*/ 39933 h 780958"/>
                <a:gd name="connsiteX304" fmla="*/ 132981 w 773462"/>
                <a:gd name="connsiteY304" fmla="*/ 40192 h 780958"/>
                <a:gd name="connsiteX305" fmla="*/ 131689 w 773462"/>
                <a:gd name="connsiteY305" fmla="*/ 41226 h 780958"/>
                <a:gd name="connsiteX306" fmla="*/ 130397 w 773462"/>
                <a:gd name="connsiteY306" fmla="*/ 42130 h 780958"/>
                <a:gd name="connsiteX307" fmla="*/ 127812 w 773462"/>
                <a:gd name="connsiteY307" fmla="*/ 43422 h 780958"/>
                <a:gd name="connsiteX308" fmla="*/ 127424 w 773462"/>
                <a:gd name="connsiteY308" fmla="*/ 43810 h 780958"/>
                <a:gd name="connsiteX309" fmla="*/ 127036 w 773462"/>
                <a:gd name="connsiteY309" fmla="*/ 44327 h 780958"/>
                <a:gd name="connsiteX310" fmla="*/ 126778 w 773462"/>
                <a:gd name="connsiteY310" fmla="*/ 44715 h 780958"/>
                <a:gd name="connsiteX311" fmla="*/ 126649 w 773462"/>
                <a:gd name="connsiteY311" fmla="*/ 45361 h 780958"/>
                <a:gd name="connsiteX312" fmla="*/ 126649 w 773462"/>
                <a:gd name="connsiteY312" fmla="*/ 45878 h 780958"/>
                <a:gd name="connsiteX313" fmla="*/ 127295 w 773462"/>
                <a:gd name="connsiteY313" fmla="*/ 49884 h 780958"/>
                <a:gd name="connsiteX314" fmla="*/ 127295 w 773462"/>
                <a:gd name="connsiteY314" fmla="*/ 50660 h 780958"/>
                <a:gd name="connsiteX315" fmla="*/ 127166 w 773462"/>
                <a:gd name="connsiteY315" fmla="*/ 51176 h 780958"/>
                <a:gd name="connsiteX316" fmla="*/ 127036 w 773462"/>
                <a:gd name="connsiteY316" fmla="*/ 51693 h 780958"/>
                <a:gd name="connsiteX317" fmla="*/ 126907 w 773462"/>
                <a:gd name="connsiteY317" fmla="*/ 51952 h 780958"/>
                <a:gd name="connsiteX318" fmla="*/ 126649 w 773462"/>
                <a:gd name="connsiteY318" fmla="*/ 52339 h 780958"/>
                <a:gd name="connsiteX319" fmla="*/ 115535 w 773462"/>
                <a:gd name="connsiteY319" fmla="*/ 64229 h 780958"/>
                <a:gd name="connsiteX320" fmla="*/ 113984 w 773462"/>
                <a:gd name="connsiteY320" fmla="*/ 65263 h 780958"/>
                <a:gd name="connsiteX321" fmla="*/ 111270 w 773462"/>
                <a:gd name="connsiteY321" fmla="*/ 66555 h 780958"/>
                <a:gd name="connsiteX322" fmla="*/ 110365 w 773462"/>
                <a:gd name="connsiteY322" fmla="*/ 66814 h 780958"/>
                <a:gd name="connsiteX323" fmla="*/ 102741 w 773462"/>
                <a:gd name="connsiteY323" fmla="*/ 67977 h 780958"/>
                <a:gd name="connsiteX324" fmla="*/ 100414 w 773462"/>
                <a:gd name="connsiteY324" fmla="*/ 68752 h 780958"/>
                <a:gd name="connsiteX325" fmla="*/ 97183 w 773462"/>
                <a:gd name="connsiteY325" fmla="*/ 70820 h 780958"/>
                <a:gd name="connsiteX326" fmla="*/ 79608 w 773462"/>
                <a:gd name="connsiteY326" fmla="*/ 75472 h 780958"/>
                <a:gd name="connsiteX327" fmla="*/ 78832 w 773462"/>
                <a:gd name="connsiteY327" fmla="*/ 75989 h 780958"/>
                <a:gd name="connsiteX328" fmla="*/ 78315 w 773462"/>
                <a:gd name="connsiteY328" fmla="*/ 76248 h 780958"/>
                <a:gd name="connsiteX329" fmla="*/ 77928 w 773462"/>
                <a:gd name="connsiteY329" fmla="*/ 76635 h 780958"/>
                <a:gd name="connsiteX330" fmla="*/ 77540 w 773462"/>
                <a:gd name="connsiteY330" fmla="*/ 77023 h 780958"/>
                <a:gd name="connsiteX331" fmla="*/ 77023 w 773462"/>
                <a:gd name="connsiteY331" fmla="*/ 78057 h 780958"/>
                <a:gd name="connsiteX332" fmla="*/ 75472 w 773462"/>
                <a:gd name="connsiteY332" fmla="*/ 81805 h 780958"/>
                <a:gd name="connsiteX333" fmla="*/ 74438 w 773462"/>
                <a:gd name="connsiteY333" fmla="*/ 83614 h 780958"/>
                <a:gd name="connsiteX334" fmla="*/ 74180 w 773462"/>
                <a:gd name="connsiteY334" fmla="*/ 84389 h 780958"/>
                <a:gd name="connsiteX335" fmla="*/ 74051 w 773462"/>
                <a:gd name="connsiteY335" fmla="*/ 84777 h 780958"/>
                <a:gd name="connsiteX336" fmla="*/ 73921 w 773462"/>
                <a:gd name="connsiteY336" fmla="*/ 84777 h 780958"/>
                <a:gd name="connsiteX337" fmla="*/ 73663 w 773462"/>
                <a:gd name="connsiteY337" fmla="*/ 84648 h 780958"/>
                <a:gd name="connsiteX338" fmla="*/ 73534 w 773462"/>
                <a:gd name="connsiteY338" fmla="*/ 84260 h 780958"/>
                <a:gd name="connsiteX339" fmla="*/ 73405 w 773462"/>
                <a:gd name="connsiteY339" fmla="*/ 83743 h 780958"/>
                <a:gd name="connsiteX340" fmla="*/ 73405 w 773462"/>
                <a:gd name="connsiteY340" fmla="*/ 83097 h 780958"/>
                <a:gd name="connsiteX341" fmla="*/ 73405 w 773462"/>
                <a:gd name="connsiteY341" fmla="*/ 82451 h 780958"/>
                <a:gd name="connsiteX342" fmla="*/ 74051 w 773462"/>
                <a:gd name="connsiteY342" fmla="*/ 80900 h 780958"/>
                <a:gd name="connsiteX343" fmla="*/ 74180 w 773462"/>
                <a:gd name="connsiteY343" fmla="*/ 80254 h 780958"/>
                <a:gd name="connsiteX344" fmla="*/ 74180 w 773462"/>
                <a:gd name="connsiteY344" fmla="*/ 79608 h 780958"/>
                <a:gd name="connsiteX345" fmla="*/ 73921 w 773462"/>
                <a:gd name="connsiteY345" fmla="*/ 79091 h 780958"/>
                <a:gd name="connsiteX346" fmla="*/ 73663 w 773462"/>
                <a:gd name="connsiteY346" fmla="*/ 78703 h 780958"/>
                <a:gd name="connsiteX347" fmla="*/ 72629 w 773462"/>
                <a:gd name="connsiteY347" fmla="*/ 77540 h 780958"/>
                <a:gd name="connsiteX348" fmla="*/ 71983 w 773462"/>
                <a:gd name="connsiteY348" fmla="*/ 76506 h 780958"/>
                <a:gd name="connsiteX349" fmla="*/ 71724 w 773462"/>
                <a:gd name="connsiteY349" fmla="*/ 76119 h 780958"/>
                <a:gd name="connsiteX350" fmla="*/ 71337 w 773462"/>
                <a:gd name="connsiteY350" fmla="*/ 75731 h 780958"/>
                <a:gd name="connsiteX351" fmla="*/ 71078 w 773462"/>
                <a:gd name="connsiteY351" fmla="*/ 75731 h 780958"/>
                <a:gd name="connsiteX352" fmla="*/ 68623 w 773462"/>
                <a:gd name="connsiteY352" fmla="*/ 75214 h 780958"/>
                <a:gd name="connsiteX353" fmla="*/ 68106 w 773462"/>
                <a:gd name="connsiteY353" fmla="*/ 75085 h 780958"/>
                <a:gd name="connsiteX354" fmla="*/ 67589 w 773462"/>
                <a:gd name="connsiteY354" fmla="*/ 74826 h 780958"/>
                <a:gd name="connsiteX355" fmla="*/ 66038 w 773462"/>
                <a:gd name="connsiteY355" fmla="*/ 73405 h 780958"/>
                <a:gd name="connsiteX356" fmla="*/ 64875 w 773462"/>
                <a:gd name="connsiteY356" fmla="*/ 72888 h 780958"/>
                <a:gd name="connsiteX357" fmla="*/ 64746 w 773462"/>
                <a:gd name="connsiteY357" fmla="*/ 72758 h 780958"/>
                <a:gd name="connsiteX358" fmla="*/ 63195 w 773462"/>
                <a:gd name="connsiteY358" fmla="*/ 71595 h 780958"/>
                <a:gd name="connsiteX359" fmla="*/ 62549 w 773462"/>
                <a:gd name="connsiteY359" fmla="*/ 71337 h 780958"/>
                <a:gd name="connsiteX360" fmla="*/ 60740 w 773462"/>
                <a:gd name="connsiteY360" fmla="*/ 70949 h 780958"/>
                <a:gd name="connsiteX361" fmla="*/ 60352 w 773462"/>
                <a:gd name="connsiteY361" fmla="*/ 70691 h 780958"/>
                <a:gd name="connsiteX362" fmla="*/ 59964 w 773462"/>
                <a:gd name="connsiteY362" fmla="*/ 70432 h 780958"/>
                <a:gd name="connsiteX363" fmla="*/ 59706 w 773462"/>
                <a:gd name="connsiteY363" fmla="*/ 70045 h 780958"/>
                <a:gd name="connsiteX364" fmla="*/ 59577 w 773462"/>
                <a:gd name="connsiteY364" fmla="*/ 69657 h 780958"/>
                <a:gd name="connsiteX365" fmla="*/ 59447 w 773462"/>
                <a:gd name="connsiteY365" fmla="*/ 69140 h 780958"/>
                <a:gd name="connsiteX366" fmla="*/ 59447 w 773462"/>
                <a:gd name="connsiteY366" fmla="*/ 68494 h 780958"/>
                <a:gd name="connsiteX367" fmla="*/ 59577 w 773462"/>
                <a:gd name="connsiteY367" fmla="*/ 66555 h 780958"/>
                <a:gd name="connsiteX368" fmla="*/ 59447 w 773462"/>
                <a:gd name="connsiteY368" fmla="*/ 66038 h 780958"/>
                <a:gd name="connsiteX369" fmla="*/ 59318 w 773462"/>
                <a:gd name="connsiteY369" fmla="*/ 65780 h 780958"/>
                <a:gd name="connsiteX370" fmla="*/ 58930 w 773462"/>
                <a:gd name="connsiteY370" fmla="*/ 64617 h 780958"/>
                <a:gd name="connsiteX371" fmla="*/ 56604 w 773462"/>
                <a:gd name="connsiteY371" fmla="*/ 61774 h 780958"/>
                <a:gd name="connsiteX372" fmla="*/ 55958 w 773462"/>
                <a:gd name="connsiteY372" fmla="*/ 61515 h 780958"/>
                <a:gd name="connsiteX373" fmla="*/ 55183 w 773462"/>
                <a:gd name="connsiteY373" fmla="*/ 61515 h 780958"/>
                <a:gd name="connsiteX374" fmla="*/ 52081 w 773462"/>
                <a:gd name="connsiteY374" fmla="*/ 61644 h 780958"/>
                <a:gd name="connsiteX375" fmla="*/ 51176 w 773462"/>
                <a:gd name="connsiteY375" fmla="*/ 61515 h 780958"/>
                <a:gd name="connsiteX376" fmla="*/ 47946 w 773462"/>
                <a:gd name="connsiteY376" fmla="*/ 60481 h 780958"/>
                <a:gd name="connsiteX377" fmla="*/ 46912 w 773462"/>
                <a:gd name="connsiteY377" fmla="*/ 61257 h 780958"/>
                <a:gd name="connsiteX378" fmla="*/ 46007 w 773462"/>
                <a:gd name="connsiteY378" fmla="*/ 64875 h 780958"/>
                <a:gd name="connsiteX379" fmla="*/ 46395 w 773462"/>
                <a:gd name="connsiteY379" fmla="*/ 66038 h 780958"/>
                <a:gd name="connsiteX380" fmla="*/ 48333 w 773462"/>
                <a:gd name="connsiteY380" fmla="*/ 68494 h 780958"/>
                <a:gd name="connsiteX381" fmla="*/ 49884 w 773462"/>
                <a:gd name="connsiteY381" fmla="*/ 71208 h 780958"/>
                <a:gd name="connsiteX382" fmla="*/ 49626 w 773462"/>
                <a:gd name="connsiteY382" fmla="*/ 73146 h 780958"/>
                <a:gd name="connsiteX383" fmla="*/ 46265 w 773462"/>
                <a:gd name="connsiteY383" fmla="*/ 73534 h 780958"/>
                <a:gd name="connsiteX384" fmla="*/ 56216 w 773462"/>
                <a:gd name="connsiteY384" fmla="*/ 90851 h 780958"/>
                <a:gd name="connsiteX385" fmla="*/ 61774 w 773462"/>
                <a:gd name="connsiteY385" fmla="*/ 104421 h 780958"/>
                <a:gd name="connsiteX386" fmla="*/ 65392 w 773462"/>
                <a:gd name="connsiteY386" fmla="*/ 111270 h 780958"/>
                <a:gd name="connsiteX387" fmla="*/ 69657 w 773462"/>
                <a:gd name="connsiteY387" fmla="*/ 113725 h 780958"/>
                <a:gd name="connsiteX388" fmla="*/ 71854 w 773462"/>
                <a:gd name="connsiteY388" fmla="*/ 113725 h 780958"/>
                <a:gd name="connsiteX389" fmla="*/ 73663 w 773462"/>
                <a:gd name="connsiteY389" fmla="*/ 113984 h 780958"/>
                <a:gd name="connsiteX390" fmla="*/ 74568 w 773462"/>
                <a:gd name="connsiteY390" fmla="*/ 115147 h 780958"/>
                <a:gd name="connsiteX391" fmla="*/ 74438 w 773462"/>
                <a:gd name="connsiteY391" fmla="*/ 117473 h 780958"/>
                <a:gd name="connsiteX392" fmla="*/ 67072 w 773462"/>
                <a:gd name="connsiteY392" fmla="*/ 117602 h 780958"/>
                <a:gd name="connsiteX393" fmla="*/ 65134 w 773462"/>
                <a:gd name="connsiteY393" fmla="*/ 118119 h 780958"/>
                <a:gd name="connsiteX394" fmla="*/ 63712 w 773462"/>
                <a:gd name="connsiteY394" fmla="*/ 119412 h 780958"/>
                <a:gd name="connsiteX395" fmla="*/ 62032 w 773462"/>
                <a:gd name="connsiteY395" fmla="*/ 124969 h 780958"/>
                <a:gd name="connsiteX396" fmla="*/ 56992 w 773462"/>
                <a:gd name="connsiteY396" fmla="*/ 140994 h 780958"/>
                <a:gd name="connsiteX397" fmla="*/ 51952 w 773462"/>
                <a:gd name="connsiteY397" fmla="*/ 156889 h 780958"/>
                <a:gd name="connsiteX398" fmla="*/ 46912 w 773462"/>
                <a:gd name="connsiteY398" fmla="*/ 172914 h 780958"/>
                <a:gd name="connsiteX399" fmla="*/ 41872 w 773462"/>
                <a:gd name="connsiteY399" fmla="*/ 188939 h 780958"/>
                <a:gd name="connsiteX400" fmla="*/ 40708 w 773462"/>
                <a:gd name="connsiteY400" fmla="*/ 192816 h 780958"/>
                <a:gd name="connsiteX401" fmla="*/ 44973 w 773462"/>
                <a:gd name="connsiteY401" fmla="*/ 193204 h 780958"/>
                <a:gd name="connsiteX402" fmla="*/ 46136 w 773462"/>
                <a:gd name="connsiteY402" fmla="*/ 194109 h 780958"/>
                <a:gd name="connsiteX403" fmla="*/ 46524 w 773462"/>
                <a:gd name="connsiteY403" fmla="*/ 196435 h 780958"/>
                <a:gd name="connsiteX404" fmla="*/ 47170 w 773462"/>
                <a:gd name="connsiteY404" fmla="*/ 203026 h 780958"/>
                <a:gd name="connsiteX405" fmla="*/ 47816 w 773462"/>
                <a:gd name="connsiteY405" fmla="*/ 207937 h 780958"/>
                <a:gd name="connsiteX406" fmla="*/ 41742 w 773462"/>
                <a:gd name="connsiteY406" fmla="*/ 208324 h 780958"/>
                <a:gd name="connsiteX407" fmla="*/ 39933 w 773462"/>
                <a:gd name="connsiteY407" fmla="*/ 209617 h 780958"/>
                <a:gd name="connsiteX408" fmla="*/ 37478 w 773462"/>
                <a:gd name="connsiteY408" fmla="*/ 214786 h 780958"/>
                <a:gd name="connsiteX409" fmla="*/ 34118 w 773462"/>
                <a:gd name="connsiteY409" fmla="*/ 221635 h 780958"/>
                <a:gd name="connsiteX410" fmla="*/ 26880 w 773462"/>
                <a:gd name="connsiteY410" fmla="*/ 237014 h 780958"/>
                <a:gd name="connsiteX411" fmla="*/ 19514 w 773462"/>
                <a:gd name="connsiteY411" fmla="*/ 252393 h 780958"/>
                <a:gd name="connsiteX412" fmla="*/ 16154 w 773462"/>
                <a:gd name="connsiteY412" fmla="*/ 259372 h 780958"/>
                <a:gd name="connsiteX413" fmla="*/ 16154 w 773462"/>
                <a:gd name="connsiteY413" fmla="*/ 259372 h 780958"/>
                <a:gd name="connsiteX414" fmla="*/ 16154 w 773462"/>
                <a:gd name="connsiteY414" fmla="*/ 259372 h 780958"/>
                <a:gd name="connsiteX415" fmla="*/ 14862 w 773462"/>
                <a:gd name="connsiteY415" fmla="*/ 262215 h 780958"/>
                <a:gd name="connsiteX416" fmla="*/ 12019 w 773462"/>
                <a:gd name="connsiteY416" fmla="*/ 268289 h 780958"/>
                <a:gd name="connsiteX417" fmla="*/ 9046 w 773462"/>
                <a:gd name="connsiteY417" fmla="*/ 274492 h 780958"/>
                <a:gd name="connsiteX418" fmla="*/ 7754 w 773462"/>
                <a:gd name="connsiteY418" fmla="*/ 277206 h 780958"/>
                <a:gd name="connsiteX419" fmla="*/ 4006 w 773462"/>
                <a:gd name="connsiteY419" fmla="*/ 285218 h 780958"/>
                <a:gd name="connsiteX420" fmla="*/ 4911 w 773462"/>
                <a:gd name="connsiteY420" fmla="*/ 288449 h 780958"/>
                <a:gd name="connsiteX421" fmla="*/ 12923 w 773462"/>
                <a:gd name="connsiteY421" fmla="*/ 295816 h 780958"/>
                <a:gd name="connsiteX422" fmla="*/ 21582 w 773462"/>
                <a:gd name="connsiteY422" fmla="*/ 303699 h 780958"/>
                <a:gd name="connsiteX423" fmla="*/ 32438 w 773462"/>
                <a:gd name="connsiteY423" fmla="*/ 313520 h 780958"/>
                <a:gd name="connsiteX424" fmla="*/ 31274 w 773462"/>
                <a:gd name="connsiteY424" fmla="*/ 314942 h 780958"/>
                <a:gd name="connsiteX425" fmla="*/ 30111 w 773462"/>
                <a:gd name="connsiteY425" fmla="*/ 316880 h 780958"/>
                <a:gd name="connsiteX426" fmla="*/ 28561 w 773462"/>
                <a:gd name="connsiteY426" fmla="*/ 318561 h 780958"/>
                <a:gd name="connsiteX427" fmla="*/ 26234 w 773462"/>
                <a:gd name="connsiteY427" fmla="*/ 319724 h 780958"/>
                <a:gd name="connsiteX428" fmla="*/ 23520 w 773462"/>
                <a:gd name="connsiteY428" fmla="*/ 318948 h 780958"/>
                <a:gd name="connsiteX429" fmla="*/ 21711 w 773462"/>
                <a:gd name="connsiteY429" fmla="*/ 318819 h 780958"/>
                <a:gd name="connsiteX430" fmla="*/ 20936 w 773462"/>
                <a:gd name="connsiteY430" fmla="*/ 319336 h 780958"/>
                <a:gd name="connsiteX431" fmla="*/ 20677 w 773462"/>
                <a:gd name="connsiteY431" fmla="*/ 320241 h 780958"/>
                <a:gd name="connsiteX432" fmla="*/ 20031 w 773462"/>
                <a:gd name="connsiteY432" fmla="*/ 321145 h 780958"/>
                <a:gd name="connsiteX433" fmla="*/ 18868 w 773462"/>
                <a:gd name="connsiteY433" fmla="*/ 321791 h 780958"/>
                <a:gd name="connsiteX434" fmla="*/ 17705 w 773462"/>
                <a:gd name="connsiteY434" fmla="*/ 322050 h 780958"/>
                <a:gd name="connsiteX435" fmla="*/ 14991 w 773462"/>
                <a:gd name="connsiteY435" fmla="*/ 323213 h 780958"/>
                <a:gd name="connsiteX436" fmla="*/ 11631 w 773462"/>
                <a:gd name="connsiteY436" fmla="*/ 327995 h 780958"/>
                <a:gd name="connsiteX437" fmla="*/ 8917 w 773462"/>
                <a:gd name="connsiteY437" fmla="*/ 329028 h 780958"/>
                <a:gd name="connsiteX438" fmla="*/ 8142 w 773462"/>
                <a:gd name="connsiteY438" fmla="*/ 329545 h 780958"/>
                <a:gd name="connsiteX439" fmla="*/ 6849 w 773462"/>
                <a:gd name="connsiteY439" fmla="*/ 331484 h 780958"/>
                <a:gd name="connsiteX440" fmla="*/ 6332 w 773462"/>
                <a:gd name="connsiteY440" fmla="*/ 332130 h 780958"/>
                <a:gd name="connsiteX441" fmla="*/ 4911 w 773462"/>
                <a:gd name="connsiteY441" fmla="*/ 332776 h 780958"/>
                <a:gd name="connsiteX442" fmla="*/ 388 w 773462"/>
                <a:gd name="connsiteY442" fmla="*/ 334456 h 780958"/>
                <a:gd name="connsiteX443" fmla="*/ 388 w 773462"/>
                <a:gd name="connsiteY443" fmla="*/ 336265 h 780958"/>
                <a:gd name="connsiteX444" fmla="*/ 1034 w 773462"/>
                <a:gd name="connsiteY444" fmla="*/ 336653 h 780958"/>
                <a:gd name="connsiteX445" fmla="*/ 1938 w 773462"/>
                <a:gd name="connsiteY445" fmla="*/ 336524 h 780958"/>
                <a:gd name="connsiteX446" fmla="*/ 2714 w 773462"/>
                <a:gd name="connsiteY446" fmla="*/ 336783 h 780958"/>
                <a:gd name="connsiteX447" fmla="*/ 3489 w 773462"/>
                <a:gd name="connsiteY447" fmla="*/ 337558 h 780958"/>
                <a:gd name="connsiteX448" fmla="*/ 4523 w 773462"/>
                <a:gd name="connsiteY448" fmla="*/ 338850 h 780958"/>
                <a:gd name="connsiteX449" fmla="*/ 4652 w 773462"/>
                <a:gd name="connsiteY449" fmla="*/ 340143 h 780958"/>
                <a:gd name="connsiteX450" fmla="*/ 775 w 773462"/>
                <a:gd name="connsiteY450" fmla="*/ 341435 h 780958"/>
                <a:gd name="connsiteX451" fmla="*/ 0 w 773462"/>
                <a:gd name="connsiteY451" fmla="*/ 343373 h 780958"/>
                <a:gd name="connsiteX452" fmla="*/ 646 w 773462"/>
                <a:gd name="connsiteY452" fmla="*/ 345441 h 780958"/>
                <a:gd name="connsiteX453" fmla="*/ 2714 w 773462"/>
                <a:gd name="connsiteY453" fmla="*/ 346863 h 780958"/>
                <a:gd name="connsiteX454" fmla="*/ 3360 w 773462"/>
                <a:gd name="connsiteY454" fmla="*/ 346734 h 780958"/>
                <a:gd name="connsiteX455" fmla="*/ 3877 w 773462"/>
                <a:gd name="connsiteY455" fmla="*/ 346087 h 780958"/>
                <a:gd name="connsiteX456" fmla="*/ 4523 w 773462"/>
                <a:gd name="connsiteY456" fmla="*/ 345441 h 780958"/>
                <a:gd name="connsiteX457" fmla="*/ 5686 w 773462"/>
                <a:gd name="connsiteY457" fmla="*/ 345312 h 780958"/>
                <a:gd name="connsiteX458" fmla="*/ 6332 w 773462"/>
                <a:gd name="connsiteY458" fmla="*/ 345700 h 780958"/>
                <a:gd name="connsiteX459" fmla="*/ 7237 w 773462"/>
                <a:gd name="connsiteY459" fmla="*/ 346604 h 780958"/>
                <a:gd name="connsiteX460" fmla="*/ 7754 w 773462"/>
                <a:gd name="connsiteY460" fmla="*/ 347767 h 780958"/>
                <a:gd name="connsiteX461" fmla="*/ 6720 w 773462"/>
                <a:gd name="connsiteY461" fmla="*/ 350869 h 780958"/>
                <a:gd name="connsiteX462" fmla="*/ 6979 w 773462"/>
                <a:gd name="connsiteY462" fmla="*/ 353712 h 780958"/>
                <a:gd name="connsiteX463" fmla="*/ 7625 w 773462"/>
                <a:gd name="connsiteY463" fmla="*/ 356555 h 780958"/>
                <a:gd name="connsiteX464" fmla="*/ 8529 w 773462"/>
                <a:gd name="connsiteY464" fmla="*/ 358494 h 780958"/>
                <a:gd name="connsiteX465" fmla="*/ 10209 w 773462"/>
                <a:gd name="connsiteY465" fmla="*/ 360432 h 780958"/>
                <a:gd name="connsiteX466" fmla="*/ 12535 w 773462"/>
                <a:gd name="connsiteY466" fmla="*/ 362242 h 780958"/>
                <a:gd name="connsiteX467" fmla="*/ 14862 w 773462"/>
                <a:gd name="connsiteY467" fmla="*/ 363534 h 780958"/>
                <a:gd name="connsiteX468" fmla="*/ 16930 w 773462"/>
                <a:gd name="connsiteY468" fmla="*/ 364051 h 780958"/>
                <a:gd name="connsiteX469" fmla="*/ 18480 w 773462"/>
                <a:gd name="connsiteY469" fmla="*/ 364955 h 780958"/>
                <a:gd name="connsiteX470" fmla="*/ 18222 w 773462"/>
                <a:gd name="connsiteY470" fmla="*/ 366894 h 780958"/>
                <a:gd name="connsiteX471" fmla="*/ 16542 w 773462"/>
                <a:gd name="connsiteY471" fmla="*/ 370254 h 780958"/>
                <a:gd name="connsiteX472" fmla="*/ 16283 w 773462"/>
                <a:gd name="connsiteY472" fmla="*/ 372451 h 780958"/>
                <a:gd name="connsiteX473" fmla="*/ 16413 w 773462"/>
                <a:gd name="connsiteY473" fmla="*/ 375423 h 780958"/>
                <a:gd name="connsiteX474" fmla="*/ 16930 w 773462"/>
                <a:gd name="connsiteY474" fmla="*/ 378137 h 780958"/>
                <a:gd name="connsiteX475" fmla="*/ 18093 w 773462"/>
                <a:gd name="connsiteY475" fmla="*/ 380851 h 780958"/>
                <a:gd name="connsiteX476" fmla="*/ 18222 w 773462"/>
                <a:gd name="connsiteY476" fmla="*/ 382143 h 780958"/>
                <a:gd name="connsiteX477" fmla="*/ 18093 w 773462"/>
                <a:gd name="connsiteY477" fmla="*/ 384599 h 780958"/>
                <a:gd name="connsiteX478" fmla="*/ 18351 w 773462"/>
                <a:gd name="connsiteY478" fmla="*/ 386150 h 780958"/>
                <a:gd name="connsiteX479" fmla="*/ 19773 w 773462"/>
                <a:gd name="connsiteY479" fmla="*/ 388476 h 780958"/>
                <a:gd name="connsiteX480" fmla="*/ 20290 w 773462"/>
                <a:gd name="connsiteY480" fmla="*/ 389639 h 780958"/>
                <a:gd name="connsiteX481" fmla="*/ 20160 w 773462"/>
                <a:gd name="connsiteY481" fmla="*/ 390931 h 780958"/>
                <a:gd name="connsiteX482" fmla="*/ 19385 w 773462"/>
                <a:gd name="connsiteY482" fmla="*/ 393128 h 780958"/>
                <a:gd name="connsiteX483" fmla="*/ 19514 w 773462"/>
                <a:gd name="connsiteY483" fmla="*/ 394421 h 780958"/>
                <a:gd name="connsiteX484" fmla="*/ 20160 w 773462"/>
                <a:gd name="connsiteY484" fmla="*/ 395713 h 780958"/>
                <a:gd name="connsiteX485" fmla="*/ 21194 w 773462"/>
                <a:gd name="connsiteY485" fmla="*/ 396488 h 780958"/>
                <a:gd name="connsiteX486" fmla="*/ 22099 w 773462"/>
                <a:gd name="connsiteY486" fmla="*/ 396359 h 780958"/>
                <a:gd name="connsiteX487" fmla="*/ 23004 w 773462"/>
                <a:gd name="connsiteY487" fmla="*/ 392353 h 780958"/>
                <a:gd name="connsiteX488" fmla="*/ 24425 w 773462"/>
                <a:gd name="connsiteY488" fmla="*/ 391577 h 780958"/>
                <a:gd name="connsiteX489" fmla="*/ 26105 w 773462"/>
                <a:gd name="connsiteY489" fmla="*/ 391836 h 780958"/>
                <a:gd name="connsiteX490" fmla="*/ 27656 w 773462"/>
                <a:gd name="connsiteY490" fmla="*/ 392870 h 780958"/>
                <a:gd name="connsiteX491" fmla="*/ 28044 w 773462"/>
                <a:gd name="connsiteY491" fmla="*/ 393516 h 780958"/>
                <a:gd name="connsiteX492" fmla="*/ 28690 w 773462"/>
                <a:gd name="connsiteY492" fmla="*/ 395196 h 780958"/>
                <a:gd name="connsiteX493" fmla="*/ 29078 w 773462"/>
                <a:gd name="connsiteY493" fmla="*/ 395971 h 780958"/>
                <a:gd name="connsiteX494" fmla="*/ 29724 w 773462"/>
                <a:gd name="connsiteY494" fmla="*/ 396618 h 780958"/>
                <a:gd name="connsiteX495" fmla="*/ 31404 w 773462"/>
                <a:gd name="connsiteY495" fmla="*/ 397781 h 780958"/>
                <a:gd name="connsiteX496" fmla="*/ 32308 w 773462"/>
                <a:gd name="connsiteY496" fmla="*/ 398685 h 780958"/>
                <a:gd name="connsiteX497" fmla="*/ 32567 w 773462"/>
                <a:gd name="connsiteY497" fmla="*/ 399719 h 780958"/>
                <a:gd name="connsiteX498" fmla="*/ 31791 w 773462"/>
                <a:gd name="connsiteY498" fmla="*/ 400624 h 780958"/>
                <a:gd name="connsiteX499" fmla="*/ 30499 w 773462"/>
                <a:gd name="connsiteY499" fmla="*/ 401141 h 780958"/>
                <a:gd name="connsiteX500" fmla="*/ 28173 w 773462"/>
                <a:gd name="connsiteY500" fmla="*/ 401658 h 780958"/>
                <a:gd name="connsiteX501" fmla="*/ 27397 w 773462"/>
                <a:gd name="connsiteY501" fmla="*/ 402304 h 780958"/>
                <a:gd name="connsiteX502" fmla="*/ 26234 w 773462"/>
                <a:gd name="connsiteY502" fmla="*/ 403725 h 780958"/>
                <a:gd name="connsiteX503" fmla="*/ 24554 w 773462"/>
                <a:gd name="connsiteY503" fmla="*/ 404889 h 780958"/>
                <a:gd name="connsiteX504" fmla="*/ 23779 w 773462"/>
                <a:gd name="connsiteY504" fmla="*/ 405922 h 780958"/>
                <a:gd name="connsiteX505" fmla="*/ 24425 w 773462"/>
                <a:gd name="connsiteY505" fmla="*/ 406569 h 780958"/>
                <a:gd name="connsiteX506" fmla="*/ 27268 w 773462"/>
                <a:gd name="connsiteY506" fmla="*/ 406827 h 780958"/>
                <a:gd name="connsiteX507" fmla="*/ 29465 w 773462"/>
                <a:gd name="connsiteY507" fmla="*/ 407344 h 780958"/>
                <a:gd name="connsiteX508" fmla="*/ 31274 w 773462"/>
                <a:gd name="connsiteY508" fmla="*/ 408507 h 780958"/>
                <a:gd name="connsiteX509" fmla="*/ 32438 w 773462"/>
                <a:gd name="connsiteY509" fmla="*/ 410187 h 780958"/>
                <a:gd name="connsiteX510" fmla="*/ 32696 w 773462"/>
                <a:gd name="connsiteY510" fmla="*/ 412255 h 780958"/>
                <a:gd name="connsiteX511" fmla="*/ 31533 w 773462"/>
                <a:gd name="connsiteY511" fmla="*/ 413418 h 780958"/>
                <a:gd name="connsiteX512" fmla="*/ 27139 w 773462"/>
                <a:gd name="connsiteY512" fmla="*/ 415873 h 780958"/>
                <a:gd name="connsiteX513" fmla="*/ 26234 w 773462"/>
                <a:gd name="connsiteY513" fmla="*/ 417424 h 780958"/>
                <a:gd name="connsiteX514" fmla="*/ 26493 w 773462"/>
                <a:gd name="connsiteY514" fmla="*/ 418587 h 780958"/>
                <a:gd name="connsiteX515" fmla="*/ 27268 w 773462"/>
                <a:gd name="connsiteY515" fmla="*/ 419234 h 780958"/>
                <a:gd name="connsiteX516" fmla="*/ 27914 w 773462"/>
                <a:gd name="connsiteY516" fmla="*/ 419363 h 780958"/>
                <a:gd name="connsiteX517" fmla="*/ 28302 w 773462"/>
                <a:gd name="connsiteY517" fmla="*/ 419750 h 780958"/>
                <a:gd name="connsiteX518" fmla="*/ 28819 w 773462"/>
                <a:gd name="connsiteY518" fmla="*/ 419750 h 780958"/>
                <a:gd name="connsiteX519" fmla="*/ 31274 w 773462"/>
                <a:gd name="connsiteY519" fmla="*/ 421689 h 780958"/>
                <a:gd name="connsiteX520" fmla="*/ 33730 w 773462"/>
                <a:gd name="connsiteY520" fmla="*/ 424403 h 780958"/>
                <a:gd name="connsiteX521" fmla="*/ 34505 w 773462"/>
                <a:gd name="connsiteY521" fmla="*/ 424403 h 780958"/>
                <a:gd name="connsiteX522" fmla="*/ 34893 w 773462"/>
                <a:gd name="connsiteY522" fmla="*/ 422335 h 780958"/>
                <a:gd name="connsiteX523" fmla="*/ 36961 w 773462"/>
                <a:gd name="connsiteY523" fmla="*/ 424144 h 780958"/>
                <a:gd name="connsiteX524" fmla="*/ 37090 w 773462"/>
                <a:gd name="connsiteY524" fmla="*/ 426600 h 780958"/>
                <a:gd name="connsiteX525" fmla="*/ 36056 w 773462"/>
                <a:gd name="connsiteY525" fmla="*/ 429184 h 780958"/>
                <a:gd name="connsiteX526" fmla="*/ 33213 w 773462"/>
                <a:gd name="connsiteY526" fmla="*/ 433708 h 780958"/>
                <a:gd name="connsiteX527" fmla="*/ 33213 w 773462"/>
                <a:gd name="connsiteY527" fmla="*/ 435388 h 780958"/>
                <a:gd name="connsiteX528" fmla="*/ 34893 w 773462"/>
                <a:gd name="connsiteY528" fmla="*/ 438748 h 780958"/>
                <a:gd name="connsiteX529" fmla="*/ 35539 w 773462"/>
                <a:gd name="connsiteY529" fmla="*/ 443917 h 780958"/>
                <a:gd name="connsiteX530" fmla="*/ 35151 w 773462"/>
                <a:gd name="connsiteY530" fmla="*/ 449216 h 780958"/>
                <a:gd name="connsiteX531" fmla="*/ 33730 w 773462"/>
                <a:gd name="connsiteY531" fmla="*/ 454127 h 780958"/>
                <a:gd name="connsiteX532" fmla="*/ 31274 w 773462"/>
                <a:gd name="connsiteY532" fmla="*/ 457616 h 780958"/>
                <a:gd name="connsiteX533" fmla="*/ 28173 w 773462"/>
                <a:gd name="connsiteY533" fmla="*/ 459942 h 780958"/>
                <a:gd name="connsiteX534" fmla="*/ 27656 w 773462"/>
                <a:gd name="connsiteY534" fmla="*/ 460717 h 780958"/>
                <a:gd name="connsiteX535" fmla="*/ 27527 w 773462"/>
                <a:gd name="connsiteY535" fmla="*/ 462139 h 780958"/>
                <a:gd name="connsiteX536" fmla="*/ 28044 w 773462"/>
                <a:gd name="connsiteY536" fmla="*/ 463044 h 780958"/>
                <a:gd name="connsiteX537" fmla="*/ 28819 w 773462"/>
                <a:gd name="connsiteY537" fmla="*/ 463690 h 780958"/>
                <a:gd name="connsiteX538" fmla="*/ 29078 w 773462"/>
                <a:gd name="connsiteY538" fmla="*/ 464336 h 780958"/>
                <a:gd name="connsiteX539" fmla="*/ 29982 w 773462"/>
                <a:gd name="connsiteY539" fmla="*/ 465499 h 780958"/>
                <a:gd name="connsiteX540" fmla="*/ 31662 w 773462"/>
                <a:gd name="connsiteY540" fmla="*/ 466016 h 780958"/>
                <a:gd name="connsiteX541" fmla="*/ 32825 w 773462"/>
                <a:gd name="connsiteY541" fmla="*/ 467179 h 780958"/>
                <a:gd name="connsiteX542" fmla="*/ 32050 w 773462"/>
                <a:gd name="connsiteY542" fmla="*/ 470151 h 780958"/>
                <a:gd name="connsiteX543" fmla="*/ 24942 w 773462"/>
                <a:gd name="connsiteY543" fmla="*/ 481136 h 780958"/>
                <a:gd name="connsiteX544" fmla="*/ 23262 w 773462"/>
                <a:gd name="connsiteY544" fmla="*/ 485013 h 780958"/>
                <a:gd name="connsiteX545" fmla="*/ 22874 w 773462"/>
                <a:gd name="connsiteY545" fmla="*/ 487469 h 780958"/>
                <a:gd name="connsiteX546" fmla="*/ 23004 w 773462"/>
                <a:gd name="connsiteY546" fmla="*/ 489924 h 780958"/>
                <a:gd name="connsiteX547" fmla="*/ 23779 w 773462"/>
                <a:gd name="connsiteY547" fmla="*/ 491992 h 780958"/>
                <a:gd name="connsiteX548" fmla="*/ 25717 w 773462"/>
                <a:gd name="connsiteY548" fmla="*/ 492897 h 780958"/>
                <a:gd name="connsiteX549" fmla="*/ 26751 w 773462"/>
                <a:gd name="connsiteY549" fmla="*/ 493801 h 780958"/>
                <a:gd name="connsiteX550" fmla="*/ 25976 w 773462"/>
                <a:gd name="connsiteY550" fmla="*/ 496127 h 780958"/>
                <a:gd name="connsiteX551" fmla="*/ 24683 w 773462"/>
                <a:gd name="connsiteY551" fmla="*/ 498712 h 780958"/>
                <a:gd name="connsiteX552" fmla="*/ 23908 w 773462"/>
                <a:gd name="connsiteY552" fmla="*/ 500651 h 780958"/>
                <a:gd name="connsiteX553" fmla="*/ 24425 w 773462"/>
                <a:gd name="connsiteY553" fmla="*/ 502589 h 780958"/>
                <a:gd name="connsiteX554" fmla="*/ 25459 w 773462"/>
                <a:gd name="connsiteY554" fmla="*/ 504657 h 780958"/>
                <a:gd name="connsiteX555" fmla="*/ 26880 w 773462"/>
                <a:gd name="connsiteY555" fmla="*/ 506337 h 780958"/>
                <a:gd name="connsiteX556" fmla="*/ 27914 w 773462"/>
                <a:gd name="connsiteY556" fmla="*/ 506983 h 780958"/>
                <a:gd name="connsiteX557" fmla="*/ 28561 w 773462"/>
                <a:gd name="connsiteY557" fmla="*/ 508017 h 780958"/>
                <a:gd name="connsiteX558" fmla="*/ 23908 w 773462"/>
                <a:gd name="connsiteY558" fmla="*/ 515771 h 780958"/>
                <a:gd name="connsiteX559" fmla="*/ 24037 w 773462"/>
                <a:gd name="connsiteY559" fmla="*/ 517968 h 780958"/>
                <a:gd name="connsiteX560" fmla="*/ 24425 w 773462"/>
                <a:gd name="connsiteY560" fmla="*/ 520036 h 780958"/>
                <a:gd name="connsiteX561" fmla="*/ 24296 w 773462"/>
                <a:gd name="connsiteY561" fmla="*/ 522232 h 780958"/>
                <a:gd name="connsiteX562" fmla="*/ 22874 w 773462"/>
                <a:gd name="connsiteY562" fmla="*/ 524688 h 780958"/>
                <a:gd name="connsiteX563" fmla="*/ 22099 w 773462"/>
                <a:gd name="connsiteY563" fmla="*/ 526756 h 780958"/>
                <a:gd name="connsiteX564" fmla="*/ 23133 w 773462"/>
                <a:gd name="connsiteY564" fmla="*/ 528306 h 780958"/>
                <a:gd name="connsiteX565" fmla="*/ 24554 w 773462"/>
                <a:gd name="connsiteY565" fmla="*/ 530245 h 780958"/>
                <a:gd name="connsiteX566" fmla="*/ 25330 w 773462"/>
                <a:gd name="connsiteY566" fmla="*/ 532830 h 780958"/>
                <a:gd name="connsiteX567" fmla="*/ 24942 w 773462"/>
                <a:gd name="connsiteY567" fmla="*/ 534251 h 780958"/>
                <a:gd name="connsiteX568" fmla="*/ 22357 w 773462"/>
                <a:gd name="connsiteY568" fmla="*/ 539033 h 780958"/>
                <a:gd name="connsiteX569" fmla="*/ 21323 w 773462"/>
                <a:gd name="connsiteY569" fmla="*/ 539938 h 780958"/>
                <a:gd name="connsiteX570" fmla="*/ 21194 w 773462"/>
                <a:gd name="connsiteY570" fmla="*/ 541101 h 780958"/>
                <a:gd name="connsiteX571" fmla="*/ 18739 w 773462"/>
                <a:gd name="connsiteY571" fmla="*/ 547821 h 780958"/>
                <a:gd name="connsiteX572" fmla="*/ 18609 w 773462"/>
                <a:gd name="connsiteY572" fmla="*/ 549372 h 780958"/>
                <a:gd name="connsiteX573" fmla="*/ 18609 w 773462"/>
                <a:gd name="connsiteY573" fmla="*/ 551181 h 780958"/>
                <a:gd name="connsiteX574" fmla="*/ 18868 w 773462"/>
                <a:gd name="connsiteY574" fmla="*/ 552344 h 780958"/>
                <a:gd name="connsiteX575" fmla="*/ 20290 w 773462"/>
                <a:gd name="connsiteY575" fmla="*/ 553119 h 780958"/>
                <a:gd name="connsiteX576" fmla="*/ 20290 w 773462"/>
                <a:gd name="connsiteY576" fmla="*/ 553119 h 780958"/>
                <a:gd name="connsiteX577" fmla="*/ 21453 w 773462"/>
                <a:gd name="connsiteY577" fmla="*/ 554153 h 780958"/>
                <a:gd name="connsiteX578" fmla="*/ 22487 w 773462"/>
                <a:gd name="connsiteY578" fmla="*/ 555962 h 780958"/>
                <a:gd name="connsiteX579" fmla="*/ 23779 w 773462"/>
                <a:gd name="connsiteY579" fmla="*/ 557384 h 780958"/>
                <a:gd name="connsiteX580" fmla="*/ 27397 w 773462"/>
                <a:gd name="connsiteY580" fmla="*/ 558547 h 780958"/>
                <a:gd name="connsiteX581" fmla="*/ 28561 w 773462"/>
                <a:gd name="connsiteY581" fmla="*/ 558547 h 780958"/>
                <a:gd name="connsiteX582" fmla="*/ 30370 w 773462"/>
                <a:gd name="connsiteY582" fmla="*/ 557772 h 780958"/>
                <a:gd name="connsiteX583" fmla="*/ 31145 w 773462"/>
                <a:gd name="connsiteY583" fmla="*/ 557643 h 780958"/>
                <a:gd name="connsiteX584" fmla="*/ 32050 w 773462"/>
                <a:gd name="connsiteY584" fmla="*/ 558289 h 780958"/>
                <a:gd name="connsiteX585" fmla="*/ 33601 w 773462"/>
                <a:gd name="connsiteY585" fmla="*/ 559839 h 780958"/>
                <a:gd name="connsiteX586" fmla="*/ 34118 w 773462"/>
                <a:gd name="connsiteY586" fmla="*/ 560227 h 780958"/>
                <a:gd name="connsiteX587" fmla="*/ 35410 w 773462"/>
                <a:gd name="connsiteY587" fmla="*/ 559969 h 780958"/>
                <a:gd name="connsiteX588" fmla="*/ 37090 w 773462"/>
                <a:gd name="connsiteY588" fmla="*/ 558547 h 780958"/>
                <a:gd name="connsiteX589" fmla="*/ 38253 w 773462"/>
                <a:gd name="connsiteY589" fmla="*/ 558547 h 780958"/>
                <a:gd name="connsiteX590" fmla="*/ 39287 w 773462"/>
                <a:gd name="connsiteY590" fmla="*/ 558806 h 780958"/>
                <a:gd name="connsiteX591" fmla="*/ 40192 w 773462"/>
                <a:gd name="connsiteY591" fmla="*/ 558676 h 780958"/>
                <a:gd name="connsiteX592" fmla="*/ 41484 w 773462"/>
                <a:gd name="connsiteY592" fmla="*/ 558030 h 780958"/>
                <a:gd name="connsiteX593" fmla="*/ 41225 w 773462"/>
                <a:gd name="connsiteY593" fmla="*/ 557772 h 780958"/>
                <a:gd name="connsiteX594" fmla="*/ 41225 w 773462"/>
                <a:gd name="connsiteY594" fmla="*/ 557255 h 780958"/>
                <a:gd name="connsiteX595" fmla="*/ 41355 w 773462"/>
                <a:gd name="connsiteY595" fmla="*/ 556609 h 780958"/>
                <a:gd name="connsiteX596" fmla="*/ 41613 w 773462"/>
                <a:gd name="connsiteY596" fmla="*/ 556092 h 780958"/>
                <a:gd name="connsiteX597" fmla="*/ 42001 w 773462"/>
                <a:gd name="connsiteY597" fmla="*/ 556092 h 780958"/>
                <a:gd name="connsiteX598" fmla="*/ 43035 w 773462"/>
                <a:gd name="connsiteY598" fmla="*/ 556479 h 780958"/>
                <a:gd name="connsiteX599" fmla="*/ 43422 w 773462"/>
                <a:gd name="connsiteY599" fmla="*/ 556479 h 780958"/>
                <a:gd name="connsiteX600" fmla="*/ 45619 w 773462"/>
                <a:gd name="connsiteY600" fmla="*/ 555704 h 780958"/>
                <a:gd name="connsiteX601" fmla="*/ 47041 w 773462"/>
                <a:gd name="connsiteY601" fmla="*/ 555833 h 780958"/>
                <a:gd name="connsiteX602" fmla="*/ 48463 w 773462"/>
                <a:gd name="connsiteY602" fmla="*/ 556221 h 780958"/>
                <a:gd name="connsiteX603" fmla="*/ 50660 w 773462"/>
                <a:gd name="connsiteY603" fmla="*/ 556350 h 780958"/>
                <a:gd name="connsiteX604" fmla="*/ 51823 w 773462"/>
                <a:gd name="connsiteY604" fmla="*/ 555962 h 780958"/>
                <a:gd name="connsiteX605" fmla="*/ 52598 w 773462"/>
                <a:gd name="connsiteY605" fmla="*/ 555575 h 780958"/>
                <a:gd name="connsiteX606" fmla="*/ 53373 w 773462"/>
                <a:gd name="connsiteY606" fmla="*/ 555316 h 780958"/>
                <a:gd name="connsiteX607" fmla="*/ 54407 w 773462"/>
                <a:gd name="connsiteY607" fmla="*/ 555833 h 780958"/>
                <a:gd name="connsiteX608" fmla="*/ 56087 w 773462"/>
                <a:gd name="connsiteY608" fmla="*/ 560357 h 780958"/>
                <a:gd name="connsiteX609" fmla="*/ 57250 w 773462"/>
                <a:gd name="connsiteY609" fmla="*/ 562683 h 780958"/>
                <a:gd name="connsiteX610" fmla="*/ 58672 w 773462"/>
                <a:gd name="connsiteY610" fmla="*/ 564104 h 780958"/>
                <a:gd name="connsiteX611" fmla="*/ 60610 w 773462"/>
                <a:gd name="connsiteY611" fmla="*/ 564621 h 780958"/>
                <a:gd name="connsiteX612" fmla="*/ 63066 w 773462"/>
                <a:gd name="connsiteY612" fmla="*/ 564233 h 780958"/>
                <a:gd name="connsiteX613" fmla="*/ 64100 w 773462"/>
                <a:gd name="connsiteY613" fmla="*/ 563846 h 780958"/>
                <a:gd name="connsiteX614" fmla="*/ 64487 w 773462"/>
                <a:gd name="connsiteY614" fmla="*/ 563458 h 780958"/>
                <a:gd name="connsiteX615" fmla="*/ 65004 w 773462"/>
                <a:gd name="connsiteY615" fmla="*/ 563329 h 780958"/>
                <a:gd name="connsiteX616" fmla="*/ 66426 w 773462"/>
                <a:gd name="connsiteY616" fmla="*/ 563458 h 780958"/>
                <a:gd name="connsiteX617" fmla="*/ 67201 w 773462"/>
                <a:gd name="connsiteY617" fmla="*/ 563846 h 780958"/>
                <a:gd name="connsiteX618" fmla="*/ 69657 w 773462"/>
                <a:gd name="connsiteY618" fmla="*/ 565526 h 780958"/>
                <a:gd name="connsiteX619" fmla="*/ 73792 w 773462"/>
                <a:gd name="connsiteY619" fmla="*/ 564492 h 780958"/>
                <a:gd name="connsiteX620" fmla="*/ 74826 w 773462"/>
                <a:gd name="connsiteY620" fmla="*/ 564492 h 780958"/>
                <a:gd name="connsiteX621" fmla="*/ 77023 w 773462"/>
                <a:gd name="connsiteY621" fmla="*/ 565397 h 780958"/>
                <a:gd name="connsiteX622" fmla="*/ 78186 w 773462"/>
                <a:gd name="connsiteY622" fmla="*/ 565397 h 780958"/>
                <a:gd name="connsiteX623" fmla="*/ 79737 w 773462"/>
                <a:gd name="connsiteY623" fmla="*/ 566043 h 780958"/>
                <a:gd name="connsiteX624" fmla="*/ 83226 w 773462"/>
                <a:gd name="connsiteY624" fmla="*/ 568240 h 780958"/>
                <a:gd name="connsiteX625" fmla="*/ 83872 w 773462"/>
                <a:gd name="connsiteY625" fmla="*/ 568240 h 780958"/>
                <a:gd name="connsiteX626" fmla="*/ 84260 w 773462"/>
                <a:gd name="connsiteY626" fmla="*/ 567594 h 780958"/>
                <a:gd name="connsiteX627" fmla="*/ 85165 w 773462"/>
                <a:gd name="connsiteY627" fmla="*/ 567852 h 780958"/>
                <a:gd name="connsiteX628" fmla="*/ 86845 w 773462"/>
                <a:gd name="connsiteY628" fmla="*/ 568757 h 780958"/>
                <a:gd name="connsiteX629" fmla="*/ 88008 w 773462"/>
                <a:gd name="connsiteY629" fmla="*/ 568757 h 780958"/>
                <a:gd name="connsiteX630" fmla="*/ 88525 w 773462"/>
                <a:gd name="connsiteY630" fmla="*/ 568110 h 780958"/>
                <a:gd name="connsiteX631" fmla="*/ 88783 w 773462"/>
                <a:gd name="connsiteY631" fmla="*/ 567335 h 780958"/>
                <a:gd name="connsiteX632" fmla="*/ 88913 w 773462"/>
                <a:gd name="connsiteY632" fmla="*/ 567077 h 780958"/>
                <a:gd name="connsiteX633" fmla="*/ 90593 w 773462"/>
                <a:gd name="connsiteY633" fmla="*/ 567206 h 780958"/>
                <a:gd name="connsiteX634" fmla="*/ 95374 w 773462"/>
                <a:gd name="connsiteY634" fmla="*/ 568369 h 780958"/>
                <a:gd name="connsiteX635" fmla="*/ 97442 w 773462"/>
                <a:gd name="connsiteY635" fmla="*/ 567981 h 780958"/>
                <a:gd name="connsiteX636" fmla="*/ 100027 w 773462"/>
                <a:gd name="connsiteY636" fmla="*/ 565784 h 780958"/>
                <a:gd name="connsiteX637" fmla="*/ 101578 w 773462"/>
                <a:gd name="connsiteY637" fmla="*/ 565397 h 780958"/>
                <a:gd name="connsiteX638" fmla="*/ 101965 w 773462"/>
                <a:gd name="connsiteY638" fmla="*/ 565784 h 780958"/>
                <a:gd name="connsiteX639" fmla="*/ 102353 w 773462"/>
                <a:gd name="connsiteY639" fmla="*/ 567594 h 780958"/>
                <a:gd name="connsiteX640" fmla="*/ 103128 w 773462"/>
                <a:gd name="connsiteY640" fmla="*/ 568240 h 780958"/>
                <a:gd name="connsiteX641" fmla="*/ 104033 w 773462"/>
                <a:gd name="connsiteY641" fmla="*/ 568369 h 780958"/>
                <a:gd name="connsiteX642" fmla="*/ 104808 w 773462"/>
                <a:gd name="connsiteY642" fmla="*/ 567981 h 780958"/>
                <a:gd name="connsiteX643" fmla="*/ 105325 w 773462"/>
                <a:gd name="connsiteY643" fmla="*/ 567594 h 780958"/>
                <a:gd name="connsiteX644" fmla="*/ 106230 w 773462"/>
                <a:gd name="connsiteY644" fmla="*/ 567464 h 780958"/>
                <a:gd name="connsiteX645" fmla="*/ 107910 w 773462"/>
                <a:gd name="connsiteY645" fmla="*/ 567723 h 780958"/>
                <a:gd name="connsiteX646" fmla="*/ 111141 w 773462"/>
                <a:gd name="connsiteY646" fmla="*/ 568886 h 780958"/>
                <a:gd name="connsiteX647" fmla="*/ 112175 w 773462"/>
                <a:gd name="connsiteY647" fmla="*/ 569403 h 780958"/>
                <a:gd name="connsiteX648" fmla="*/ 112175 w 773462"/>
                <a:gd name="connsiteY648" fmla="*/ 569661 h 780958"/>
                <a:gd name="connsiteX649" fmla="*/ 112304 w 773462"/>
                <a:gd name="connsiteY649" fmla="*/ 570178 h 780958"/>
                <a:gd name="connsiteX650" fmla="*/ 112821 w 773462"/>
                <a:gd name="connsiteY650" fmla="*/ 570566 h 780958"/>
                <a:gd name="connsiteX651" fmla="*/ 114759 w 773462"/>
                <a:gd name="connsiteY651" fmla="*/ 570954 h 780958"/>
                <a:gd name="connsiteX652" fmla="*/ 115276 w 773462"/>
                <a:gd name="connsiteY652" fmla="*/ 571083 h 780958"/>
                <a:gd name="connsiteX653" fmla="*/ 115922 w 773462"/>
                <a:gd name="connsiteY653" fmla="*/ 571212 h 780958"/>
                <a:gd name="connsiteX654" fmla="*/ 116698 w 773462"/>
                <a:gd name="connsiteY654" fmla="*/ 570824 h 780958"/>
                <a:gd name="connsiteX655" fmla="*/ 118119 w 773462"/>
                <a:gd name="connsiteY655" fmla="*/ 570566 h 780958"/>
                <a:gd name="connsiteX656" fmla="*/ 121479 w 773462"/>
                <a:gd name="connsiteY656" fmla="*/ 570824 h 780958"/>
                <a:gd name="connsiteX657" fmla="*/ 123289 w 773462"/>
                <a:gd name="connsiteY657" fmla="*/ 570695 h 780958"/>
                <a:gd name="connsiteX658" fmla="*/ 125873 w 773462"/>
                <a:gd name="connsiteY658" fmla="*/ 571471 h 780958"/>
                <a:gd name="connsiteX659" fmla="*/ 127036 w 773462"/>
                <a:gd name="connsiteY659" fmla="*/ 571600 h 780958"/>
                <a:gd name="connsiteX660" fmla="*/ 128200 w 773462"/>
                <a:gd name="connsiteY660" fmla="*/ 570824 h 780958"/>
                <a:gd name="connsiteX661" fmla="*/ 128070 w 773462"/>
                <a:gd name="connsiteY661" fmla="*/ 572634 h 780958"/>
                <a:gd name="connsiteX662" fmla="*/ 128716 w 773462"/>
                <a:gd name="connsiteY662" fmla="*/ 573021 h 780958"/>
                <a:gd name="connsiteX663" fmla="*/ 129492 w 773462"/>
                <a:gd name="connsiteY663" fmla="*/ 572892 h 780958"/>
                <a:gd name="connsiteX664" fmla="*/ 130526 w 773462"/>
                <a:gd name="connsiteY664" fmla="*/ 573021 h 780958"/>
                <a:gd name="connsiteX665" fmla="*/ 132464 w 773462"/>
                <a:gd name="connsiteY665" fmla="*/ 573926 h 780958"/>
                <a:gd name="connsiteX666" fmla="*/ 133498 w 773462"/>
                <a:gd name="connsiteY666" fmla="*/ 573926 h 780958"/>
                <a:gd name="connsiteX667" fmla="*/ 134790 w 773462"/>
                <a:gd name="connsiteY667" fmla="*/ 570954 h 780958"/>
                <a:gd name="connsiteX668" fmla="*/ 135954 w 773462"/>
                <a:gd name="connsiteY668" fmla="*/ 572763 h 780958"/>
                <a:gd name="connsiteX669" fmla="*/ 137117 w 773462"/>
                <a:gd name="connsiteY669" fmla="*/ 575606 h 780958"/>
                <a:gd name="connsiteX670" fmla="*/ 137375 w 773462"/>
                <a:gd name="connsiteY670" fmla="*/ 577157 h 780958"/>
                <a:gd name="connsiteX671" fmla="*/ 139831 w 773462"/>
                <a:gd name="connsiteY671" fmla="*/ 577415 h 780958"/>
                <a:gd name="connsiteX672" fmla="*/ 141252 w 773462"/>
                <a:gd name="connsiteY672" fmla="*/ 577028 h 780958"/>
                <a:gd name="connsiteX673" fmla="*/ 141252 w 773462"/>
                <a:gd name="connsiteY673" fmla="*/ 577028 h 780958"/>
                <a:gd name="connsiteX674" fmla="*/ 143708 w 773462"/>
                <a:gd name="connsiteY674" fmla="*/ 574314 h 780958"/>
                <a:gd name="connsiteX675" fmla="*/ 144483 w 773462"/>
                <a:gd name="connsiteY675" fmla="*/ 573280 h 780958"/>
                <a:gd name="connsiteX676" fmla="*/ 144612 w 773462"/>
                <a:gd name="connsiteY676" fmla="*/ 572504 h 780958"/>
                <a:gd name="connsiteX677" fmla="*/ 145000 w 773462"/>
                <a:gd name="connsiteY677" fmla="*/ 572246 h 780958"/>
                <a:gd name="connsiteX678" fmla="*/ 146421 w 773462"/>
                <a:gd name="connsiteY678" fmla="*/ 572763 h 780958"/>
                <a:gd name="connsiteX679" fmla="*/ 147197 w 773462"/>
                <a:gd name="connsiteY679" fmla="*/ 572763 h 780958"/>
                <a:gd name="connsiteX680" fmla="*/ 150686 w 773462"/>
                <a:gd name="connsiteY680" fmla="*/ 571600 h 780958"/>
                <a:gd name="connsiteX681" fmla="*/ 151591 w 773462"/>
                <a:gd name="connsiteY681" fmla="*/ 571858 h 780958"/>
                <a:gd name="connsiteX682" fmla="*/ 151720 w 773462"/>
                <a:gd name="connsiteY682" fmla="*/ 572375 h 780958"/>
                <a:gd name="connsiteX683" fmla="*/ 151849 w 773462"/>
                <a:gd name="connsiteY683" fmla="*/ 572504 h 780958"/>
                <a:gd name="connsiteX684" fmla="*/ 153012 w 773462"/>
                <a:gd name="connsiteY684" fmla="*/ 571858 h 780958"/>
                <a:gd name="connsiteX685" fmla="*/ 153529 w 773462"/>
                <a:gd name="connsiteY685" fmla="*/ 571083 h 780958"/>
                <a:gd name="connsiteX686" fmla="*/ 154305 w 773462"/>
                <a:gd name="connsiteY686" fmla="*/ 569015 h 780958"/>
                <a:gd name="connsiteX687" fmla="*/ 154951 w 773462"/>
                <a:gd name="connsiteY687" fmla="*/ 568498 h 780958"/>
                <a:gd name="connsiteX688" fmla="*/ 156631 w 773462"/>
                <a:gd name="connsiteY688" fmla="*/ 569403 h 780958"/>
                <a:gd name="connsiteX689" fmla="*/ 160379 w 773462"/>
                <a:gd name="connsiteY689" fmla="*/ 573668 h 780958"/>
                <a:gd name="connsiteX690" fmla="*/ 162059 w 773462"/>
                <a:gd name="connsiteY690" fmla="*/ 574055 h 780958"/>
                <a:gd name="connsiteX691" fmla="*/ 162576 w 773462"/>
                <a:gd name="connsiteY691" fmla="*/ 573151 h 780958"/>
                <a:gd name="connsiteX692" fmla="*/ 161413 w 773462"/>
                <a:gd name="connsiteY692" fmla="*/ 571083 h 780958"/>
                <a:gd name="connsiteX693" fmla="*/ 162059 w 773462"/>
                <a:gd name="connsiteY693" fmla="*/ 570307 h 780958"/>
                <a:gd name="connsiteX694" fmla="*/ 163222 w 773462"/>
                <a:gd name="connsiteY694" fmla="*/ 570049 h 780958"/>
                <a:gd name="connsiteX695" fmla="*/ 164127 w 773462"/>
                <a:gd name="connsiteY695" fmla="*/ 569661 h 780958"/>
                <a:gd name="connsiteX696" fmla="*/ 167745 w 773462"/>
                <a:gd name="connsiteY696" fmla="*/ 566947 h 780958"/>
                <a:gd name="connsiteX697" fmla="*/ 168908 w 773462"/>
                <a:gd name="connsiteY697" fmla="*/ 565655 h 780958"/>
                <a:gd name="connsiteX698" fmla="*/ 170717 w 773462"/>
                <a:gd name="connsiteY698" fmla="*/ 562424 h 780958"/>
                <a:gd name="connsiteX699" fmla="*/ 170976 w 773462"/>
                <a:gd name="connsiteY699" fmla="*/ 562166 h 780958"/>
                <a:gd name="connsiteX700" fmla="*/ 171751 w 773462"/>
                <a:gd name="connsiteY700" fmla="*/ 561778 h 780958"/>
                <a:gd name="connsiteX701" fmla="*/ 172139 w 773462"/>
                <a:gd name="connsiteY701" fmla="*/ 561261 h 780958"/>
                <a:gd name="connsiteX702" fmla="*/ 172656 w 773462"/>
                <a:gd name="connsiteY702" fmla="*/ 559452 h 780958"/>
                <a:gd name="connsiteX703" fmla="*/ 173044 w 773462"/>
                <a:gd name="connsiteY703" fmla="*/ 558676 h 780958"/>
                <a:gd name="connsiteX704" fmla="*/ 174724 w 773462"/>
                <a:gd name="connsiteY704" fmla="*/ 556350 h 780958"/>
                <a:gd name="connsiteX705" fmla="*/ 175628 w 773462"/>
                <a:gd name="connsiteY705" fmla="*/ 555316 h 780958"/>
                <a:gd name="connsiteX706" fmla="*/ 176791 w 773462"/>
                <a:gd name="connsiteY706" fmla="*/ 554283 h 780958"/>
                <a:gd name="connsiteX707" fmla="*/ 178601 w 773462"/>
                <a:gd name="connsiteY707" fmla="*/ 553766 h 780958"/>
                <a:gd name="connsiteX708" fmla="*/ 186355 w 773462"/>
                <a:gd name="connsiteY708" fmla="*/ 552344 h 780958"/>
                <a:gd name="connsiteX709" fmla="*/ 187776 w 773462"/>
                <a:gd name="connsiteY709" fmla="*/ 552473 h 780958"/>
                <a:gd name="connsiteX710" fmla="*/ 188939 w 773462"/>
                <a:gd name="connsiteY710" fmla="*/ 553636 h 780958"/>
                <a:gd name="connsiteX711" fmla="*/ 191783 w 773462"/>
                <a:gd name="connsiteY711" fmla="*/ 560744 h 780958"/>
                <a:gd name="connsiteX712" fmla="*/ 194238 w 773462"/>
                <a:gd name="connsiteY712" fmla="*/ 564492 h 780958"/>
                <a:gd name="connsiteX713" fmla="*/ 197598 w 773462"/>
                <a:gd name="connsiteY713" fmla="*/ 567594 h 780958"/>
                <a:gd name="connsiteX714" fmla="*/ 203543 w 773462"/>
                <a:gd name="connsiteY714" fmla="*/ 571212 h 780958"/>
                <a:gd name="connsiteX715" fmla="*/ 206644 w 773462"/>
                <a:gd name="connsiteY715" fmla="*/ 574314 h 780958"/>
                <a:gd name="connsiteX716" fmla="*/ 208583 w 773462"/>
                <a:gd name="connsiteY716" fmla="*/ 575477 h 780958"/>
                <a:gd name="connsiteX717" fmla="*/ 210392 w 773462"/>
                <a:gd name="connsiteY717" fmla="*/ 575865 h 780958"/>
                <a:gd name="connsiteX718" fmla="*/ 228872 w 773462"/>
                <a:gd name="connsiteY718" fmla="*/ 576769 h 780958"/>
                <a:gd name="connsiteX719" fmla="*/ 230294 w 773462"/>
                <a:gd name="connsiteY719" fmla="*/ 576381 h 780958"/>
                <a:gd name="connsiteX720" fmla="*/ 231586 w 773462"/>
                <a:gd name="connsiteY720" fmla="*/ 575606 h 780958"/>
                <a:gd name="connsiteX721" fmla="*/ 233008 w 773462"/>
                <a:gd name="connsiteY721" fmla="*/ 576381 h 780958"/>
                <a:gd name="connsiteX722" fmla="*/ 234559 w 773462"/>
                <a:gd name="connsiteY722" fmla="*/ 577545 h 780958"/>
                <a:gd name="connsiteX723" fmla="*/ 236239 w 773462"/>
                <a:gd name="connsiteY723" fmla="*/ 578449 h 780958"/>
                <a:gd name="connsiteX724" fmla="*/ 242959 w 773462"/>
                <a:gd name="connsiteY724" fmla="*/ 579095 h 780958"/>
                <a:gd name="connsiteX725" fmla="*/ 244898 w 773462"/>
                <a:gd name="connsiteY725" fmla="*/ 580258 h 780958"/>
                <a:gd name="connsiteX726" fmla="*/ 245156 w 773462"/>
                <a:gd name="connsiteY726" fmla="*/ 579483 h 780958"/>
                <a:gd name="connsiteX727" fmla="*/ 246319 w 773462"/>
                <a:gd name="connsiteY727" fmla="*/ 577028 h 780958"/>
                <a:gd name="connsiteX728" fmla="*/ 251747 w 773462"/>
                <a:gd name="connsiteY728" fmla="*/ 584394 h 780958"/>
                <a:gd name="connsiteX729" fmla="*/ 256012 w 773462"/>
                <a:gd name="connsiteY729" fmla="*/ 587625 h 780958"/>
                <a:gd name="connsiteX730" fmla="*/ 257175 w 773462"/>
                <a:gd name="connsiteY730" fmla="*/ 588788 h 780958"/>
                <a:gd name="connsiteX731" fmla="*/ 258079 w 773462"/>
                <a:gd name="connsiteY731" fmla="*/ 591631 h 780958"/>
                <a:gd name="connsiteX732" fmla="*/ 258467 w 773462"/>
                <a:gd name="connsiteY732" fmla="*/ 601324 h 780958"/>
                <a:gd name="connsiteX733" fmla="*/ 259113 w 773462"/>
                <a:gd name="connsiteY733" fmla="*/ 605588 h 780958"/>
                <a:gd name="connsiteX734" fmla="*/ 261052 w 773462"/>
                <a:gd name="connsiteY734" fmla="*/ 609336 h 780958"/>
                <a:gd name="connsiteX735" fmla="*/ 263765 w 773462"/>
                <a:gd name="connsiteY735" fmla="*/ 612308 h 780958"/>
                <a:gd name="connsiteX736" fmla="*/ 267384 w 773462"/>
                <a:gd name="connsiteY736" fmla="*/ 614247 h 780958"/>
                <a:gd name="connsiteX737" fmla="*/ 269581 w 773462"/>
                <a:gd name="connsiteY737" fmla="*/ 615022 h 780958"/>
                <a:gd name="connsiteX738" fmla="*/ 271003 w 773462"/>
                <a:gd name="connsiteY738" fmla="*/ 615927 h 780958"/>
                <a:gd name="connsiteX739" fmla="*/ 271778 w 773462"/>
                <a:gd name="connsiteY739" fmla="*/ 617219 h 780958"/>
                <a:gd name="connsiteX740" fmla="*/ 272036 w 773462"/>
                <a:gd name="connsiteY740" fmla="*/ 619675 h 780958"/>
                <a:gd name="connsiteX741" fmla="*/ 272036 w 773462"/>
                <a:gd name="connsiteY741" fmla="*/ 620579 h 780958"/>
                <a:gd name="connsiteX742" fmla="*/ 271390 w 773462"/>
                <a:gd name="connsiteY742" fmla="*/ 622388 h 780958"/>
                <a:gd name="connsiteX743" fmla="*/ 271261 w 773462"/>
                <a:gd name="connsiteY743" fmla="*/ 623422 h 780958"/>
                <a:gd name="connsiteX744" fmla="*/ 271520 w 773462"/>
                <a:gd name="connsiteY744" fmla="*/ 624456 h 780958"/>
                <a:gd name="connsiteX745" fmla="*/ 272295 w 773462"/>
                <a:gd name="connsiteY745" fmla="*/ 626266 h 780958"/>
                <a:gd name="connsiteX746" fmla="*/ 272295 w 773462"/>
                <a:gd name="connsiteY746" fmla="*/ 627299 h 780958"/>
                <a:gd name="connsiteX747" fmla="*/ 271261 w 773462"/>
                <a:gd name="connsiteY747" fmla="*/ 631176 h 780958"/>
                <a:gd name="connsiteX748" fmla="*/ 269323 w 773462"/>
                <a:gd name="connsiteY748" fmla="*/ 634536 h 780958"/>
                <a:gd name="connsiteX749" fmla="*/ 268030 w 773462"/>
                <a:gd name="connsiteY749" fmla="*/ 638026 h 780958"/>
                <a:gd name="connsiteX750" fmla="*/ 268289 w 773462"/>
                <a:gd name="connsiteY750" fmla="*/ 642291 h 780958"/>
                <a:gd name="connsiteX751" fmla="*/ 270615 w 773462"/>
                <a:gd name="connsiteY751" fmla="*/ 651208 h 780958"/>
                <a:gd name="connsiteX752" fmla="*/ 270615 w 773462"/>
                <a:gd name="connsiteY752" fmla="*/ 653275 h 780958"/>
                <a:gd name="connsiteX753" fmla="*/ 269969 w 773462"/>
                <a:gd name="connsiteY753" fmla="*/ 657152 h 780958"/>
                <a:gd name="connsiteX754" fmla="*/ 270227 w 773462"/>
                <a:gd name="connsiteY754" fmla="*/ 659091 h 780958"/>
                <a:gd name="connsiteX755" fmla="*/ 273070 w 773462"/>
                <a:gd name="connsiteY755" fmla="*/ 662322 h 780958"/>
                <a:gd name="connsiteX756" fmla="*/ 274233 w 773462"/>
                <a:gd name="connsiteY756" fmla="*/ 664131 h 780958"/>
                <a:gd name="connsiteX757" fmla="*/ 274750 w 773462"/>
                <a:gd name="connsiteY757" fmla="*/ 666457 h 780958"/>
                <a:gd name="connsiteX758" fmla="*/ 274233 w 773462"/>
                <a:gd name="connsiteY758" fmla="*/ 670593 h 780958"/>
                <a:gd name="connsiteX759" fmla="*/ 274363 w 773462"/>
                <a:gd name="connsiteY759" fmla="*/ 672531 h 780958"/>
                <a:gd name="connsiteX760" fmla="*/ 275526 w 773462"/>
                <a:gd name="connsiteY760" fmla="*/ 674082 h 780958"/>
                <a:gd name="connsiteX761" fmla="*/ 278498 w 773462"/>
                <a:gd name="connsiteY761" fmla="*/ 675891 h 780958"/>
                <a:gd name="connsiteX762" fmla="*/ 278886 w 773462"/>
                <a:gd name="connsiteY762" fmla="*/ 676925 h 780958"/>
                <a:gd name="connsiteX763" fmla="*/ 281212 w 773462"/>
                <a:gd name="connsiteY763" fmla="*/ 685454 h 780958"/>
                <a:gd name="connsiteX764" fmla="*/ 281212 w 773462"/>
                <a:gd name="connsiteY764" fmla="*/ 687393 h 780958"/>
                <a:gd name="connsiteX765" fmla="*/ 278627 w 773462"/>
                <a:gd name="connsiteY765" fmla="*/ 692692 h 780958"/>
                <a:gd name="connsiteX766" fmla="*/ 278369 w 773462"/>
                <a:gd name="connsiteY766" fmla="*/ 694630 h 780958"/>
                <a:gd name="connsiteX767" fmla="*/ 279015 w 773462"/>
                <a:gd name="connsiteY767" fmla="*/ 697215 h 780958"/>
                <a:gd name="connsiteX768" fmla="*/ 282375 w 773462"/>
                <a:gd name="connsiteY768" fmla="*/ 700704 h 780958"/>
                <a:gd name="connsiteX769" fmla="*/ 283538 w 773462"/>
                <a:gd name="connsiteY769" fmla="*/ 702901 h 780958"/>
                <a:gd name="connsiteX770" fmla="*/ 283280 w 773462"/>
                <a:gd name="connsiteY770" fmla="*/ 706520 h 780958"/>
                <a:gd name="connsiteX771" fmla="*/ 280437 w 773462"/>
                <a:gd name="connsiteY771" fmla="*/ 712981 h 780958"/>
                <a:gd name="connsiteX772" fmla="*/ 280695 w 773462"/>
                <a:gd name="connsiteY772" fmla="*/ 716987 h 780958"/>
                <a:gd name="connsiteX773" fmla="*/ 281341 w 773462"/>
                <a:gd name="connsiteY773" fmla="*/ 720477 h 780958"/>
                <a:gd name="connsiteX774" fmla="*/ 281471 w 773462"/>
                <a:gd name="connsiteY774" fmla="*/ 720865 h 780958"/>
                <a:gd name="connsiteX775" fmla="*/ 281341 w 773462"/>
                <a:gd name="connsiteY775" fmla="*/ 725000 h 780958"/>
                <a:gd name="connsiteX776" fmla="*/ 281729 w 773462"/>
                <a:gd name="connsiteY776" fmla="*/ 728877 h 780958"/>
                <a:gd name="connsiteX777" fmla="*/ 283797 w 773462"/>
                <a:gd name="connsiteY777" fmla="*/ 731979 h 780958"/>
                <a:gd name="connsiteX778" fmla="*/ 288578 w 773462"/>
                <a:gd name="connsiteY778" fmla="*/ 737019 h 780958"/>
                <a:gd name="connsiteX779" fmla="*/ 290905 w 773462"/>
                <a:gd name="connsiteY779" fmla="*/ 744256 h 780958"/>
                <a:gd name="connsiteX780" fmla="*/ 292455 w 773462"/>
                <a:gd name="connsiteY780" fmla="*/ 766742 h 780958"/>
                <a:gd name="connsiteX781" fmla="*/ 293489 w 773462"/>
                <a:gd name="connsiteY781" fmla="*/ 769715 h 780958"/>
                <a:gd name="connsiteX782" fmla="*/ 295945 w 773462"/>
                <a:gd name="connsiteY782" fmla="*/ 772299 h 780958"/>
                <a:gd name="connsiteX783" fmla="*/ 299176 w 773462"/>
                <a:gd name="connsiteY783" fmla="*/ 773850 h 780958"/>
                <a:gd name="connsiteX784" fmla="*/ 305896 w 773462"/>
                <a:gd name="connsiteY784" fmla="*/ 774367 h 780958"/>
                <a:gd name="connsiteX785" fmla="*/ 309385 w 773462"/>
                <a:gd name="connsiteY785" fmla="*/ 775143 h 780958"/>
                <a:gd name="connsiteX786" fmla="*/ 309385 w 773462"/>
                <a:gd name="connsiteY786" fmla="*/ 775143 h 780958"/>
                <a:gd name="connsiteX787" fmla="*/ 309385 w 773462"/>
                <a:gd name="connsiteY787" fmla="*/ 775143 h 780958"/>
                <a:gd name="connsiteX788" fmla="*/ 309385 w 773462"/>
                <a:gd name="connsiteY788" fmla="*/ 775143 h 780958"/>
                <a:gd name="connsiteX789" fmla="*/ 309385 w 773462"/>
                <a:gd name="connsiteY789" fmla="*/ 775143 h 780958"/>
                <a:gd name="connsiteX790" fmla="*/ 313133 w 773462"/>
                <a:gd name="connsiteY790" fmla="*/ 776564 h 780958"/>
                <a:gd name="connsiteX791" fmla="*/ 317010 w 773462"/>
                <a:gd name="connsiteY791" fmla="*/ 777340 h 780958"/>
                <a:gd name="connsiteX792" fmla="*/ 320758 w 773462"/>
                <a:gd name="connsiteY792" fmla="*/ 776952 h 780958"/>
                <a:gd name="connsiteX793" fmla="*/ 324505 w 773462"/>
                <a:gd name="connsiteY793" fmla="*/ 775143 h 780958"/>
                <a:gd name="connsiteX794" fmla="*/ 324505 w 773462"/>
                <a:gd name="connsiteY794" fmla="*/ 775143 h 780958"/>
                <a:gd name="connsiteX795" fmla="*/ 324505 w 773462"/>
                <a:gd name="connsiteY795" fmla="*/ 775143 h 780958"/>
                <a:gd name="connsiteX796" fmla="*/ 327219 w 773462"/>
                <a:gd name="connsiteY796" fmla="*/ 773721 h 780958"/>
                <a:gd name="connsiteX797" fmla="*/ 333939 w 773462"/>
                <a:gd name="connsiteY797" fmla="*/ 773721 h 780958"/>
                <a:gd name="connsiteX798" fmla="*/ 337299 w 773462"/>
                <a:gd name="connsiteY798" fmla="*/ 772816 h 780958"/>
                <a:gd name="connsiteX799" fmla="*/ 339109 w 773462"/>
                <a:gd name="connsiteY799" fmla="*/ 771912 h 780958"/>
                <a:gd name="connsiteX800" fmla="*/ 342727 w 773462"/>
                <a:gd name="connsiteY800" fmla="*/ 771783 h 780958"/>
                <a:gd name="connsiteX801" fmla="*/ 344536 w 773462"/>
                <a:gd name="connsiteY801" fmla="*/ 771524 h 780958"/>
                <a:gd name="connsiteX802" fmla="*/ 346346 w 773462"/>
                <a:gd name="connsiteY802" fmla="*/ 770361 h 780958"/>
                <a:gd name="connsiteX803" fmla="*/ 348672 w 773462"/>
                <a:gd name="connsiteY803" fmla="*/ 767259 h 780958"/>
                <a:gd name="connsiteX804" fmla="*/ 350094 w 773462"/>
                <a:gd name="connsiteY804" fmla="*/ 765838 h 780958"/>
                <a:gd name="connsiteX805" fmla="*/ 356943 w 773462"/>
                <a:gd name="connsiteY805" fmla="*/ 761832 h 780958"/>
                <a:gd name="connsiteX806" fmla="*/ 371029 w 773462"/>
                <a:gd name="connsiteY806" fmla="*/ 757050 h 780958"/>
                <a:gd name="connsiteX807" fmla="*/ 372839 w 773462"/>
                <a:gd name="connsiteY807" fmla="*/ 756016 h 780958"/>
                <a:gd name="connsiteX808" fmla="*/ 375553 w 773462"/>
                <a:gd name="connsiteY808" fmla="*/ 753044 h 780958"/>
                <a:gd name="connsiteX809" fmla="*/ 377103 w 773462"/>
                <a:gd name="connsiteY809" fmla="*/ 752268 h 780958"/>
                <a:gd name="connsiteX810" fmla="*/ 379947 w 773462"/>
                <a:gd name="connsiteY810" fmla="*/ 753044 h 780958"/>
                <a:gd name="connsiteX811" fmla="*/ 398168 w 773462"/>
                <a:gd name="connsiteY811" fmla="*/ 763382 h 780958"/>
                <a:gd name="connsiteX812" fmla="*/ 400236 w 773462"/>
                <a:gd name="connsiteY812" fmla="*/ 765062 h 780958"/>
                <a:gd name="connsiteX813" fmla="*/ 406181 w 773462"/>
                <a:gd name="connsiteY813" fmla="*/ 773333 h 780958"/>
                <a:gd name="connsiteX814" fmla="*/ 416261 w 773462"/>
                <a:gd name="connsiteY814" fmla="*/ 779278 h 780958"/>
                <a:gd name="connsiteX815" fmla="*/ 419233 w 773462"/>
                <a:gd name="connsiteY815" fmla="*/ 780958 h 780958"/>
                <a:gd name="connsiteX816" fmla="*/ 423628 w 773462"/>
                <a:gd name="connsiteY816" fmla="*/ 778632 h 780958"/>
                <a:gd name="connsiteX817" fmla="*/ 425695 w 773462"/>
                <a:gd name="connsiteY817" fmla="*/ 777081 h 780958"/>
                <a:gd name="connsiteX818" fmla="*/ 426600 w 773462"/>
                <a:gd name="connsiteY818" fmla="*/ 775659 h 780958"/>
                <a:gd name="connsiteX819" fmla="*/ 435000 w 773462"/>
                <a:gd name="connsiteY819" fmla="*/ 771266 h 780958"/>
                <a:gd name="connsiteX820" fmla="*/ 437326 w 773462"/>
                <a:gd name="connsiteY820" fmla="*/ 769198 h 780958"/>
                <a:gd name="connsiteX821" fmla="*/ 438102 w 773462"/>
                <a:gd name="connsiteY821" fmla="*/ 764028 h 780958"/>
                <a:gd name="connsiteX822" fmla="*/ 438360 w 773462"/>
                <a:gd name="connsiteY822" fmla="*/ 753690 h 780958"/>
                <a:gd name="connsiteX823" fmla="*/ 439394 w 773462"/>
                <a:gd name="connsiteY823" fmla="*/ 748779 h 780958"/>
                <a:gd name="connsiteX824" fmla="*/ 442754 w 773462"/>
                <a:gd name="connsiteY824" fmla="*/ 739862 h 780958"/>
                <a:gd name="connsiteX825" fmla="*/ 443659 w 773462"/>
                <a:gd name="connsiteY825" fmla="*/ 732883 h 780958"/>
                <a:gd name="connsiteX826" fmla="*/ 448569 w 773462"/>
                <a:gd name="connsiteY826" fmla="*/ 715566 h 780958"/>
                <a:gd name="connsiteX827" fmla="*/ 448569 w 773462"/>
                <a:gd name="connsiteY827" fmla="*/ 711430 h 780958"/>
                <a:gd name="connsiteX828" fmla="*/ 448957 w 773462"/>
                <a:gd name="connsiteY828" fmla="*/ 710397 h 780958"/>
                <a:gd name="connsiteX829" fmla="*/ 451154 w 773462"/>
                <a:gd name="connsiteY829" fmla="*/ 708200 h 780958"/>
                <a:gd name="connsiteX830" fmla="*/ 460330 w 773462"/>
                <a:gd name="connsiteY830" fmla="*/ 704452 h 780958"/>
                <a:gd name="connsiteX831" fmla="*/ 471961 w 773462"/>
                <a:gd name="connsiteY831" fmla="*/ 696956 h 780958"/>
                <a:gd name="connsiteX832" fmla="*/ 474933 w 773462"/>
                <a:gd name="connsiteY832" fmla="*/ 693338 h 780958"/>
                <a:gd name="connsiteX833" fmla="*/ 477130 w 773462"/>
                <a:gd name="connsiteY833" fmla="*/ 688944 h 780958"/>
                <a:gd name="connsiteX834" fmla="*/ 480232 w 773462"/>
                <a:gd name="connsiteY834" fmla="*/ 680027 h 780958"/>
                <a:gd name="connsiteX835" fmla="*/ 482299 w 773462"/>
                <a:gd name="connsiteY835" fmla="*/ 675762 h 780958"/>
                <a:gd name="connsiteX836" fmla="*/ 483980 w 773462"/>
                <a:gd name="connsiteY836" fmla="*/ 671239 h 780958"/>
                <a:gd name="connsiteX837" fmla="*/ 484884 w 773462"/>
                <a:gd name="connsiteY837" fmla="*/ 661159 h 780958"/>
                <a:gd name="connsiteX838" fmla="*/ 485918 w 773462"/>
                <a:gd name="connsiteY838" fmla="*/ 656894 h 780958"/>
                <a:gd name="connsiteX839" fmla="*/ 488761 w 773462"/>
                <a:gd name="connsiteY839" fmla="*/ 649786 h 780958"/>
                <a:gd name="connsiteX840" fmla="*/ 490054 w 773462"/>
                <a:gd name="connsiteY840" fmla="*/ 647718 h 780958"/>
                <a:gd name="connsiteX841" fmla="*/ 493414 w 773462"/>
                <a:gd name="connsiteY841" fmla="*/ 644229 h 780958"/>
                <a:gd name="connsiteX842" fmla="*/ 501297 w 773462"/>
                <a:gd name="connsiteY842" fmla="*/ 639447 h 780958"/>
                <a:gd name="connsiteX843" fmla="*/ 534639 w 773462"/>
                <a:gd name="connsiteY843" fmla="*/ 624586 h 780958"/>
                <a:gd name="connsiteX844" fmla="*/ 537999 w 773462"/>
                <a:gd name="connsiteY844" fmla="*/ 621613 h 780958"/>
                <a:gd name="connsiteX845" fmla="*/ 540972 w 773462"/>
                <a:gd name="connsiteY845" fmla="*/ 617995 h 780958"/>
                <a:gd name="connsiteX846" fmla="*/ 546916 w 773462"/>
                <a:gd name="connsiteY846" fmla="*/ 606493 h 780958"/>
                <a:gd name="connsiteX847" fmla="*/ 547433 w 773462"/>
                <a:gd name="connsiteY847" fmla="*/ 605717 h 780958"/>
                <a:gd name="connsiteX848" fmla="*/ 548725 w 773462"/>
                <a:gd name="connsiteY848" fmla="*/ 605330 h 780958"/>
                <a:gd name="connsiteX849" fmla="*/ 550276 w 773462"/>
                <a:gd name="connsiteY849" fmla="*/ 604942 h 780958"/>
                <a:gd name="connsiteX850" fmla="*/ 551310 w 773462"/>
                <a:gd name="connsiteY850" fmla="*/ 604554 h 780958"/>
                <a:gd name="connsiteX851" fmla="*/ 552215 w 773462"/>
                <a:gd name="connsiteY851" fmla="*/ 603391 h 780958"/>
                <a:gd name="connsiteX852" fmla="*/ 554024 w 773462"/>
                <a:gd name="connsiteY852" fmla="*/ 599643 h 780958"/>
                <a:gd name="connsiteX853" fmla="*/ 556092 w 773462"/>
                <a:gd name="connsiteY853" fmla="*/ 596542 h 780958"/>
                <a:gd name="connsiteX854" fmla="*/ 556867 w 773462"/>
                <a:gd name="connsiteY854" fmla="*/ 596025 h 780958"/>
                <a:gd name="connsiteX855" fmla="*/ 557772 w 773462"/>
                <a:gd name="connsiteY855" fmla="*/ 596800 h 780958"/>
                <a:gd name="connsiteX856" fmla="*/ 559323 w 773462"/>
                <a:gd name="connsiteY856" fmla="*/ 596800 h 780958"/>
                <a:gd name="connsiteX857" fmla="*/ 561261 w 773462"/>
                <a:gd name="connsiteY857" fmla="*/ 596154 h 780958"/>
                <a:gd name="connsiteX858" fmla="*/ 569403 w 773462"/>
                <a:gd name="connsiteY858" fmla="*/ 592148 h 780958"/>
                <a:gd name="connsiteX859" fmla="*/ 569920 w 773462"/>
                <a:gd name="connsiteY859" fmla="*/ 591502 h 780958"/>
                <a:gd name="connsiteX860" fmla="*/ 571083 w 773462"/>
                <a:gd name="connsiteY860" fmla="*/ 588788 h 780958"/>
                <a:gd name="connsiteX861" fmla="*/ 571600 w 773462"/>
                <a:gd name="connsiteY861" fmla="*/ 588013 h 780958"/>
                <a:gd name="connsiteX862" fmla="*/ 572246 w 773462"/>
                <a:gd name="connsiteY862" fmla="*/ 587495 h 780958"/>
                <a:gd name="connsiteX863" fmla="*/ 582197 w 773462"/>
                <a:gd name="connsiteY863" fmla="*/ 581421 h 780958"/>
                <a:gd name="connsiteX864" fmla="*/ 585557 w 773462"/>
                <a:gd name="connsiteY864" fmla="*/ 578578 h 780958"/>
                <a:gd name="connsiteX865" fmla="*/ 587237 w 773462"/>
                <a:gd name="connsiteY865" fmla="*/ 577545 h 780958"/>
                <a:gd name="connsiteX866" fmla="*/ 593182 w 773462"/>
                <a:gd name="connsiteY866" fmla="*/ 575218 h 780958"/>
                <a:gd name="connsiteX867" fmla="*/ 596671 w 773462"/>
                <a:gd name="connsiteY867" fmla="*/ 572375 h 780958"/>
                <a:gd name="connsiteX868" fmla="*/ 598610 w 773462"/>
                <a:gd name="connsiteY868" fmla="*/ 571212 h 780958"/>
                <a:gd name="connsiteX869" fmla="*/ 599773 w 773462"/>
                <a:gd name="connsiteY869" fmla="*/ 570824 h 780958"/>
                <a:gd name="connsiteX870" fmla="*/ 601970 w 773462"/>
                <a:gd name="connsiteY870" fmla="*/ 570437 h 780958"/>
                <a:gd name="connsiteX871" fmla="*/ 603004 w 773462"/>
                <a:gd name="connsiteY871" fmla="*/ 570178 h 780958"/>
                <a:gd name="connsiteX872" fmla="*/ 604037 w 773462"/>
                <a:gd name="connsiteY872" fmla="*/ 569403 h 780958"/>
                <a:gd name="connsiteX873" fmla="*/ 606622 w 773462"/>
                <a:gd name="connsiteY873" fmla="*/ 566689 h 780958"/>
                <a:gd name="connsiteX874" fmla="*/ 607398 w 773462"/>
                <a:gd name="connsiteY874" fmla="*/ 566172 h 780958"/>
                <a:gd name="connsiteX875" fmla="*/ 610111 w 773462"/>
                <a:gd name="connsiteY875" fmla="*/ 564880 h 780958"/>
                <a:gd name="connsiteX876" fmla="*/ 610887 w 773462"/>
                <a:gd name="connsiteY876" fmla="*/ 564104 h 780958"/>
                <a:gd name="connsiteX877" fmla="*/ 612696 w 773462"/>
                <a:gd name="connsiteY877" fmla="*/ 561778 h 780958"/>
                <a:gd name="connsiteX878" fmla="*/ 620062 w 773462"/>
                <a:gd name="connsiteY878" fmla="*/ 555187 h 780958"/>
                <a:gd name="connsiteX879" fmla="*/ 620579 w 773462"/>
                <a:gd name="connsiteY879" fmla="*/ 554283 h 780958"/>
                <a:gd name="connsiteX880" fmla="*/ 621226 w 773462"/>
                <a:gd name="connsiteY880" fmla="*/ 551310 h 780958"/>
                <a:gd name="connsiteX881" fmla="*/ 621613 w 773462"/>
                <a:gd name="connsiteY881" fmla="*/ 550276 h 780958"/>
                <a:gd name="connsiteX882" fmla="*/ 624844 w 773462"/>
                <a:gd name="connsiteY882" fmla="*/ 543685 h 780958"/>
                <a:gd name="connsiteX883" fmla="*/ 625361 w 773462"/>
                <a:gd name="connsiteY883" fmla="*/ 542005 h 780958"/>
                <a:gd name="connsiteX884" fmla="*/ 625749 w 773462"/>
                <a:gd name="connsiteY884" fmla="*/ 538516 h 780958"/>
                <a:gd name="connsiteX885" fmla="*/ 626007 w 773462"/>
                <a:gd name="connsiteY885" fmla="*/ 536965 h 780958"/>
                <a:gd name="connsiteX886" fmla="*/ 627170 w 773462"/>
                <a:gd name="connsiteY886" fmla="*/ 535156 h 780958"/>
                <a:gd name="connsiteX887" fmla="*/ 632598 w 773462"/>
                <a:gd name="connsiteY887" fmla="*/ 529987 h 780958"/>
                <a:gd name="connsiteX888" fmla="*/ 633373 w 773462"/>
                <a:gd name="connsiteY888" fmla="*/ 529470 h 780958"/>
                <a:gd name="connsiteX889" fmla="*/ 635312 w 773462"/>
                <a:gd name="connsiteY889" fmla="*/ 528694 h 780958"/>
                <a:gd name="connsiteX890" fmla="*/ 636346 w 773462"/>
                <a:gd name="connsiteY890" fmla="*/ 528048 h 780958"/>
                <a:gd name="connsiteX891" fmla="*/ 637380 w 773462"/>
                <a:gd name="connsiteY891" fmla="*/ 527014 h 780958"/>
                <a:gd name="connsiteX892" fmla="*/ 638155 w 773462"/>
                <a:gd name="connsiteY892" fmla="*/ 525722 h 780958"/>
                <a:gd name="connsiteX893" fmla="*/ 638801 w 773462"/>
                <a:gd name="connsiteY893" fmla="*/ 524430 h 780958"/>
                <a:gd name="connsiteX894" fmla="*/ 639318 w 773462"/>
                <a:gd name="connsiteY894" fmla="*/ 523137 h 780958"/>
                <a:gd name="connsiteX895" fmla="*/ 639447 w 773462"/>
                <a:gd name="connsiteY895" fmla="*/ 520811 h 780958"/>
                <a:gd name="connsiteX896" fmla="*/ 639835 w 773462"/>
                <a:gd name="connsiteY896" fmla="*/ 519519 h 780958"/>
                <a:gd name="connsiteX897" fmla="*/ 643325 w 773462"/>
                <a:gd name="connsiteY897" fmla="*/ 513832 h 780958"/>
                <a:gd name="connsiteX898" fmla="*/ 644875 w 773462"/>
                <a:gd name="connsiteY898" fmla="*/ 512928 h 780958"/>
                <a:gd name="connsiteX899" fmla="*/ 648623 w 773462"/>
                <a:gd name="connsiteY899" fmla="*/ 511248 h 780958"/>
                <a:gd name="connsiteX900" fmla="*/ 651208 w 773462"/>
                <a:gd name="connsiteY900" fmla="*/ 509438 h 780958"/>
                <a:gd name="connsiteX901" fmla="*/ 653146 w 773462"/>
                <a:gd name="connsiteY901" fmla="*/ 507629 h 780958"/>
                <a:gd name="connsiteX902" fmla="*/ 654955 w 773462"/>
                <a:gd name="connsiteY902" fmla="*/ 505561 h 780958"/>
                <a:gd name="connsiteX903" fmla="*/ 655343 w 773462"/>
                <a:gd name="connsiteY903" fmla="*/ 502977 h 780958"/>
                <a:gd name="connsiteX904" fmla="*/ 655214 w 773462"/>
                <a:gd name="connsiteY904" fmla="*/ 502201 h 780958"/>
                <a:gd name="connsiteX905" fmla="*/ 654180 w 773462"/>
                <a:gd name="connsiteY905" fmla="*/ 500651 h 780958"/>
                <a:gd name="connsiteX906" fmla="*/ 652888 w 773462"/>
                <a:gd name="connsiteY906" fmla="*/ 500134 h 780958"/>
                <a:gd name="connsiteX907" fmla="*/ 648235 w 773462"/>
                <a:gd name="connsiteY907" fmla="*/ 492250 h 780958"/>
                <a:gd name="connsiteX908" fmla="*/ 648494 w 773462"/>
                <a:gd name="connsiteY908" fmla="*/ 489149 h 780958"/>
                <a:gd name="connsiteX909" fmla="*/ 648881 w 773462"/>
                <a:gd name="connsiteY909" fmla="*/ 488890 h 780958"/>
                <a:gd name="connsiteX910" fmla="*/ 649786 w 773462"/>
                <a:gd name="connsiteY910" fmla="*/ 488632 h 780958"/>
                <a:gd name="connsiteX911" fmla="*/ 650174 w 773462"/>
                <a:gd name="connsiteY911" fmla="*/ 488244 h 780958"/>
                <a:gd name="connsiteX912" fmla="*/ 650562 w 773462"/>
                <a:gd name="connsiteY912" fmla="*/ 487727 h 780958"/>
                <a:gd name="connsiteX913" fmla="*/ 650562 w 773462"/>
                <a:gd name="connsiteY913" fmla="*/ 487210 h 780958"/>
                <a:gd name="connsiteX914" fmla="*/ 650691 w 773462"/>
                <a:gd name="connsiteY914" fmla="*/ 486693 h 780958"/>
                <a:gd name="connsiteX915" fmla="*/ 650691 w 773462"/>
                <a:gd name="connsiteY915" fmla="*/ 486047 h 780958"/>
                <a:gd name="connsiteX916" fmla="*/ 651337 w 773462"/>
                <a:gd name="connsiteY916" fmla="*/ 484884 h 780958"/>
                <a:gd name="connsiteX917" fmla="*/ 652112 w 773462"/>
                <a:gd name="connsiteY917" fmla="*/ 484238 h 780958"/>
                <a:gd name="connsiteX918" fmla="*/ 653017 w 773462"/>
                <a:gd name="connsiteY918" fmla="*/ 483979 h 780958"/>
                <a:gd name="connsiteX919" fmla="*/ 654309 w 773462"/>
                <a:gd name="connsiteY919" fmla="*/ 483979 h 780958"/>
                <a:gd name="connsiteX920" fmla="*/ 656377 w 773462"/>
                <a:gd name="connsiteY920" fmla="*/ 484238 h 780958"/>
                <a:gd name="connsiteX921" fmla="*/ 658057 w 773462"/>
                <a:gd name="connsiteY921" fmla="*/ 484626 h 780958"/>
                <a:gd name="connsiteX922" fmla="*/ 659737 w 773462"/>
                <a:gd name="connsiteY922" fmla="*/ 484755 h 780958"/>
                <a:gd name="connsiteX923" fmla="*/ 661676 w 773462"/>
                <a:gd name="connsiteY923" fmla="*/ 484109 h 780958"/>
                <a:gd name="connsiteX924" fmla="*/ 663356 w 773462"/>
                <a:gd name="connsiteY924" fmla="*/ 482687 h 780958"/>
                <a:gd name="connsiteX925" fmla="*/ 666457 w 773462"/>
                <a:gd name="connsiteY925" fmla="*/ 477647 h 780958"/>
                <a:gd name="connsiteX926" fmla="*/ 667362 w 773462"/>
                <a:gd name="connsiteY926" fmla="*/ 475321 h 780958"/>
                <a:gd name="connsiteX927" fmla="*/ 673824 w 773462"/>
                <a:gd name="connsiteY927" fmla="*/ 468601 h 780958"/>
                <a:gd name="connsiteX928" fmla="*/ 675504 w 773462"/>
                <a:gd name="connsiteY928" fmla="*/ 463431 h 780958"/>
                <a:gd name="connsiteX929" fmla="*/ 675116 w 773462"/>
                <a:gd name="connsiteY929" fmla="*/ 458779 h 780958"/>
                <a:gd name="connsiteX930" fmla="*/ 673048 w 773462"/>
                <a:gd name="connsiteY930" fmla="*/ 448957 h 780958"/>
                <a:gd name="connsiteX931" fmla="*/ 673436 w 773462"/>
                <a:gd name="connsiteY931" fmla="*/ 445856 h 780958"/>
                <a:gd name="connsiteX932" fmla="*/ 674728 w 773462"/>
                <a:gd name="connsiteY932" fmla="*/ 444176 h 780958"/>
                <a:gd name="connsiteX933" fmla="*/ 676667 w 773462"/>
                <a:gd name="connsiteY933" fmla="*/ 443142 h 780958"/>
                <a:gd name="connsiteX934" fmla="*/ 679381 w 773462"/>
                <a:gd name="connsiteY934" fmla="*/ 440945 h 780958"/>
                <a:gd name="connsiteX935" fmla="*/ 681061 w 773462"/>
                <a:gd name="connsiteY935" fmla="*/ 440169 h 780958"/>
                <a:gd name="connsiteX936" fmla="*/ 681836 w 773462"/>
                <a:gd name="connsiteY936" fmla="*/ 439652 h 780958"/>
                <a:gd name="connsiteX937" fmla="*/ 682353 w 773462"/>
                <a:gd name="connsiteY937" fmla="*/ 439006 h 780958"/>
                <a:gd name="connsiteX938" fmla="*/ 684033 w 773462"/>
                <a:gd name="connsiteY938" fmla="*/ 435775 h 780958"/>
                <a:gd name="connsiteX939" fmla="*/ 686876 w 773462"/>
                <a:gd name="connsiteY939" fmla="*/ 428926 h 780958"/>
                <a:gd name="connsiteX940" fmla="*/ 688039 w 773462"/>
                <a:gd name="connsiteY940" fmla="*/ 427892 h 780958"/>
                <a:gd name="connsiteX941" fmla="*/ 688169 w 773462"/>
                <a:gd name="connsiteY941" fmla="*/ 427504 h 780958"/>
                <a:gd name="connsiteX942" fmla="*/ 690624 w 773462"/>
                <a:gd name="connsiteY942" fmla="*/ 425566 h 780958"/>
                <a:gd name="connsiteX943" fmla="*/ 697990 w 773462"/>
                <a:gd name="connsiteY943" fmla="*/ 417424 h 780958"/>
                <a:gd name="connsiteX944" fmla="*/ 699024 w 773462"/>
                <a:gd name="connsiteY944" fmla="*/ 415357 h 780958"/>
                <a:gd name="connsiteX945" fmla="*/ 700187 w 773462"/>
                <a:gd name="connsiteY945" fmla="*/ 402950 h 780958"/>
                <a:gd name="connsiteX946" fmla="*/ 700058 w 773462"/>
                <a:gd name="connsiteY946" fmla="*/ 397781 h 780958"/>
                <a:gd name="connsiteX947" fmla="*/ 700316 w 773462"/>
                <a:gd name="connsiteY947" fmla="*/ 395196 h 780958"/>
                <a:gd name="connsiteX948" fmla="*/ 702643 w 773462"/>
                <a:gd name="connsiteY948" fmla="*/ 390931 h 780958"/>
                <a:gd name="connsiteX949" fmla="*/ 703677 w 773462"/>
                <a:gd name="connsiteY949" fmla="*/ 385762 h 780958"/>
                <a:gd name="connsiteX950" fmla="*/ 704581 w 773462"/>
                <a:gd name="connsiteY950" fmla="*/ 383436 h 780958"/>
                <a:gd name="connsiteX951" fmla="*/ 706520 w 773462"/>
                <a:gd name="connsiteY951" fmla="*/ 382143 h 780958"/>
                <a:gd name="connsiteX952" fmla="*/ 711560 w 773462"/>
                <a:gd name="connsiteY952" fmla="*/ 380980 h 780958"/>
                <a:gd name="connsiteX953" fmla="*/ 717246 w 773462"/>
                <a:gd name="connsiteY953" fmla="*/ 375165 h 780958"/>
                <a:gd name="connsiteX954" fmla="*/ 719572 w 773462"/>
                <a:gd name="connsiteY954" fmla="*/ 371417 h 780958"/>
                <a:gd name="connsiteX955" fmla="*/ 724225 w 773462"/>
                <a:gd name="connsiteY955" fmla="*/ 365860 h 780958"/>
                <a:gd name="connsiteX956" fmla="*/ 725775 w 773462"/>
                <a:gd name="connsiteY956" fmla="*/ 363146 h 780958"/>
                <a:gd name="connsiteX957" fmla="*/ 729782 w 773462"/>
                <a:gd name="connsiteY957" fmla="*/ 358623 h 780958"/>
                <a:gd name="connsiteX958" fmla="*/ 731720 w 773462"/>
                <a:gd name="connsiteY958" fmla="*/ 356814 h 780958"/>
                <a:gd name="connsiteX959" fmla="*/ 738053 w 773462"/>
                <a:gd name="connsiteY959" fmla="*/ 353712 h 780958"/>
                <a:gd name="connsiteX960" fmla="*/ 752010 w 773462"/>
                <a:gd name="connsiteY960" fmla="*/ 349447 h 780958"/>
                <a:gd name="connsiteX961" fmla="*/ 754465 w 773462"/>
                <a:gd name="connsiteY961" fmla="*/ 347897 h 780958"/>
                <a:gd name="connsiteX962" fmla="*/ 757438 w 773462"/>
                <a:gd name="connsiteY962" fmla="*/ 345700 h 780958"/>
                <a:gd name="connsiteX963" fmla="*/ 760798 w 773462"/>
                <a:gd name="connsiteY963" fmla="*/ 341693 h 780958"/>
                <a:gd name="connsiteX964" fmla="*/ 763512 w 773462"/>
                <a:gd name="connsiteY964" fmla="*/ 337170 h 780958"/>
                <a:gd name="connsiteX965" fmla="*/ 767389 w 773462"/>
                <a:gd name="connsiteY965" fmla="*/ 327349 h 780958"/>
                <a:gd name="connsiteX966" fmla="*/ 766226 w 773462"/>
                <a:gd name="connsiteY966" fmla="*/ 318948 h 780958"/>
                <a:gd name="connsiteX967" fmla="*/ 765967 w 773462"/>
                <a:gd name="connsiteY967" fmla="*/ 304991 h 780958"/>
                <a:gd name="connsiteX968" fmla="*/ 763770 w 773462"/>
                <a:gd name="connsiteY968" fmla="*/ 287932 h 780958"/>
                <a:gd name="connsiteX969" fmla="*/ 763899 w 773462"/>
                <a:gd name="connsiteY969" fmla="*/ 284701 h 780958"/>
                <a:gd name="connsiteX970" fmla="*/ 764545 w 773462"/>
                <a:gd name="connsiteY970" fmla="*/ 281600 h 780958"/>
                <a:gd name="connsiteX971" fmla="*/ 767001 w 773462"/>
                <a:gd name="connsiteY971" fmla="*/ 278240 h 780958"/>
                <a:gd name="connsiteX972" fmla="*/ 767647 w 773462"/>
                <a:gd name="connsiteY972" fmla="*/ 275784 h 780958"/>
                <a:gd name="connsiteX973" fmla="*/ 767647 w 773462"/>
                <a:gd name="connsiteY973" fmla="*/ 269581 h 780958"/>
                <a:gd name="connsiteX974" fmla="*/ 767906 w 773462"/>
                <a:gd name="connsiteY974" fmla="*/ 268676 h 780958"/>
                <a:gd name="connsiteX975" fmla="*/ 768422 w 773462"/>
                <a:gd name="connsiteY975" fmla="*/ 267772 h 780958"/>
                <a:gd name="connsiteX976" fmla="*/ 769198 w 773462"/>
                <a:gd name="connsiteY976" fmla="*/ 267384 h 780958"/>
                <a:gd name="connsiteX977" fmla="*/ 771136 w 773462"/>
                <a:gd name="connsiteY977" fmla="*/ 267384 h 780958"/>
                <a:gd name="connsiteX978" fmla="*/ 772041 w 773462"/>
                <a:gd name="connsiteY978" fmla="*/ 266996 h 780958"/>
                <a:gd name="connsiteX979" fmla="*/ 773463 w 773462"/>
                <a:gd name="connsiteY979" fmla="*/ 264799 h 780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Lst>
              <a:rect l="l" t="t" r="r" b="b"/>
              <a:pathLst>
                <a:path w="773462" h="780958">
                  <a:moveTo>
                    <a:pt x="772687" y="262861"/>
                  </a:moveTo>
                  <a:lnTo>
                    <a:pt x="771395" y="261052"/>
                  </a:lnTo>
                  <a:lnTo>
                    <a:pt x="770619" y="258855"/>
                  </a:lnTo>
                  <a:lnTo>
                    <a:pt x="770878" y="256270"/>
                  </a:lnTo>
                  <a:lnTo>
                    <a:pt x="762995" y="244380"/>
                  </a:lnTo>
                  <a:lnTo>
                    <a:pt x="757567" y="238307"/>
                  </a:lnTo>
                  <a:lnTo>
                    <a:pt x="756145" y="237014"/>
                  </a:lnTo>
                  <a:lnTo>
                    <a:pt x="754595" y="235851"/>
                  </a:lnTo>
                  <a:lnTo>
                    <a:pt x="753302" y="235334"/>
                  </a:lnTo>
                  <a:lnTo>
                    <a:pt x="751881" y="234946"/>
                  </a:lnTo>
                  <a:lnTo>
                    <a:pt x="750588" y="234946"/>
                  </a:lnTo>
                  <a:lnTo>
                    <a:pt x="748133" y="235334"/>
                  </a:lnTo>
                  <a:lnTo>
                    <a:pt x="746711" y="235205"/>
                  </a:lnTo>
                  <a:lnTo>
                    <a:pt x="743481" y="233525"/>
                  </a:lnTo>
                  <a:lnTo>
                    <a:pt x="742059" y="233137"/>
                  </a:lnTo>
                  <a:lnTo>
                    <a:pt x="737923" y="233008"/>
                  </a:lnTo>
                  <a:lnTo>
                    <a:pt x="736502" y="232620"/>
                  </a:lnTo>
                  <a:lnTo>
                    <a:pt x="735080" y="232103"/>
                  </a:lnTo>
                  <a:lnTo>
                    <a:pt x="733400" y="231328"/>
                  </a:lnTo>
                  <a:lnTo>
                    <a:pt x="732366" y="230553"/>
                  </a:lnTo>
                  <a:lnTo>
                    <a:pt x="730169" y="227968"/>
                  </a:lnTo>
                  <a:lnTo>
                    <a:pt x="723191" y="222023"/>
                  </a:lnTo>
                  <a:lnTo>
                    <a:pt x="721769" y="221119"/>
                  </a:lnTo>
                  <a:lnTo>
                    <a:pt x="720606" y="220731"/>
                  </a:lnTo>
                  <a:lnTo>
                    <a:pt x="716600" y="220085"/>
                  </a:lnTo>
                  <a:lnTo>
                    <a:pt x="709880" y="218405"/>
                  </a:lnTo>
                  <a:lnTo>
                    <a:pt x="708717" y="218146"/>
                  </a:lnTo>
                  <a:lnTo>
                    <a:pt x="704193" y="218405"/>
                  </a:lnTo>
                  <a:lnTo>
                    <a:pt x="699024" y="217758"/>
                  </a:lnTo>
                  <a:lnTo>
                    <a:pt x="697861" y="217371"/>
                  </a:lnTo>
                  <a:lnTo>
                    <a:pt x="676537" y="208324"/>
                  </a:lnTo>
                  <a:lnTo>
                    <a:pt x="675374" y="207420"/>
                  </a:lnTo>
                  <a:lnTo>
                    <a:pt x="672790" y="204447"/>
                  </a:lnTo>
                  <a:lnTo>
                    <a:pt x="668913" y="201604"/>
                  </a:lnTo>
                  <a:lnTo>
                    <a:pt x="664907" y="200183"/>
                  </a:lnTo>
                  <a:lnTo>
                    <a:pt x="659091" y="199020"/>
                  </a:lnTo>
                  <a:lnTo>
                    <a:pt x="655343" y="197598"/>
                  </a:lnTo>
                  <a:lnTo>
                    <a:pt x="653275" y="196693"/>
                  </a:lnTo>
                  <a:lnTo>
                    <a:pt x="652112" y="195660"/>
                  </a:lnTo>
                  <a:lnTo>
                    <a:pt x="651595" y="194626"/>
                  </a:lnTo>
                  <a:lnTo>
                    <a:pt x="651078" y="193592"/>
                  </a:lnTo>
                  <a:lnTo>
                    <a:pt x="650562" y="192687"/>
                  </a:lnTo>
                  <a:lnTo>
                    <a:pt x="649140" y="191265"/>
                  </a:lnTo>
                  <a:lnTo>
                    <a:pt x="640998" y="185838"/>
                  </a:lnTo>
                  <a:lnTo>
                    <a:pt x="634924" y="182865"/>
                  </a:lnTo>
                  <a:lnTo>
                    <a:pt x="632081" y="181961"/>
                  </a:lnTo>
                  <a:lnTo>
                    <a:pt x="630789" y="181831"/>
                  </a:lnTo>
                  <a:lnTo>
                    <a:pt x="625103" y="182219"/>
                  </a:lnTo>
                  <a:lnTo>
                    <a:pt x="622906" y="182090"/>
                  </a:lnTo>
                  <a:lnTo>
                    <a:pt x="621613" y="181573"/>
                  </a:lnTo>
                  <a:lnTo>
                    <a:pt x="620450" y="180798"/>
                  </a:lnTo>
                  <a:lnTo>
                    <a:pt x="612438" y="172785"/>
                  </a:lnTo>
                  <a:lnTo>
                    <a:pt x="609336" y="170588"/>
                  </a:lnTo>
                  <a:lnTo>
                    <a:pt x="607914" y="170071"/>
                  </a:lnTo>
                  <a:lnTo>
                    <a:pt x="606493" y="169683"/>
                  </a:lnTo>
                  <a:lnTo>
                    <a:pt x="593699" y="171751"/>
                  </a:lnTo>
                  <a:lnTo>
                    <a:pt x="590856" y="171493"/>
                  </a:lnTo>
                  <a:lnTo>
                    <a:pt x="585815" y="170330"/>
                  </a:lnTo>
                  <a:lnTo>
                    <a:pt x="578320" y="170330"/>
                  </a:lnTo>
                  <a:lnTo>
                    <a:pt x="566560" y="166970"/>
                  </a:lnTo>
                  <a:lnTo>
                    <a:pt x="563717" y="165160"/>
                  </a:lnTo>
                  <a:lnTo>
                    <a:pt x="563587" y="164643"/>
                  </a:lnTo>
                  <a:lnTo>
                    <a:pt x="563587" y="164127"/>
                  </a:lnTo>
                  <a:lnTo>
                    <a:pt x="564104" y="162188"/>
                  </a:lnTo>
                  <a:lnTo>
                    <a:pt x="567981" y="153142"/>
                  </a:lnTo>
                  <a:lnTo>
                    <a:pt x="569274" y="150686"/>
                  </a:lnTo>
                  <a:lnTo>
                    <a:pt x="575477" y="142415"/>
                  </a:lnTo>
                  <a:lnTo>
                    <a:pt x="576381" y="140994"/>
                  </a:lnTo>
                  <a:lnTo>
                    <a:pt x="577028" y="139443"/>
                  </a:lnTo>
                  <a:lnTo>
                    <a:pt x="577286" y="136858"/>
                  </a:lnTo>
                  <a:lnTo>
                    <a:pt x="576769" y="135437"/>
                  </a:lnTo>
                  <a:lnTo>
                    <a:pt x="575735" y="134532"/>
                  </a:lnTo>
                  <a:lnTo>
                    <a:pt x="566043" y="130267"/>
                  </a:lnTo>
                  <a:lnTo>
                    <a:pt x="563846" y="129621"/>
                  </a:lnTo>
                  <a:lnTo>
                    <a:pt x="562941" y="129492"/>
                  </a:lnTo>
                  <a:lnTo>
                    <a:pt x="562295" y="129492"/>
                  </a:lnTo>
                  <a:lnTo>
                    <a:pt x="561520" y="129621"/>
                  </a:lnTo>
                  <a:lnTo>
                    <a:pt x="560615" y="130009"/>
                  </a:lnTo>
                  <a:lnTo>
                    <a:pt x="556092" y="133110"/>
                  </a:lnTo>
                  <a:lnTo>
                    <a:pt x="554929" y="133757"/>
                  </a:lnTo>
                  <a:lnTo>
                    <a:pt x="553895" y="134144"/>
                  </a:lnTo>
                  <a:lnTo>
                    <a:pt x="552603" y="133886"/>
                  </a:lnTo>
                  <a:lnTo>
                    <a:pt x="551439" y="133110"/>
                  </a:lnTo>
                  <a:lnTo>
                    <a:pt x="548984" y="130784"/>
                  </a:lnTo>
                  <a:lnTo>
                    <a:pt x="547950" y="129104"/>
                  </a:lnTo>
                  <a:lnTo>
                    <a:pt x="547175" y="127295"/>
                  </a:lnTo>
                  <a:lnTo>
                    <a:pt x="546787" y="125873"/>
                  </a:lnTo>
                  <a:lnTo>
                    <a:pt x="546529" y="123547"/>
                  </a:lnTo>
                  <a:lnTo>
                    <a:pt x="548209" y="101448"/>
                  </a:lnTo>
                  <a:lnTo>
                    <a:pt x="547950" y="98217"/>
                  </a:lnTo>
                  <a:lnTo>
                    <a:pt x="547304" y="95762"/>
                  </a:lnTo>
                  <a:lnTo>
                    <a:pt x="546787" y="92531"/>
                  </a:lnTo>
                  <a:lnTo>
                    <a:pt x="545624" y="93177"/>
                  </a:lnTo>
                  <a:lnTo>
                    <a:pt x="536965" y="94211"/>
                  </a:lnTo>
                  <a:lnTo>
                    <a:pt x="532571" y="93436"/>
                  </a:lnTo>
                  <a:lnTo>
                    <a:pt x="529987" y="92402"/>
                  </a:lnTo>
                  <a:lnTo>
                    <a:pt x="521845" y="90593"/>
                  </a:lnTo>
                  <a:lnTo>
                    <a:pt x="519648" y="90463"/>
                  </a:lnTo>
                  <a:lnTo>
                    <a:pt x="509568" y="90980"/>
                  </a:lnTo>
                  <a:lnTo>
                    <a:pt x="507500" y="90722"/>
                  </a:lnTo>
                  <a:lnTo>
                    <a:pt x="506208" y="91756"/>
                  </a:lnTo>
                  <a:lnTo>
                    <a:pt x="503106" y="92273"/>
                  </a:lnTo>
                  <a:lnTo>
                    <a:pt x="499746" y="92014"/>
                  </a:lnTo>
                  <a:lnTo>
                    <a:pt x="490700" y="89946"/>
                  </a:lnTo>
                  <a:lnTo>
                    <a:pt x="487857" y="89946"/>
                  </a:lnTo>
                  <a:lnTo>
                    <a:pt x="474675" y="91627"/>
                  </a:lnTo>
                  <a:lnTo>
                    <a:pt x="470410" y="90851"/>
                  </a:lnTo>
                  <a:lnTo>
                    <a:pt x="459554" y="84777"/>
                  </a:lnTo>
                  <a:lnTo>
                    <a:pt x="451800" y="82709"/>
                  </a:lnTo>
                  <a:lnTo>
                    <a:pt x="448053" y="83226"/>
                  </a:lnTo>
                  <a:lnTo>
                    <a:pt x="447148" y="81805"/>
                  </a:lnTo>
                  <a:lnTo>
                    <a:pt x="446889" y="80771"/>
                  </a:lnTo>
                  <a:lnTo>
                    <a:pt x="446760" y="79737"/>
                  </a:lnTo>
                  <a:lnTo>
                    <a:pt x="447019" y="78703"/>
                  </a:lnTo>
                  <a:lnTo>
                    <a:pt x="447923" y="76635"/>
                  </a:lnTo>
                  <a:lnTo>
                    <a:pt x="449216" y="74568"/>
                  </a:lnTo>
                  <a:lnTo>
                    <a:pt x="452834" y="70561"/>
                  </a:lnTo>
                  <a:lnTo>
                    <a:pt x="453480" y="69657"/>
                  </a:lnTo>
                  <a:lnTo>
                    <a:pt x="454773" y="66426"/>
                  </a:lnTo>
                  <a:lnTo>
                    <a:pt x="457099" y="63324"/>
                  </a:lnTo>
                  <a:lnTo>
                    <a:pt x="457616" y="62290"/>
                  </a:lnTo>
                  <a:lnTo>
                    <a:pt x="458521" y="58930"/>
                  </a:lnTo>
                  <a:lnTo>
                    <a:pt x="458908" y="57767"/>
                  </a:lnTo>
                  <a:lnTo>
                    <a:pt x="459684" y="56734"/>
                  </a:lnTo>
                  <a:lnTo>
                    <a:pt x="460717" y="55958"/>
                  </a:lnTo>
                  <a:lnTo>
                    <a:pt x="461751" y="55441"/>
                  </a:lnTo>
                  <a:lnTo>
                    <a:pt x="465887" y="54020"/>
                  </a:lnTo>
                  <a:lnTo>
                    <a:pt x="470281" y="52986"/>
                  </a:lnTo>
                  <a:lnTo>
                    <a:pt x="471185" y="52598"/>
                  </a:lnTo>
                  <a:lnTo>
                    <a:pt x="471961" y="51693"/>
                  </a:lnTo>
                  <a:lnTo>
                    <a:pt x="472219" y="50789"/>
                  </a:lnTo>
                  <a:lnTo>
                    <a:pt x="474287" y="39416"/>
                  </a:lnTo>
                  <a:lnTo>
                    <a:pt x="475450" y="36056"/>
                  </a:lnTo>
                  <a:lnTo>
                    <a:pt x="475579" y="34893"/>
                  </a:lnTo>
                  <a:lnTo>
                    <a:pt x="476096" y="27397"/>
                  </a:lnTo>
                  <a:lnTo>
                    <a:pt x="479586" y="13440"/>
                  </a:lnTo>
                  <a:lnTo>
                    <a:pt x="479715" y="12277"/>
                  </a:lnTo>
                  <a:lnTo>
                    <a:pt x="479715" y="11243"/>
                  </a:lnTo>
                  <a:lnTo>
                    <a:pt x="479586" y="8917"/>
                  </a:lnTo>
                  <a:lnTo>
                    <a:pt x="479586" y="7754"/>
                  </a:lnTo>
                  <a:lnTo>
                    <a:pt x="478810" y="6979"/>
                  </a:lnTo>
                  <a:lnTo>
                    <a:pt x="472995" y="7496"/>
                  </a:lnTo>
                  <a:lnTo>
                    <a:pt x="471444" y="8142"/>
                  </a:lnTo>
                  <a:lnTo>
                    <a:pt x="469764" y="8917"/>
                  </a:lnTo>
                  <a:lnTo>
                    <a:pt x="464724" y="13182"/>
                  </a:lnTo>
                  <a:lnTo>
                    <a:pt x="463431" y="14474"/>
                  </a:lnTo>
                  <a:lnTo>
                    <a:pt x="462527" y="15767"/>
                  </a:lnTo>
                  <a:lnTo>
                    <a:pt x="462139" y="16800"/>
                  </a:lnTo>
                  <a:lnTo>
                    <a:pt x="460588" y="19514"/>
                  </a:lnTo>
                  <a:lnTo>
                    <a:pt x="450766" y="30111"/>
                  </a:lnTo>
                  <a:lnTo>
                    <a:pt x="447665" y="32825"/>
                  </a:lnTo>
                  <a:lnTo>
                    <a:pt x="441462" y="36056"/>
                  </a:lnTo>
                  <a:lnTo>
                    <a:pt x="440299" y="37219"/>
                  </a:lnTo>
                  <a:lnTo>
                    <a:pt x="439394" y="38382"/>
                  </a:lnTo>
                  <a:lnTo>
                    <a:pt x="438748" y="39675"/>
                  </a:lnTo>
                  <a:lnTo>
                    <a:pt x="438489" y="40838"/>
                  </a:lnTo>
                  <a:lnTo>
                    <a:pt x="437843" y="42518"/>
                  </a:lnTo>
                  <a:lnTo>
                    <a:pt x="436680" y="44456"/>
                  </a:lnTo>
                  <a:lnTo>
                    <a:pt x="433578" y="47558"/>
                  </a:lnTo>
                  <a:lnTo>
                    <a:pt x="431769" y="48721"/>
                  </a:lnTo>
                  <a:lnTo>
                    <a:pt x="430218" y="49109"/>
                  </a:lnTo>
                  <a:lnTo>
                    <a:pt x="427763" y="48721"/>
                  </a:lnTo>
                  <a:lnTo>
                    <a:pt x="425307" y="48850"/>
                  </a:lnTo>
                  <a:lnTo>
                    <a:pt x="420397" y="50142"/>
                  </a:lnTo>
                  <a:lnTo>
                    <a:pt x="411350" y="54149"/>
                  </a:lnTo>
                  <a:lnTo>
                    <a:pt x="409541" y="54666"/>
                  </a:lnTo>
                  <a:lnTo>
                    <a:pt x="407990" y="54924"/>
                  </a:lnTo>
                  <a:lnTo>
                    <a:pt x="404501" y="54537"/>
                  </a:lnTo>
                  <a:lnTo>
                    <a:pt x="403467" y="54020"/>
                  </a:lnTo>
                  <a:lnTo>
                    <a:pt x="402692" y="53244"/>
                  </a:lnTo>
                  <a:lnTo>
                    <a:pt x="402304" y="52210"/>
                  </a:lnTo>
                  <a:lnTo>
                    <a:pt x="402046" y="50142"/>
                  </a:lnTo>
                  <a:lnTo>
                    <a:pt x="401658" y="49109"/>
                  </a:lnTo>
                  <a:lnTo>
                    <a:pt x="401399" y="46912"/>
                  </a:lnTo>
                  <a:lnTo>
                    <a:pt x="401399" y="45878"/>
                  </a:lnTo>
                  <a:lnTo>
                    <a:pt x="401141" y="44844"/>
                  </a:lnTo>
                  <a:lnTo>
                    <a:pt x="400495" y="43939"/>
                  </a:lnTo>
                  <a:lnTo>
                    <a:pt x="399590" y="43164"/>
                  </a:lnTo>
                  <a:lnTo>
                    <a:pt x="393774" y="39675"/>
                  </a:lnTo>
                  <a:lnTo>
                    <a:pt x="391319" y="37607"/>
                  </a:lnTo>
                  <a:lnTo>
                    <a:pt x="389251" y="36315"/>
                  </a:lnTo>
                  <a:lnTo>
                    <a:pt x="388088" y="35927"/>
                  </a:lnTo>
                  <a:lnTo>
                    <a:pt x="386925" y="35668"/>
                  </a:lnTo>
                  <a:lnTo>
                    <a:pt x="382919" y="35668"/>
                  </a:lnTo>
                  <a:lnTo>
                    <a:pt x="381756" y="35539"/>
                  </a:lnTo>
                  <a:lnTo>
                    <a:pt x="380593" y="35410"/>
                  </a:lnTo>
                  <a:lnTo>
                    <a:pt x="370900" y="36702"/>
                  </a:lnTo>
                  <a:lnTo>
                    <a:pt x="365085" y="39028"/>
                  </a:lnTo>
                  <a:lnTo>
                    <a:pt x="363275" y="40062"/>
                  </a:lnTo>
                  <a:lnTo>
                    <a:pt x="362112" y="41096"/>
                  </a:lnTo>
                  <a:lnTo>
                    <a:pt x="361466" y="42130"/>
                  </a:lnTo>
                  <a:lnTo>
                    <a:pt x="360432" y="44198"/>
                  </a:lnTo>
                  <a:lnTo>
                    <a:pt x="359786" y="45232"/>
                  </a:lnTo>
                  <a:lnTo>
                    <a:pt x="358752" y="46136"/>
                  </a:lnTo>
                  <a:lnTo>
                    <a:pt x="349318" y="51564"/>
                  </a:lnTo>
                  <a:lnTo>
                    <a:pt x="347638" y="52081"/>
                  </a:lnTo>
                  <a:lnTo>
                    <a:pt x="346217" y="52469"/>
                  </a:lnTo>
                  <a:lnTo>
                    <a:pt x="342986" y="52081"/>
                  </a:lnTo>
                  <a:lnTo>
                    <a:pt x="341176" y="52339"/>
                  </a:lnTo>
                  <a:lnTo>
                    <a:pt x="330321" y="54924"/>
                  </a:lnTo>
                  <a:lnTo>
                    <a:pt x="327478" y="54924"/>
                  </a:lnTo>
                  <a:lnTo>
                    <a:pt x="326056" y="54666"/>
                  </a:lnTo>
                  <a:lnTo>
                    <a:pt x="319207" y="55570"/>
                  </a:lnTo>
                  <a:lnTo>
                    <a:pt x="307576" y="49109"/>
                  </a:lnTo>
                  <a:lnTo>
                    <a:pt x="305120" y="47041"/>
                  </a:lnTo>
                  <a:lnTo>
                    <a:pt x="304086" y="45878"/>
                  </a:lnTo>
                  <a:lnTo>
                    <a:pt x="302277" y="44327"/>
                  </a:lnTo>
                  <a:lnTo>
                    <a:pt x="300856" y="43681"/>
                  </a:lnTo>
                  <a:lnTo>
                    <a:pt x="298271" y="43164"/>
                  </a:lnTo>
                  <a:lnTo>
                    <a:pt x="296979" y="42389"/>
                  </a:lnTo>
                  <a:lnTo>
                    <a:pt x="295428" y="41355"/>
                  </a:lnTo>
                  <a:lnTo>
                    <a:pt x="291034" y="39933"/>
                  </a:lnTo>
                  <a:lnTo>
                    <a:pt x="284055" y="36831"/>
                  </a:lnTo>
                  <a:lnTo>
                    <a:pt x="281083" y="35022"/>
                  </a:lnTo>
                  <a:lnTo>
                    <a:pt x="280049" y="33084"/>
                  </a:lnTo>
                  <a:lnTo>
                    <a:pt x="276947" y="29594"/>
                  </a:lnTo>
                  <a:lnTo>
                    <a:pt x="276431" y="28690"/>
                  </a:lnTo>
                  <a:lnTo>
                    <a:pt x="276043" y="28044"/>
                  </a:lnTo>
                  <a:lnTo>
                    <a:pt x="275526" y="25976"/>
                  </a:lnTo>
                  <a:lnTo>
                    <a:pt x="274750" y="24554"/>
                  </a:lnTo>
                  <a:lnTo>
                    <a:pt x="273329" y="23004"/>
                  </a:lnTo>
                  <a:lnTo>
                    <a:pt x="270873" y="21582"/>
                  </a:lnTo>
                  <a:lnTo>
                    <a:pt x="269064" y="20936"/>
                  </a:lnTo>
                  <a:lnTo>
                    <a:pt x="266092" y="20290"/>
                  </a:lnTo>
                  <a:lnTo>
                    <a:pt x="262861" y="19127"/>
                  </a:lnTo>
                  <a:lnTo>
                    <a:pt x="260405" y="19643"/>
                  </a:lnTo>
                  <a:lnTo>
                    <a:pt x="254202" y="18351"/>
                  </a:lnTo>
                  <a:lnTo>
                    <a:pt x="252651" y="17576"/>
                  </a:lnTo>
                  <a:lnTo>
                    <a:pt x="251488" y="16800"/>
                  </a:lnTo>
                  <a:lnTo>
                    <a:pt x="250067" y="14991"/>
                  </a:lnTo>
                  <a:lnTo>
                    <a:pt x="249291" y="13957"/>
                  </a:lnTo>
                  <a:lnTo>
                    <a:pt x="247870" y="13182"/>
                  </a:lnTo>
                  <a:lnTo>
                    <a:pt x="244510" y="12277"/>
                  </a:lnTo>
                  <a:lnTo>
                    <a:pt x="241279" y="10726"/>
                  </a:lnTo>
                  <a:lnTo>
                    <a:pt x="233266" y="8788"/>
                  </a:lnTo>
                  <a:lnTo>
                    <a:pt x="231974" y="8142"/>
                  </a:lnTo>
                  <a:lnTo>
                    <a:pt x="231457" y="7496"/>
                  </a:lnTo>
                  <a:lnTo>
                    <a:pt x="231069" y="6979"/>
                  </a:lnTo>
                  <a:lnTo>
                    <a:pt x="230553" y="6203"/>
                  </a:lnTo>
                  <a:lnTo>
                    <a:pt x="230165" y="5169"/>
                  </a:lnTo>
                  <a:lnTo>
                    <a:pt x="229777" y="4006"/>
                  </a:lnTo>
                  <a:lnTo>
                    <a:pt x="228872" y="2714"/>
                  </a:lnTo>
                  <a:lnTo>
                    <a:pt x="226805" y="1163"/>
                  </a:lnTo>
                  <a:lnTo>
                    <a:pt x="224866" y="517"/>
                  </a:lnTo>
                  <a:lnTo>
                    <a:pt x="220472" y="0"/>
                  </a:lnTo>
                  <a:lnTo>
                    <a:pt x="218663" y="0"/>
                  </a:lnTo>
                  <a:lnTo>
                    <a:pt x="217242" y="258"/>
                  </a:lnTo>
                  <a:lnTo>
                    <a:pt x="215045" y="1034"/>
                  </a:lnTo>
                  <a:lnTo>
                    <a:pt x="209358" y="1809"/>
                  </a:lnTo>
                  <a:lnTo>
                    <a:pt x="207032" y="2455"/>
                  </a:lnTo>
                  <a:lnTo>
                    <a:pt x="205869" y="2972"/>
                  </a:lnTo>
                  <a:lnTo>
                    <a:pt x="204835" y="3489"/>
                  </a:lnTo>
                  <a:lnTo>
                    <a:pt x="203931" y="4135"/>
                  </a:lnTo>
                  <a:lnTo>
                    <a:pt x="203155" y="4911"/>
                  </a:lnTo>
                  <a:lnTo>
                    <a:pt x="199666" y="9046"/>
                  </a:lnTo>
                  <a:lnTo>
                    <a:pt x="198761" y="9822"/>
                  </a:lnTo>
                  <a:lnTo>
                    <a:pt x="197727" y="10597"/>
                  </a:lnTo>
                  <a:lnTo>
                    <a:pt x="196306" y="10985"/>
                  </a:lnTo>
                  <a:lnTo>
                    <a:pt x="195013" y="10856"/>
                  </a:lnTo>
                  <a:lnTo>
                    <a:pt x="193721" y="10339"/>
                  </a:lnTo>
                  <a:lnTo>
                    <a:pt x="192816" y="10468"/>
                  </a:lnTo>
                  <a:lnTo>
                    <a:pt x="190490" y="12665"/>
                  </a:lnTo>
                  <a:lnTo>
                    <a:pt x="188293" y="13828"/>
                  </a:lnTo>
                  <a:lnTo>
                    <a:pt x="186872" y="14345"/>
                  </a:lnTo>
                  <a:lnTo>
                    <a:pt x="184675" y="14733"/>
                  </a:lnTo>
                  <a:lnTo>
                    <a:pt x="183124" y="14474"/>
                  </a:lnTo>
                  <a:lnTo>
                    <a:pt x="179247" y="12923"/>
                  </a:lnTo>
                  <a:lnTo>
                    <a:pt x="178213" y="12923"/>
                  </a:lnTo>
                  <a:lnTo>
                    <a:pt x="177438" y="13053"/>
                  </a:lnTo>
                  <a:lnTo>
                    <a:pt x="176404" y="13440"/>
                  </a:lnTo>
                  <a:lnTo>
                    <a:pt x="174982" y="13828"/>
                  </a:lnTo>
                  <a:lnTo>
                    <a:pt x="159991" y="14991"/>
                  </a:lnTo>
                  <a:lnTo>
                    <a:pt x="151591" y="14345"/>
                  </a:lnTo>
                  <a:lnTo>
                    <a:pt x="150557" y="14603"/>
                  </a:lnTo>
                  <a:lnTo>
                    <a:pt x="147972" y="16671"/>
                  </a:lnTo>
                  <a:lnTo>
                    <a:pt x="147714" y="17059"/>
                  </a:lnTo>
                  <a:lnTo>
                    <a:pt x="147326" y="17576"/>
                  </a:lnTo>
                  <a:lnTo>
                    <a:pt x="147197" y="18093"/>
                  </a:lnTo>
                  <a:lnTo>
                    <a:pt x="147068" y="19385"/>
                  </a:lnTo>
                  <a:lnTo>
                    <a:pt x="146938" y="20031"/>
                  </a:lnTo>
                  <a:lnTo>
                    <a:pt x="146680" y="20548"/>
                  </a:lnTo>
                  <a:lnTo>
                    <a:pt x="146421" y="20936"/>
                  </a:lnTo>
                  <a:lnTo>
                    <a:pt x="146292" y="21065"/>
                  </a:lnTo>
                  <a:lnTo>
                    <a:pt x="145517" y="21582"/>
                  </a:lnTo>
                  <a:lnTo>
                    <a:pt x="142932" y="22616"/>
                  </a:lnTo>
                  <a:lnTo>
                    <a:pt x="142286" y="23004"/>
                  </a:lnTo>
                  <a:lnTo>
                    <a:pt x="141640" y="23391"/>
                  </a:lnTo>
                  <a:lnTo>
                    <a:pt x="141381" y="23779"/>
                  </a:lnTo>
                  <a:lnTo>
                    <a:pt x="141123" y="24296"/>
                  </a:lnTo>
                  <a:lnTo>
                    <a:pt x="140994" y="24942"/>
                  </a:lnTo>
                  <a:lnTo>
                    <a:pt x="140994" y="25588"/>
                  </a:lnTo>
                  <a:lnTo>
                    <a:pt x="141252" y="28302"/>
                  </a:lnTo>
                  <a:lnTo>
                    <a:pt x="141252" y="28948"/>
                  </a:lnTo>
                  <a:lnTo>
                    <a:pt x="140735" y="32179"/>
                  </a:lnTo>
                  <a:lnTo>
                    <a:pt x="140477" y="32696"/>
                  </a:lnTo>
                  <a:lnTo>
                    <a:pt x="140218" y="33213"/>
                  </a:lnTo>
                  <a:lnTo>
                    <a:pt x="139572" y="33859"/>
                  </a:lnTo>
                  <a:lnTo>
                    <a:pt x="139184" y="34118"/>
                  </a:lnTo>
                  <a:lnTo>
                    <a:pt x="137763" y="35668"/>
                  </a:lnTo>
                  <a:lnTo>
                    <a:pt x="136212" y="37995"/>
                  </a:lnTo>
                  <a:lnTo>
                    <a:pt x="135954" y="38382"/>
                  </a:lnTo>
                  <a:lnTo>
                    <a:pt x="135566" y="38641"/>
                  </a:lnTo>
                  <a:lnTo>
                    <a:pt x="134920" y="39028"/>
                  </a:lnTo>
                  <a:lnTo>
                    <a:pt x="133369" y="39933"/>
                  </a:lnTo>
                  <a:lnTo>
                    <a:pt x="132981" y="40192"/>
                  </a:lnTo>
                  <a:lnTo>
                    <a:pt x="131689" y="41226"/>
                  </a:lnTo>
                  <a:lnTo>
                    <a:pt x="130397" y="42130"/>
                  </a:lnTo>
                  <a:lnTo>
                    <a:pt x="127812" y="43422"/>
                  </a:lnTo>
                  <a:lnTo>
                    <a:pt x="127424" y="43810"/>
                  </a:lnTo>
                  <a:lnTo>
                    <a:pt x="127036" y="44327"/>
                  </a:lnTo>
                  <a:lnTo>
                    <a:pt x="126778" y="44715"/>
                  </a:lnTo>
                  <a:lnTo>
                    <a:pt x="126649" y="45361"/>
                  </a:lnTo>
                  <a:lnTo>
                    <a:pt x="126649" y="45878"/>
                  </a:lnTo>
                  <a:lnTo>
                    <a:pt x="127295" y="49884"/>
                  </a:lnTo>
                  <a:lnTo>
                    <a:pt x="127295" y="50660"/>
                  </a:lnTo>
                  <a:lnTo>
                    <a:pt x="127166" y="51176"/>
                  </a:lnTo>
                  <a:lnTo>
                    <a:pt x="127036" y="51693"/>
                  </a:lnTo>
                  <a:lnTo>
                    <a:pt x="126907" y="51952"/>
                  </a:lnTo>
                  <a:lnTo>
                    <a:pt x="126649" y="52339"/>
                  </a:lnTo>
                  <a:lnTo>
                    <a:pt x="115535" y="64229"/>
                  </a:lnTo>
                  <a:lnTo>
                    <a:pt x="113984" y="65263"/>
                  </a:lnTo>
                  <a:lnTo>
                    <a:pt x="111270" y="66555"/>
                  </a:lnTo>
                  <a:lnTo>
                    <a:pt x="110365" y="66814"/>
                  </a:lnTo>
                  <a:lnTo>
                    <a:pt x="102741" y="67977"/>
                  </a:lnTo>
                  <a:lnTo>
                    <a:pt x="100414" y="68752"/>
                  </a:lnTo>
                  <a:lnTo>
                    <a:pt x="97183" y="70820"/>
                  </a:lnTo>
                  <a:lnTo>
                    <a:pt x="79608" y="75472"/>
                  </a:lnTo>
                  <a:lnTo>
                    <a:pt x="78832" y="75989"/>
                  </a:lnTo>
                  <a:lnTo>
                    <a:pt x="78315" y="76248"/>
                  </a:lnTo>
                  <a:lnTo>
                    <a:pt x="77928" y="76635"/>
                  </a:lnTo>
                  <a:lnTo>
                    <a:pt x="77540" y="77023"/>
                  </a:lnTo>
                  <a:lnTo>
                    <a:pt x="77023" y="78057"/>
                  </a:lnTo>
                  <a:lnTo>
                    <a:pt x="75472" y="81805"/>
                  </a:lnTo>
                  <a:lnTo>
                    <a:pt x="74438" y="83614"/>
                  </a:lnTo>
                  <a:lnTo>
                    <a:pt x="74180" y="84389"/>
                  </a:lnTo>
                  <a:lnTo>
                    <a:pt x="74051" y="84777"/>
                  </a:lnTo>
                  <a:lnTo>
                    <a:pt x="73921" y="84777"/>
                  </a:lnTo>
                  <a:lnTo>
                    <a:pt x="73663" y="84648"/>
                  </a:lnTo>
                  <a:lnTo>
                    <a:pt x="73534" y="84260"/>
                  </a:lnTo>
                  <a:lnTo>
                    <a:pt x="73405" y="83743"/>
                  </a:lnTo>
                  <a:lnTo>
                    <a:pt x="73405" y="83097"/>
                  </a:lnTo>
                  <a:lnTo>
                    <a:pt x="73405" y="82451"/>
                  </a:lnTo>
                  <a:lnTo>
                    <a:pt x="74051" y="80900"/>
                  </a:lnTo>
                  <a:lnTo>
                    <a:pt x="74180" y="80254"/>
                  </a:lnTo>
                  <a:lnTo>
                    <a:pt x="74180" y="79608"/>
                  </a:lnTo>
                  <a:lnTo>
                    <a:pt x="73921" y="79091"/>
                  </a:lnTo>
                  <a:lnTo>
                    <a:pt x="73663" y="78703"/>
                  </a:lnTo>
                  <a:lnTo>
                    <a:pt x="72629" y="77540"/>
                  </a:lnTo>
                  <a:lnTo>
                    <a:pt x="71983" y="76506"/>
                  </a:lnTo>
                  <a:lnTo>
                    <a:pt x="71724" y="76119"/>
                  </a:lnTo>
                  <a:lnTo>
                    <a:pt x="71337" y="75731"/>
                  </a:lnTo>
                  <a:lnTo>
                    <a:pt x="71078" y="75731"/>
                  </a:lnTo>
                  <a:lnTo>
                    <a:pt x="68623" y="75214"/>
                  </a:lnTo>
                  <a:lnTo>
                    <a:pt x="68106" y="75085"/>
                  </a:lnTo>
                  <a:lnTo>
                    <a:pt x="67589" y="74826"/>
                  </a:lnTo>
                  <a:lnTo>
                    <a:pt x="66038" y="73405"/>
                  </a:lnTo>
                  <a:lnTo>
                    <a:pt x="64875" y="72888"/>
                  </a:lnTo>
                  <a:lnTo>
                    <a:pt x="64746" y="72758"/>
                  </a:lnTo>
                  <a:lnTo>
                    <a:pt x="63195" y="71595"/>
                  </a:lnTo>
                  <a:lnTo>
                    <a:pt x="62549" y="71337"/>
                  </a:lnTo>
                  <a:lnTo>
                    <a:pt x="60740" y="70949"/>
                  </a:lnTo>
                  <a:lnTo>
                    <a:pt x="60352" y="70691"/>
                  </a:lnTo>
                  <a:lnTo>
                    <a:pt x="59964" y="70432"/>
                  </a:lnTo>
                  <a:lnTo>
                    <a:pt x="59706" y="70045"/>
                  </a:lnTo>
                  <a:lnTo>
                    <a:pt x="59577" y="69657"/>
                  </a:lnTo>
                  <a:lnTo>
                    <a:pt x="59447" y="69140"/>
                  </a:lnTo>
                  <a:lnTo>
                    <a:pt x="59447" y="68494"/>
                  </a:lnTo>
                  <a:lnTo>
                    <a:pt x="59577" y="66555"/>
                  </a:lnTo>
                  <a:lnTo>
                    <a:pt x="59447" y="66038"/>
                  </a:lnTo>
                  <a:lnTo>
                    <a:pt x="59318" y="65780"/>
                  </a:lnTo>
                  <a:lnTo>
                    <a:pt x="58930" y="64617"/>
                  </a:lnTo>
                  <a:lnTo>
                    <a:pt x="56604" y="61774"/>
                  </a:lnTo>
                  <a:lnTo>
                    <a:pt x="55958" y="61515"/>
                  </a:lnTo>
                  <a:lnTo>
                    <a:pt x="55183" y="61515"/>
                  </a:lnTo>
                  <a:lnTo>
                    <a:pt x="52081" y="61644"/>
                  </a:lnTo>
                  <a:lnTo>
                    <a:pt x="51176" y="61515"/>
                  </a:lnTo>
                  <a:lnTo>
                    <a:pt x="47946" y="60481"/>
                  </a:lnTo>
                  <a:lnTo>
                    <a:pt x="46912" y="61257"/>
                  </a:lnTo>
                  <a:lnTo>
                    <a:pt x="46007" y="64875"/>
                  </a:lnTo>
                  <a:lnTo>
                    <a:pt x="46395" y="66038"/>
                  </a:lnTo>
                  <a:lnTo>
                    <a:pt x="48333" y="68494"/>
                  </a:lnTo>
                  <a:lnTo>
                    <a:pt x="49884" y="71208"/>
                  </a:lnTo>
                  <a:lnTo>
                    <a:pt x="49626" y="73146"/>
                  </a:lnTo>
                  <a:lnTo>
                    <a:pt x="46265" y="73534"/>
                  </a:lnTo>
                  <a:lnTo>
                    <a:pt x="56216" y="90851"/>
                  </a:lnTo>
                  <a:lnTo>
                    <a:pt x="61774" y="104421"/>
                  </a:lnTo>
                  <a:lnTo>
                    <a:pt x="65392" y="111270"/>
                  </a:lnTo>
                  <a:lnTo>
                    <a:pt x="69657" y="113725"/>
                  </a:lnTo>
                  <a:lnTo>
                    <a:pt x="71854" y="113725"/>
                  </a:lnTo>
                  <a:lnTo>
                    <a:pt x="73663" y="113984"/>
                  </a:lnTo>
                  <a:lnTo>
                    <a:pt x="74568" y="115147"/>
                  </a:lnTo>
                  <a:lnTo>
                    <a:pt x="74438" y="117473"/>
                  </a:lnTo>
                  <a:lnTo>
                    <a:pt x="67072" y="117602"/>
                  </a:lnTo>
                  <a:lnTo>
                    <a:pt x="65134" y="118119"/>
                  </a:lnTo>
                  <a:lnTo>
                    <a:pt x="63712" y="119412"/>
                  </a:lnTo>
                  <a:lnTo>
                    <a:pt x="62032" y="124969"/>
                  </a:lnTo>
                  <a:lnTo>
                    <a:pt x="56992" y="140994"/>
                  </a:lnTo>
                  <a:lnTo>
                    <a:pt x="51952" y="156889"/>
                  </a:lnTo>
                  <a:lnTo>
                    <a:pt x="46912" y="172914"/>
                  </a:lnTo>
                  <a:lnTo>
                    <a:pt x="41872" y="188939"/>
                  </a:lnTo>
                  <a:lnTo>
                    <a:pt x="40708" y="192816"/>
                  </a:lnTo>
                  <a:lnTo>
                    <a:pt x="44973" y="193204"/>
                  </a:lnTo>
                  <a:lnTo>
                    <a:pt x="46136" y="194109"/>
                  </a:lnTo>
                  <a:lnTo>
                    <a:pt x="46524" y="196435"/>
                  </a:lnTo>
                  <a:lnTo>
                    <a:pt x="47170" y="203026"/>
                  </a:lnTo>
                  <a:lnTo>
                    <a:pt x="47816" y="207937"/>
                  </a:lnTo>
                  <a:lnTo>
                    <a:pt x="41742" y="208324"/>
                  </a:lnTo>
                  <a:lnTo>
                    <a:pt x="39933" y="209617"/>
                  </a:lnTo>
                  <a:lnTo>
                    <a:pt x="37478" y="214786"/>
                  </a:lnTo>
                  <a:lnTo>
                    <a:pt x="34118" y="221635"/>
                  </a:lnTo>
                  <a:lnTo>
                    <a:pt x="26880" y="237014"/>
                  </a:lnTo>
                  <a:lnTo>
                    <a:pt x="19514" y="252393"/>
                  </a:lnTo>
                  <a:lnTo>
                    <a:pt x="16154" y="259372"/>
                  </a:lnTo>
                  <a:lnTo>
                    <a:pt x="16154" y="259372"/>
                  </a:lnTo>
                  <a:lnTo>
                    <a:pt x="16154" y="259372"/>
                  </a:lnTo>
                  <a:lnTo>
                    <a:pt x="14862" y="262215"/>
                  </a:lnTo>
                  <a:lnTo>
                    <a:pt x="12019" y="268289"/>
                  </a:lnTo>
                  <a:lnTo>
                    <a:pt x="9046" y="274492"/>
                  </a:lnTo>
                  <a:lnTo>
                    <a:pt x="7754" y="277206"/>
                  </a:lnTo>
                  <a:lnTo>
                    <a:pt x="4006" y="285218"/>
                  </a:lnTo>
                  <a:lnTo>
                    <a:pt x="4911" y="288449"/>
                  </a:lnTo>
                  <a:lnTo>
                    <a:pt x="12923" y="295816"/>
                  </a:lnTo>
                  <a:lnTo>
                    <a:pt x="21582" y="303699"/>
                  </a:lnTo>
                  <a:lnTo>
                    <a:pt x="32438" y="313520"/>
                  </a:lnTo>
                  <a:lnTo>
                    <a:pt x="31274" y="314942"/>
                  </a:lnTo>
                  <a:lnTo>
                    <a:pt x="30111" y="316880"/>
                  </a:lnTo>
                  <a:lnTo>
                    <a:pt x="28561" y="318561"/>
                  </a:lnTo>
                  <a:lnTo>
                    <a:pt x="26234" y="319724"/>
                  </a:lnTo>
                  <a:lnTo>
                    <a:pt x="23520" y="318948"/>
                  </a:lnTo>
                  <a:lnTo>
                    <a:pt x="21711" y="318819"/>
                  </a:lnTo>
                  <a:lnTo>
                    <a:pt x="20936" y="319336"/>
                  </a:lnTo>
                  <a:lnTo>
                    <a:pt x="20677" y="320241"/>
                  </a:lnTo>
                  <a:lnTo>
                    <a:pt x="20031" y="321145"/>
                  </a:lnTo>
                  <a:lnTo>
                    <a:pt x="18868" y="321791"/>
                  </a:lnTo>
                  <a:lnTo>
                    <a:pt x="17705" y="322050"/>
                  </a:lnTo>
                  <a:lnTo>
                    <a:pt x="14991" y="323213"/>
                  </a:lnTo>
                  <a:lnTo>
                    <a:pt x="11631" y="327995"/>
                  </a:lnTo>
                  <a:lnTo>
                    <a:pt x="8917" y="329028"/>
                  </a:lnTo>
                  <a:lnTo>
                    <a:pt x="8142" y="329545"/>
                  </a:lnTo>
                  <a:lnTo>
                    <a:pt x="6849" y="331484"/>
                  </a:lnTo>
                  <a:lnTo>
                    <a:pt x="6332" y="332130"/>
                  </a:lnTo>
                  <a:lnTo>
                    <a:pt x="4911" y="332776"/>
                  </a:lnTo>
                  <a:lnTo>
                    <a:pt x="388" y="334456"/>
                  </a:lnTo>
                  <a:lnTo>
                    <a:pt x="388" y="336265"/>
                  </a:lnTo>
                  <a:lnTo>
                    <a:pt x="1034" y="336653"/>
                  </a:lnTo>
                  <a:lnTo>
                    <a:pt x="1938" y="336524"/>
                  </a:lnTo>
                  <a:lnTo>
                    <a:pt x="2714" y="336783"/>
                  </a:lnTo>
                  <a:lnTo>
                    <a:pt x="3489" y="337558"/>
                  </a:lnTo>
                  <a:lnTo>
                    <a:pt x="4523" y="338850"/>
                  </a:lnTo>
                  <a:lnTo>
                    <a:pt x="4652" y="340143"/>
                  </a:lnTo>
                  <a:lnTo>
                    <a:pt x="775" y="341435"/>
                  </a:lnTo>
                  <a:lnTo>
                    <a:pt x="0" y="343373"/>
                  </a:lnTo>
                  <a:lnTo>
                    <a:pt x="646" y="345441"/>
                  </a:lnTo>
                  <a:lnTo>
                    <a:pt x="2714" y="346863"/>
                  </a:lnTo>
                  <a:lnTo>
                    <a:pt x="3360" y="346734"/>
                  </a:lnTo>
                  <a:lnTo>
                    <a:pt x="3877" y="346087"/>
                  </a:lnTo>
                  <a:lnTo>
                    <a:pt x="4523" y="345441"/>
                  </a:lnTo>
                  <a:lnTo>
                    <a:pt x="5686" y="345312"/>
                  </a:lnTo>
                  <a:lnTo>
                    <a:pt x="6332" y="345700"/>
                  </a:lnTo>
                  <a:lnTo>
                    <a:pt x="7237" y="346604"/>
                  </a:lnTo>
                  <a:lnTo>
                    <a:pt x="7754" y="347767"/>
                  </a:lnTo>
                  <a:lnTo>
                    <a:pt x="6720" y="350869"/>
                  </a:lnTo>
                  <a:lnTo>
                    <a:pt x="6979" y="353712"/>
                  </a:lnTo>
                  <a:lnTo>
                    <a:pt x="7625" y="356555"/>
                  </a:lnTo>
                  <a:lnTo>
                    <a:pt x="8529" y="358494"/>
                  </a:lnTo>
                  <a:lnTo>
                    <a:pt x="10209" y="360432"/>
                  </a:lnTo>
                  <a:lnTo>
                    <a:pt x="12535" y="362242"/>
                  </a:lnTo>
                  <a:lnTo>
                    <a:pt x="14862" y="363534"/>
                  </a:lnTo>
                  <a:lnTo>
                    <a:pt x="16930" y="364051"/>
                  </a:lnTo>
                  <a:lnTo>
                    <a:pt x="18480" y="364955"/>
                  </a:lnTo>
                  <a:lnTo>
                    <a:pt x="18222" y="366894"/>
                  </a:lnTo>
                  <a:lnTo>
                    <a:pt x="16542" y="370254"/>
                  </a:lnTo>
                  <a:lnTo>
                    <a:pt x="16283" y="372451"/>
                  </a:lnTo>
                  <a:lnTo>
                    <a:pt x="16413" y="375423"/>
                  </a:lnTo>
                  <a:lnTo>
                    <a:pt x="16930" y="378137"/>
                  </a:lnTo>
                  <a:lnTo>
                    <a:pt x="18093" y="380851"/>
                  </a:lnTo>
                  <a:lnTo>
                    <a:pt x="18222" y="382143"/>
                  </a:lnTo>
                  <a:lnTo>
                    <a:pt x="18093" y="384599"/>
                  </a:lnTo>
                  <a:lnTo>
                    <a:pt x="18351" y="386150"/>
                  </a:lnTo>
                  <a:lnTo>
                    <a:pt x="19773" y="388476"/>
                  </a:lnTo>
                  <a:lnTo>
                    <a:pt x="20290" y="389639"/>
                  </a:lnTo>
                  <a:lnTo>
                    <a:pt x="20160" y="390931"/>
                  </a:lnTo>
                  <a:lnTo>
                    <a:pt x="19385" y="393128"/>
                  </a:lnTo>
                  <a:lnTo>
                    <a:pt x="19514" y="394421"/>
                  </a:lnTo>
                  <a:lnTo>
                    <a:pt x="20160" y="395713"/>
                  </a:lnTo>
                  <a:lnTo>
                    <a:pt x="21194" y="396488"/>
                  </a:lnTo>
                  <a:lnTo>
                    <a:pt x="22099" y="396359"/>
                  </a:lnTo>
                  <a:lnTo>
                    <a:pt x="23004" y="392353"/>
                  </a:lnTo>
                  <a:lnTo>
                    <a:pt x="24425" y="391577"/>
                  </a:lnTo>
                  <a:lnTo>
                    <a:pt x="26105" y="391836"/>
                  </a:lnTo>
                  <a:lnTo>
                    <a:pt x="27656" y="392870"/>
                  </a:lnTo>
                  <a:lnTo>
                    <a:pt x="28044" y="393516"/>
                  </a:lnTo>
                  <a:lnTo>
                    <a:pt x="28690" y="395196"/>
                  </a:lnTo>
                  <a:lnTo>
                    <a:pt x="29078" y="395971"/>
                  </a:lnTo>
                  <a:lnTo>
                    <a:pt x="29724" y="396618"/>
                  </a:lnTo>
                  <a:lnTo>
                    <a:pt x="31404" y="397781"/>
                  </a:lnTo>
                  <a:lnTo>
                    <a:pt x="32308" y="398685"/>
                  </a:lnTo>
                  <a:lnTo>
                    <a:pt x="32567" y="399719"/>
                  </a:lnTo>
                  <a:lnTo>
                    <a:pt x="31791" y="400624"/>
                  </a:lnTo>
                  <a:lnTo>
                    <a:pt x="30499" y="401141"/>
                  </a:lnTo>
                  <a:lnTo>
                    <a:pt x="28173" y="401658"/>
                  </a:lnTo>
                  <a:lnTo>
                    <a:pt x="27397" y="402304"/>
                  </a:lnTo>
                  <a:lnTo>
                    <a:pt x="26234" y="403725"/>
                  </a:lnTo>
                  <a:lnTo>
                    <a:pt x="24554" y="404889"/>
                  </a:lnTo>
                  <a:lnTo>
                    <a:pt x="23779" y="405922"/>
                  </a:lnTo>
                  <a:lnTo>
                    <a:pt x="24425" y="406569"/>
                  </a:lnTo>
                  <a:lnTo>
                    <a:pt x="27268" y="406827"/>
                  </a:lnTo>
                  <a:lnTo>
                    <a:pt x="29465" y="407344"/>
                  </a:lnTo>
                  <a:lnTo>
                    <a:pt x="31274" y="408507"/>
                  </a:lnTo>
                  <a:lnTo>
                    <a:pt x="32438" y="410187"/>
                  </a:lnTo>
                  <a:lnTo>
                    <a:pt x="32696" y="412255"/>
                  </a:lnTo>
                  <a:lnTo>
                    <a:pt x="31533" y="413418"/>
                  </a:lnTo>
                  <a:lnTo>
                    <a:pt x="27139" y="415873"/>
                  </a:lnTo>
                  <a:lnTo>
                    <a:pt x="26234" y="417424"/>
                  </a:lnTo>
                  <a:lnTo>
                    <a:pt x="26493" y="418587"/>
                  </a:lnTo>
                  <a:lnTo>
                    <a:pt x="27268" y="419234"/>
                  </a:lnTo>
                  <a:lnTo>
                    <a:pt x="27914" y="419363"/>
                  </a:lnTo>
                  <a:lnTo>
                    <a:pt x="28302" y="419750"/>
                  </a:lnTo>
                  <a:lnTo>
                    <a:pt x="28819" y="419750"/>
                  </a:lnTo>
                  <a:lnTo>
                    <a:pt x="31274" y="421689"/>
                  </a:lnTo>
                  <a:lnTo>
                    <a:pt x="33730" y="424403"/>
                  </a:lnTo>
                  <a:lnTo>
                    <a:pt x="34505" y="424403"/>
                  </a:lnTo>
                  <a:lnTo>
                    <a:pt x="34893" y="422335"/>
                  </a:lnTo>
                  <a:lnTo>
                    <a:pt x="36961" y="424144"/>
                  </a:lnTo>
                  <a:lnTo>
                    <a:pt x="37090" y="426600"/>
                  </a:lnTo>
                  <a:lnTo>
                    <a:pt x="36056" y="429184"/>
                  </a:lnTo>
                  <a:lnTo>
                    <a:pt x="33213" y="433708"/>
                  </a:lnTo>
                  <a:lnTo>
                    <a:pt x="33213" y="435388"/>
                  </a:lnTo>
                  <a:lnTo>
                    <a:pt x="34893" y="438748"/>
                  </a:lnTo>
                  <a:lnTo>
                    <a:pt x="35539" y="443917"/>
                  </a:lnTo>
                  <a:lnTo>
                    <a:pt x="35151" y="449216"/>
                  </a:lnTo>
                  <a:lnTo>
                    <a:pt x="33730" y="454127"/>
                  </a:lnTo>
                  <a:lnTo>
                    <a:pt x="31274" y="457616"/>
                  </a:lnTo>
                  <a:lnTo>
                    <a:pt x="28173" y="459942"/>
                  </a:lnTo>
                  <a:lnTo>
                    <a:pt x="27656" y="460717"/>
                  </a:lnTo>
                  <a:lnTo>
                    <a:pt x="27527" y="462139"/>
                  </a:lnTo>
                  <a:lnTo>
                    <a:pt x="28044" y="463044"/>
                  </a:lnTo>
                  <a:lnTo>
                    <a:pt x="28819" y="463690"/>
                  </a:lnTo>
                  <a:lnTo>
                    <a:pt x="29078" y="464336"/>
                  </a:lnTo>
                  <a:lnTo>
                    <a:pt x="29982" y="465499"/>
                  </a:lnTo>
                  <a:lnTo>
                    <a:pt x="31662" y="466016"/>
                  </a:lnTo>
                  <a:lnTo>
                    <a:pt x="32825" y="467179"/>
                  </a:lnTo>
                  <a:lnTo>
                    <a:pt x="32050" y="470151"/>
                  </a:lnTo>
                  <a:lnTo>
                    <a:pt x="24942" y="481136"/>
                  </a:lnTo>
                  <a:lnTo>
                    <a:pt x="23262" y="485013"/>
                  </a:lnTo>
                  <a:lnTo>
                    <a:pt x="22874" y="487469"/>
                  </a:lnTo>
                  <a:lnTo>
                    <a:pt x="23004" y="489924"/>
                  </a:lnTo>
                  <a:lnTo>
                    <a:pt x="23779" y="491992"/>
                  </a:lnTo>
                  <a:lnTo>
                    <a:pt x="25717" y="492897"/>
                  </a:lnTo>
                  <a:lnTo>
                    <a:pt x="26751" y="493801"/>
                  </a:lnTo>
                  <a:lnTo>
                    <a:pt x="25976" y="496127"/>
                  </a:lnTo>
                  <a:lnTo>
                    <a:pt x="24683" y="498712"/>
                  </a:lnTo>
                  <a:lnTo>
                    <a:pt x="23908" y="500651"/>
                  </a:lnTo>
                  <a:lnTo>
                    <a:pt x="24425" y="502589"/>
                  </a:lnTo>
                  <a:lnTo>
                    <a:pt x="25459" y="504657"/>
                  </a:lnTo>
                  <a:lnTo>
                    <a:pt x="26880" y="506337"/>
                  </a:lnTo>
                  <a:lnTo>
                    <a:pt x="27914" y="506983"/>
                  </a:lnTo>
                  <a:lnTo>
                    <a:pt x="28561" y="508017"/>
                  </a:lnTo>
                  <a:lnTo>
                    <a:pt x="23908" y="515771"/>
                  </a:lnTo>
                  <a:lnTo>
                    <a:pt x="24037" y="517968"/>
                  </a:lnTo>
                  <a:lnTo>
                    <a:pt x="24425" y="520036"/>
                  </a:lnTo>
                  <a:lnTo>
                    <a:pt x="24296" y="522232"/>
                  </a:lnTo>
                  <a:lnTo>
                    <a:pt x="22874" y="524688"/>
                  </a:lnTo>
                  <a:lnTo>
                    <a:pt x="22099" y="526756"/>
                  </a:lnTo>
                  <a:lnTo>
                    <a:pt x="23133" y="528306"/>
                  </a:lnTo>
                  <a:lnTo>
                    <a:pt x="24554" y="530245"/>
                  </a:lnTo>
                  <a:lnTo>
                    <a:pt x="25330" y="532830"/>
                  </a:lnTo>
                  <a:lnTo>
                    <a:pt x="24942" y="534251"/>
                  </a:lnTo>
                  <a:lnTo>
                    <a:pt x="22357" y="539033"/>
                  </a:lnTo>
                  <a:lnTo>
                    <a:pt x="21323" y="539938"/>
                  </a:lnTo>
                  <a:lnTo>
                    <a:pt x="21194" y="541101"/>
                  </a:lnTo>
                  <a:lnTo>
                    <a:pt x="18739" y="547821"/>
                  </a:lnTo>
                  <a:lnTo>
                    <a:pt x="18609" y="549372"/>
                  </a:lnTo>
                  <a:lnTo>
                    <a:pt x="18609" y="551181"/>
                  </a:lnTo>
                  <a:lnTo>
                    <a:pt x="18868" y="552344"/>
                  </a:lnTo>
                  <a:lnTo>
                    <a:pt x="20290" y="553119"/>
                  </a:lnTo>
                  <a:lnTo>
                    <a:pt x="20290" y="553119"/>
                  </a:lnTo>
                  <a:lnTo>
                    <a:pt x="21453" y="554153"/>
                  </a:lnTo>
                  <a:lnTo>
                    <a:pt x="22487" y="555962"/>
                  </a:lnTo>
                  <a:lnTo>
                    <a:pt x="23779" y="557384"/>
                  </a:lnTo>
                  <a:lnTo>
                    <a:pt x="27397" y="558547"/>
                  </a:lnTo>
                  <a:lnTo>
                    <a:pt x="28561" y="558547"/>
                  </a:lnTo>
                  <a:lnTo>
                    <a:pt x="30370" y="557772"/>
                  </a:lnTo>
                  <a:lnTo>
                    <a:pt x="31145" y="557643"/>
                  </a:lnTo>
                  <a:lnTo>
                    <a:pt x="32050" y="558289"/>
                  </a:lnTo>
                  <a:lnTo>
                    <a:pt x="33601" y="559839"/>
                  </a:lnTo>
                  <a:lnTo>
                    <a:pt x="34118" y="560227"/>
                  </a:lnTo>
                  <a:lnTo>
                    <a:pt x="35410" y="559969"/>
                  </a:lnTo>
                  <a:lnTo>
                    <a:pt x="37090" y="558547"/>
                  </a:lnTo>
                  <a:lnTo>
                    <a:pt x="38253" y="558547"/>
                  </a:lnTo>
                  <a:lnTo>
                    <a:pt x="39287" y="558806"/>
                  </a:lnTo>
                  <a:lnTo>
                    <a:pt x="40192" y="558676"/>
                  </a:lnTo>
                  <a:lnTo>
                    <a:pt x="41484" y="558030"/>
                  </a:lnTo>
                  <a:lnTo>
                    <a:pt x="41225" y="557772"/>
                  </a:lnTo>
                  <a:lnTo>
                    <a:pt x="41225" y="557255"/>
                  </a:lnTo>
                  <a:lnTo>
                    <a:pt x="41355" y="556609"/>
                  </a:lnTo>
                  <a:lnTo>
                    <a:pt x="41613" y="556092"/>
                  </a:lnTo>
                  <a:lnTo>
                    <a:pt x="42001" y="556092"/>
                  </a:lnTo>
                  <a:lnTo>
                    <a:pt x="43035" y="556479"/>
                  </a:lnTo>
                  <a:lnTo>
                    <a:pt x="43422" y="556479"/>
                  </a:lnTo>
                  <a:lnTo>
                    <a:pt x="45619" y="555704"/>
                  </a:lnTo>
                  <a:lnTo>
                    <a:pt x="47041" y="555833"/>
                  </a:lnTo>
                  <a:lnTo>
                    <a:pt x="48463" y="556221"/>
                  </a:lnTo>
                  <a:lnTo>
                    <a:pt x="50660" y="556350"/>
                  </a:lnTo>
                  <a:lnTo>
                    <a:pt x="51823" y="555962"/>
                  </a:lnTo>
                  <a:lnTo>
                    <a:pt x="52598" y="555575"/>
                  </a:lnTo>
                  <a:lnTo>
                    <a:pt x="53373" y="555316"/>
                  </a:lnTo>
                  <a:lnTo>
                    <a:pt x="54407" y="555833"/>
                  </a:lnTo>
                  <a:lnTo>
                    <a:pt x="56087" y="560357"/>
                  </a:lnTo>
                  <a:lnTo>
                    <a:pt x="57250" y="562683"/>
                  </a:lnTo>
                  <a:lnTo>
                    <a:pt x="58672" y="564104"/>
                  </a:lnTo>
                  <a:lnTo>
                    <a:pt x="60610" y="564621"/>
                  </a:lnTo>
                  <a:lnTo>
                    <a:pt x="63066" y="564233"/>
                  </a:lnTo>
                  <a:lnTo>
                    <a:pt x="64100" y="563846"/>
                  </a:lnTo>
                  <a:lnTo>
                    <a:pt x="64487" y="563458"/>
                  </a:lnTo>
                  <a:lnTo>
                    <a:pt x="65004" y="563329"/>
                  </a:lnTo>
                  <a:lnTo>
                    <a:pt x="66426" y="563458"/>
                  </a:lnTo>
                  <a:lnTo>
                    <a:pt x="67201" y="563846"/>
                  </a:lnTo>
                  <a:lnTo>
                    <a:pt x="69657" y="565526"/>
                  </a:lnTo>
                  <a:lnTo>
                    <a:pt x="73792" y="564492"/>
                  </a:lnTo>
                  <a:lnTo>
                    <a:pt x="74826" y="564492"/>
                  </a:lnTo>
                  <a:lnTo>
                    <a:pt x="77023" y="565397"/>
                  </a:lnTo>
                  <a:lnTo>
                    <a:pt x="78186" y="565397"/>
                  </a:lnTo>
                  <a:lnTo>
                    <a:pt x="79737" y="566043"/>
                  </a:lnTo>
                  <a:lnTo>
                    <a:pt x="83226" y="568240"/>
                  </a:lnTo>
                  <a:lnTo>
                    <a:pt x="83872" y="568240"/>
                  </a:lnTo>
                  <a:lnTo>
                    <a:pt x="84260" y="567594"/>
                  </a:lnTo>
                  <a:lnTo>
                    <a:pt x="85165" y="567852"/>
                  </a:lnTo>
                  <a:lnTo>
                    <a:pt x="86845" y="568757"/>
                  </a:lnTo>
                  <a:lnTo>
                    <a:pt x="88008" y="568757"/>
                  </a:lnTo>
                  <a:lnTo>
                    <a:pt x="88525" y="568110"/>
                  </a:lnTo>
                  <a:lnTo>
                    <a:pt x="88783" y="567335"/>
                  </a:lnTo>
                  <a:lnTo>
                    <a:pt x="88913" y="567077"/>
                  </a:lnTo>
                  <a:lnTo>
                    <a:pt x="90593" y="567206"/>
                  </a:lnTo>
                  <a:lnTo>
                    <a:pt x="95374" y="568369"/>
                  </a:lnTo>
                  <a:lnTo>
                    <a:pt x="97442" y="567981"/>
                  </a:lnTo>
                  <a:lnTo>
                    <a:pt x="100027" y="565784"/>
                  </a:lnTo>
                  <a:lnTo>
                    <a:pt x="101578" y="565397"/>
                  </a:lnTo>
                  <a:lnTo>
                    <a:pt x="101965" y="565784"/>
                  </a:lnTo>
                  <a:lnTo>
                    <a:pt x="102353" y="567594"/>
                  </a:lnTo>
                  <a:lnTo>
                    <a:pt x="103128" y="568240"/>
                  </a:lnTo>
                  <a:lnTo>
                    <a:pt x="104033" y="568369"/>
                  </a:lnTo>
                  <a:lnTo>
                    <a:pt x="104808" y="567981"/>
                  </a:lnTo>
                  <a:lnTo>
                    <a:pt x="105325" y="567594"/>
                  </a:lnTo>
                  <a:lnTo>
                    <a:pt x="106230" y="567464"/>
                  </a:lnTo>
                  <a:lnTo>
                    <a:pt x="107910" y="567723"/>
                  </a:lnTo>
                  <a:lnTo>
                    <a:pt x="111141" y="568886"/>
                  </a:lnTo>
                  <a:lnTo>
                    <a:pt x="112175" y="569403"/>
                  </a:lnTo>
                  <a:lnTo>
                    <a:pt x="112175" y="569661"/>
                  </a:lnTo>
                  <a:lnTo>
                    <a:pt x="112304" y="570178"/>
                  </a:lnTo>
                  <a:lnTo>
                    <a:pt x="112821" y="570566"/>
                  </a:lnTo>
                  <a:lnTo>
                    <a:pt x="114759" y="570954"/>
                  </a:lnTo>
                  <a:lnTo>
                    <a:pt x="115276" y="571083"/>
                  </a:lnTo>
                  <a:lnTo>
                    <a:pt x="115922" y="571212"/>
                  </a:lnTo>
                  <a:lnTo>
                    <a:pt x="116698" y="570824"/>
                  </a:lnTo>
                  <a:lnTo>
                    <a:pt x="118119" y="570566"/>
                  </a:lnTo>
                  <a:lnTo>
                    <a:pt x="121479" y="570824"/>
                  </a:lnTo>
                  <a:lnTo>
                    <a:pt x="123289" y="570695"/>
                  </a:lnTo>
                  <a:lnTo>
                    <a:pt x="125873" y="571471"/>
                  </a:lnTo>
                  <a:lnTo>
                    <a:pt x="127036" y="571600"/>
                  </a:lnTo>
                  <a:lnTo>
                    <a:pt x="128200" y="570824"/>
                  </a:lnTo>
                  <a:lnTo>
                    <a:pt x="128070" y="572634"/>
                  </a:lnTo>
                  <a:lnTo>
                    <a:pt x="128716" y="573021"/>
                  </a:lnTo>
                  <a:lnTo>
                    <a:pt x="129492" y="572892"/>
                  </a:lnTo>
                  <a:lnTo>
                    <a:pt x="130526" y="573021"/>
                  </a:lnTo>
                  <a:lnTo>
                    <a:pt x="132464" y="573926"/>
                  </a:lnTo>
                  <a:lnTo>
                    <a:pt x="133498" y="573926"/>
                  </a:lnTo>
                  <a:lnTo>
                    <a:pt x="134790" y="570954"/>
                  </a:lnTo>
                  <a:lnTo>
                    <a:pt x="135954" y="572763"/>
                  </a:lnTo>
                  <a:lnTo>
                    <a:pt x="137117" y="575606"/>
                  </a:lnTo>
                  <a:lnTo>
                    <a:pt x="137375" y="577157"/>
                  </a:lnTo>
                  <a:lnTo>
                    <a:pt x="139831" y="577415"/>
                  </a:lnTo>
                  <a:lnTo>
                    <a:pt x="141252" y="577028"/>
                  </a:lnTo>
                  <a:lnTo>
                    <a:pt x="141252" y="577028"/>
                  </a:lnTo>
                  <a:lnTo>
                    <a:pt x="143708" y="574314"/>
                  </a:lnTo>
                  <a:lnTo>
                    <a:pt x="144483" y="573280"/>
                  </a:lnTo>
                  <a:lnTo>
                    <a:pt x="144612" y="572504"/>
                  </a:lnTo>
                  <a:lnTo>
                    <a:pt x="145000" y="572246"/>
                  </a:lnTo>
                  <a:lnTo>
                    <a:pt x="146421" y="572763"/>
                  </a:lnTo>
                  <a:lnTo>
                    <a:pt x="147197" y="572763"/>
                  </a:lnTo>
                  <a:lnTo>
                    <a:pt x="150686" y="571600"/>
                  </a:lnTo>
                  <a:lnTo>
                    <a:pt x="151591" y="571858"/>
                  </a:lnTo>
                  <a:lnTo>
                    <a:pt x="151720" y="572375"/>
                  </a:lnTo>
                  <a:lnTo>
                    <a:pt x="151849" y="572504"/>
                  </a:lnTo>
                  <a:lnTo>
                    <a:pt x="153012" y="571858"/>
                  </a:lnTo>
                  <a:lnTo>
                    <a:pt x="153529" y="571083"/>
                  </a:lnTo>
                  <a:lnTo>
                    <a:pt x="154305" y="569015"/>
                  </a:lnTo>
                  <a:lnTo>
                    <a:pt x="154951" y="568498"/>
                  </a:lnTo>
                  <a:lnTo>
                    <a:pt x="156631" y="569403"/>
                  </a:lnTo>
                  <a:lnTo>
                    <a:pt x="160379" y="573668"/>
                  </a:lnTo>
                  <a:lnTo>
                    <a:pt x="162059" y="574055"/>
                  </a:lnTo>
                  <a:lnTo>
                    <a:pt x="162576" y="573151"/>
                  </a:lnTo>
                  <a:lnTo>
                    <a:pt x="161413" y="571083"/>
                  </a:lnTo>
                  <a:lnTo>
                    <a:pt x="162059" y="570307"/>
                  </a:lnTo>
                  <a:lnTo>
                    <a:pt x="163222" y="570049"/>
                  </a:lnTo>
                  <a:lnTo>
                    <a:pt x="164127" y="569661"/>
                  </a:lnTo>
                  <a:lnTo>
                    <a:pt x="167745" y="566947"/>
                  </a:lnTo>
                  <a:lnTo>
                    <a:pt x="168908" y="565655"/>
                  </a:lnTo>
                  <a:lnTo>
                    <a:pt x="170717" y="562424"/>
                  </a:lnTo>
                  <a:lnTo>
                    <a:pt x="170976" y="562166"/>
                  </a:lnTo>
                  <a:lnTo>
                    <a:pt x="171751" y="561778"/>
                  </a:lnTo>
                  <a:lnTo>
                    <a:pt x="172139" y="561261"/>
                  </a:lnTo>
                  <a:lnTo>
                    <a:pt x="172656" y="559452"/>
                  </a:lnTo>
                  <a:lnTo>
                    <a:pt x="173044" y="558676"/>
                  </a:lnTo>
                  <a:lnTo>
                    <a:pt x="174724" y="556350"/>
                  </a:lnTo>
                  <a:lnTo>
                    <a:pt x="175628" y="555316"/>
                  </a:lnTo>
                  <a:lnTo>
                    <a:pt x="176791" y="554283"/>
                  </a:lnTo>
                  <a:lnTo>
                    <a:pt x="178601" y="553766"/>
                  </a:lnTo>
                  <a:lnTo>
                    <a:pt x="186355" y="552344"/>
                  </a:lnTo>
                  <a:lnTo>
                    <a:pt x="187776" y="552473"/>
                  </a:lnTo>
                  <a:lnTo>
                    <a:pt x="188939" y="553636"/>
                  </a:lnTo>
                  <a:lnTo>
                    <a:pt x="191783" y="560744"/>
                  </a:lnTo>
                  <a:lnTo>
                    <a:pt x="194238" y="564492"/>
                  </a:lnTo>
                  <a:lnTo>
                    <a:pt x="197598" y="567594"/>
                  </a:lnTo>
                  <a:lnTo>
                    <a:pt x="203543" y="571212"/>
                  </a:lnTo>
                  <a:lnTo>
                    <a:pt x="206644" y="574314"/>
                  </a:lnTo>
                  <a:lnTo>
                    <a:pt x="208583" y="575477"/>
                  </a:lnTo>
                  <a:lnTo>
                    <a:pt x="210392" y="575865"/>
                  </a:lnTo>
                  <a:lnTo>
                    <a:pt x="228872" y="576769"/>
                  </a:lnTo>
                  <a:lnTo>
                    <a:pt x="230294" y="576381"/>
                  </a:lnTo>
                  <a:lnTo>
                    <a:pt x="231586" y="575606"/>
                  </a:lnTo>
                  <a:lnTo>
                    <a:pt x="233008" y="576381"/>
                  </a:lnTo>
                  <a:lnTo>
                    <a:pt x="234559" y="577545"/>
                  </a:lnTo>
                  <a:lnTo>
                    <a:pt x="236239" y="578449"/>
                  </a:lnTo>
                  <a:lnTo>
                    <a:pt x="242959" y="579095"/>
                  </a:lnTo>
                  <a:lnTo>
                    <a:pt x="244898" y="580258"/>
                  </a:lnTo>
                  <a:lnTo>
                    <a:pt x="245156" y="579483"/>
                  </a:lnTo>
                  <a:lnTo>
                    <a:pt x="246319" y="577028"/>
                  </a:lnTo>
                  <a:lnTo>
                    <a:pt x="251747" y="584394"/>
                  </a:lnTo>
                  <a:lnTo>
                    <a:pt x="256012" y="587625"/>
                  </a:lnTo>
                  <a:lnTo>
                    <a:pt x="257175" y="588788"/>
                  </a:lnTo>
                  <a:lnTo>
                    <a:pt x="258079" y="591631"/>
                  </a:lnTo>
                  <a:lnTo>
                    <a:pt x="258467" y="601324"/>
                  </a:lnTo>
                  <a:lnTo>
                    <a:pt x="259113" y="605588"/>
                  </a:lnTo>
                  <a:lnTo>
                    <a:pt x="261052" y="609336"/>
                  </a:lnTo>
                  <a:lnTo>
                    <a:pt x="263765" y="612308"/>
                  </a:lnTo>
                  <a:lnTo>
                    <a:pt x="267384" y="614247"/>
                  </a:lnTo>
                  <a:lnTo>
                    <a:pt x="269581" y="615022"/>
                  </a:lnTo>
                  <a:lnTo>
                    <a:pt x="271003" y="615927"/>
                  </a:lnTo>
                  <a:lnTo>
                    <a:pt x="271778" y="617219"/>
                  </a:lnTo>
                  <a:lnTo>
                    <a:pt x="272036" y="619675"/>
                  </a:lnTo>
                  <a:lnTo>
                    <a:pt x="272036" y="620579"/>
                  </a:lnTo>
                  <a:lnTo>
                    <a:pt x="271390" y="622388"/>
                  </a:lnTo>
                  <a:lnTo>
                    <a:pt x="271261" y="623422"/>
                  </a:lnTo>
                  <a:lnTo>
                    <a:pt x="271520" y="624456"/>
                  </a:lnTo>
                  <a:lnTo>
                    <a:pt x="272295" y="626266"/>
                  </a:lnTo>
                  <a:lnTo>
                    <a:pt x="272295" y="627299"/>
                  </a:lnTo>
                  <a:lnTo>
                    <a:pt x="271261" y="631176"/>
                  </a:lnTo>
                  <a:lnTo>
                    <a:pt x="269323" y="634536"/>
                  </a:lnTo>
                  <a:lnTo>
                    <a:pt x="268030" y="638026"/>
                  </a:lnTo>
                  <a:lnTo>
                    <a:pt x="268289" y="642291"/>
                  </a:lnTo>
                  <a:lnTo>
                    <a:pt x="270615" y="651208"/>
                  </a:lnTo>
                  <a:lnTo>
                    <a:pt x="270615" y="653275"/>
                  </a:lnTo>
                  <a:lnTo>
                    <a:pt x="269969" y="657152"/>
                  </a:lnTo>
                  <a:lnTo>
                    <a:pt x="270227" y="659091"/>
                  </a:lnTo>
                  <a:lnTo>
                    <a:pt x="273070" y="662322"/>
                  </a:lnTo>
                  <a:lnTo>
                    <a:pt x="274233" y="664131"/>
                  </a:lnTo>
                  <a:lnTo>
                    <a:pt x="274750" y="666457"/>
                  </a:lnTo>
                  <a:lnTo>
                    <a:pt x="274233" y="670593"/>
                  </a:lnTo>
                  <a:lnTo>
                    <a:pt x="274363" y="672531"/>
                  </a:lnTo>
                  <a:lnTo>
                    <a:pt x="275526" y="674082"/>
                  </a:lnTo>
                  <a:lnTo>
                    <a:pt x="278498" y="675891"/>
                  </a:lnTo>
                  <a:lnTo>
                    <a:pt x="278886" y="676925"/>
                  </a:lnTo>
                  <a:lnTo>
                    <a:pt x="281212" y="685454"/>
                  </a:lnTo>
                  <a:lnTo>
                    <a:pt x="281212" y="687393"/>
                  </a:lnTo>
                  <a:lnTo>
                    <a:pt x="278627" y="692692"/>
                  </a:lnTo>
                  <a:lnTo>
                    <a:pt x="278369" y="694630"/>
                  </a:lnTo>
                  <a:lnTo>
                    <a:pt x="279015" y="697215"/>
                  </a:lnTo>
                  <a:lnTo>
                    <a:pt x="282375" y="700704"/>
                  </a:lnTo>
                  <a:lnTo>
                    <a:pt x="283538" y="702901"/>
                  </a:lnTo>
                  <a:lnTo>
                    <a:pt x="283280" y="706520"/>
                  </a:lnTo>
                  <a:lnTo>
                    <a:pt x="280437" y="712981"/>
                  </a:lnTo>
                  <a:lnTo>
                    <a:pt x="280695" y="716987"/>
                  </a:lnTo>
                  <a:lnTo>
                    <a:pt x="281341" y="720477"/>
                  </a:lnTo>
                  <a:lnTo>
                    <a:pt x="281471" y="720865"/>
                  </a:lnTo>
                  <a:lnTo>
                    <a:pt x="281341" y="725000"/>
                  </a:lnTo>
                  <a:lnTo>
                    <a:pt x="281729" y="728877"/>
                  </a:lnTo>
                  <a:lnTo>
                    <a:pt x="283797" y="731979"/>
                  </a:lnTo>
                  <a:lnTo>
                    <a:pt x="288578" y="737019"/>
                  </a:lnTo>
                  <a:lnTo>
                    <a:pt x="290905" y="744256"/>
                  </a:lnTo>
                  <a:lnTo>
                    <a:pt x="292455" y="766742"/>
                  </a:lnTo>
                  <a:lnTo>
                    <a:pt x="293489" y="769715"/>
                  </a:lnTo>
                  <a:lnTo>
                    <a:pt x="295945" y="772299"/>
                  </a:lnTo>
                  <a:lnTo>
                    <a:pt x="299176" y="773850"/>
                  </a:lnTo>
                  <a:lnTo>
                    <a:pt x="305896" y="774367"/>
                  </a:lnTo>
                  <a:lnTo>
                    <a:pt x="309385" y="775143"/>
                  </a:lnTo>
                  <a:lnTo>
                    <a:pt x="309385" y="775143"/>
                  </a:lnTo>
                  <a:lnTo>
                    <a:pt x="309385" y="775143"/>
                  </a:lnTo>
                  <a:lnTo>
                    <a:pt x="309385" y="775143"/>
                  </a:lnTo>
                  <a:lnTo>
                    <a:pt x="309385" y="775143"/>
                  </a:lnTo>
                  <a:lnTo>
                    <a:pt x="313133" y="776564"/>
                  </a:lnTo>
                  <a:lnTo>
                    <a:pt x="317010" y="777340"/>
                  </a:lnTo>
                  <a:lnTo>
                    <a:pt x="320758" y="776952"/>
                  </a:lnTo>
                  <a:lnTo>
                    <a:pt x="324505" y="775143"/>
                  </a:lnTo>
                  <a:lnTo>
                    <a:pt x="324505" y="775143"/>
                  </a:lnTo>
                  <a:lnTo>
                    <a:pt x="324505" y="775143"/>
                  </a:lnTo>
                  <a:lnTo>
                    <a:pt x="327219" y="773721"/>
                  </a:lnTo>
                  <a:lnTo>
                    <a:pt x="333939" y="773721"/>
                  </a:lnTo>
                  <a:lnTo>
                    <a:pt x="337299" y="772816"/>
                  </a:lnTo>
                  <a:lnTo>
                    <a:pt x="339109" y="771912"/>
                  </a:lnTo>
                  <a:lnTo>
                    <a:pt x="342727" y="771783"/>
                  </a:lnTo>
                  <a:lnTo>
                    <a:pt x="344536" y="771524"/>
                  </a:lnTo>
                  <a:lnTo>
                    <a:pt x="346346" y="770361"/>
                  </a:lnTo>
                  <a:lnTo>
                    <a:pt x="348672" y="767259"/>
                  </a:lnTo>
                  <a:lnTo>
                    <a:pt x="350094" y="765838"/>
                  </a:lnTo>
                  <a:lnTo>
                    <a:pt x="356943" y="761832"/>
                  </a:lnTo>
                  <a:lnTo>
                    <a:pt x="371029" y="757050"/>
                  </a:lnTo>
                  <a:lnTo>
                    <a:pt x="372839" y="756016"/>
                  </a:lnTo>
                  <a:lnTo>
                    <a:pt x="375553" y="753044"/>
                  </a:lnTo>
                  <a:lnTo>
                    <a:pt x="377103" y="752268"/>
                  </a:lnTo>
                  <a:lnTo>
                    <a:pt x="379947" y="753044"/>
                  </a:lnTo>
                  <a:lnTo>
                    <a:pt x="398168" y="763382"/>
                  </a:lnTo>
                  <a:lnTo>
                    <a:pt x="400236" y="765062"/>
                  </a:lnTo>
                  <a:lnTo>
                    <a:pt x="406181" y="773333"/>
                  </a:lnTo>
                  <a:lnTo>
                    <a:pt x="416261" y="779278"/>
                  </a:lnTo>
                  <a:lnTo>
                    <a:pt x="419233" y="780958"/>
                  </a:lnTo>
                  <a:lnTo>
                    <a:pt x="423628" y="778632"/>
                  </a:lnTo>
                  <a:lnTo>
                    <a:pt x="425695" y="777081"/>
                  </a:lnTo>
                  <a:lnTo>
                    <a:pt x="426600" y="775659"/>
                  </a:lnTo>
                  <a:lnTo>
                    <a:pt x="435000" y="771266"/>
                  </a:lnTo>
                  <a:lnTo>
                    <a:pt x="437326" y="769198"/>
                  </a:lnTo>
                  <a:lnTo>
                    <a:pt x="438102" y="764028"/>
                  </a:lnTo>
                  <a:lnTo>
                    <a:pt x="438360" y="753690"/>
                  </a:lnTo>
                  <a:lnTo>
                    <a:pt x="439394" y="748779"/>
                  </a:lnTo>
                  <a:lnTo>
                    <a:pt x="442754" y="739862"/>
                  </a:lnTo>
                  <a:lnTo>
                    <a:pt x="443659" y="732883"/>
                  </a:lnTo>
                  <a:lnTo>
                    <a:pt x="448569" y="715566"/>
                  </a:lnTo>
                  <a:lnTo>
                    <a:pt x="448569" y="711430"/>
                  </a:lnTo>
                  <a:lnTo>
                    <a:pt x="448957" y="710397"/>
                  </a:lnTo>
                  <a:lnTo>
                    <a:pt x="451154" y="708200"/>
                  </a:lnTo>
                  <a:lnTo>
                    <a:pt x="460330" y="704452"/>
                  </a:lnTo>
                  <a:lnTo>
                    <a:pt x="471961" y="696956"/>
                  </a:lnTo>
                  <a:lnTo>
                    <a:pt x="474933" y="693338"/>
                  </a:lnTo>
                  <a:lnTo>
                    <a:pt x="477130" y="688944"/>
                  </a:lnTo>
                  <a:lnTo>
                    <a:pt x="480232" y="680027"/>
                  </a:lnTo>
                  <a:lnTo>
                    <a:pt x="482299" y="675762"/>
                  </a:lnTo>
                  <a:lnTo>
                    <a:pt x="483980" y="671239"/>
                  </a:lnTo>
                  <a:lnTo>
                    <a:pt x="484884" y="661159"/>
                  </a:lnTo>
                  <a:lnTo>
                    <a:pt x="485918" y="656894"/>
                  </a:lnTo>
                  <a:lnTo>
                    <a:pt x="488761" y="649786"/>
                  </a:lnTo>
                  <a:lnTo>
                    <a:pt x="490054" y="647718"/>
                  </a:lnTo>
                  <a:lnTo>
                    <a:pt x="493414" y="644229"/>
                  </a:lnTo>
                  <a:lnTo>
                    <a:pt x="501297" y="639447"/>
                  </a:lnTo>
                  <a:lnTo>
                    <a:pt x="534639" y="624586"/>
                  </a:lnTo>
                  <a:lnTo>
                    <a:pt x="537999" y="621613"/>
                  </a:lnTo>
                  <a:lnTo>
                    <a:pt x="540972" y="617995"/>
                  </a:lnTo>
                  <a:lnTo>
                    <a:pt x="546916" y="606493"/>
                  </a:lnTo>
                  <a:lnTo>
                    <a:pt x="547433" y="605717"/>
                  </a:lnTo>
                  <a:lnTo>
                    <a:pt x="548725" y="605330"/>
                  </a:lnTo>
                  <a:lnTo>
                    <a:pt x="550276" y="604942"/>
                  </a:lnTo>
                  <a:lnTo>
                    <a:pt x="551310" y="604554"/>
                  </a:lnTo>
                  <a:lnTo>
                    <a:pt x="552215" y="603391"/>
                  </a:lnTo>
                  <a:lnTo>
                    <a:pt x="554024" y="599643"/>
                  </a:lnTo>
                  <a:lnTo>
                    <a:pt x="556092" y="596542"/>
                  </a:lnTo>
                  <a:lnTo>
                    <a:pt x="556867" y="596025"/>
                  </a:lnTo>
                  <a:lnTo>
                    <a:pt x="557772" y="596800"/>
                  </a:lnTo>
                  <a:lnTo>
                    <a:pt x="559323" y="596800"/>
                  </a:lnTo>
                  <a:lnTo>
                    <a:pt x="561261" y="596154"/>
                  </a:lnTo>
                  <a:lnTo>
                    <a:pt x="569403" y="592148"/>
                  </a:lnTo>
                  <a:lnTo>
                    <a:pt x="569920" y="591502"/>
                  </a:lnTo>
                  <a:lnTo>
                    <a:pt x="571083" y="588788"/>
                  </a:lnTo>
                  <a:lnTo>
                    <a:pt x="571600" y="588013"/>
                  </a:lnTo>
                  <a:lnTo>
                    <a:pt x="572246" y="587495"/>
                  </a:lnTo>
                  <a:lnTo>
                    <a:pt x="582197" y="581421"/>
                  </a:lnTo>
                  <a:lnTo>
                    <a:pt x="585557" y="578578"/>
                  </a:lnTo>
                  <a:lnTo>
                    <a:pt x="587237" y="577545"/>
                  </a:lnTo>
                  <a:lnTo>
                    <a:pt x="593182" y="575218"/>
                  </a:lnTo>
                  <a:lnTo>
                    <a:pt x="596671" y="572375"/>
                  </a:lnTo>
                  <a:lnTo>
                    <a:pt x="598610" y="571212"/>
                  </a:lnTo>
                  <a:lnTo>
                    <a:pt x="599773" y="570824"/>
                  </a:lnTo>
                  <a:lnTo>
                    <a:pt x="601970" y="570437"/>
                  </a:lnTo>
                  <a:lnTo>
                    <a:pt x="603004" y="570178"/>
                  </a:lnTo>
                  <a:lnTo>
                    <a:pt x="604037" y="569403"/>
                  </a:lnTo>
                  <a:lnTo>
                    <a:pt x="606622" y="566689"/>
                  </a:lnTo>
                  <a:lnTo>
                    <a:pt x="607398" y="566172"/>
                  </a:lnTo>
                  <a:lnTo>
                    <a:pt x="610111" y="564880"/>
                  </a:lnTo>
                  <a:lnTo>
                    <a:pt x="610887" y="564104"/>
                  </a:lnTo>
                  <a:lnTo>
                    <a:pt x="612696" y="561778"/>
                  </a:lnTo>
                  <a:lnTo>
                    <a:pt x="620062" y="555187"/>
                  </a:lnTo>
                  <a:lnTo>
                    <a:pt x="620579" y="554283"/>
                  </a:lnTo>
                  <a:lnTo>
                    <a:pt x="621226" y="551310"/>
                  </a:lnTo>
                  <a:lnTo>
                    <a:pt x="621613" y="550276"/>
                  </a:lnTo>
                  <a:lnTo>
                    <a:pt x="624844" y="543685"/>
                  </a:lnTo>
                  <a:lnTo>
                    <a:pt x="625361" y="542005"/>
                  </a:lnTo>
                  <a:lnTo>
                    <a:pt x="625749" y="538516"/>
                  </a:lnTo>
                  <a:lnTo>
                    <a:pt x="626007" y="536965"/>
                  </a:lnTo>
                  <a:lnTo>
                    <a:pt x="627170" y="535156"/>
                  </a:lnTo>
                  <a:lnTo>
                    <a:pt x="632598" y="529987"/>
                  </a:lnTo>
                  <a:lnTo>
                    <a:pt x="633373" y="529470"/>
                  </a:lnTo>
                  <a:lnTo>
                    <a:pt x="635312" y="528694"/>
                  </a:lnTo>
                  <a:lnTo>
                    <a:pt x="636346" y="528048"/>
                  </a:lnTo>
                  <a:lnTo>
                    <a:pt x="637380" y="527014"/>
                  </a:lnTo>
                  <a:lnTo>
                    <a:pt x="638155" y="525722"/>
                  </a:lnTo>
                  <a:lnTo>
                    <a:pt x="638801" y="524430"/>
                  </a:lnTo>
                  <a:lnTo>
                    <a:pt x="639318" y="523137"/>
                  </a:lnTo>
                  <a:lnTo>
                    <a:pt x="639447" y="520811"/>
                  </a:lnTo>
                  <a:lnTo>
                    <a:pt x="639835" y="519519"/>
                  </a:lnTo>
                  <a:lnTo>
                    <a:pt x="643325" y="513832"/>
                  </a:lnTo>
                  <a:lnTo>
                    <a:pt x="644875" y="512928"/>
                  </a:lnTo>
                  <a:lnTo>
                    <a:pt x="648623" y="511248"/>
                  </a:lnTo>
                  <a:lnTo>
                    <a:pt x="651208" y="509438"/>
                  </a:lnTo>
                  <a:lnTo>
                    <a:pt x="653146" y="507629"/>
                  </a:lnTo>
                  <a:lnTo>
                    <a:pt x="654955" y="505561"/>
                  </a:lnTo>
                  <a:lnTo>
                    <a:pt x="655343" y="502977"/>
                  </a:lnTo>
                  <a:lnTo>
                    <a:pt x="655214" y="502201"/>
                  </a:lnTo>
                  <a:lnTo>
                    <a:pt x="654180" y="500651"/>
                  </a:lnTo>
                  <a:lnTo>
                    <a:pt x="652888" y="500134"/>
                  </a:lnTo>
                  <a:lnTo>
                    <a:pt x="648235" y="492250"/>
                  </a:lnTo>
                  <a:lnTo>
                    <a:pt x="648494" y="489149"/>
                  </a:lnTo>
                  <a:lnTo>
                    <a:pt x="648881" y="488890"/>
                  </a:lnTo>
                  <a:lnTo>
                    <a:pt x="649786" y="488632"/>
                  </a:lnTo>
                  <a:lnTo>
                    <a:pt x="650174" y="488244"/>
                  </a:lnTo>
                  <a:lnTo>
                    <a:pt x="650562" y="487727"/>
                  </a:lnTo>
                  <a:lnTo>
                    <a:pt x="650562" y="487210"/>
                  </a:lnTo>
                  <a:lnTo>
                    <a:pt x="650691" y="486693"/>
                  </a:lnTo>
                  <a:lnTo>
                    <a:pt x="650691" y="486047"/>
                  </a:lnTo>
                  <a:lnTo>
                    <a:pt x="651337" y="484884"/>
                  </a:lnTo>
                  <a:lnTo>
                    <a:pt x="652112" y="484238"/>
                  </a:lnTo>
                  <a:lnTo>
                    <a:pt x="653017" y="483979"/>
                  </a:lnTo>
                  <a:lnTo>
                    <a:pt x="654309" y="483979"/>
                  </a:lnTo>
                  <a:lnTo>
                    <a:pt x="656377" y="484238"/>
                  </a:lnTo>
                  <a:lnTo>
                    <a:pt x="658057" y="484626"/>
                  </a:lnTo>
                  <a:lnTo>
                    <a:pt x="659737" y="484755"/>
                  </a:lnTo>
                  <a:lnTo>
                    <a:pt x="661676" y="484109"/>
                  </a:lnTo>
                  <a:lnTo>
                    <a:pt x="663356" y="482687"/>
                  </a:lnTo>
                  <a:lnTo>
                    <a:pt x="666457" y="477647"/>
                  </a:lnTo>
                  <a:lnTo>
                    <a:pt x="667362" y="475321"/>
                  </a:lnTo>
                  <a:lnTo>
                    <a:pt x="673824" y="468601"/>
                  </a:lnTo>
                  <a:lnTo>
                    <a:pt x="675504" y="463431"/>
                  </a:lnTo>
                  <a:lnTo>
                    <a:pt x="675116" y="458779"/>
                  </a:lnTo>
                  <a:lnTo>
                    <a:pt x="673048" y="448957"/>
                  </a:lnTo>
                  <a:lnTo>
                    <a:pt x="673436" y="445856"/>
                  </a:lnTo>
                  <a:lnTo>
                    <a:pt x="674728" y="444176"/>
                  </a:lnTo>
                  <a:lnTo>
                    <a:pt x="676667" y="443142"/>
                  </a:lnTo>
                  <a:lnTo>
                    <a:pt x="679381" y="440945"/>
                  </a:lnTo>
                  <a:lnTo>
                    <a:pt x="681061" y="440169"/>
                  </a:lnTo>
                  <a:lnTo>
                    <a:pt x="681836" y="439652"/>
                  </a:lnTo>
                  <a:lnTo>
                    <a:pt x="682353" y="439006"/>
                  </a:lnTo>
                  <a:lnTo>
                    <a:pt x="684033" y="435775"/>
                  </a:lnTo>
                  <a:lnTo>
                    <a:pt x="686876" y="428926"/>
                  </a:lnTo>
                  <a:lnTo>
                    <a:pt x="688039" y="427892"/>
                  </a:lnTo>
                  <a:lnTo>
                    <a:pt x="688169" y="427504"/>
                  </a:lnTo>
                  <a:lnTo>
                    <a:pt x="690624" y="425566"/>
                  </a:lnTo>
                  <a:lnTo>
                    <a:pt x="697990" y="417424"/>
                  </a:lnTo>
                  <a:lnTo>
                    <a:pt x="699024" y="415357"/>
                  </a:lnTo>
                  <a:lnTo>
                    <a:pt x="700187" y="402950"/>
                  </a:lnTo>
                  <a:lnTo>
                    <a:pt x="700058" y="397781"/>
                  </a:lnTo>
                  <a:lnTo>
                    <a:pt x="700316" y="395196"/>
                  </a:lnTo>
                  <a:lnTo>
                    <a:pt x="702643" y="390931"/>
                  </a:lnTo>
                  <a:lnTo>
                    <a:pt x="703677" y="385762"/>
                  </a:lnTo>
                  <a:lnTo>
                    <a:pt x="704581" y="383436"/>
                  </a:lnTo>
                  <a:lnTo>
                    <a:pt x="706520" y="382143"/>
                  </a:lnTo>
                  <a:lnTo>
                    <a:pt x="711560" y="380980"/>
                  </a:lnTo>
                  <a:lnTo>
                    <a:pt x="717246" y="375165"/>
                  </a:lnTo>
                  <a:lnTo>
                    <a:pt x="719572" y="371417"/>
                  </a:lnTo>
                  <a:lnTo>
                    <a:pt x="724225" y="365860"/>
                  </a:lnTo>
                  <a:lnTo>
                    <a:pt x="725775" y="363146"/>
                  </a:lnTo>
                  <a:lnTo>
                    <a:pt x="729782" y="358623"/>
                  </a:lnTo>
                  <a:lnTo>
                    <a:pt x="731720" y="356814"/>
                  </a:lnTo>
                  <a:lnTo>
                    <a:pt x="738053" y="353712"/>
                  </a:lnTo>
                  <a:lnTo>
                    <a:pt x="752010" y="349447"/>
                  </a:lnTo>
                  <a:lnTo>
                    <a:pt x="754465" y="347897"/>
                  </a:lnTo>
                  <a:lnTo>
                    <a:pt x="757438" y="345700"/>
                  </a:lnTo>
                  <a:lnTo>
                    <a:pt x="760798" y="341693"/>
                  </a:lnTo>
                  <a:lnTo>
                    <a:pt x="763512" y="337170"/>
                  </a:lnTo>
                  <a:lnTo>
                    <a:pt x="767389" y="327349"/>
                  </a:lnTo>
                  <a:lnTo>
                    <a:pt x="766226" y="318948"/>
                  </a:lnTo>
                  <a:lnTo>
                    <a:pt x="765967" y="304991"/>
                  </a:lnTo>
                  <a:lnTo>
                    <a:pt x="763770" y="287932"/>
                  </a:lnTo>
                  <a:lnTo>
                    <a:pt x="763899" y="284701"/>
                  </a:lnTo>
                  <a:lnTo>
                    <a:pt x="764545" y="281600"/>
                  </a:lnTo>
                  <a:lnTo>
                    <a:pt x="767001" y="278240"/>
                  </a:lnTo>
                  <a:lnTo>
                    <a:pt x="767647" y="275784"/>
                  </a:lnTo>
                  <a:lnTo>
                    <a:pt x="767647" y="269581"/>
                  </a:lnTo>
                  <a:lnTo>
                    <a:pt x="767906" y="268676"/>
                  </a:lnTo>
                  <a:lnTo>
                    <a:pt x="768422" y="267772"/>
                  </a:lnTo>
                  <a:lnTo>
                    <a:pt x="769198" y="267384"/>
                  </a:lnTo>
                  <a:lnTo>
                    <a:pt x="771136" y="267384"/>
                  </a:lnTo>
                  <a:lnTo>
                    <a:pt x="772041" y="266996"/>
                  </a:lnTo>
                  <a:lnTo>
                    <a:pt x="773463" y="264799"/>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19" name="Graphic 2">
              <a:extLst>
                <a:ext uri="{FF2B5EF4-FFF2-40B4-BE49-F238E27FC236}">
                  <a16:creationId xmlns:a16="http://schemas.microsoft.com/office/drawing/2014/main" id="{80CEC209-FD10-7C41-C457-FE2389DE6432}"/>
                </a:ext>
              </a:extLst>
            </p:cNvPr>
            <p:cNvSpPr/>
            <p:nvPr/>
          </p:nvSpPr>
          <p:spPr>
            <a:xfrm>
              <a:off x="5009016" y="2583425"/>
              <a:ext cx="1217767" cy="1167624"/>
            </a:xfrm>
            <a:custGeom>
              <a:avLst/>
              <a:gdLst>
                <a:gd name="connsiteX0" fmla="*/ 1117741 w 1217767"/>
                <a:gd name="connsiteY0" fmla="*/ 264283 h 1167624"/>
                <a:gd name="connsiteX1" fmla="*/ 1104042 w 1217767"/>
                <a:gd name="connsiteY1" fmla="*/ 263636 h 1167624"/>
                <a:gd name="connsiteX2" fmla="*/ 697861 w 1217767"/>
                <a:gd name="connsiteY2" fmla="*/ 239340 h 1167624"/>
                <a:gd name="connsiteX3" fmla="*/ 551310 w 1217767"/>
                <a:gd name="connsiteY3" fmla="*/ 228743 h 1167624"/>
                <a:gd name="connsiteX4" fmla="*/ 550664 w 1217767"/>
                <a:gd name="connsiteY4" fmla="*/ 229648 h 1167624"/>
                <a:gd name="connsiteX5" fmla="*/ 548338 w 1217767"/>
                <a:gd name="connsiteY5" fmla="*/ 229002 h 1167624"/>
                <a:gd name="connsiteX6" fmla="*/ 541876 w 1217767"/>
                <a:gd name="connsiteY6" fmla="*/ 226029 h 1167624"/>
                <a:gd name="connsiteX7" fmla="*/ 538516 w 1217767"/>
                <a:gd name="connsiteY7" fmla="*/ 223186 h 1167624"/>
                <a:gd name="connsiteX8" fmla="*/ 536965 w 1217767"/>
                <a:gd name="connsiteY8" fmla="*/ 222540 h 1167624"/>
                <a:gd name="connsiteX9" fmla="*/ 531796 w 1217767"/>
                <a:gd name="connsiteY9" fmla="*/ 221248 h 1167624"/>
                <a:gd name="connsiteX10" fmla="*/ 530504 w 1217767"/>
                <a:gd name="connsiteY10" fmla="*/ 220602 h 1167624"/>
                <a:gd name="connsiteX11" fmla="*/ 529341 w 1217767"/>
                <a:gd name="connsiteY11" fmla="*/ 219697 h 1167624"/>
                <a:gd name="connsiteX12" fmla="*/ 528048 w 1217767"/>
                <a:gd name="connsiteY12" fmla="*/ 219180 h 1167624"/>
                <a:gd name="connsiteX13" fmla="*/ 526885 w 1217767"/>
                <a:gd name="connsiteY13" fmla="*/ 218922 h 1167624"/>
                <a:gd name="connsiteX14" fmla="*/ 525722 w 1217767"/>
                <a:gd name="connsiteY14" fmla="*/ 219051 h 1167624"/>
                <a:gd name="connsiteX15" fmla="*/ 524688 w 1217767"/>
                <a:gd name="connsiteY15" fmla="*/ 219439 h 1167624"/>
                <a:gd name="connsiteX16" fmla="*/ 522103 w 1217767"/>
                <a:gd name="connsiteY16" fmla="*/ 220731 h 1167624"/>
                <a:gd name="connsiteX17" fmla="*/ 520553 w 1217767"/>
                <a:gd name="connsiteY17" fmla="*/ 221248 h 1167624"/>
                <a:gd name="connsiteX18" fmla="*/ 518227 w 1217767"/>
                <a:gd name="connsiteY18" fmla="*/ 221377 h 1167624"/>
                <a:gd name="connsiteX19" fmla="*/ 516934 w 1217767"/>
                <a:gd name="connsiteY19" fmla="*/ 220860 h 1167624"/>
                <a:gd name="connsiteX20" fmla="*/ 515900 w 1217767"/>
                <a:gd name="connsiteY20" fmla="*/ 219955 h 1167624"/>
                <a:gd name="connsiteX21" fmla="*/ 515254 w 1217767"/>
                <a:gd name="connsiteY21" fmla="*/ 218922 h 1167624"/>
                <a:gd name="connsiteX22" fmla="*/ 514220 w 1217767"/>
                <a:gd name="connsiteY22" fmla="*/ 215691 h 1167624"/>
                <a:gd name="connsiteX23" fmla="*/ 513962 w 1217767"/>
                <a:gd name="connsiteY23" fmla="*/ 212201 h 1167624"/>
                <a:gd name="connsiteX24" fmla="*/ 513574 w 1217767"/>
                <a:gd name="connsiteY24" fmla="*/ 211168 h 1167624"/>
                <a:gd name="connsiteX25" fmla="*/ 512928 w 1217767"/>
                <a:gd name="connsiteY25" fmla="*/ 210004 h 1167624"/>
                <a:gd name="connsiteX26" fmla="*/ 512023 w 1217767"/>
                <a:gd name="connsiteY26" fmla="*/ 208971 h 1167624"/>
                <a:gd name="connsiteX27" fmla="*/ 511119 w 1217767"/>
                <a:gd name="connsiteY27" fmla="*/ 207937 h 1167624"/>
                <a:gd name="connsiteX28" fmla="*/ 509180 w 1217767"/>
                <a:gd name="connsiteY28" fmla="*/ 206903 h 1167624"/>
                <a:gd name="connsiteX29" fmla="*/ 501685 w 1217767"/>
                <a:gd name="connsiteY29" fmla="*/ 204835 h 1167624"/>
                <a:gd name="connsiteX30" fmla="*/ 499100 w 1217767"/>
                <a:gd name="connsiteY30" fmla="*/ 204447 h 1167624"/>
                <a:gd name="connsiteX31" fmla="*/ 497161 w 1217767"/>
                <a:gd name="connsiteY31" fmla="*/ 204189 h 1167624"/>
                <a:gd name="connsiteX32" fmla="*/ 496128 w 1217767"/>
                <a:gd name="connsiteY32" fmla="*/ 204447 h 1167624"/>
                <a:gd name="connsiteX33" fmla="*/ 495094 w 1217767"/>
                <a:gd name="connsiteY33" fmla="*/ 204706 h 1167624"/>
                <a:gd name="connsiteX34" fmla="*/ 493543 w 1217767"/>
                <a:gd name="connsiteY34" fmla="*/ 204964 h 1167624"/>
                <a:gd name="connsiteX35" fmla="*/ 492121 w 1217767"/>
                <a:gd name="connsiteY35" fmla="*/ 204577 h 1167624"/>
                <a:gd name="connsiteX36" fmla="*/ 488761 w 1217767"/>
                <a:gd name="connsiteY36" fmla="*/ 203284 h 1167624"/>
                <a:gd name="connsiteX37" fmla="*/ 487210 w 1217767"/>
                <a:gd name="connsiteY37" fmla="*/ 202121 h 1167624"/>
                <a:gd name="connsiteX38" fmla="*/ 486176 w 1217767"/>
                <a:gd name="connsiteY38" fmla="*/ 200829 h 1167624"/>
                <a:gd name="connsiteX39" fmla="*/ 485918 w 1217767"/>
                <a:gd name="connsiteY39" fmla="*/ 199795 h 1167624"/>
                <a:gd name="connsiteX40" fmla="*/ 485660 w 1217767"/>
                <a:gd name="connsiteY40" fmla="*/ 198761 h 1167624"/>
                <a:gd name="connsiteX41" fmla="*/ 485789 w 1217767"/>
                <a:gd name="connsiteY41" fmla="*/ 191653 h 1167624"/>
                <a:gd name="connsiteX42" fmla="*/ 484884 w 1217767"/>
                <a:gd name="connsiteY42" fmla="*/ 186872 h 1167624"/>
                <a:gd name="connsiteX43" fmla="*/ 484367 w 1217767"/>
                <a:gd name="connsiteY43" fmla="*/ 185709 h 1167624"/>
                <a:gd name="connsiteX44" fmla="*/ 483721 w 1217767"/>
                <a:gd name="connsiteY44" fmla="*/ 184675 h 1167624"/>
                <a:gd name="connsiteX45" fmla="*/ 482558 w 1217767"/>
                <a:gd name="connsiteY45" fmla="*/ 184028 h 1167624"/>
                <a:gd name="connsiteX46" fmla="*/ 474804 w 1217767"/>
                <a:gd name="connsiteY46" fmla="*/ 180539 h 1167624"/>
                <a:gd name="connsiteX47" fmla="*/ 473770 w 1217767"/>
                <a:gd name="connsiteY47" fmla="*/ 179893 h 1167624"/>
                <a:gd name="connsiteX48" fmla="*/ 472349 w 1217767"/>
                <a:gd name="connsiteY48" fmla="*/ 178601 h 1167624"/>
                <a:gd name="connsiteX49" fmla="*/ 469505 w 1217767"/>
                <a:gd name="connsiteY49" fmla="*/ 177050 h 1167624"/>
                <a:gd name="connsiteX50" fmla="*/ 461751 w 1217767"/>
                <a:gd name="connsiteY50" fmla="*/ 173948 h 1167624"/>
                <a:gd name="connsiteX51" fmla="*/ 460588 w 1217767"/>
                <a:gd name="connsiteY51" fmla="*/ 173173 h 1167624"/>
                <a:gd name="connsiteX52" fmla="*/ 455290 w 1217767"/>
                <a:gd name="connsiteY52" fmla="*/ 169167 h 1167624"/>
                <a:gd name="connsiteX53" fmla="*/ 454773 w 1217767"/>
                <a:gd name="connsiteY53" fmla="*/ 168133 h 1167624"/>
                <a:gd name="connsiteX54" fmla="*/ 454256 w 1217767"/>
                <a:gd name="connsiteY54" fmla="*/ 165936 h 1167624"/>
                <a:gd name="connsiteX55" fmla="*/ 453480 w 1217767"/>
                <a:gd name="connsiteY55" fmla="*/ 164902 h 1167624"/>
                <a:gd name="connsiteX56" fmla="*/ 452447 w 1217767"/>
                <a:gd name="connsiteY56" fmla="*/ 164127 h 1167624"/>
                <a:gd name="connsiteX57" fmla="*/ 448053 w 1217767"/>
                <a:gd name="connsiteY57" fmla="*/ 161413 h 1167624"/>
                <a:gd name="connsiteX58" fmla="*/ 445856 w 1217767"/>
                <a:gd name="connsiteY58" fmla="*/ 159733 h 1167624"/>
                <a:gd name="connsiteX59" fmla="*/ 442108 w 1217767"/>
                <a:gd name="connsiteY59" fmla="*/ 156114 h 1167624"/>
                <a:gd name="connsiteX60" fmla="*/ 440299 w 1217767"/>
                <a:gd name="connsiteY60" fmla="*/ 154951 h 1167624"/>
                <a:gd name="connsiteX61" fmla="*/ 438877 w 1217767"/>
                <a:gd name="connsiteY61" fmla="*/ 154305 h 1167624"/>
                <a:gd name="connsiteX62" fmla="*/ 431640 w 1217767"/>
                <a:gd name="connsiteY62" fmla="*/ 152237 h 1167624"/>
                <a:gd name="connsiteX63" fmla="*/ 430348 w 1217767"/>
                <a:gd name="connsiteY63" fmla="*/ 151074 h 1167624"/>
                <a:gd name="connsiteX64" fmla="*/ 429831 w 1217767"/>
                <a:gd name="connsiteY64" fmla="*/ 149782 h 1167624"/>
                <a:gd name="connsiteX65" fmla="*/ 429960 w 1217767"/>
                <a:gd name="connsiteY65" fmla="*/ 147197 h 1167624"/>
                <a:gd name="connsiteX66" fmla="*/ 429831 w 1217767"/>
                <a:gd name="connsiteY66" fmla="*/ 145905 h 1167624"/>
                <a:gd name="connsiteX67" fmla="*/ 429314 w 1217767"/>
                <a:gd name="connsiteY67" fmla="*/ 143449 h 1167624"/>
                <a:gd name="connsiteX68" fmla="*/ 428538 w 1217767"/>
                <a:gd name="connsiteY68" fmla="*/ 141123 h 1167624"/>
                <a:gd name="connsiteX69" fmla="*/ 427892 w 1217767"/>
                <a:gd name="connsiteY69" fmla="*/ 139960 h 1167624"/>
                <a:gd name="connsiteX70" fmla="*/ 426988 w 1217767"/>
                <a:gd name="connsiteY70" fmla="*/ 138926 h 1167624"/>
                <a:gd name="connsiteX71" fmla="*/ 426083 w 1217767"/>
                <a:gd name="connsiteY71" fmla="*/ 137892 h 1167624"/>
                <a:gd name="connsiteX72" fmla="*/ 425178 w 1217767"/>
                <a:gd name="connsiteY72" fmla="*/ 136858 h 1167624"/>
                <a:gd name="connsiteX73" fmla="*/ 424661 w 1217767"/>
                <a:gd name="connsiteY73" fmla="*/ 135695 h 1167624"/>
                <a:gd name="connsiteX74" fmla="*/ 424532 w 1217767"/>
                <a:gd name="connsiteY74" fmla="*/ 134532 h 1167624"/>
                <a:gd name="connsiteX75" fmla="*/ 424920 w 1217767"/>
                <a:gd name="connsiteY75" fmla="*/ 132077 h 1167624"/>
                <a:gd name="connsiteX76" fmla="*/ 424920 w 1217767"/>
                <a:gd name="connsiteY76" fmla="*/ 131043 h 1167624"/>
                <a:gd name="connsiteX77" fmla="*/ 423886 w 1217767"/>
                <a:gd name="connsiteY77" fmla="*/ 127554 h 1167624"/>
                <a:gd name="connsiteX78" fmla="*/ 423757 w 1217767"/>
                <a:gd name="connsiteY78" fmla="*/ 126520 h 1167624"/>
                <a:gd name="connsiteX79" fmla="*/ 423886 w 1217767"/>
                <a:gd name="connsiteY79" fmla="*/ 125615 h 1167624"/>
                <a:gd name="connsiteX80" fmla="*/ 424015 w 1217767"/>
                <a:gd name="connsiteY80" fmla="*/ 124581 h 1167624"/>
                <a:gd name="connsiteX81" fmla="*/ 423757 w 1217767"/>
                <a:gd name="connsiteY81" fmla="*/ 123935 h 1167624"/>
                <a:gd name="connsiteX82" fmla="*/ 423369 w 1217767"/>
                <a:gd name="connsiteY82" fmla="*/ 123030 h 1167624"/>
                <a:gd name="connsiteX83" fmla="*/ 421301 w 1217767"/>
                <a:gd name="connsiteY83" fmla="*/ 119929 h 1167624"/>
                <a:gd name="connsiteX84" fmla="*/ 420784 w 1217767"/>
                <a:gd name="connsiteY84" fmla="*/ 118895 h 1167624"/>
                <a:gd name="connsiteX85" fmla="*/ 420784 w 1217767"/>
                <a:gd name="connsiteY85" fmla="*/ 117732 h 1167624"/>
                <a:gd name="connsiteX86" fmla="*/ 421172 w 1217767"/>
                <a:gd name="connsiteY86" fmla="*/ 116698 h 1167624"/>
                <a:gd name="connsiteX87" fmla="*/ 421689 w 1217767"/>
                <a:gd name="connsiteY87" fmla="*/ 115664 h 1167624"/>
                <a:gd name="connsiteX88" fmla="*/ 421947 w 1217767"/>
                <a:gd name="connsiteY88" fmla="*/ 114372 h 1167624"/>
                <a:gd name="connsiteX89" fmla="*/ 422077 w 1217767"/>
                <a:gd name="connsiteY89" fmla="*/ 113209 h 1167624"/>
                <a:gd name="connsiteX90" fmla="*/ 421947 w 1217767"/>
                <a:gd name="connsiteY90" fmla="*/ 108298 h 1167624"/>
                <a:gd name="connsiteX91" fmla="*/ 422077 w 1217767"/>
                <a:gd name="connsiteY91" fmla="*/ 106230 h 1167624"/>
                <a:gd name="connsiteX92" fmla="*/ 422335 w 1217767"/>
                <a:gd name="connsiteY92" fmla="*/ 105196 h 1167624"/>
                <a:gd name="connsiteX93" fmla="*/ 423111 w 1217767"/>
                <a:gd name="connsiteY93" fmla="*/ 103128 h 1167624"/>
                <a:gd name="connsiteX94" fmla="*/ 423498 w 1217767"/>
                <a:gd name="connsiteY94" fmla="*/ 102094 h 1167624"/>
                <a:gd name="connsiteX95" fmla="*/ 423757 w 1217767"/>
                <a:gd name="connsiteY95" fmla="*/ 98864 h 1167624"/>
                <a:gd name="connsiteX96" fmla="*/ 425049 w 1217767"/>
                <a:gd name="connsiteY96" fmla="*/ 95633 h 1167624"/>
                <a:gd name="connsiteX97" fmla="*/ 424791 w 1217767"/>
                <a:gd name="connsiteY97" fmla="*/ 94082 h 1167624"/>
                <a:gd name="connsiteX98" fmla="*/ 423628 w 1217767"/>
                <a:gd name="connsiteY98" fmla="*/ 92402 h 1167624"/>
                <a:gd name="connsiteX99" fmla="*/ 418846 w 1217767"/>
                <a:gd name="connsiteY99" fmla="*/ 88008 h 1167624"/>
                <a:gd name="connsiteX100" fmla="*/ 417683 w 1217767"/>
                <a:gd name="connsiteY100" fmla="*/ 86586 h 1167624"/>
                <a:gd name="connsiteX101" fmla="*/ 417166 w 1217767"/>
                <a:gd name="connsiteY101" fmla="*/ 85553 h 1167624"/>
                <a:gd name="connsiteX102" fmla="*/ 416520 w 1217767"/>
                <a:gd name="connsiteY102" fmla="*/ 83485 h 1167624"/>
                <a:gd name="connsiteX103" fmla="*/ 415874 w 1217767"/>
                <a:gd name="connsiteY103" fmla="*/ 82322 h 1167624"/>
                <a:gd name="connsiteX104" fmla="*/ 414969 w 1217767"/>
                <a:gd name="connsiteY104" fmla="*/ 81029 h 1167624"/>
                <a:gd name="connsiteX105" fmla="*/ 410058 w 1217767"/>
                <a:gd name="connsiteY105" fmla="*/ 75989 h 1167624"/>
                <a:gd name="connsiteX106" fmla="*/ 409283 w 1217767"/>
                <a:gd name="connsiteY106" fmla="*/ 74826 h 1167624"/>
                <a:gd name="connsiteX107" fmla="*/ 408766 w 1217767"/>
                <a:gd name="connsiteY107" fmla="*/ 73663 h 1167624"/>
                <a:gd name="connsiteX108" fmla="*/ 408378 w 1217767"/>
                <a:gd name="connsiteY108" fmla="*/ 72629 h 1167624"/>
                <a:gd name="connsiteX109" fmla="*/ 407861 w 1217767"/>
                <a:gd name="connsiteY109" fmla="*/ 69269 h 1167624"/>
                <a:gd name="connsiteX110" fmla="*/ 406052 w 1217767"/>
                <a:gd name="connsiteY110" fmla="*/ 66038 h 1167624"/>
                <a:gd name="connsiteX111" fmla="*/ 405147 w 1217767"/>
                <a:gd name="connsiteY111" fmla="*/ 63712 h 1167624"/>
                <a:gd name="connsiteX112" fmla="*/ 404630 w 1217767"/>
                <a:gd name="connsiteY112" fmla="*/ 61515 h 1167624"/>
                <a:gd name="connsiteX113" fmla="*/ 404242 w 1217767"/>
                <a:gd name="connsiteY113" fmla="*/ 57897 h 1167624"/>
                <a:gd name="connsiteX114" fmla="*/ 403855 w 1217767"/>
                <a:gd name="connsiteY114" fmla="*/ 56604 h 1167624"/>
                <a:gd name="connsiteX115" fmla="*/ 401270 w 1217767"/>
                <a:gd name="connsiteY115" fmla="*/ 51435 h 1167624"/>
                <a:gd name="connsiteX116" fmla="*/ 399461 w 1217767"/>
                <a:gd name="connsiteY116" fmla="*/ 46266 h 1167624"/>
                <a:gd name="connsiteX117" fmla="*/ 398039 w 1217767"/>
                <a:gd name="connsiteY117" fmla="*/ 37995 h 1167624"/>
                <a:gd name="connsiteX118" fmla="*/ 397135 w 1217767"/>
                <a:gd name="connsiteY118" fmla="*/ 36444 h 1167624"/>
                <a:gd name="connsiteX119" fmla="*/ 396101 w 1217767"/>
                <a:gd name="connsiteY119" fmla="*/ 34893 h 1167624"/>
                <a:gd name="connsiteX120" fmla="*/ 394033 w 1217767"/>
                <a:gd name="connsiteY120" fmla="*/ 32825 h 1167624"/>
                <a:gd name="connsiteX121" fmla="*/ 392999 w 1217767"/>
                <a:gd name="connsiteY121" fmla="*/ 31404 h 1167624"/>
                <a:gd name="connsiteX122" fmla="*/ 392224 w 1217767"/>
                <a:gd name="connsiteY122" fmla="*/ 30111 h 1167624"/>
                <a:gd name="connsiteX123" fmla="*/ 390931 w 1217767"/>
                <a:gd name="connsiteY123" fmla="*/ 25200 h 1167624"/>
                <a:gd name="connsiteX124" fmla="*/ 388734 w 1217767"/>
                <a:gd name="connsiteY124" fmla="*/ 20548 h 1167624"/>
                <a:gd name="connsiteX125" fmla="*/ 380334 w 1217767"/>
                <a:gd name="connsiteY125" fmla="*/ 7754 h 1167624"/>
                <a:gd name="connsiteX126" fmla="*/ 372063 w 1217767"/>
                <a:gd name="connsiteY126" fmla="*/ 0 h 1167624"/>
                <a:gd name="connsiteX127" fmla="*/ 370383 w 1217767"/>
                <a:gd name="connsiteY127" fmla="*/ 2068 h 1167624"/>
                <a:gd name="connsiteX128" fmla="*/ 368057 w 1217767"/>
                <a:gd name="connsiteY128" fmla="*/ 5169 h 1167624"/>
                <a:gd name="connsiteX129" fmla="*/ 367153 w 1217767"/>
                <a:gd name="connsiteY129" fmla="*/ 6203 h 1167624"/>
                <a:gd name="connsiteX130" fmla="*/ 364309 w 1217767"/>
                <a:gd name="connsiteY130" fmla="*/ 8529 h 1167624"/>
                <a:gd name="connsiteX131" fmla="*/ 363792 w 1217767"/>
                <a:gd name="connsiteY131" fmla="*/ 9305 h 1167624"/>
                <a:gd name="connsiteX132" fmla="*/ 363405 w 1217767"/>
                <a:gd name="connsiteY132" fmla="*/ 9951 h 1167624"/>
                <a:gd name="connsiteX133" fmla="*/ 362888 w 1217767"/>
                <a:gd name="connsiteY133" fmla="*/ 11889 h 1167624"/>
                <a:gd name="connsiteX134" fmla="*/ 362629 w 1217767"/>
                <a:gd name="connsiteY134" fmla="*/ 12923 h 1167624"/>
                <a:gd name="connsiteX135" fmla="*/ 362629 w 1217767"/>
                <a:gd name="connsiteY135" fmla="*/ 14991 h 1167624"/>
                <a:gd name="connsiteX136" fmla="*/ 362242 w 1217767"/>
                <a:gd name="connsiteY136" fmla="*/ 17188 h 1167624"/>
                <a:gd name="connsiteX137" fmla="*/ 362242 w 1217767"/>
                <a:gd name="connsiteY137" fmla="*/ 17576 h 1167624"/>
                <a:gd name="connsiteX138" fmla="*/ 362371 w 1217767"/>
                <a:gd name="connsiteY138" fmla="*/ 18351 h 1167624"/>
                <a:gd name="connsiteX139" fmla="*/ 363146 w 1217767"/>
                <a:gd name="connsiteY139" fmla="*/ 20419 h 1167624"/>
                <a:gd name="connsiteX140" fmla="*/ 364309 w 1217767"/>
                <a:gd name="connsiteY140" fmla="*/ 22616 h 1167624"/>
                <a:gd name="connsiteX141" fmla="*/ 364568 w 1217767"/>
                <a:gd name="connsiteY141" fmla="*/ 23650 h 1167624"/>
                <a:gd name="connsiteX142" fmla="*/ 364568 w 1217767"/>
                <a:gd name="connsiteY142" fmla="*/ 24813 h 1167624"/>
                <a:gd name="connsiteX143" fmla="*/ 364439 w 1217767"/>
                <a:gd name="connsiteY143" fmla="*/ 25976 h 1167624"/>
                <a:gd name="connsiteX144" fmla="*/ 364180 w 1217767"/>
                <a:gd name="connsiteY144" fmla="*/ 27010 h 1167624"/>
                <a:gd name="connsiteX145" fmla="*/ 362629 w 1217767"/>
                <a:gd name="connsiteY145" fmla="*/ 30370 h 1167624"/>
                <a:gd name="connsiteX146" fmla="*/ 361983 w 1217767"/>
                <a:gd name="connsiteY146" fmla="*/ 31404 h 1167624"/>
                <a:gd name="connsiteX147" fmla="*/ 361208 w 1217767"/>
                <a:gd name="connsiteY147" fmla="*/ 32567 h 1167624"/>
                <a:gd name="connsiteX148" fmla="*/ 358365 w 1217767"/>
                <a:gd name="connsiteY148" fmla="*/ 35539 h 1167624"/>
                <a:gd name="connsiteX149" fmla="*/ 357589 w 1217767"/>
                <a:gd name="connsiteY149" fmla="*/ 36573 h 1167624"/>
                <a:gd name="connsiteX150" fmla="*/ 354746 w 1217767"/>
                <a:gd name="connsiteY150" fmla="*/ 42259 h 1167624"/>
                <a:gd name="connsiteX151" fmla="*/ 353841 w 1217767"/>
                <a:gd name="connsiteY151" fmla="*/ 43293 h 1167624"/>
                <a:gd name="connsiteX152" fmla="*/ 350740 w 1217767"/>
                <a:gd name="connsiteY152" fmla="*/ 45490 h 1167624"/>
                <a:gd name="connsiteX153" fmla="*/ 348672 w 1217767"/>
                <a:gd name="connsiteY153" fmla="*/ 47300 h 1167624"/>
                <a:gd name="connsiteX154" fmla="*/ 347121 w 1217767"/>
                <a:gd name="connsiteY154" fmla="*/ 49238 h 1167624"/>
                <a:gd name="connsiteX155" fmla="*/ 346475 w 1217767"/>
                <a:gd name="connsiteY155" fmla="*/ 50272 h 1167624"/>
                <a:gd name="connsiteX156" fmla="*/ 346087 w 1217767"/>
                <a:gd name="connsiteY156" fmla="*/ 51435 h 1167624"/>
                <a:gd name="connsiteX157" fmla="*/ 345829 w 1217767"/>
                <a:gd name="connsiteY157" fmla="*/ 52598 h 1167624"/>
                <a:gd name="connsiteX158" fmla="*/ 345700 w 1217767"/>
                <a:gd name="connsiteY158" fmla="*/ 53632 h 1167624"/>
                <a:gd name="connsiteX159" fmla="*/ 345829 w 1217767"/>
                <a:gd name="connsiteY159" fmla="*/ 55829 h 1167624"/>
                <a:gd name="connsiteX160" fmla="*/ 346217 w 1217767"/>
                <a:gd name="connsiteY160" fmla="*/ 57897 h 1167624"/>
                <a:gd name="connsiteX161" fmla="*/ 346734 w 1217767"/>
                <a:gd name="connsiteY161" fmla="*/ 59964 h 1167624"/>
                <a:gd name="connsiteX162" fmla="*/ 347250 w 1217767"/>
                <a:gd name="connsiteY162" fmla="*/ 61127 h 1167624"/>
                <a:gd name="connsiteX163" fmla="*/ 349964 w 1217767"/>
                <a:gd name="connsiteY163" fmla="*/ 66038 h 1167624"/>
                <a:gd name="connsiteX164" fmla="*/ 351774 w 1217767"/>
                <a:gd name="connsiteY164" fmla="*/ 71337 h 1167624"/>
                <a:gd name="connsiteX165" fmla="*/ 353841 w 1217767"/>
                <a:gd name="connsiteY165" fmla="*/ 79866 h 1167624"/>
                <a:gd name="connsiteX166" fmla="*/ 353971 w 1217767"/>
                <a:gd name="connsiteY166" fmla="*/ 81029 h 1167624"/>
                <a:gd name="connsiteX167" fmla="*/ 353841 w 1217767"/>
                <a:gd name="connsiteY167" fmla="*/ 82193 h 1167624"/>
                <a:gd name="connsiteX168" fmla="*/ 353583 w 1217767"/>
                <a:gd name="connsiteY168" fmla="*/ 83485 h 1167624"/>
                <a:gd name="connsiteX169" fmla="*/ 350223 w 1217767"/>
                <a:gd name="connsiteY169" fmla="*/ 93048 h 1167624"/>
                <a:gd name="connsiteX170" fmla="*/ 350094 w 1217767"/>
                <a:gd name="connsiteY170" fmla="*/ 94211 h 1167624"/>
                <a:gd name="connsiteX171" fmla="*/ 350223 w 1217767"/>
                <a:gd name="connsiteY171" fmla="*/ 95374 h 1167624"/>
                <a:gd name="connsiteX172" fmla="*/ 350611 w 1217767"/>
                <a:gd name="connsiteY172" fmla="*/ 96408 h 1167624"/>
                <a:gd name="connsiteX173" fmla="*/ 350611 w 1217767"/>
                <a:gd name="connsiteY173" fmla="*/ 97442 h 1167624"/>
                <a:gd name="connsiteX174" fmla="*/ 350094 w 1217767"/>
                <a:gd name="connsiteY174" fmla="*/ 98476 h 1167624"/>
                <a:gd name="connsiteX175" fmla="*/ 348543 w 1217767"/>
                <a:gd name="connsiteY175" fmla="*/ 100544 h 1167624"/>
                <a:gd name="connsiteX176" fmla="*/ 347250 w 1217767"/>
                <a:gd name="connsiteY176" fmla="*/ 102741 h 1167624"/>
                <a:gd name="connsiteX177" fmla="*/ 346863 w 1217767"/>
                <a:gd name="connsiteY177" fmla="*/ 103774 h 1167624"/>
                <a:gd name="connsiteX178" fmla="*/ 345571 w 1217767"/>
                <a:gd name="connsiteY178" fmla="*/ 107910 h 1167624"/>
                <a:gd name="connsiteX179" fmla="*/ 344795 w 1217767"/>
                <a:gd name="connsiteY179" fmla="*/ 109978 h 1167624"/>
                <a:gd name="connsiteX180" fmla="*/ 344149 w 1217767"/>
                <a:gd name="connsiteY180" fmla="*/ 111141 h 1167624"/>
                <a:gd name="connsiteX181" fmla="*/ 343374 w 1217767"/>
                <a:gd name="connsiteY181" fmla="*/ 112045 h 1167624"/>
                <a:gd name="connsiteX182" fmla="*/ 340530 w 1217767"/>
                <a:gd name="connsiteY182" fmla="*/ 114372 h 1167624"/>
                <a:gd name="connsiteX183" fmla="*/ 339755 w 1217767"/>
                <a:gd name="connsiteY183" fmla="*/ 115276 h 1167624"/>
                <a:gd name="connsiteX184" fmla="*/ 339497 w 1217767"/>
                <a:gd name="connsiteY184" fmla="*/ 116310 h 1167624"/>
                <a:gd name="connsiteX185" fmla="*/ 339497 w 1217767"/>
                <a:gd name="connsiteY185" fmla="*/ 117344 h 1167624"/>
                <a:gd name="connsiteX186" fmla="*/ 340530 w 1217767"/>
                <a:gd name="connsiteY186" fmla="*/ 124840 h 1167624"/>
                <a:gd name="connsiteX187" fmla="*/ 340918 w 1217767"/>
                <a:gd name="connsiteY187" fmla="*/ 126132 h 1167624"/>
                <a:gd name="connsiteX188" fmla="*/ 341693 w 1217767"/>
                <a:gd name="connsiteY188" fmla="*/ 128200 h 1167624"/>
                <a:gd name="connsiteX189" fmla="*/ 341823 w 1217767"/>
                <a:gd name="connsiteY189" fmla="*/ 129104 h 1167624"/>
                <a:gd name="connsiteX190" fmla="*/ 341693 w 1217767"/>
                <a:gd name="connsiteY190" fmla="*/ 130138 h 1167624"/>
                <a:gd name="connsiteX191" fmla="*/ 341306 w 1217767"/>
                <a:gd name="connsiteY191" fmla="*/ 131172 h 1167624"/>
                <a:gd name="connsiteX192" fmla="*/ 339109 w 1217767"/>
                <a:gd name="connsiteY192" fmla="*/ 134920 h 1167624"/>
                <a:gd name="connsiteX193" fmla="*/ 337946 w 1217767"/>
                <a:gd name="connsiteY193" fmla="*/ 137763 h 1167624"/>
                <a:gd name="connsiteX194" fmla="*/ 336007 w 1217767"/>
                <a:gd name="connsiteY194" fmla="*/ 145129 h 1167624"/>
                <a:gd name="connsiteX195" fmla="*/ 335103 w 1217767"/>
                <a:gd name="connsiteY195" fmla="*/ 146680 h 1167624"/>
                <a:gd name="connsiteX196" fmla="*/ 333164 w 1217767"/>
                <a:gd name="connsiteY196" fmla="*/ 148231 h 1167624"/>
                <a:gd name="connsiteX197" fmla="*/ 328253 w 1217767"/>
                <a:gd name="connsiteY197" fmla="*/ 151332 h 1167624"/>
                <a:gd name="connsiteX198" fmla="*/ 0 w 1217767"/>
                <a:gd name="connsiteY198" fmla="*/ 153529 h 1167624"/>
                <a:gd name="connsiteX199" fmla="*/ 3489 w 1217767"/>
                <a:gd name="connsiteY199" fmla="*/ 156373 h 1167624"/>
                <a:gd name="connsiteX200" fmla="*/ 7366 w 1217767"/>
                <a:gd name="connsiteY200" fmla="*/ 158828 h 1167624"/>
                <a:gd name="connsiteX201" fmla="*/ 10985 w 1217767"/>
                <a:gd name="connsiteY201" fmla="*/ 161930 h 1167624"/>
                <a:gd name="connsiteX202" fmla="*/ 12148 w 1217767"/>
                <a:gd name="connsiteY202" fmla="*/ 163739 h 1167624"/>
                <a:gd name="connsiteX203" fmla="*/ 13053 w 1217767"/>
                <a:gd name="connsiteY203" fmla="*/ 165936 h 1167624"/>
                <a:gd name="connsiteX204" fmla="*/ 13440 w 1217767"/>
                <a:gd name="connsiteY204" fmla="*/ 167099 h 1167624"/>
                <a:gd name="connsiteX205" fmla="*/ 13570 w 1217767"/>
                <a:gd name="connsiteY205" fmla="*/ 168133 h 1167624"/>
                <a:gd name="connsiteX206" fmla="*/ 13440 w 1217767"/>
                <a:gd name="connsiteY206" fmla="*/ 169296 h 1167624"/>
                <a:gd name="connsiteX207" fmla="*/ 8659 w 1217767"/>
                <a:gd name="connsiteY207" fmla="*/ 178213 h 1167624"/>
                <a:gd name="connsiteX208" fmla="*/ 5945 w 1217767"/>
                <a:gd name="connsiteY208" fmla="*/ 187389 h 1167624"/>
                <a:gd name="connsiteX209" fmla="*/ 5815 w 1217767"/>
                <a:gd name="connsiteY209" fmla="*/ 188939 h 1167624"/>
                <a:gd name="connsiteX210" fmla="*/ 5686 w 1217767"/>
                <a:gd name="connsiteY210" fmla="*/ 190878 h 1167624"/>
                <a:gd name="connsiteX211" fmla="*/ 5945 w 1217767"/>
                <a:gd name="connsiteY211" fmla="*/ 192429 h 1167624"/>
                <a:gd name="connsiteX212" fmla="*/ 8659 w 1217767"/>
                <a:gd name="connsiteY212" fmla="*/ 199795 h 1167624"/>
                <a:gd name="connsiteX213" fmla="*/ 8917 w 1217767"/>
                <a:gd name="connsiteY213" fmla="*/ 201475 h 1167624"/>
                <a:gd name="connsiteX214" fmla="*/ 8659 w 1217767"/>
                <a:gd name="connsiteY214" fmla="*/ 202638 h 1167624"/>
                <a:gd name="connsiteX215" fmla="*/ 7754 w 1217767"/>
                <a:gd name="connsiteY215" fmla="*/ 203284 h 1167624"/>
                <a:gd name="connsiteX216" fmla="*/ 6720 w 1217767"/>
                <a:gd name="connsiteY216" fmla="*/ 203543 h 1167624"/>
                <a:gd name="connsiteX217" fmla="*/ 4135 w 1217767"/>
                <a:gd name="connsiteY217" fmla="*/ 203672 h 1167624"/>
                <a:gd name="connsiteX218" fmla="*/ 2972 w 1217767"/>
                <a:gd name="connsiteY218" fmla="*/ 203930 h 1167624"/>
                <a:gd name="connsiteX219" fmla="*/ 2068 w 1217767"/>
                <a:gd name="connsiteY219" fmla="*/ 204577 h 1167624"/>
                <a:gd name="connsiteX220" fmla="*/ 1551 w 1217767"/>
                <a:gd name="connsiteY220" fmla="*/ 205611 h 1167624"/>
                <a:gd name="connsiteX221" fmla="*/ 1680 w 1217767"/>
                <a:gd name="connsiteY221" fmla="*/ 206903 h 1167624"/>
                <a:gd name="connsiteX222" fmla="*/ 1809 w 1217767"/>
                <a:gd name="connsiteY222" fmla="*/ 208583 h 1167624"/>
                <a:gd name="connsiteX223" fmla="*/ 646 w 1217767"/>
                <a:gd name="connsiteY223" fmla="*/ 211297 h 1167624"/>
                <a:gd name="connsiteX224" fmla="*/ 0 w 1217767"/>
                <a:gd name="connsiteY224" fmla="*/ 212977 h 1167624"/>
                <a:gd name="connsiteX225" fmla="*/ 129 w 1217767"/>
                <a:gd name="connsiteY225" fmla="*/ 214398 h 1167624"/>
                <a:gd name="connsiteX226" fmla="*/ 646 w 1217767"/>
                <a:gd name="connsiteY226" fmla="*/ 215562 h 1167624"/>
                <a:gd name="connsiteX227" fmla="*/ 1809 w 1217767"/>
                <a:gd name="connsiteY227" fmla="*/ 216595 h 1167624"/>
                <a:gd name="connsiteX228" fmla="*/ 4265 w 1217767"/>
                <a:gd name="connsiteY228" fmla="*/ 218017 h 1167624"/>
                <a:gd name="connsiteX229" fmla="*/ 5299 w 1217767"/>
                <a:gd name="connsiteY229" fmla="*/ 218792 h 1167624"/>
                <a:gd name="connsiteX230" fmla="*/ 6074 w 1217767"/>
                <a:gd name="connsiteY230" fmla="*/ 220343 h 1167624"/>
                <a:gd name="connsiteX231" fmla="*/ 6849 w 1217767"/>
                <a:gd name="connsiteY231" fmla="*/ 222411 h 1167624"/>
                <a:gd name="connsiteX232" fmla="*/ 6849 w 1217767"/>
                <a:gd name="connsiteY232" fmla="*/ 224091 h 1167624"/>
                <a:gd name="connsiteX233" fmla="*/ 6462 w 1217767"/>
                <a:gd name="connsiteY233" fmla="*/ 228226 h 1167624"/>
                <a:gd name="connsiteX234" fmla="*/ 9563 w 1217767"/>
                <a:gd name="connsiteY234" fmla="*/ 239211 h 1167624"/>
                <a:gd name="connsiteX235" fmla="*/ 10209 w 1217767"/>
                <a:gd name="connsiteY235" fmla="*/ 240504 h 1167624"/>
                <a:gd name="connsiteX236" fmla="*/ 10985 w 1217767"/>
                <a:gd name="connsiteY236" fmla="*/ 241537 h 1167624"/>
                <a:gd name="connsiteX237" fmla="*/ 11631 w 1217767"/>
                <a:gd name="connsiteY237" fmla="*/ 242959 h 1167624"/>
                <a:gd name="connsiteX238" fmla="*/ 12536 w 1217767"/>
                <a:gd name="connsiteY238" fmla="*/ 244510 h 1167624"/>
                <a:gd name="connsiteX239" fmla="*/ 13311 w 1217767"/>
                <a:gd name="connsiteY239" fmla="*/ 245156 h 1167624"/>
                <a:gd name="connsiteX240" fmla="*/ 13957 w 1217767"/>
                <a:gd name="connsiteY240" fmla="*/ 246190 h 1167624"/>
                <a:gd name="connsiteX241" fmla="*/ 13957 w 1217767"/>
                <a:gd name="connsiteY241" fmla="*/ 247224 h 1167624"/>
                <a:gd name="connsiteX242" fmla="*/ 13440 w 1217767"/>
                <a:gd name="connsiteY242" fmla="*/ 248258 h 1167624"/>
                <a:gd name="connsiteX243" fmla="*/ 12665 w 1217767"/>
                <a:gd name="connsiteY243" fmla="*/ 248904 h 1167624"/>
                <a:gd name="connsiteX244" fmla="*/ 12019 w 1217767"/>
                <a:gd name="connsiteY244" fmla="*/ 249550 h 1167624"/>
                <a:gd name="connsiteX245" fmla="*/ 11502 w 1217767"/>
                <a:gd name="connsiteY245" fmla="*/ 250325 h 1167624"/>
                <a:gd name="connsiteX246" fmla="*/ 10339 w 1217767"/>
                <a:gd name="connsiteY246" fmla="*/ 253685 h 1167624"/>
                <a:gd name="connsiteX247" fmla="*/ 9693 w 1217767"/>
                <a:gd name="connsiteY247" fmla="*/ 254590 h 1167624"/>
                <a:gd name="connsiteX248" fmla="*/ 8659 w 1217767"/>
                <a:gd name="connsiteY248" fmla="*/ 254978 h 1167624"/>
                <a:gd name="connsiteX249" fmla="*/ 6462 w 1217767"/>
                <a:gd name="connsiteY249" fmla="*/ 255624 h 1167624"/>
                <a:gd name="connsiteX250" fmla="*/ 5557 w 1217767"/>
                <a:gd name="connsiteY250" fmla="*/ 256012 h 1167624"/>
                <a:gd name="connsiteX251" fmla="*/ 5040 w 1217767"/>
                <a:gd name="connsiteY251" fmla="*/ 256787 h 1167624"/>
                <a:gd name="connsiteX252" fmla="*/ 5686 w 1217767"/>
                <a:gd name="connsiteY252" fmla="*/ 257692 h 1167624"/>
                <a:gd name="connsiteX253" fmla="*/ 6462 w 1217767"/>
                <a:gd name="connsiteY253" fmla="*/ 258725 h 1167624"/>
                <a:gd name="connsiteX254" fmla="*/ 7496 w 1217767"/>
                <a:gd name="connsiteY254" fmla="*/ 260276 h 1167624"/>
                <a:gd name="connsiteX255" fmla="*/ 7754 w 1217767"/>
                <a:gd name="connsiteY255" fmla="*/ 261827 h 1167624"/>
                <a:gd name="connsiteX256" fmla="*/ 8013 w 1217767"/>
                <a:gd name="connsiteY256" fmla="*/ 265704 h 1167624"/>
                <a:gd name="connsiteX257" fmla="*/ 8400 w 1217767"/>
                <a:gd name="connsiteY257" fmla="*/ 267126 h 1167624"/>
                <a:gd name="connsiteX258" fmla="*/ 9822 w 1217767"/>
                <a:gd name="connsiteY258" fmla="*/ 271390 h 1167624"/>
                <a:gd name="connsiteX259" fmla="*/ 9822 w 1217767"/>
                <a:gd name="connsiteY259" fmla="*/ 272683 h 1167624"/>
                <a:gd name="connsiteX260" fmla="*/ 9693 w 1217767"/>
                <a:gd name="connsiteY260" fmla="*/ 273975 h 1167624"/>
                <a:gd name="connsiteX261" fmla="*/ 8529 w 1217767"/>
                <a:gd name="connsiteY261" fmla="*/ 277594 h 1167624"/>
                <a:gd name="connsiteX262" fmla="*/ 8271 w 1217767"/>
                <a:gd name="connsiteY262" fmla="*/ 279532 h 1167624"/>
                <a:gd name="connsiteX263" fmla="*/ 8271 w 1217767"/>
                <a:gd name="connsiteY263" fmla="*/ 281212 h 1167624"/>
                <a:gd name="connsiteX264" fmla="*/ 8659 w 1217767"/>
                <a:gd name="connsiteY264" fmla="*/ 283538 h 1167624"/>
                <a:gd name="connsiteX265" fmla="*/ 8529 w 1217767"/>
                <a:gd name="connsiteY265" fmla="*/ 284831 h 1167624"/>
                <a:gd name="connsiteX266" fmla="*/ 8142 w 1217767"/>
                <a:gd name="connsiteY266" fmla="*/ 285865 h 1167624"/>
                <a:gd name="connsiteX267" fmla="*/ 5686 w 1217767"/>
                <a:gd name="connsiteY267" fmla="*/ 290129 h 1167624"/>
                <a:gd name="connsiteX268" fmla="*/ 4394 w 1217767"/>
                <a:gd name="connsiteY268" fmla="*/ 292843 h 1167624"/>
                <a:gd name="connsiteX269" fmla="*/ 4006 w 1217767"/>
                <a:gd name="connsiteY269" fmla="*/ 294652 h 1167624"/>
                <a:gd name="connsiteX270" fmla="*/ 3619 w 1217767"/>
                <a:gd name="connsiteY270" fmla="*/ 296849 h 1167624"/>
                <a:gd name="connsiteX271" fmla="*/ 3489 w 1217767"/>
                <a:gd name="connsiteY271" fmla="*/ 300468 h 1167624"/>
                <a:gd name="connsiteX272" fmla="*/ 3877 w 1217767"/>
                <a:gd name="connsiteY272" fmla="*/ 302406 h 1167624"/>
                <a:gd name="connsiteX273" fmla="*/ 4652 w 1217767"/>
                <a:gd name="connsiteY273" fmla="*/ 303828 h 1167624"/>
                <a:gd name="connsiteX274" fmla="*/ 5428 w 1217767"/>
                <a:gd name="connsiteY274" fmla="*/ 304862 h 1167624"/>
                <a:gd name="connsiteX275" fmla="*/ 6074 w 1217767"/>
                <a:gd name="connsiteY275" fmla="*/ 306283 h 1167624"/>
                <a:gd name="connsiteX276" fmla="*/ 6074 w 1217767"/>
                <a:gd name="connsiteY276" fmla="*/ 307834 h 1167624"/>
                <a:gd name="connsiteX277" fmla="*/ 5040 w 1217767"/>
                <a:gd name="connsiteY277" fmla="*/ 311582 h 1167624"/>
                <a:gd name="connsiteX278" fmla="*/ 4911 w 1217767"/>
                <a:gd name="connsiteY278" fmla="*/ 313133 h 1167624"/>
                <a:gd name="connsiteX279" fmla="*/ 5169 w 1217767"/>
                <a:gd name="connsiteY279" fmla="*/ 314554 h 1167624"/>
                <a:gd name="connsiteX280" fmla="*/ 9822 w 1217767"/>
                <a:gd name="connsiteY280" fmla="*/ 324764 h 1167624"/>
                <a:gd name="connsiteX281" fmla="*/ 10468 w 1217767"/>
                <a:gd name="connsiteY281" fmla="*/ 325798 h 1167624"/>
                <a:gd name="connsiteX282" fmla="*/ 12665 w 1217767"/>
                <a:gd name="connsiteY282" fmla="*/ 327865 h 1167624"/>
                <a:gd name="connsiteX283" fmla="*/ 13570 w 1217767"/>
                <a:gd name="connsiteY283" fmla="*/ 329029 h 1167624"/>
                <a:gd name="connsiteX284" fmla="*/ 14216 w 1217767"/>
                <a:gd name="connsiteY284" fmla="*/ 330321 h 1167624"/>
                <a:gd name="connsiteX285" fmla="*/ 14862 w 1217767"/>
                <a:gd name="connsiteY285" fmla="*/ 332001 h 1167624"/>
                <a:gd name="connsiteX286" fmla="*/ 14991 w 1217767"/>
                <a:gd name="connsiteY286" fmla="*/ 333293 h 1167624"/>
                <a:gd name="connsiteX287" fmla="*/ 14862 w 1217767"/>
                <a:gd name="connsiteY287" fmla="*/ 335490 h 1167624"/>
                <a:gd name="connsiteX288" fmla="*/ 13828 w 1217767"/>
                <a:gd name="connsiteY288" fmla="*/ 340530 h 1167624"/>
                <a:gd name="connsiteX289" fmla="*/ 13570 w 1217767"/>
                <a:gd name="connsiteY289" fmla="*/ 347380 h 1167624"/>
                <a:gd name="connsiteX290" fmla="*/ 12536 w 1217767"/>
                <a:gd name="connsiteY290" fmla="*/ 353066 h 1167624"/>
                <a:gd name="connsiteX291" fmla="*/ 12277 w 1217767"/>
                <a:gd name="connsiteY291" fmla="*/ 357202 h 1167624"/>
                <a:gd name="connsiteX292" fmla="*/ 11631 w 1217767"/>
                <a:gd name="connsiteY292" fmla="*/ 360562 h 1167624"/>
                <a:gd name="connsiteX293" fmla="*/ 12019 w 1217767"/>
                <a:gd name="connsiteY293" fmla="*/ 361337 h 1167624"/>
                <a:gd name="connsiteX294" fmla="*/ 12406 w 1217767"/>
                <a:gd name="connsiteY294" fmla="*/ 361725 h 1167624"/>
                <a:gd name="connsiteX295" fmla="*/ 13311 w 1217767"/>
                <a:gd name="connsiteY295" fmla="*/ 361983 h 1167624"/>
                <a:gd name="connsiteX296" fmla="*/ 14345 w 1217767"/>
                <a:gd name="connsiteY296" fmla="*/ 362371 h 1167624"/>
                <a:gd name="connsiteX297" fmla="*/ 15120 w 1217767"/>
                <a:gd name="connsiteY297" fmla="*/ 362888 h 1167624"/>
                <a:gd name="connsiteX298" fmla="*/ 15637 w 1217767"/>
                <a:gd name="connsiteY298" fmla="*/ 364180 h 1167624"/>
                <a:gd name="connsiteX299" fmla="*/ 15508 w 1217767"/>
                <a:gd name="connsiteY299" fmla="*/ 365731 h 1167624"/>
                <a:gd name="connsiteX300" fmla="*/ 14862 w 1217767"/>
                <a:gd name="connsiteY300" fmla="*/ 368316 h 1167624"/>
                <a:gd name="connsiteX301" fmla="*/ 14087 w 1217767"/>
                <a:gd name="connsiteY301" fmla="*/ 369737 h 1167624"/>
                <a:gd name="connsiteX302" fmla="*/ 13182 w 1217767"/>
                <a:gd name="connsiteY302" fmla="*/ 370513 h 1167624"/>
                <a:gd name="connsiteX303" fmla="*/ 12406 w 1217767"/>
                <a:gd name="connsiteY303" fmla="*/ 370383 h 1167624"/>
                <a:gd name="connsiteX304" fmla="*/ 11760 w 1217767"/>
                <a:gd name="connsiteY304" fmla="*/ 370125 h 1167624"/>
                <a:gd name="connsiteX305" fmla="*/ 10985 w 1217767"/>
                <a:gd name="connsiteY305" fmla="*/ 369996 h 1167624"/>
                <a:gd name="connsiteX306" fmla="*/ 10209 w 1217767"/>
                <a:gd name="connsiteY306" fmla="*/ 370513 h 1167624"/>
                <a:gd name="connsiteX307" fmla="*/ 9822 w 1217767"/>
                <a:gd name="connsiteY307" fmla="*/ 371805 h 1167624"/>
                <a:gd name="connsiteX308" fmla="*/ 9951 w 1217767"/>
                <a:gd name="connsiteY308" fmla="*/ 373356 h 1167624"/>
                <a:gd name="connsiteX309" fmla="*/ 10985 w 1217767"/>
                <a:gd name="connsiteY309" fmla="*/ 377879 h 1167624"/>
                <a:gd name="connsiteX310" fmla="*/ 11243 w 1217767"/>
                <a:gd name="connsiteY310" fmla="*/ 379688 h 1167624"/>
                <a:gd name="connsiteX311" fmla="*/ 11114 w 1217767"/>
                <a:gd name="connsiteY311" fmla="*/ 381368 h 1167624"/>
                <a:gd name="connsiteX312" fmla="*/ 9563 w 1217767"/>
                <a:gd name="connsiteY312" fmla="*/ 389381 h 1167624"/>
                <a:gd name="connsiteX313" fmla="*/ 9693 w 1217767"/>
                <a:gd name="connsiteY313" fmla="*/ 390931 h 1167624"/>
                <a:gd name="connsiteX314" fmla="*/ 10856 w 1217767"/>
                <a:gd name="connsiteY314" fmla="*/ 393258 h 1167624"/>
                <a:gd name="connsiteX315" fmla="*/ 15120 w 1217767"/>
                <a:gd name="connsiteY315" fmla="*/ 394162 h 1167624"/>
                <a:gd name="connsiteX316" fmla="*/ 125227 w 1217767"/>
                <a:gd name="connsiteY316" fmla="*/ 394808 h 1167624"/>
                <a:gd name="connsiteX317" fmla="*/ 126003 w 1217767"/>
                <a:gd name="connsiteY317" fmla="*/ 395325 h 1167624"/>
                <a:gd name="connsiteX318" fmla="*/ 125873 w 1217767"/>
                <a:gd name="connsiteY318" fmla="*/ 396359 h 1167624"/>
                <a:gd name="connsiteX319" fmla="*/ 125356 w 1217767"/>
                <a:gd name="connsiteY319" fmla="*/ 397522 h 1167624"/>
                <a:gd name="connsiteX320" fmla="*/ 125227 w 1217767"/>
                <a:gd name="connsiteY320" fmla="*/ 398944 h 1167624"/>
                <a:gd name="connsiteX321" fmla="*/ 126132 w 1217767"/>
                <a:gd name="connsiteY321" fmla="*/ 400236 h 1167624"/>
                <a:gd name="connsiteX322" fmla="*/ 131560 w 1217767"/>
                <a:gd name="connsiteY322" fmla="*/ 405535 h 1167624"/>
                <a:gd name="connsiteX323" fmla="*/ 132852 w 1217767"/>
                <a:gd name="connsiteY323" fmla="*/ 406310 h 1167624"/>
                <a:gd name="connsiteX324" fmla="*/ 134015 w 1217767"/>
                <a:gd name="connsiteY324" fmla="*/ 406310 h 1167624"/>
                <a:gd name="connsiteX325" fmla="*/ 135049 w 1217767"/>
                <a:gd name="connsiteY325" fmla="*/ 405793 h 1167624"/>
                <a:gd name="connsiteX326" fmla="*/ 138280 w 1217767"/>
                <a:gd name="connsiteY326" fmla="*/ 403467 h 1167624"/>
                <a:gd name="connsiteX327" fmla="*/ 139443 w 1217767"/>
                <a:gd name="connsiteY327" fmla="*/ 402950 h 1167624"/>
                <a:gd name="connsiteX328" fmla="*/ 140477 w 1217767"/>
                <a:gd name="connsiteY328" fmla="*/ 402692 h 1167624"/>
                <a:gd name="connsiteX329" fmla="*/ 141511 w 1217767"/>
                <a:gd name="connsiteY329" fmla="*/ 402821 h 1167624"/>
                <a:gd name="connsiteX330" fmla="*/ 142674 w 1217767"/>
                <a:gd name="connsiteY330" fmla="*/ 403209 h 1167624"/>
                <a:gd name="connsiteX331" fmla="*/ 146292 w 1217767"/>
                <a:gd name="connsiteY331" fmla="*/ 405535 h 1167624"/>
                <a:gd name="connsiteX332" fmla="*/ 147714 w 1217767"/>
                <a:gd name="connsiteY332" fmla="*/ 406052 h 1167624"/>
                <a:gd name="connsiteX333" fmla="*/ 152108 w 1217767"/>
                <a:gd name="connsiteY333" fmla="*/ 407086 h 1167624"/>
                <a:gd name="connsiteX334" fmla="*/ 153400 w 1217767"/>
                <a:gd name="connsiteY334" fmla="*/ 407215 h 1167624"/>
                <a:gd name="connsiteX335" fmla="*/ 154563 w 1217767"/>
                <a:gd name="connsiteY335" fmla="*/ 406956 h 1167624"/>
                <a:gd name="connsiteX336" fmla="*/ 155726 w 1217767"/>
                <a:gd name="connsiteY336" fmla="*/ 406310 h 1167624"/>
                <a:gd name="connsiteX337" fmla="*/ 156890 w 1217767"/>
                <a:gd name="connsiteY337" fmla="*/ 405922 h 1167624"/>
                <a:gd name="connsiteX338" fmla="*/ 158053 w 1217767"/>
                <a:gd name="connsiteY338" fmla="*/ 405922 h 1167624"/>
                <a:gd name="connsiteX339" fmla="*/ 161671 w 1217767"/>
                <a:gd name="connsiteY339" fmla="*/ 406956 h 1167624"/>
                <a:gd name="connsiteX340" fmla="*/ 162834 w 1217767"/>
                <a:gd name="connsiteY340" fmla="*/ 407086 h 1167624"/>
                <a:gd name="connsiteX341" fmla="*/ 163868 w 1217767"/>
                <a:gd name="connsiteY341" fmla="*/ 406827 h 1167624"/>
                <a:gd name="connsiteX342" fmla="*/ 165031 w 1217767"/>
                <a:gd name="connsiteY342" fmla="*/ 406827 h 1167624"/>
                <a:gd name="connsiteX343" fmla="*/ 166065 w 1217767"/>
                <a:gd name="connsiteY343" fmla="*/ 407215 h 1167624"/>
                <a:gd name="connsiteX344" fmla="*/ 168133 w 1217767"/>
                <a:gd name="connsiteY344" fmla="*/ 408636 h 1167624"/>
                <a:gd name="connsiteX345" fmla="*/ 170847 w 1217767"/>
                <a:gd name="connsiteY345" fmla="*/ 409283 h 1167624"/>
                <a:gd name="connsiteX346" fmla="*/ 172398 w 1217767"/>
                <a:gd name="connsiteY346" fmla="*/ 410058 h 1167624"/>
                <a:gd name="connsiteX347" fmla="*/ 173302 w 1217767"/>
                <a:gd name="connsiteY347" fmla="*/ 411480 h 1167624"/>
                <a:gd name="connsiteX348" fmla="*/ 174982 w 1217767"/>
                <a:gd name="connsiteY348" fmla="*/ 416003 h 1167624"/>
                <a:gd name="connsiteX349" fmla="*/ 175370 w 1217767"/>
                <a:gd name="connsiteY349" fmla="*/ 417812 h 1167624"/>
                <a:gd name="connsiteX350" fmla="*/ 175499 w 1217767"/>
                <a:gd name="connsiteY350" fmla="*/ 419233 h 1167624"/>
                <a:gd name="connsiteX351" fmla="*/ 176016 w 1217767"/>
                <a:gd name="connsiteY351" fmla="*/ 421430 h 1167624"/>
                <a:gd name="connsiteX352" fmla="*/ 177050 w 1217767"/>
                <a:gd name="connsiteY352" fmla="*/ 424403 h 1167624"/>
                <a:gd name="connsiteX353" fmla="*/ 181444 w 1217767"/>
                <a:gd name="connsiteY353" fmla="*/ 433708 h 1167624"/>
                <a:gd name="connsiteX354" fmla="*/ 181961 w 1217767"/>
                <a:gd name="connsiteY354" fmla="*/ 436163 h 1167624"/>
                <a:gd name="connsiteX355" fmla="*/ 181702 w 1217767"/>
                <a:gd name="connsiteY355" fmla="*/ 437326 h 1167624"/>
                <a:gd name="connsiteX356" fmla="*/ 181185 w 1217767"/>
                <a:gd name="connsiteY356" fmla="*/ 438618 h 1167624"/>
                <a:gd name="connsiteX357" fmla="*/ 180281 w 1217767"/>
                <a:gd name="connsiteY357" fmla="*/ 439652 h 1167624"/>
                <a:gd name="connsiteX358" fmla="*/ 179247 w 1217767"/>
                <a:gd name="connsiteY358" fmla="*/ 440428 h 1167624"/>
                <a:gd name="connsiteX359" fmla="*/ 178084 w 1217767"/>
                <a:gd name="connsiteY359" fmla="*/ 441074 h 1167624"/>
                <a:gd name="connsiteX360" fmla="*/ 177050 w 1217767"/>
                <a:gd name="connsiteY360" fmla="*/ 441720 h 1167624"/>
                <a:gd name="connsiteX361" fmla="*/ 176016 w 1217767"/>
                <a:gd name="connsiteY361" fmla="*/ 442754 h 1167624"/>
                <a:gd name="connsiteX362" fmla="*/ 175499 w 1217767"/>
                <a:gd name="connsiteY362" fmla="*/ 444046 h 1167624"/>
                <a:gd name="connsiteX363" fmla="*/ 174595 w 1217767"/>
                <a:gd name="connsiteY363" fmla="*/ 446373 h 1167624"/>
                <a:gd name="connsiteX364" fmla="*/ 174078 w 1217767"/>
                <a:gd name="connsiteY364" fmla="*/ 447406 h 1167624"/>
                <a:gd name="connsiteX365" fmla="*/ 172785 w 1217767"/>
                <a:gd name="connsiteY365" fmla="*/ 448828 h 1167624"/>
                <a:gd name="connsiteX366" fmla="*/ 171105 w 1217767"/>
                <a:gd name="connsiteY366" fmla="*/ 451284 h 1167624"/>
                <a:gd name="connsiteX367" fmla="*/ 169813 w 1217767"/>
                <a:gd name="connsiteY367" fmla="*/ 452576 h 1167624"/>
                <a:gd name="connsiteX368" fmla="*/ 163222 w 1217767"/>
                <a:gd name="connsiteY368" fmla="*/ 457487 h 1167624"/>
                <a:gd name="connsiteX369" fmla="*/ 162317 w 1217767"/>
                <a:gd name="connsiteY369" fmla="*/ 458391 h 1167624"/>
                <a:gd name="connsiteX370" fmla="*/ 161671 w 1217767"/>
                <a:gd name="connsiteY370" fmla="*/ 459554 h 1167624"/>
                <a:gd name="connsiteX371" fmla="*/ 161413 w 1217767"/>
                <a:gd name="connsiteY371" fmla="*/ 460847 h 1167624"/>
                <a:gd name="connsiteX372" fmla="*/ 161025 w 1217767"/>
                <a:gd name="connsiteY372" fmla="*/ 465887 h 1167624"/>
                <a:gd name="connsiteX373" fmla="*/ 161671 w 1217767"/>
                <a:gd name="connsiteY373" fmla="*/ 475192 h 1167624"/>
                <a:gd name="connsiteX374" fmla="*/ 161930 w 1217767"/>
                <a:gd name="connsiteY374" fmla="*/ 476484 h 1167624"/>
                <a:gd name="connsiteX375" fmla="*/ 162834 w 1217767"/>
                <a:gd name="connsiteY375" fmla="*/ 479456 h 1167624"/>
                <a:gd name="connsiteX376" fmla="*/ 163093 w 1217767"/>
                <a:gd name="connsiteY376" fmla="*/ 480619 h 1167624"/>
                <a:gd name="connsiteX377" fmla="*/ 163222 w 1217767"/>
                <a:gd name="connsiteY377" fmla="*/ 485530 h 1167624"/>
                <a:gd name="connsiteX378" fmla="*/ 163480 w 1217767"/>
                <a:gd name="connsiteY378" fmla="*/ 487210 h 1167624"/>
                <a:gd name="connsiteX379" fmla="*/ 164127 w 1217767"/>
                <a:gd name="connsiteY379" fmla="*/ 489537 h 1167624"/>
                <a:gd name="connsiteX380" fmla="*/ 165031 w 1217767"/>
                <a:gd name="connsiteY380" fmla="*/ 491475 h 1167624"/>
                <a:gd name="connsiteX381" fmla="*/ 166065 w 1217767"/>
                <a:gd name="connsiteY381" fmla="*/ 492638 h 1167624"/>
                <a:gd name="connsiteX382" fmla="*/ 167228 w 1217767"/>
                <a:gd name="connsiteY382" fmla="*/ 493155 h 1167624"/>
                <a:gd name="connsiteX383" fmla="*/ 168521 w 1217767"/>
                <a:gd name="connsiteY383" fmla="*/ 493155 h 1167624"/>
                <a:gd name="connsiteX384" fmla="*/ 170588 w 1217767"/>
                <a:gd name="connsiteY384" fmla="*/ 492509 h 1167624"/>
                <a:gd name="connsiteX385" fmla="*/ 171622 w 1217767"/>
                <a:gd name="connsiteY385" fmla="*/ 492380 h 1167624"/>
                <a:gd name="connsiteX386" fmla="*/ 172527 w 1217767"/>
                <a:gd name="connsiteY386" fmla="*/ 492509 h 1167624"/>
                <a:gd name="connsiteX387" fmla="*/ 173173 w 1217767"/>
                <a:gd name="connsiteY387" fmla="*/ 492897 h 1167624"/>
                <a:gd name="connsiteX388" fmla="*/ 174336 w 1217767"/>
                <a:gd name="connsiteY388" fmla="*/ 493930 h 1167624"/>
                <a:gd name="connsiteX389" fmla="*/ 176145 w 1217767"/>
                <a:gd name="connsiteY389" fmla="*/ 499488 h 1167624"/>
                <a:gd name="connsiteX390" fmla="*/ 178601 w 1217767"/>
                <a:gd name="connsiteY390" fmla="*/ 504269 h 1167624"/>
                <a:gd name="connsiteX391" fmla="*/ 179893 w 1217767"/>
                <a:gd name="connsiteY391" fmla="*/ 508792 h 1167624"/>
                <a:gd name="connsiteX392" fmla="*/ 183641 w 1217767"/>
                <a:gd name="connsiteY392" fmla="*/ 514091 h 1167624"/>
                <a:gd name="connsiteX393" fmla="*/ 184287 w 1217767"/>
                <a:gd name="connsiteY393" fmla="*/ 515642 h 1167624"/>
                <a:gd name="connsiteX394" fmla="*/ 184545 w 1217767"/>
                <a:gd name="connsiteY394" fmla="*/ 517063 h 1167624"/>
                <a:gd name="connsiteX395" fmla="*/ 184287 w 1217767"/>
                <a:gd name="connsiteY395" fmla="*/ 529470 h 1167624"/>
                <a:gd name="connsiteX396" fmla="*/ 184545 w 1217767"/>
                <a:gd name="connsiteY396" fmla="*/ 531279 h 1167624"/>
                <a:gd name="connsiteX397" fmla="*/ 185062 w 1217767"/>
                <a:gd name="connsiteY397" fmla="*/ 533218 h 1167624"/>
                <a:gd name="connsiteX398" fmla="*/ 187389 w 1217767"/>
                <a:gd name="connsiteY398" fmla="*/ 538516 h 1167624"/>
                <a:gd name="connsiteX399" fmla="*/ 189715 w 1217767"/>
                <a:gd name="connsiteY399" fmla="*/ 542393 h 1167624"/>
                <a:gd name="connsiteX400" fmla="*/ 191395 w 1217767"/>
                <a:gd name="connsiteY400" fmla="*/ 545107 h 1167624"/>
                <a:gd name="connsiteX401" fmla="*/ 191524 w 1217767"/>
                <a:gd name="connsiteY401" fmla="*/ 546141 h 1167624"/>
                <a:gd name="connsiteX402" fmla="*/ 191395 w 1217767"/>
                <a:gd name="connsiteY402" fmla="*/ 547433 h 1167624"/>
                <a:gd name="connsiteX403" fmla="*/ 189456 w 1217767"/>
                <a:gd name="connsiteY403" fmla="*/ 551310 h 1167624"/>
                <a:gd name="connsiteX404" fmla="*/ 182219 w 1217767"/>
                <a:gd name="connsiteY404" fmla="*/ 570307 h 1167624"/>
                <a:gd name="connsiteX405" fmla="*/ 173561 w 1217767"/>
                <a:gd name="connsiteY405" fmla="*/ 580000 h 1167624"/>
                <a:gd name="connsiteX406" fmla="*/ 172785 w 1217767"/>
                <a:gd name="connsiteY406" fmla="*/ 581292 h 1167624"/>
                <a:gd name="connsiteX407" fmla="*/ 172268 w 1217767"/>
                <a:gd name="connsiteY407" fmla="*/ 582455 h 1167624"/>
                <a:gd name="connsiteX408" fmla="*/ 171234 w 1217767"/>
                <a:gd name="connsiteY408" fmla="*/ 587108 h 1167624"/>
                <a:gd name="connsiteX409" fmla="*/ 169813 w 1217767"/>
                <a:gd name="connsiteY409" fmla="*/ 591889 h 1167624"/>
                <a:gd name="connsiteX410" fmla="*/ 169296 w 1217767"/>
                <a:gd name="connsiteY410" fmla="*/ 594862 h 1167624"/>
                <a:gd name="connsiteX411" fmla="*/ 168650 w 1217767"/>
                <a:gd name="connsiteY411" fmla="*/ 596930 h 1167624"/>
                <a:gd name="connsiteX412" fmla="*/ 168004 w 1217767"/>
                <a:gd name="connsiteY412" fmla="*/ 598351 h 1167624"/>
                <a:gd name="connsiteX413" fmla="*/ 164773 w 1217767"/>
                <a:gd name="connsiteY413" fmla="*/ 602745 h 1167624"/>
                <a:gd name="connsiteX414" fmla="*/ 163610 w 1217767"/>
                <a:gd name="connsiteY414" fmla="*/ 604167 h 1167624"/>
                <a:gd name="connsiteX415" fmla="*/ 162447 w 1217767"/>
                <a:gd name="connsiteY415" fmla="*/ 605071 h 1167624"/>
                <a:gd name="connsiteX416" fmla="*/ 161154 w 1217767"/>
                <a:gd name="connsiteY416" fmla="*/ 605588 h 1167624"/>
                <a:gd name="connsiteX417" fmla="*/ 156502 w 1217767"/>
                <a:gd name="connsiteY417" fmla="*/ 606364 h 1167624"/>
                <a:gd name="connsiteX418" fmla="*/ 155080 w 1217767"/>
                <a:gd name="connsiteY418" fmla="*/ 606751 h 1167624"/>
                <a:gd name="connsiteX419" fmla="*/ 153659 w 1217767"/>
                <a:gd name="connsiteY419" fmla="*/ 607398 h 1167624"/>
                <a:gd name="connsiteX420" fmla="*/ 151591 w 1217767"/>
                <a:gd name="connsiteY420" fmla="*/ 608948 h 1167624"/>
                <a:gd name="connsiteX421" fmla="*/ 150428 w 1217767"/>
                <a:gd name="connsiteY421" fmla="*/ 610370 h 1167624"/>
                <a:gd name="connsiteX422" fmla="*/ 149265 w 1217767"/>
                <a:gd name="connsiteY422" fmla="*/ 612308 h 1167624"/>
                <a:gd name="connsiteX423" fmla="*/ 145258 w 1217767"/>
                <a:gd name="connsiteY423" fmla="*/ 616444 h 1167624"/>
                <a:gd name="connsiteX424" fmla="*/ 144095 w 1217767"/>
                <a:gd name="connsiteY424" fmla="*/ 618124 h 1167624"/>
                <a:gd name="connsiteX425" fmla="*/ 143578 w 1217767"/>
                <a:gd name="connsiteY425" fmla="*/ 619416 h 1167624"/>
                <a:gd name="connsiteX426" fmla="*/ 143578 w 1217767"/>
                <a:gd name="connsiteY426" fmla="*/ 620579 h 1167624"/>
                <a:gd name="connsiteX427" fmla="*/ 143966 w 1217767"/>
                <a:gd name="connsiteY427" fmla="*/ 623810 h 1167624"/>
                <a:gd name="connsiteX428" fmla="*/ 143708 w 1217767"/>
                <a:gd name="connsiteY428" fmla="*/ 624973 h 1167624"/>
                <a:gd name="connsiteX429" fmla="*/ 142932 w 1217767"/>
                <a:gd name="connsiteY429" fmla="*/ 627041 h 1167624"/>
                <a:gd name="connsiteX430" fmla="*/ 135954 w 1217767"/>
                <a:gd name="connsiteY430" fmla="*/ 639189 h 1167624"/>
                <a:gd name="connsiteX431" fmla="*/ 134920 w 1217767"/>
                <a:gd name="connsiteY431" fmla="*/ 641644 h 1167624"/>
                <a:gd name="connsiteX432" fmla="*/ 134274 w 1217767"/>
                <a:gd name="connsiteY432" fmla="*/ 643971 h 1167624"/>
                <a:gd name="connsiteX433" fmla="*/ 133886 w 1217767"/>
                <a:gd name="connsiteY433" fmla="*/ 647331 h 1167624"/>
                <a:gd name="connsiteX434" fmla="*/ 132981 w 1217767"/>
                <a:gd name="connsiteY434" fmla="*/ 650562 h 1167624"/>
                <a:gd name="connsiteX435" fmla="*/ 132594 w 1217767"/>
                <a:gd name="connsiteY435" fmla="*/ 654180 h 1167624"/>
                <a:gd name="connsiteX436" fmla="*/ 132206 w 1217767"/>
                <a:gd name="connsiteY436" fmla="*/ 655602 h 1167624"/>
                <a:gd name="connsiteX437" fmla="*/ 131430 w 1217767"/>
                <a:gd name="connsiteY437" fmla="*/ 657928 h 1167624"/>
                <a:gd name="connsiteX438" fmla="*/ 130397 w 1217767"/>
                <a:gd name="connsiteY438" fmla="*/ 659349 h 1167624"/>
                <a:gd name="connsiteX439" fmla="*/ 128975 w 1217767"/>
                <a:gd name="connsiteY439" fmla="*/ 660512 h 1167624"/>
                <a:gd name="connsiteX440" fmla="*/ 120446 w 1217767"/>
                <a:gd name="connsiteY440" fmla="*/ 664907 h 1167624"/>
                <a:gd name="connsiteX441" fmla="*/ 101836 w 1217767"/>
                <a:gd name="connsiteY441" fmla="*/ 677700 h 1167624"/>
                <a:gd name="connsiteX442" fmla="*/ 97959 w 1217767"/>
                <a:gd name="connsiteY442" fmla="*/ 681061 h 1167624"/>
                <a:gd name="connsiteX443" fmla="*/ 94857 w 1217767"/>
                <a:gd name="connsiteY443" fmla="*/ 684421 h 1167624"/>
                <a:gd name="connsiteX444" fmla="*/ 102611 w 1217767"/>
                <a:gd name="connsiteY444" fmla="*/ 690495 h 1167624"/>
                <a:gd name="connsiteX445" fmla="*/ 106359 w 1217767"/>
                <a:gd name="connsiteY445" fmla="*/ 692562 h 1167624"/>
                <a:gd name="connsiteX446" fmla="*/ 108815 w 1217767"/>
                <a:gd name="connsiteY446" fmla="*/ 693079 h 1167624"/>
                <a:gd name="connsiteX447" fmla="*/ 109461 w 1217767"/>
                <a:gd name="connsiteY447" fmla="*/ 693338 h 1167624"/>
                <a:gd name="connsiteX448" fmla="*/ 109849 w 1217767"/>
                <a:gd name="connsiteY448" fmla="*/ 693855 h 1167624"/>
                <a:gd name="connsiteX449" fmla="*/ 110495 w 1217767"/>
                <a:gd name="connsiteY449" fmla="*/ 695147 h 1167624"/>
                <a:gd name="connsiteX450" fmla="*/ 111012 w 1217767"/>
                <a:gd name="connsiteY450" fmla="*/ 695664 h 1167624"/>
                <a:gd name="connsiteX451" fmla="*/ 111916 w 1217767"/>
                <a:gd name="connsiteY451" fmla="*/ 696181 h 1167624"/>
                <a:gd name="connsiteX452" fmla="*/ 120058 w 1217767"/>
                <a:gd name="connsiteY452" fmla="*/ 698119 h 1167624"/>
                <a:gd name="connsiteX453" fmla="*/ 121867 w 1217767"/>
                <a:gd name="connsiteY453" fmla="*/ 699153 h 1167624"/>
                <a:gd name="connsiteX454" fmla="*/ 122772 w 1217767"/>
                <a:gd name="connsiteY454" fmla="*/ 701221 h 1167624"/>
                <a:gd name="connsiteX455" fmla="*/ 122901 w 1217767"/>
                <a:gd name="connsiteY455" fmla="*/ 704193 h 1167624"/>
                <a:gd name="connsiteX456" fmla="*/ 123547 w 1217767"/>
                <a:gd name="connsiteY456" fmla="*/ 707166 h 1167624"/>
                <a:gd name="connsiteX457" fmla="*/ 124452 w 1217767"/>
                <a:gd name="connsiteY457" fmla="*/ 710009 h 1167624"/>
                <a:gd name="connsiteX458" fmla="*/ 125615 w 1217767"/>
                <a:gd name="connsiteY458" fmla="*/ 712335 h 1167624"/>
                <a:gd name="connsiteX459" fmla="*/ 126390 w 1217767"/>
                <a:gd name="connsiteY459" fmla="*/ 713369 h 1167624"/>
                <a:gd name="connsiteX460" fmla="*/ 128717 w 1217767"/>
                <a:gd name="connsiteY460" fmla="*/ 715307 h 1167624"/>
                <a:gd name="connsiteX461" fmla="*/ 128975 w 1217767"/>
                <a:gd name="connsiteY461" fmla="*/ 715954 h 1167624"/>
                <a:gd name="connsiteX462" fmla="*/ 128458 w 1217767"/>
                <a:gd name="connsiteY462" fmla="*/ 716988 h 1167624"/>
                <a:gd name="connsiteX463" fmla="*/ 129104 w 1217767"/>
                <a:gd name="connsiteY463" fmla="*/ 717634 h 1167624"/>
                <a:gd name="connsiteX464" fmla="*/ 130138 w 1217767"/>
                <a:gd name="connsiteY464" fmla="*/ 718151 h 1167624"/>
                <a:gd name="connsiteX465" fmla="*/ 130784 w 1217767"/>
                <a:gd name="connsiteY465" fmla="*/ 718538 h 1167624"/>
                <a:gd name="connsiteX466" fmla="*/ 131043 w 1217767"/>
                <a:gd name="connsiteY466" fmla="*/ 719572 h 1167624"/>
                <a:gd name="connsiteX467" fmla="*/ 131043 w 1217767"/>
                <a:gd name="connsiteY467" fmla="*/ 720218 h 1167624"/>
                <a:gd name="connsiteX468" fmla="*/ 130009 w 1217767"/>
                <a:gd name="connsiteY468" fmla="*/ 722286 h 1167624"/>
                <a:gd name="connsiteX469" fmla="*/ 128717 w 1217767"/>
                <a:gd name="connsiteY469" fmla="*/ 727455 h 1167624"/>
                <a:gd name="connsiteX470" fmla="*/ 127683 w 1217767"/>
                <a:gd name="connsiteY470" fmla="*/ 729782 h 1167624"/>
                <a:gd name="connsiteX471" fmla="*/ 125744 w 1217767"/>
                <a:gd name="connsiteY471" fmla="*/ 731462 h 1167624"/>
                <a:gd name="connsiteX472" fmla="*/ 123160 w 1217767"/>
                <a:gd name="connsiteY472" fmla="*/ 732108 h 1167624"/>
                <a:gd name="connsiteX473" fmla="*/ 122384 w 1217767"/>
                <a:gd name="connsiteY473" fmla="*/ 732754 h 1167624"/>
                <a:gd name="connsiteX474" fmla="*/ 121867 w 1217767"/>
                <a:gd name="connsiteY474" fmla="*/ 734176 h 1167624"/>
                <a:gd name="connsiteX475" fmla="*/ 121350 w 1217767"/>
                <a:gd name="connsiteY475" fmla="*/ 736631 h 1167624"/>
                <a:gd name="connsiteX476" fmla="*/ 121221 w 1217767"/>
                <a:gd name="connsiteY476" fmla="*/ 739216 h 1167624"/>
                <a:gd name="connsiteX477" fmla="*/ 121609 w 1217767"/>
                <a:gd name="connsiteY477" fmla="*/ 740637 h 1167624"/>
                <a:gd name="connsiteX478" fmla="*/ 123030 w 1217767"/>
                <a:gd name="connsiteY478" fmla="*/ 743093 h 1167624"/>
                <a:gd name="connsiteX479" fmla="*/ 123030 w 1217767"/>
                <a:gd name="connsiteY479" fmla="*/ 745936 h 1167624"/>
                <a:gd name="connsiteX480" fmla="*/ 122643 w 1217767"/>
                <a:gd name="connsiteY480" fmla="*/ 748908 h 1167624"/>
                <a:gd name="connsiteX481" fmla="*/ 122772 w 1217767"/>
                <a:gd name="connsiteY481" fmla="*/ 751881 h 1167624"/>
                <a:gd name="connsiteX482" fmla="*/ 123935 w 1217767"/>
                <a:gd name="connsiteY482" fmla="*/ 753948 h 1167624"/>
                <a:gd name="connsiteX483" fmla="*/ 129750 w 1217767"/>
                <a:gd name="connsiteY483" fmla="*/ 758730 h 1167624"/>
                <a:gd name="connsiteX484" fmla="*/ 130655 w 1217767"/>
                <a:gd name="connsiteY484" fmla="*/ 760539 h 1167624"/>
                <a:gd name="connsiteX485" fmla="*/ 132206 w 1217767"/>
                <a:gd name="connsiteY485" fmla="*/ 767389 h 1167624"/>
                <a:gd name="connsiteX486" fmla="*/ 135695 w 1217767"/>
                <a:gd name="connsiteY486" fmla="*/ 775272 h 1167624"/>
                <a:gd name="connsiteX487" fmla="*/ 136341 w 1217767"/>
                <a:gd name="connsiteY487" fmla="*/ 779795 h 1167624"/>
                <a:gd name="connsiteX488" fmla="*/ 132981 w 1217767"/>
                <a:gd name="connsiteY488" fmla="*/ 780958 h 1167624"/>
                <a:gd name="connsiteX489" fmla="*/ 134791 w 1217767"/>
                <a:gd name="connsiteY489" fmla="*/ 784447 h 1167624"/>
                <a:gd name="connsiteX490" fmla="*/ 139960 w 1217767"/>
                <a:gd name="connsiteY490" fmla="*/ 788066 h 1167624"/>
                <a:gd name="connsiteX491" fmla="*/ 141252 w 1217767"/>
                <a:gd name="connsiteY491" fmla="*/ 790521 h 1167624"/>
                <a:gd name="connsiteX492" fmla="*/ 141640 w 1217767"/>
                <a:gd name="connsiteY492" fmla="*/ 797241 h 1167624"/>
                <a:gd name="connsiteX493" fmla="*/ 142028 w 1217767"/>
                <a:gd name="connsiteY493" fmla="*/ 806159 h 1167624"/>
                <a:gd name="connsiteX494" fmla="*/ 142415 w 1217767"/>
                <a:gd name="connsiteY494" fmla="*/ 815205 h 1167624"/>
                <a:gd name="connsiteX495" fmla="*/ 142932 w 1217767"/>
                <a:gd name="connsiteY495" fmla="*/ 824251 h 1167624"/>
                <a:gd name="connsiteX496" fmla="*/ 143320 w 1217767"/>
                <a:gd name="connsiteY496" fmla="*/ 833298 h 1167624"/>
                <a:gd name="connsiteX497" fmla="*/ 143578 w 1217767"/>
                <a:gd name="connsiteY497" fmla="*/ 840406 h 1167624"/>
                <a:gd name="connsiteX498" fmla="*/ 143062 w 1217767"/>
                <a:gd name="connsiteY498" fmla="*/ 841698 h 1167624"/>
                <a:gd name="connsiteX499" fmla="*/ 130784 w 1217767"/>
                <a:gd name="connsiteY499" fmla="*/ 841827 h 1167624"/>
                <a:gd name="connsiteX500" fmla="*/ 110236 w 1217767"/>
                <a:gd name="connsiteY500" fmla="*/ 842086 h 1167624"/>
                <a:gd name="connsiteX501" fmla="*/ 115793 w 1217767"/>
                <a:gd name="connsiteY501" fmla="*/ 846996 h 1167624"/>
                <a:gd name="connsiteX502" fmla="*/ 123289 w 1217767"/>
                <a:gd name="connsiteY502" fmla="*/ 855914 h 1167624"/>
                <a:gd name="connsiteX503" fmla="*/ 134791 w 1217767"/>
                <a:gd name="connsiteY503" fmla="*/ 869741 h 1167624"/>
                <a:gd name="connsiteX504" fmla="*/ 144612 w 1217767"/>
                <a:gd name="connsiteY504" fmla="*/ 881502 h 1167624"/>
                <a:gd name="connsiteX505" fmla="*/ 146163 w 1217767"/>
                <a:gd name="connsiteY505" fmla="*/ 883957 h 1167624"/>
                <a:gd name="connsiteX506" fmla="*/ 147068 w 1217767"/>
                <a:gd name="connsiteY506" fmla="*/ 886671 h 1167624"/>
                <a:gd name="connsiteX507" fmla="*/ 148489 w 1217767"/>
                <a:gd name="connsiteY507" fmla="*/ 903084 h 1167624"/>
                <a:gd name="connsiteX508" fmla="*/ 150299 w 1217767"/>
                <a:gd name="connsiteY508" fmla="*/ 925312 h 1167624"/>
                <a:gd name="connsiteX509" fmla="*/ 151720 w 1217767"/>
                <a:gd name="connsiteY509" fmla="*/ 941725 h 1167624"/>
                <a:gd name="connsiteX510" fmla="*/ 152496 w 1217767"/>
                <a:gd name="connsiteY510" fmla="*/ 953614 h 1167624"/>
                <a:gd name="connsiteX511" fmla="*/ 153271 w 1217767"/>
                <a:gd name="connsiteY511" fmla="*/ 966150 h 1167624"/>
                <a:gd name="connsiteX512" fmla="*/ 155339 w 1217767"/>
                <a:gd name="connsiteY512" fmla="*/ 970931 h 1167624"/>
                <a:gd name="connsiteX513" fmla="*/ 158570 w 1217767"/>
                <a:gd name="connsiteY513" fmla="*/ 971836 h 1167624"/>
                <a:gd name="connsiteX514" fmla="*/ 166065 w 1217767"/>
                <a:gd name="connsiteY514" fmla="*/ 972094 h 1167624"/>
                <a:gd name="connsiteX515" fmla="*/ 186484 w 1217767"/>
                <a:gd name="connsiteY515" fmla="*/ 972870 h 1167624"/>
                <a:gd name="connsiteX516" fmla="*/ 206774 w 1217767"/>
                <a:gd name="connsiteY516" fmla="*/ 973645 h 1167624"/>
                <a:gd name="connsiteX517" fmla="*/ 227193 w 1217767"/>
                <a:gd name="connsiteY517" fmla="*/ 974292 h 1167624"/>
                <a:gd name="connsiteX518" fmla="*/ 247611 w 1217767"/>
                <a:gd name="connsiteY518" fmla="*/ 975067 h 1167624"/>
                <a:gd name="connsiteX519" fmla="*/ 268030 w 1217767"/>
                <a:gd name="connsiteY519" fmla="*/ 975842 h 1167624"/>
                <a:gd name="connsiteX520" fmla="*/ 288320 w 1217767"/>
                <a:gd name="connsiteY520" fmla="*/ 976489 h 1167624"/>
                <a:gd name="connsiteX521" fmla="*/ 308739 w 1217767"/>
                <a:gd name="connsiteY521" fmla="*/ 977264 h 1167624"/>
                <a:gd name="connsiteX522" fmla="*/ 329158 w 1217767"/>
                <a:gd name="connsiteY522" fmla="*/ 978039 h 1167624"/>
                <a:gd name="connsiteX523" fmla="*/ 336912 w 1217767"/>
                <a:gd name="connsiteY523" fmla="*/ 978298 h 1167624"/>
                <a:gd name="connsiteX524" fmla="*/ 339238 w 1217767"/>
                <a:gd name="connsiteY524" fmla="*/ 978039 h 1167624"/>
                <a:gd name="connsiteX525" fmla="*/ 341435 w 1217767"/>
                <a:gd name="connsiteY525" fmla="*/ 976876 h 1167624"/>
                <a:gd name="connsiteX526" fmla="*/ 342210 w 1217767"/>
                <a:gd name="connsiteY526" fmla="*/ 975842 h 1167624"/>
                <a:gd name="connsiteX527" fmla="*/ 343761 w 1217767"/>
                <a:gd name="connsiteY527" fmla="*/ 973128 h 1167624"/>
                <a:gd name="connsiteX528" fmla="*/ 344537 w 1217767"/>
                <a:gd name="connsiteY528" fmla="*/ 972611 h 1167624"/>
                <a:gd name="connsiteX529" fmla="*/ 349189 w 1217767"/>
                <a:gd name="connsiteY529" fmla="*/ 972611 h 1167624"/>
                <a:gd name="connsiteX530" fmla="*/ 350223 w 1217767"/>
                <a:gd name="connsiteY530" fmla="*/ 973645 h 1167624"/>
                <a:gd name="connsiteX531" fmla="*/ 350740 w 1217767"/>
                <a:gd name="connsiteY531" fmla="*/ 984501 h 1167624"/>
                <a:gd name="connsiteX532" fmla="*/ 350352 w 1217767"/>
                <a:gd name="connsiteY532" fmla="*/ 985922 h 1167624"/>
                <a:gd name="connsiteX533" fmla="*/ 347767 w 1217767"/>
                <a:gd name="connsiteY533" fmla="*/ 988119 h 1167624"/>
                <a:gd name="connsiteX534" fmla="*/ 347638 w 1217767"/>
                <a:gd name="connsiteY534" fmla="*/ 989929 h 1167624"/>
                <a:gd name="connsiteX535" fmla="*/ 349964 w 1217767"/>
                <a:gd name="connsiteY535" fmla="*/ 994064 h 1167624"/>
                <a:gd name="connsiteX536" fmla="*/ 348543 w 1217767"/>
                <a:gd name="connsiteY536" fmla="*/ 998070 h 1167624"/>
                <a:gd name="connsiteX537" fmla="*/ 337816 w 1217767"/>
                <a:gd name="connsiteY537" fmla="*/ 1010218 h 1167624"/>
                <a:gd name="connsiteX538" fmla="*/ 336007 w 1217767"/>
                <a:gd name="connsiteY538" fmla="*/ 1013578 h 1167624"/>
                <a:gd name="connsiteX539" fmla="*/ 335232 w 1217767"/>
                <a:gd name="connsiteY539" fmla="*/ 1017456 h 1167624"/>
                <a:gd name="connsiteX540" fmla="*/ 335620 w 1217767"/>
                <a:gd name="connsiteY540" fmla="*/ 1022237 h 1167624"/>
                <a:gd name="connsiteX541" fmla="*/ 337816 w 1217767"/>
                <a:gd name="connsiteY541" fmla="*/ 1030637 h 1167624"/>
                <a:gd name="connsiteX542" fmla="*/ 338075 w 1217767"/>
                <a:gd name="connsiteY542" fmla="*/ 1034902 h 1167624"/>
                <a:gd name="connsiteX543" fmla="*/ 337946 w 1217767"/>
                <a:gd name="connsiteY543" fmla="*/ 1035677 h 1167624"/>
                <a:gd name="connsiteX544" fmla="*/ 336912 w 1217767"/>
                <a:gd name="connsiteY544" fmla="*/ 1037616 h 1167624"/>
                <a:gd name="connsiteX545" fmla="*/ 336653 w 1217767"/>
                <a:gd name="connsiteY545" fmla="*/ 1038779 h 1167624"/>
                <a:gd name="connsiteX546" fmla="*/ 336653 w 1217767"/>
                <a:gd name="connsiteY546" fmla="*/ 1040071 h 1167624"/>
                <a:gd name="connsiteX547" fmla="*/ 337816 w 1217767"/>
                <a:gd name="connsiteY547" fmla="*/ 1045499 h 1167624"/>
                <a:gd name="connsiteX548" fmla="*/ 339626 w 1217767"/>
                <a:gd name="connsiteY548" fmla="*/ 1048989 h 1167624"/>
                <a:gd name="connsiteX549" fmla="*/ 340272 w 1217767"/>
                <a:gd name="connsiteY549" fmla="*/ 1050927 h 1167624"/>
                <a:gd name="connsiteX550" fmla="*/ 340918 w 1217767"/>
                <a:gd name="connsiteY550" fmla="*/ 1058681 h 1167624"/>
                <a:gd name="connsiteX551" fmla="*/ 341435 w 1217767"/>
                <a:gd name="connsiteY551" fmla="*/ 1060361 h 1167624"/>
                <a:gd name="connsiteX552" fmla="*/ 342598 w 1217767"/>
                <a:gd name="connsiteY552" fmla="*/ 1062429 h 1167624"/>
                <a:gd name="connsiteX553" fmla="*/ 343115 w 1217767"/>
                <a:gd name="connsiteY553" fmla="*/ 1064884 h 1167624"/>
                <a:gd name="connsiteX554" fmla="*/ 343244 w 1217767"/>
                <a:gd name="connsiteY554" fmla="*/ 1074835 h 1167624"/>
                <a:gd name="connsiteX555" fmla="*/ 343890 w 1217767"/>
                <a:gd name="connsiteY555" fmla="*/ 1078971 h 1167624"/>
                <a:gd name="connsiteX556" fmla="*/ 345829 w 1217767"/>
                <a:gd name="connsiteY556" fmla="*/ 1082331 h 1167624"/>
                <a:gd name="connsiteX557" fmla="*/ 349835 w 1217767"/>
                <a:gd name="connsiteY557" fmla="*/ 1084528 h 1167624"/>
                <a:gd name="connsiteX558" fmla="*/ 353195 w 1217767"/>
                <a:gd name="connsiteY558" fmla="*/ 1084915 h 1167624"/>
                <a:gd name="connsiteX559" fmla="*/ 354229 w 1217767"/>
                <a:gd name="connsiteY559" fmla="*/ 1085303 h 1167624"/>
                <a:gd name="connsiteX560" fmla="*/ 355263 w 1217767"/>
                <a:gd name="connsiteY560" fmla="*/ 1085949 h 1167624"/>
                <a:gd name="connsiteX561" fmla="*/ 357201 w 1217767"/>
                <a:gd name="connsiteY561" fmla="*/ 1087500 h 1167624"/>
                <a:gd name="connsiteX562" fmla="*/ 358235 w 1217767"/>
                <a:gd name="connsiteY562" fmla="*/ 1088146 h 1167624"/>
                <a:gd name="connsiteX563" fmla="*/ 359140 w 1217767"/>
                <a:gd name="connsiteY563" fmla="*/ 1088534 h 1167624"/>
                <a:gd name="connsiteX564" fmla="*/ 360949 w 1217767"/>
                <a:gd name="connsiteY564" fmla="*/ 1088792 h 1167624"/>
                <a:gd name="connsiteX565" fmla="*/ 361854 w 1217767"/>
                <a:gd name="connsiteY565" fmla="*/ 1089309 h 1167624"/>
                <a:gd name="connsiteX566" fmla="*/ 363017 w 1217767"/>
                <a:gd name="connsiteY566" fmla="*/ 1090860 h 1167624"/>
                <a:gd name="connsiteX567" fmla="*/ 364697 w 1217767"/>
                <a:gd name="connsiteY567" fmla="*/ 1094608 h 1167624"/>
                <a:gd name="connsiteX568" fmla="*/ 366377 w 1217767"/>
                <a:gd name="connsiteY568" fmla="*/ 1095900 h 1167624"/>
                <a:gd name="connsiteX569" fmla="*/ 367928 w 1217767"/>
                <a:gd name="connsiteY569" fmla="*/ 1096288 h 1167624"/>
                <a:gd name="connsiteX570" fmla="*/ 369091 w 1217767"/>
                <a:gd name="connsiteY570" fmla="*/ 1096417 h 1167624"/>
                <a:gd name="connsiteX571" fmla="*/ 370254 w 1217767"/>
                <a:gd name="connsiteY571" fmla="*/ 1096676 h 1167624"/>
                <a:gd name="connsiteX572" fmla="*/ 371676 w 1217767"/>
                <a:gd name="connsiteY572" fmla="*/ 1097580 h 1167624"/>
                <a:gd name="connsiteX573" fmla="*/ 374648 w 1217767"/>
                <a:gd name="connsiteY573" fmla="*/ 1100811 h 1167624"/>
                <a:gd name="connsiteX574" fmla="*/ 375811 w 1217767"/>
                <a:gd name="connsiteY574" fmla="*/ 1101716 h 1167624"/>
                <a:gd name="connsiteX575" fmla="*/ 379559 w 1217767"/>
                <a:gd name="connsiteY575" fmla="*/ 1103396 h 1167624"/>
                <a:gd name="connsiteX576" fmla="*/ 380851 w 1217767"/>
                <a:gd name="connsiteY576" fmla="*/ 1104042 h 1167624"/>
                <a:gd name="connsiteX577" fmla="*/ 385504 w 1217767"/>
                <a:gd name="connsiteY577" fmla="*/ 1107919 h 1167624"/>
                <a:gd name="connsiteX578" fmla="*/ 388605 w 1217767"/>
                <a:gd name="connsiteY578" fmla="*/ 1109211 h 1167624"/>
                <a:gd name="connsiteX579" fmla="*/ 392612 w 1217767"/>
                <a:gd name="connsiteY579" fmla="*/ 1110245 h 1167624"/>
                <a:gd name="connsiteX580" fmla="*/ 396747 w 1217767"/>
                <a:gd name="connsiteY580" fmla="*/ 1110504 h 1167624"/>
                <a:gd name="connsiteX581" fmla="*/ 399719 w 1217767"/>
                <a:gd name="connsiteY581" fmla="*/ 1109599 h 1167624"/>
                <a:gd name="connsiteX582" fmla="*/ 402175 w 1217767"/>
                <a:gd name="connsiteY582" fmla="*/ 1109211 h 1167624"/>
                <a:gd name="connsiteX583" fmla="*/ 404113 w 1217767"/>
                <a:gd name="connsiteY583" fmla="*/ 1109470 h 1167624"/>
                <a:gd name="connsiteX584" fmla="*/ 406439 w 1217767"/>
                <a:gd name="connsiteY584" fmla="*/ 1110504 h 1167624"/>
                <a:gd name="connsiteX585" fmla="*/ 407990 w 1217767"/>
                <a:gd name="connsiteY585" fmla="*/ 1112054 h 1167624"/>
                <a:gd name="connsiteX586" fmla="*/ 409024 w 1217767"/>
                <a:gd name="connsiteY586" fmla="*/ 1114510 h 1167624"/>
                <a:gd name="connsiteX587" fmla="*/ 409283 w 1217767"/>
                <a:gd name="connsiteY587" fmla="*/ 1117224 h 1167624"/>
                <a:gd name="connsiteX588" fmla="*/ 409153 w 1217767"/>
                <a:gd name="connsiteY588" fmla="*/ 1119938 h 1167624"/>
                <a:gd name="connsiteX589" fmla="*/ 409283 w 1217767"/>
                <a:gd name="connsiteY589" fmla="*/ 1121747 h 1167624"/>
                <a:gd name="connsiteX590" fmla="*/ 409283 w 1217767"/>
                <a:gd name="connsiteY590" fmla="*/ 1126012 h 1167624"/>
                <a:gd name="connsiteX591" fmla="*/ 409541 w 1217767"/>
                <a:gd name="connsiteY591" fmla="*/ 1128079 h 1167624"/>
                <a:gd name="connsiteX592" fmla="*/ 410316 w 1217767"/>
                <a:gd name="connsiteY592" fmla="*/ 1130147 h 1167624"/>
                <a:gd name="connsiteX593" fmla="*/ 411480 w 1217767"/>
                <a:gd name="connsiteY593" fmla="*/ 1131569 h 1167624"/>
                <a:gd name="connsiteX594" fmla="*/ 412901 w 1217767"/>
                <a:gd name="connsiteY594" fmla="*/ 1132861 h 1167624"/>
                <a:gd name="connsiteX595" fmla="*/ 414452 w 1217767"/>
                <a:gd name="connsiteY595" fmla="*/ 1134024 h 1167624"/>
                <a:gd name="connsiteX596" fmla="*/ 416132 w 1217767"/>
                <a:gd name="connsiteY596" fmla="*/ 1134670 h 1167624"/>
                <a:gd name="connsiteX597" fmla="*/ 417166 w 1217767"/>
                <a:gd name="connsiteY597" fmla="*/ 1133895 h 1167624"/>
                <a:gd name="connsiteX598" fmla="*/ 420397 w 1217767"/>
                <a:gd name="connsiteY598" fmla="*/ 1134929 h 1167624"/>
                <a:gd name="connsiteX599" fmla="*/ 421301 w 1217767"/>
                <a:gd name="connsiteY599" fmla="*/ 1135058 h 1167624"/>
                <a:gd name="connsiteX600" fmla="*/ 424403 w 1217767"/>
                <a:gd name="connsiteY600" fmla="*/ 1134929 h 1167624"/>
                <a:gd name="connsiteX601" fmla="*/ 425178 w 1217767"/>
                <a:gd name="connsiteY601" fmla="*/ 1134929 h 1167624"/>
                <a:gd name="connsiteX602" fmla="*/ 425824 w 1217767"/>
                <a:gd name="connsiteY602" fmla="*/ 1135187 h 1167624"/>
                <a:gd name="connsiteX603" fmla="*/ 428151 w 1217767"/>
                <a:gd name="connsiteY603" fmla="*/ 1138030 h 1167624"/>
                <a:gd name="connsiteX604" fmla="*/ 428538 w 1217767"/>
                <a:gd name="connsiteY604" fmla="*/ 1139193 h 1167624"/>
                <a:gd name="connsiteX605" fmla="*/ 428668 w 1217767"/>
                <a:gd name="connsiteY605" fmla="*/ 1139452 h 1167624"/>
                <a:gd name="connsiteX606" fmla="*/ 428797 w 1217767"/>
                <a:gd name="connsiteY606" fmla="*/ 1139969 h 1167624"/>
                <a:gd name="connsiteX607" fmla="*/ 428668 w 1217767"/>
                <a:gd name="connsiteY607" fmla="*/ 1141907 h 1167624"/>
                <a:gd name="connsiteX608" fmla="*/ 428668 w 1217767"/>
                <a:gd name="connsiteY608" fmla="*/ 1142553 h 1167624"/>
                <a:gd name="connsiteX609" fmla="*/ 428797 w 1217767"/>
                <a:gd name="connsiteY609" fmla="*/ 1143071 h 1167624"/>
                <a:gd name="connsiteX610" fmla="*/ 428926 w 1217767"/>
                <a:gd name="connsiteY610" fmla="*/ 1143458 h 1167624"/>
                <a:gd name="connsiteX611" fmla="*/ 429185 w 1217767"/>
                <a:gd name="connsiteY611" fmla="*/ 1143846 h 1167624"/>
                <a:gd name="connsiteX612" fmla="*/ 429572 w 1217767"/>
                <a:gd name="connsiteY612" fmla="*/ 1144104 h 1167624"/>
                <a:gd name="connsiteX613" fmla="*/ 429960 w 1217767"/>
                <a:gd name="connsiteY613" fmla="*/ 1144363 h 1167624"/>
                <a:gd name="connsiteX614" fmla="*/ 431769 w 1217767"/>
                <a:gd name="connsiteY614" fmla="*/ 1144750 h 1167624"/>
                <a:gd name="connsiteX615" fmla="*/ 432415 w 1217767"/>
                <a:gd name="connsiteY615" fmla="*/ 1145009 h 1167624"/>
                <a:gd name="connsiteX616" fmla="*/ 433966 w 1217767"/>
                <a:gd name="connsiteY616" fmla="*/ 1146172 h 1167624"/>
                <a:gd name="connsiteX617" fmla="*/ 434095 w 1217767"/>
                <a:gd name="connsiteY617" fmla="*/ 1146301 h 1167624"/>
                <a:gd name="connsiteX618" fmla="*/ 435259 w 1217767"/>
                <a:gd name="connsiteY618" fmla="*/ 1146818 h 1167624"/>
                <a:gd name="connsiteX619" fmla="*/ 436809 w 1217767"/>
                <a:gd name="connsiteY619" fmla="*/ 1148240 h 1167624"/>
                <a:gd name="connsiteX620" fmla="*/ 437326 w 1217767"/>
                <a:gd name="connsiteY620" fmla="*/ 1148498 h 1167624"/>
                <a:gd name="connsiteX621" fmla="*/ 437843 w 1217767"/>
                <a:gd name="connsiteY621" fmla="*/ 1148627 h 1167624"/>
                <a:gd name="connsiteX622" fmla="*/ 440299 w 1217767"/>
                <a:gd name="connsiteY622" fmla="*/ 1149145 h 1167624"/>
                <a:gd name="connsiteX623" fmla="*/ 440557 w 1217767"/>
                <a:gd name="connsiteY623" fmla="*/ 1149145 h 1167624"/>
                <a:gd name="connsiteX624" fmla="*/ 440945 w 1217767"/>
                <a:gd name="connsiteY624" fmla="*/ 1149532 h 1167624"/>
                <a:gd name="connsiteX625" fmla="*/ 441203 w 1217767"/>
                <a:gd name="connsiteY625" fmla="*/ 1149920 h 1167624"/>
                <a:gd name="connsiteX626" fmla="*/ 441849 w 1217767"/>
                <a:gd name="connsiteY626" fmla="*/ 1150954 h 1167624"/>
                <a:gd name="connsiteX627" fmla="*/ 442883 w 1217767"/>
                <a:gd name="connsiteY627" fmla="*/ 1152117 h 1167624"/>
                <a:gd name="connsiteX628" fmla="*/ 443142 w 1217767"/>
                <a:gd name="connsiteY628" fmla="*/ 1152505 h 1167624"/>
                <a:gd name="connsiteX629" fmla="*/ 443400 w 1217767"/>
                <a:gd name="connsiteY629" fmla="*/ 1153021 h 1167624"/>
                <a:gd name="connsiteX630" fmla="*/ 443400 w 1217767"/>
                <a:gd name="connsiteY630" fmla="*/ 1153668 h 1167624"/>
                <a:gd name="connsiteX631" fmla="*/ 443271 w 1217767"/>
                <a:gd name="connsiteY631" fmla="*/ 1154314 h 1167624"/>
                <a:gd name="connsiteX632" fmla="*/ 442625 w 1217767"/>
                <a:gd name="connsiteY632" fmla="*/ 1155865 h 1167624"/>
                <a:gd name="connsiteX633" fmla="*/ 442625 w 1217767"/>
                <a:gd name="connsiteY633" fmla="*/ 1156511 h 1167624"/>
                <a:gd name="connsiteX634" fmla="*/ 442625 w 1217767"/>
                <a:gd name="connsiteY634" fmla="*/ 1157157 h 1167624"/>
                <a:gd name="connsiteX635" fmla="*/ 442754 w 1217767"/>
                <a:gd name="connsiteY635" fmla="*/ 1157674 h 1167624"/>
                <a:gd name="connsiteX636" fmla="*/ 442883 w 1217767"/>
                <a:gd name="connsiteY636" fmla="*/ 1158061 h 1167624"/>
                <a:gd name="connsiteX637" fmla="*/ 443142 w 1217767"/>
                <a:gd name="connsiteY637" fmla="*/ 1158191 h 1167624"/>
                <a:gd name="connsiteX638" fmla="*/ 443271 w 1217767"/>
                <a:gd name="connsiteY638" fmla="*/ 1158191 h 1167624"/>
                <a:gd name="connsiteX639" fmla="*/ 443400 w 1217767"/>
                <a:gd name="connsiteY639" fmla="*/ 1157803 h 1167624"/>
                <a:gd name="connsiteX640" fmla="*/ 443659 w 1217767"/>
                <a:gd name="connsiteY640" fmla="*/ 1157028 h 1167624"/>
                <a:gd name="connsiteX641" fmla="*/ 444693 w 1217767"/>
                <a:gd name="connsiteY641" fmla="*/ 1155219 h 1167624"/>
                <a:gd name="connsiteX642" fmla="*/ 446243 w 1217767"/>
                <a:gd name="connsiteY642" fmla="*/ 1151471 h 1167624"/>
                <a:gd name="connsiteX643" fmla="*/ 446760 w 1217767"/>
                <a:gd name="connsiteY643" fmla="*/ 1150437 h 1167624"/>
                <a:gd name="connsiteX644" fmla="*/ 447148 w 1217767"/>
                <a:gd name="connsiteY644" fmla="*/ 1150049 h 1167624"/>
                <a:gd name="connsiteX645" fmla="*/ 447536 w 1217767"/>
                <a:gd name="connsiteY645" fmla="*/ 1149661 h 1167624"/>
                <a:gd name="connsiteX646" fmla="*/ 448053 w 1217767"/>
                <a:gd name="connsiteY646" fmla="*/ 1149403 h 1167624"/>
                <a:gd name="connsiteX647" fmla="*/ 448828 w 1217767"/>
                <a:gd name="connsiteY647" fmla="*/ 1148886 h 1167624"/>
                <a:gd name="connsiteX648" fmla="*/ 466404 w 1217767"/>
                <a:gd name="connsiteY648" fmla="*/ 1144234 h 1167624"/>
                <a:gd name="connsiteX649" fmla="*/ 469635 w 1217767"/>
                <a:gd name="connsiteY649" fmla="*/ 1142166 h 1167624"/>
                <a:gd name="connsiteX650" fmla="*/ 471961 w 1217767"/>
                <a:gd name="connsiteY650" fmla="*/ 1141390 h 1167624"/>
                <a:gd name="connsiteX651" fmla="*/ 479586 w 1217767"/>
                <a:gd name="connsiteY651" fmla="*/ 1140227 h 1167624"/>
                <a:gd name="connsiteX652" fmla="*/ 480490 w 1217767"/>
                <a:gd name="connsiteY652" fmla="*/ 1139969 h 1167624"/>
                <a:gd name="connsiteX653" fmla="*/ 483204 w 1217767"/>
                <a:gd name="connsiteY653" fmla="*/ 1138676 h 1167624"/>
                <a:gd name="connsiteX654" fmla="*/ 484755 w 1217767"/>
                <a:gd name="connsiteY654" fmla="*/ 1137643 h 1167624"/>
                <a:gd name="connsiteX655" fmla="*/ 495869 w 1217767"/>
                <a:gd name="connsiteY655" fmla="*/ 1125753 h 1167624"/>
                <a:gd name="connsiteX656" fmla="*/ 496128 w 1217767"/>
                <a:gd name="connsiteY656" fmla="*/ 1125365 h 1167624"/>
                <a:gd name="connsiteX657" fmla="*/ 496257 w 1217767"/>
                <a:gd name="connsiteY657" fmla="*/ 1125107 h 1167624"/>
                <a:gd name="connsiteX658" fmla="*/ 496386 w 1217767"/>
                <a:gd name="connsiteY658" fmla="*/ 1124590 h 1167624"/>
                <a:gd name="connsiteX659" fmla="*/ 496515 w 1217767"/>
                <a:gd name="connsiteY659" fmla="*/ 1124073 h 1167624"/>
                <a:gd name="connsiteX660" fmla="*/ 496515 w 1217767"/>
                <a:gd name="connsiteY660" fmla="*/ 1123298 h 1167624"/>
                <a:gd name="connsiteX661" fmla="*/ 495869 w 1217767"/>
                <a:gd name="connsiteY661" fmla="*/ 1119291 h 1167624"/>
                <a:gd name="connsiteX662" fmla="*/ 495869 w 1217767"/>
                <a:gd name="connsiteY662" fmla="*/ 1118775 h 1167624"/>
                <a:gd name="connsiteX663" fmla="*/ 495998 w 1217767"/>
                <a:gd name="connsiteY663" fmla="*/ 1118128 h 1167624"/>
                <a:gd name="connsiteX664" fmla="*/ 496257 w 1217767"/>
                <a:gd name="connsiteY664" fmla="*/ 1117741 h 1167624"/>
                <a:gd name="connsiteX665" fmla="*/ 496645 w 1217767"/>
                <a:gd name="connsiteY665" fmla="*/ 1117224 h 1167624"/>
                <a:gd name="connsiteX666" fmla="*/ 497032 w 1217767"/>
                <a:gd name="connsiteY666" fmla="*/ 1116836 h 1167624"/>
                <a:gd name="connsiteX667" fmla="*/ 499617 w 1217767"/>
                <a:gd name="connsiteY667" fmla="*/ 1115544 h 1167624"/>
                <a:gd name="connsiteX668" fmla="*/ 500909 w 1217767"/>
                <a:gd name="connsiteY668" fmla="*/ 1114639 h 1167624"/>
                <a:gd name="connsiteX669" fmla="*/ 502202 w 1217767"/>
                <a:gd name="connsiteY669" fmla="*/ 1113605 h 1167624"/>
                <a:gd name="connsiteX670" fmla="*/ 502589 w 1217767"/>
                <a:gd name="connsiteY670" fmla="*/ 1113347 h 1167624"/>
                <a:gd name="connsiteX671" fmla="*/ 504140 w 1217767"/>
                <a:gd name="connsiteY671" fmla="*/ 1112442 h 1167624"/>
                <a:gd name="connsiteX672" fmla="*/ 504786 w 1217767"/>
                <a:gd name="connsiteY672" fmla="*/ 1112054 h 1167624"/>
                <a:gd name="connsiteX673" fmla="*/ 505174 w 1217767"/>
                <a:gd name="connsiteY673" fmla="*/ 1111796 h 1167624"/>
                <a:gd name="connsiteX674" fmla="*/ 505432 w 1217767"/>
                <a:gd name="connsiteY674" fmla="*/ 1111408 h 1167624"/>
                <a:gd name="connsiteX675" fmla="*/ 506983 w 1217767"/>
                <a:gd name="connsiteY675" fmla="*/ 1109082 h 1167624"/>
                <a:gd name="connsiteX676" fmla="*/ 508405 w 1217767"/>
                <a:gd name="connsiteY676" fmla="*/ 1107531 h 1167624"/>
                <a:gd name="connsiteX677" fmla="*/ 508792 w 1217767"/>
                <a:gd name="connsiteY677" fmla="*/ 1107273 h 1167624"/>
                <a:gd name="connsiteX678" fmla="*/ 509439 w 1217767"/>
                <a:gd name="connsiteY678" fmla="*/ 1106627 h 1167624"/>
                <a:gd name="connsiteX679" fmla="*/ 509697 w 1217767"/>
                <a:gd name="connsiteY679" fmla="*/ 1106110 h 1167624"/>
                <a:gd name="connsiteX680" fmla="*/ 509956 w 1217767"/>
                <a:gd name="connsiteY680" fmla="*/ 1105593 h 1167624"/>
                <a:gd name="connsiteX681" fmla="*/ 510472 w 1217767"/>
                <a:gd name="connsiteY681" fmla="*/ 1102362 h 1167624"/>
                <a:gd name="connsiteX682" fmla="*/ 510472 w 1217767"/>
                <a:gd name="connsiteY682" fmla="*/ 1101716 h 1167624"/>
                <a:gd name="connsiteX683" fmla="*/ 510214 w 1217767"/>
                <a:gd name="connsiteY683" fmla="*/ 1099002 h 1167624"/>
                <a:gd name="connsiteX684" fmla="*/ 510214 w 1217767"/>
                <a:gd name="connsiteY684" fmla="*/ 1098356 h 1167624"/>
                <a:gd name="connsiteX685" fmla="*/ 510343 w 1217767"/>
                <a:gd name="connsiteY685" fmla="*/ 1097709 h 1167624"/>
                <a:gd name="connsiteX686" fmla="*/ 510602 w 1217767"/>
                <a:gd name="connsiteY686" fmla="*/ 1097193 h 1167624"/>
                <a:gd name="connsiteX687" fmla="*/ 510860 w 1217767"/>
                <a:gd name="connsiteY687" fmla="*/ 1096805 h 1167624"/>
                <a:gd name="connsiteX688" fmla="*/ 511506 w 1217767"/>
                <a:gd name="connsiteY688" fmla="*/ 1096417 h 1167624"/>
                <a:gd name="connsiteX689" fmla="*/ 512153 w 1217767"/>
                <a:gd name="connsiteY689" fmla="*/ 1096030 h 1167624"/>
                <a:gd name="connsiteX690" fmla="*/ 514737 w 1217767"/>
                <a:gd name="connsiteY690" fmla="*/ 1094996 h 1167624"/>
                <a:gd name="connsiteX691" fmla="*/ 515513 w 1217767"/>
                <a:gd name="connsiteY691" fmla="*/ 1094479 h 1167624"/>
                <a:gd name="connsiteX692" fmla="*/ 515642 w 1217767"/>
                <a:gd name="connsiteY692" fmla="*/ 1094349 h 1167624"/>
                <a:gd name="connsiteX693" fmla="*/ 515900 w 1217767"/>
                <a:gd name="connsiteY693" fmla="*/ 1093962 h 1167624"/>
                <a:gd name="connsiteX694" fmla="*/ 516159 w 1217767"/>
                <a:gd name="connsiteY694" fmla="*/ 1093445 h 1167624"/>
                <a:gd name="connsiteX695" fmla="*/ 516288 w 1217767"/>
                <a:gd name="connsiteY695" fmla="*/ 1092799 h 1167624"/>
                <a:gd name="connsiteX696" fmla="*/ 516417 w 1217767"/>
                <a:gd name="connsiteY696" fmla="*/ 1091506 h 1167624"/>
                <a:gd name="connsiteX697" fmla="*/ 516546 w 1217767"/>
                <a:gd name="connsiteY697" fmla="*/ 1090989 h 1167624"/>
                <a:gd name="connsiteX698" fmla="*/ 516934 w 1217767"/>
                <a:gd name="connsiteY698" fmla="*/ 1090472 h 1167624"/>
                <a:gd name="connsiteX699" fmla="*/ 517193 w 1217767"/>
                <a:gd name="connsiteY699" fmla="*/ 1090085 h 1167624"/>
                <a:gd name="connsiteX700" fmla="*/ 519777 w 1217767"/>
                <a:gd name="connsiteY700" fmla="*/ 1088017 h 1167624"/>
                <a:gd name="connsiteX701" fmla="*/ 520811 w 1217767"/>
                <a:gd name="connsiteY701" fmla="*/ 1087759 h 1167624"/>
                <a:gd name="connsiteX702" fmla="*/ 529211 w 1217767"/>
                <a:gd name="connsiteY702" fmla="*/ 1088405 h 1167624"/>
                <a:gd name="connsiteX703" fmla="*/ 544202 w 1217767"/>
                <a:gd name="connsiteY703" fmla="*/ 1087242 h 1167624"/>
                <a:gd name="connsiteX704" fmla="*/ 545624 w 1217767"/>
                <a:gd name="connsiteY704" fmla="*/ 1086854 h 1167624"/>
                <a:gd name="connsiteX705" fmla="*/ 546658 w 1217767"/>
                <a:gd name="connsiteY705" fmla="*/ 1086466 h 1167624"/>
                <a:gd name="connsiteX706" fmla="*/ 547433 w 1217767"/>
                <a:gd name="connsiteY706" fmla="*/ 1086337 h 1167624"/>
                <a:gd name="connsiteX707" fmla="*/ 548467 w 1217767"/>
                <a:gd name="connsiteY707" fmla="*/ 1086337 h 1167624"/>
                <a:gd name="connsiteX708" fmla="*/ 552344 w 1217767"/>
                <a:gd name="connsiteY708" fmla="*/ 1087888 h 1167624"/>
                <a:gd name="connsiteX709" fmla="*/ 553895 w 1217767"/>
                <a:gd name="connsiteY709" fmla="*/ 1088146 h 1167624"/>
                <a:gd name="connsiteX710" fmla="*/ 556092 w 1217767"/>
                <a:gd name="connsiteY710" fmla="*/ 1087759 h 1167624"/>
                <a:gd name="connsiteX711" fmla="*/ 557513 w 1217767"/>
                <a:gd name="connsiteY711" fmla="*/ 1087242 h 1167624"/>
                <a:gd name="connsiteX712" fmla="*/ 559710 w 1217767"/>
                <a:gd name="connsiteY712" fmla="*/ 1086078 h 1167624"/>
                <a:gd name="connsiteX713" fmla="*/ 562037 w 1217767"/>
                <a:gd name="connsiteY713" fmla="*/ 1083882 h 1167624"/>
                <a:gd name="connsiteX714" fmla="*/ 562941 w 1217767"/>
                <a:gd name="connsiteY714" fmla="*/ 1083752 h 1167624"/>
                <a:gd name="connsiteX715" fmla="*/ 564234 w 1217767"/>
                <a:gd name="connsiteY715" fmla="*/ 1084269 h 1167624"/>
                <a:gd name="connsiteX716" fmla="*/ 565526 w 1217767"/>
                <a:gd name="connsiteY716" fmla="*/ 1084398 h 1167624"/>
                <a:gd name="connsiteX717" fmla="*/ 566947 w 1217767"/>
                <a:gd name="connsiteY717" fmla="*/ 1084011 h 1167624"/>
                <a:gd name="connsiteX718" fmla="*/ 567981 w 1217767"/>
                <a:gd name="connsiteY718" fmla="*/ 1083235 h 1167624"/>
                <a:gd name="connsiteX719" fmla="*/ 568886 w 1217767"/>
                <a:gd name="connsiteY719" fmla="*/ 1082460 h 1167624"/>
                <a:gd name="connsiteX720" fmla="*/ 572375 w 1217767"/>
                <a:gd name="connsiteY720" fmla="*/ 1078324 h 1167624"/>
                <a:gd name="connsiteX721" fmla="*/ 573151 w 1217767"/>
                <a:gd name="connsiteY721" fmla="*/ 1077549 h 1167624"/>
                <a:gd name="connsiteX722" fmla="*/ 574055 w 1217767"/>
                <a:gd name="connsiteY722" fmla="*/ 1076903 h 1167624"/>
                <a:gd name="connsiteX723" fmla="*/ 575089 w 1217767"/>
                <a:gd name="connsiteY723" fmla="*/ 1076386 h 1167624"/>
                <a:gd name="connsiteX724" fmla="*/ 576252 w 1217767"/>
                <a:gd name="connsiteY724" fmla="*/ 1075869 h 1167624"/>
                <a:gd name="connsiteX725" fmla="*/ 578579 w 1217767"/>
                <a:gd name="connsiteY725" fmla="*/ 1075223 h 1167624"/>
                <a:gd name="connsiteX726" fmla="*/ 584265 w 1217767"/>
                <a:gd name="connsiteY726" fmla="*/ 1074448 h 1167624"/>
                <a:gd name="connsiteX727" fmla="*/ 586462 w 1217767"/>
                <a:gd name="connsiteY727" fmla="*/ 1073672 h 1167624"/>
                <a:gd name="connsiteX728" fmla="*/ 587883 w 1217767"/>
                <a:gd name="connsiteY728" fmla="*/ 1073414 h 1167624"/>
                <a:gd name="connsiteX729" fmla="*/ 589693 w 1217767"/>
                <a:gd name="connsiteY729" fmla="*/ 1073414 h 1167624"/>
                <a:gd name="connsiteX730" fmla="*/ 594087 w 1217767"/>
                <a:gd name="connsiteY730" fmla="*/ 1073931 h 1167624"/>
                <a:gd name="connsiteX731" fmla="*/ 596025 w 1217767"/>
                <a:gd name="connsiteY731" fmla="*/ 1074577 h 1167624"/>
                <a:gd name="connsiteX732" fmla="*/ 598093 w 1217767"/>
                <a:gd name="connsiteY732" fmla="*/ 1076127 h 1167624"/>
                <a:gd name="connsiteX733" fmla="*/ 598998 w 1217767"/>
                <a:gd name="connsiteY733" fmla="*/ 1077420 h 1167624"/>
                <a:gd name="connsiteX734" fmla="*/ 599385 w 1217767"/>
                <a:gd name="connsiteY734" fmla="*/ 1078583 h 1167624"/>
                <a:gd name="connsiteX735" fmla="*/ 599773 w 1217767"/>
                <a:gd name="connsiteY735" fmla="*/ 1079617 h 1167624"/>
                <a:gd name="connsiteX736" fmla="*/ 600290 w 1217767"/>
                <a:gd name="connsiteY736" fmla="*/ 1080392 h 1167624"/>
                <a:gd name="connsiteX737" fmla="*/ 600677 w 1217767"/>
                <a:gd name="connsiteY737" fmla="*/ 1080909 h 1167624"/>
                <a:gd name="connsiteX738" fmla="*/ 601194 w 1217767"/>
                <a:gd name="connsiteY738" fmla="*/ 1081555 h 1167624"/>
                <a:gd name="connsiteX739" fmla="*/ 602487 w 1217767"/>
                <a:gd name="connsiteY739" fmla="*/ 1082201 h 1167624"/>
                <a:gd name="connsiteX740" fmla="*/ 610499 w 1217767"/>
                <a:gd name="connsiteY740" fmla="*/ 1084140 h 1167624"/>
                <a:gd name="connsiteX741" fmla="*/ 613730 w 1217767"/>
                <a:gd name="connsiteY741" fmla="*/ 1085691 h 1167624"/>
                <a:gd name="connsiteX742" fmla="*/ 617090 w 1217767"/>
                <a:gd name="connsiteY742" fmla="*/ 1086595 h 1167624"/>
                <a:gd name="connsiteX743" fmla="*/ 618512 w 1217767"/>
                <a:gd name="connsiteY743" fmla="*/ 1087371 h 1167624"/>
                <a:gd name="connsiteX744" fmla="*/ 619287 w 1217767"/>
                <a:gd name="connsiteY744" fmla="*/ 1088405 h 1167624"/>
                <a:gd name="connsiteX745" fmla="*/ 620709 w 1217767"/>
                <a:gd name="connsiteY745" fmla="*/ 1090214 h 1167624"/>
                <a:gd name="connsiteX746" fmla="*/ 621872 w 1217767"/>
                <a:gd name="connsiteY746" fmla="*/ 1090989 h 1167624"/>
                <a:gd name="connsiteX747" fmla="*/ 623423 w 1217767"/>
                <a:gd name="connsiteY747" fmla="*/ 1091765 h 1167624"/>
                <a:gd name="connsiteX748" fmla="*/ 629626 w 1217767"/>
                <a:gd name="connsiteY748" fmla="*/ 1093057 h 1167624"/>
                <a:gd name="connsiteX749" fmla="*/ 632081 w 1217767"/>
                <a:gd name="connsiteY749" fmla="*/ 1092540 h 1167624"/>
                <a:gd name="connsiteX750" fmla="*/ 635312 w 1217767"/>
                <a:gd name="connsiteY750" fmla="*/ 1093703 h 1167624"/>
                <a:gd name="connsiteX751" fmla="*/ 638284 w 1217767"/>
                <a:gd name="connsiteY751" fmla="*/ 1094349 h 1167624"/>
                <a:gd name="connsiteX752" fmla="*/ 640094 w 1217767"/>
                <a:gd name="connsiteY752" fmla="*/ 1094996 h 1167624"/>
                <a:gd name="connsiteX753" fmla="*/ 642549 w 1217767"/>
                <a:gd name="connsiteY753" fmla="*/ 1096417 h 1167624"/>
                <a:gd name="connsiteX754" fmla="*/ 643971 w 1217767"/>
                <a:gd name="connsiteY754" fmla="*/ 1097968 h 1167624"/>
                <a:gd name="connsiteX755" fmla="*/ 644746 w 1217767"/>
                <a:gd name="connsiteY755" fmla="*/ 1099390 h 1167624"/>
                <a:gd name="connsiteX756" fmla="*/ 645263 w 1217767"/>
                <a:gd name="connsiteY756" fmla="*/ 1101457 h 1167624"/>
                <a:gd name="connsiteX757" fmla="*/ 645651 w 1217767"/>
                <a:gd name="connsiteY757" fmla="*/ 1102104 h 1167624"/>
                <a:gd name="connsiteX758" fmla="*/ 646168 w 1217767"/>
                <a:gd name="connsiteY758" fmla="*/ 1103008 h 1167624"/>
                <a:gd name="connsiteX759" fmla="*/ 649269 w 1217767"/>
                <a:gd name="connsiteY759" fmla="*/ 1106497 h 1167624"/>
                <a:gd name="connsiteX760" fmla="*/ 650303 w 1217767"/>
                <a:gd name="connsiteY760" fmla="*/ 1108436 h 1167624"/>
                <a:gd name="connsiteX761" fmla="*/ 653276 w 1217767"/>
                <a:gd name="connsiteY761" fmla="*/ 1110245 h 1167624"/>
                <a:gd name="connsiteX762" fmla="*/ 660254 w 1217767"/>
                <a:gd name="connsiteY762" fmla="*/ 1113347 h 1167624"/>
                <a:gd name="connsiteX763" fmla="*/ 664648 w 1217767"/>
                <a:gd name="connsiteY763" fmla="*/ 1114768 h 1167624"/>
                <a:gd name="connsiteX764" fmla="*/ 666199 w 1217767"/>
                <a:gd name="connsiteY764" fmla="*/ 1115802 h 1167624"/>
                <a:gd name="connsiteX765" fmla="*/ 667491 w 1217767"/>
                <a:gd name="connsiteY765" fmla="*/ 1116578 h 1167624"/>
                <a:gd name="connsiteX766" fmla="*/ 670076 w 1217767"/>
                <a:gd name="connsiteY766" fmla="*/ 1117094 h 1167624"/>
                <a:gd name="connsiteX767" fmla="*/ 671498 w 1217767"/>
                <a:gd name="connsiteY767" fmla="*/ 1117741 h 1167624"/>
                <a:gd name="connsiteX768" fmla="*/ 673307 w 1217767"/>
                <a:gd name="connsiteY768" fmla="*/ 1119291 h 1167624"/>
                <a:gd name="connsiteX769" fmla="*/ 674341 w 1217767"/>
                <a:gd name="connsiteY769" fmla="*/ 1120455 h 1167624"/>
                <a:gd name="connsiteX770" fmla="*/ 676796 w 1217767"/>
                <a:gd name="connsiteY770" fmla="*/ 1122522 h 1167624"/>
                <a:gd name="connsiteX771" fmla="*/ 688427 w 1217767"/>
                <a:gd name="connsiteY771" fmla="*/ 1128984 h 1167624"/>
                <a:gd name="connsiteX772" fmla="*/ 695276 w 1217767"/>
                <a:gd name="connsiteY772" fmla="*/ 1128079 h 1167624"/>
                <a:gd name="connsiteX773" fmla="*/ 696698 w 1217767"/>
                <a:gd name="connsiteY773" fmla="*/ 1128338 h 1167624"/>
                <a:gd name="connsiteX774" fmla="*/ 699541 w 1217767"/>
                <a:gd name="connsiteY774" fmla="*/ 1128338 h 1167624"/>
                <a:gd name="connsiteX775" fmla="*/ 710397 w 1217767"/>
                <a:gd name="connsiteY775" fmla="*/ 1125753 h 1167624"/>
                <a:gd name="connsiteX776" fmla="*/ 712206 w 1217767"/>
                <a:gd name="connsiteY776" fmla="*/ 1125495 h 1167624"/>
                <a:gd name="connsiteX777" fmla="*/ 715437 w 1217767"/>
                <a:gd name="connsiteY777" fmla="*/ 1125882 h 1167624"/>
                <a:gd name="connsiteX778" fmla="*/ 716858 w 1217767"/>
                <a:gd name="connsiteY778" fmla="*/ 1125495 h 1167624"/>
                <a:gd name="connsiteX779" fmla="*/ 718539 w 1217767"/>
                <a:gd name="connsiteY779" fmla="*/ 1124978 h 1167624"/>
                <a:gd name="connsiteX780" fmla="*/ 727973 w 1217767"/>
                <a:gd name="connsiteY780" fmla="*/ 1119550 h 1167624"/>
                <a:gd name="connsiteX781" fmla="*/ 729006 w 1217767"/>
                <a:gd name="connsiteY781" fmla="*/ 1118645 h 1167624"/>
                <a:gd name="connsiteX782" fmla="*/ 729653 w 1217767"/>
                <a:gd name="connsiteY782" fmla="*/ 1117612 h 1167624"/>
                <a:gd name="connsiteX783" fmla="*/ 730686 w 1217767"/>
                <a:gd name="connsiteY783" fmla="*/ 1115544 h 1167624"/>
                <a:gd name="connsiteX784" fmla="*/ 731333 w 1217767"/>
                <a:gd name="connsiteY784" fmla="*/ 1114510 h 1167624"/>
                <a:gd name="connsiteX785" fmla="*/ 732496 w 1217767"/>
                <a:gd name="connsiteY785" fmla="*/ 1113476 h 1167624"/>
                <a:gd name="connsiteX786" fmla="*/ 734305 w 1217767"/>
                <a:gd name="connsiteY786" fmla="*/ 1112442 h 1167624"/>
                <a:gd name="connsiteX787" fmla="*/ 740121 w 1217767"/>
                <a:gd name="connsiteY787" fmla="*/ 1110116 h 1167624"/>
                <a:gd name="connsiteX788" fmla="*/ 749813 w 1217767"/>
                <a:gd name="connsiteY788" fmla="*/ 1108824 h 1167624"/>
                <a:gd name="connsiteX789" fmla="*/ 750976 w 1217767"/>
                <a:gd name="connsiteY789" fmla="*/ 1108953 h 1167624"/>
                <a:gd name="connsiteX790" fmla="*/ 752139 w 1217767"/>
                <a:gd name="connsiteY790" fmla="*/ 1109082 h 1167624"/>
                <a:gd name="connsiteX791" fmla="*/ 756145 w 1217767"/>
                <a:gd name="connsiteY791" fmla="*/ 1109082 h 1167624"/>
                <a:gd name="connsiteX792" fmla="*/ 757309 w 1217767"/>
                <a:gd name="connsiteY792" fmla="*/ 1109341 h 1167624"/>
                <a:gd name="connsiteX793" fmla="*/ 758472 w 1217767"/>
                <a:gd name="connsiteY793" fmla="*/ 1109728 h 1167624"/>
                <a:gd name="connsiteX794" fmla="*/ 760539 w 1217767"/>
                <a:gd name="connsiteY794" fmla="*/ 1111020 h 1167624"/>
                <a:gd name="connsiteX795" fmla="*/ 762995 w 1217767"/>
                <a:gd name="connsiteY795" fmla="*/ 1113088 h 1167624"/>
                <a:gd name="connsiteX796" fmla="*/ 768810 w 1217767"/>
                <a:gd name="connsiteY796" fmla="*/ 1116578 h 1167624"/>
                <a:gd name="connsiteX797" fmla="*/ 769715 w 1217767"/>
                <a:gd name="connsiteY797" fmla="*/ 1117353 h 1167624"/>
                <a:gd name="connsiteX798" fmla="*/ 770361 w 1217767"/>
                <a:gd name="connsiteY798" fmla="*/ 1118258 h 1167624"/>
                <a:gd name="connsiteX799" fmla="*/ 770620 w 1217767"/>
                <a:gd name="connsiteY799" fmla="*/ 1119291 h 1167624"/>
                <a:gd name="connsiteX800" fmla="*/ 770620 w 1217767"/>
                <a:gd name="connsiteY800" fmla="*/ 1120325 h 1167624"/>
                <a:gd name="connsiteX801" fmla="*/ 770878 w 1217767"/>
                <a:gd name="connsiteY801" fmla="*/ 1122522 h 1167624"/>
                <a:gd name="connsiteX802" fmla="*/ 771266 w 1217767"/>
                <a:gd name="connsiteY802" fmla="*/ 1123556 h 1167624"/>
                <a:gd name="connsiteX803" fmla="*/ 771524 w 1217767"/>
                <a:gd name="connsiteY803" fmla="*/ 1125624 h 1167624"/>
                <a:gd name="connsiteX804" fmla="*/ 771912 w 1217767"/>
                <a:gd name="connsiteY804" fmla="*/ 1126658 h 1167624"/>
                <a:gd name="connsiteX805" fmla="*/ 772687 w 1217767"/>
                <a:gd name="connsiteY805" fmla="*/ 1127433 h 1167624"/>
                <a:gd name="connsiteX806" fmla="*/ 773721 w 1217767"/>
                <a:gd name="connsiteY806" fmla="*/ 1127950 h 1167624"/>
                <a:gd name="connsiteX807" fmla="*/ 777210 w 1217767"/>
                <a:gd name="connsiteY807" fmla="*/ 1128338 h 1167624"/>
                <a:gd name="connsiteX808" fmla="*/ 778761 w 1217767"/>
                <a:gd name="connsiteY808" fmla="*/ 1128079 h 1167624"/>
                <a:gd name="connsiteX809" fmla="*/ 780570 w 1217767"/>
                <a:gd name="connsiteY809" fmla="*/ 1127563 h 1167624"/>
                <a:gd name="connsiteX810" fmla="*/ 789617 w 1217767"/>
                <a:gd name="connsiteY810" fmla="*/ 1123556 h 1167624"/>
                <a:gd name="connsiteX811" fmla="*/ 794528 w 1217767"/>
                <a:gd name="connsiteY811" fmla="*/ 1122264 h 1167624"/>
                <a:gd name="connsiteX812" fmla="*/ 796983 w 1217767"/>
                <a:gd name="connsiteY812" fmla="*/ 1122135 h 1167624"/>
                <a:gd name="connsiteX813" fmla="*/ 799439 w 1217767"/>
                <a:gd name="connsiteY813" fmla="*/ 1122522 h 1167624"/>
                <a:gd name="connsiteX814" fmla="*/ 800989 w 1217767"/>
                <a:gd name="connsiteY814" fmla="*/ 1122135 h 1167624"/>
                <a:gd name="connsiteX815" fmla="*/ 802799 w 1217767"/>
                <a:gd name="connsiteY815" fmla="*/ 1120972 h 1167624"/>
                <a:gd name="connsiteX816" fmla="*/ 805900 w 1217767"/>
                <a:gd name="connsiteY816" fmla="*/ 1117870 h 1167624"/>
                <a:gd name="connsiteX817" fmla="*/ 807063 w 1217767"/>
                <a:gd name="connsiteY817" fmla="*/ 1115931 h 1167624"/>
                <a:gd name="connsiteX818" fmla="*/ 807710 w 1217767"/>
                <a:gd name="connsiteY818" fmla="*/ 1114251 h 1167624"/>
                <a:gd name="connsiteX819" fmla="*/ 807968 w 1217767"/>
                <a:gd name="connsiteY819" fmla="*/ 1113088 h 1167624"/>
                <a:gd name="connsiteX820" fmla="*/ 808614 w 1217767"/>
                <a:gd name="connsiteY820" fmla="*/ 1111796 h 1167624"/>
                <a:gd name="connsiteX821" fmla="*/ 809519 w 1217767"/>
                <a:gd name="connsiteY821" fmla="*/ 1110633 h 1167624"/>
                <a:gd name="connsiteX822" fmla="*/ 810682 w 1217767"/>
                <a:gd name="connsiteY822" fmla="*/ 1109470 h 1167624"/>
                <a:gd name="connsiteX823" fmla="*/ 816885 w 1217767"/>
                <a:gd name="connsiteY823" fmla="*/ 1106239 h 1167624"/>
                <a:gd name="connsiteX824" fmla="*/ 819987 w 1217767"/>
                <a:gd name="connsiteY824" fmla="*/ 1103525 h 1167624"/>
                <a:gd name="connsiteX825" fmla="*/ 829809 w 1217767"/>
                <a:gd name="connsiteY825" fmla="*/ 1092928 h 1167624"/>
                <a:gd name="connsiteX826" fmla="*/ 831359 w 1217767"/>
                <a:gd name="connsiteY826" fmla="*/ 1090214 h 1167624"/>
                <a:gd name="connsiteX827" fmla="*/ 831747 w 1217767"/>
                <a:gd name="connsiteY827" fmla="*/ 1089180 h 1167624"/>
                <a:gd name="connsiteX828" fmla="*/ 832652 w 1217767"/>
                <a:gd name="connsiteY828" fmla="*/ 1087888 h 1167624"/>
                <a:gd name="connsiteX829" fmla="*/ 833944 w 1217767"/>
                <a:gd name="connsiteY829" fmla="*/ 1086595 h 1167624"/>
                <a:gd name="connsiteX830" fmla="*/ 838984 w 1217767"/>
                <a:gd name="connsiteY830" fmla="*/ 1082331 h 1167624"/>
                <a:gd name="connsiteX831" fmla="*/ 840664 w 1217767"/>
                <a:gd name="connsiteY831" fmla="*/ 1081555 h 1167624"/>
                <a:gd name="connsiteX832" fmla="*/ 842215 w 1217767"/>
                <a:gd name="connsiteY832" fmla="*/ 1080909 h 1167624"/>
                <a:gd name="connsiteX833" fmla="*/ 848030 w 1217767"/>
                <a:gd name="connsiteY833" fmla="*/ 1080392 h 1167624"/>
                <a:gd name="connsiteX834" fmla="*/ 848806 w 1217767"/>
                <a:gd name="connsiteY834" fmla="*/ 1081168 h 1167624"/>
                <a:gd name="connsiteX835" fmla="*/ 848806 w 1217767"/>
                <a:gd name="connsiteY835" fmla="*/ 1082331 h 1167624"/>
                <a:gd name="connsiteX836" fmla="*/ 848935 w 1217767"/>
                <a:gd name="connsiteY836" fmla="*/ 1084657 h 1167624"/>
                <a:gd name="connsiteX837" fmla="*/ 848935 w 1217767"/>
                <a:gd name="connsiteY837" fmla="*/ 1085691 h 1167624"/>
                <a:gd name="connsiteX838" fmla="*/ 848806 w 1217767"/>
                <a:gd name="connsiteY838" fmla="*/ 1086854 h 1167624"/>
                <a:gd name="connsiteX839" fmla="*/ 845317 w 1217767"/>
                <a:gd name="connsiteY839" fmla="*/ 1100811 h 1167624"/>
                <a:gd name="connsiteX840" fmla="*/ 844800 w 1217767"/>
                <a:gd name="connsiteY840" fmla="*/ 1108307 h 1167624"/>
                <a:gd name="connsiteX841" fmla="*/ 844670 w 1217767"/>
                <a:gd name="connsiteY841" fmla="*/ 1109470 h 1167624"/>
                <a:gd name="connsiteX842" fmla="*/ 843507 w 1217767"/>
                <a:gd name="connsiteY842" fmla="*/ 1112830 h 1167624"/>
                <a:gd name="connsiteX843" fmla="*/ 841440 w 1217767"/>
                <a:gd name="connsiteY843" fmla="*/ 1124202 h 1167624"/>
                <a:gd name="connsiteX844" fmla="*/ 841181 w 1217767"/>
                <a:gd name="connsiteY844" fmla="*/ 1125107 h 1167624"/>
                <a:gd name="connsiteX845" fmla="*/ 840406 w 1217767"/>
                <a:gd name="connsiteY845" fmla="*/ 1126012 h 1167624"/>
                <a:gd name="connsiteX846" fmla="*/ 839501 w 1217767"/>
                <a:gd name="connsiteY846" fmla="*/ 1126399 h 1167624"/>
                <a:gd name="connsiteX847" fmla="*/ 835107 w 1217767"/>
                <a:gd name="connsiteY847" fmla="*/ 1127433 h 1167624"/>
                <a:gd name="connsiteX848" fmla="*/ 830972 w 1217767"/>
                <a:gd name="connsiteY848" fmla="*/ 1128855 h 1167624"/>
                <a:gd name="connsiteX849" fmla="*/ 829938 w 1217767"/>
                <a:gd name="connsiteY849" fmla="*/ 1129372 h 1167624"/>
                <a:gd name="connsiteX850" fmla="*/ 828904 w 1217767"/>
                <a:gd name="connsiteY850" fmla="*/ 1130147 h 1167624"/>
                <a:gd name="connsiteX851" fmla="*/ 828129 w 1217767"/>
                <a:gd name="connsiteY851" fmla="*/ 1131181 h 1167624"/>
                <a:gd name="connsiteX852" fmla="*/ 827741 w 1217767"/>
                <a:gd name="connsiteY852" fmla="*/ 1132344 h 1167624"/>
                <a:gd name="connsiteX853" fmla="*/ 826836 w 1217767"/>
                <a:gd name="connsiteY853" fmla="*/ 1135704 h 1167624"/>
                <a:gd name="connsiteX854" fmla="*/ 826319 w 1217767"/>
                <a:gd name="connsiteY854" fmla="*/ 1136738 h 1167624"/>
                <a:gd name="connsiteX855" fmla="*/ 823993 w 1217767"/>
                <a:gd name="connsiteY855" fmla="*/ 1139840 h 1167624"/>
                <a:gd name="connsiteX856" fmla="*/ 822701 w 1217767"/>
                <a:gd name="connsiteY856" fmla="*/ 1143071 h 1167624"/>
                <a:gd name="connsiteX857" fmla="*/ 822055 w 1217767"/>
                <a:gd name="connsiteY857" fmla="*/ 1143975 h 1167624"/>
                <a:gd name="connsiteX858" fmla="*/ 818436 w 1217767"/>
                <a:gd name="connsiteY858" fmla="*/ 1147981 h 1167624"/>
                <a:gd name="connsiteX859" fmla="*/ 817144 w 1217767"/>
                <a:gd name="connsiteY859" fmla="*/ 1150049 h 1167624"/>
                <a:gd name="connsiteX860" fmla="*/ 816239 w 1217767"/>
                <a:gd name="connsiteY860" fmla="*/ 1152117 h 1167624"/>
                <a:gd name="connsiteX861" fmla="*/ 815981 w 1217767"/>
                <a:gd name="connsiteY861" fmla="*/ 1153151 h 1167624"/>
                <a:gd name="connsiteX862" fmla="*/ 816110 w 1217767"/>
                <a:gd name="connsiteY862" fmla="*/ 1154185 h 1167624"/>
                <a:gd name="connsiteX863" fmla="*/ 816368 w 1217767"/>
                <a:gd name="connsiteY863" fmla="*/ 1155219 h 1167624"/>
                <a:gd name="connsiteX864" fmla="*/ 817273 w 1217767"/>
                <a:gd name="connsiteY864" fmla="*/ 1156640 h 1167624"/>
                <a:gd name="connsiteX865" fmla="*/ 821021 w 1217767"/>
                <a:gd name="connsiteY865" fmla="*/ 1156123 h 1167624"/>
                <a:gd name="connsiteX866" fmla="*/ 828775 w 1217767"/>
                <a:gd name="connsiteY866" fmla="*/ 1158191 h 1167624"/>
                <a:gd name="connsiteX867" fmla="*/ 839630 w 1217767"/>
                <a:gd name="connsiteY867" fmla="*/ 1164265 h 1167624"/>
                <a:gd name="connsiteX868" fmla="*/ 843895 w 1217767"/>
                <a:gd name="connsiteY868" fmla="*/ 1165040 h 1167624"/>
                <a:gd name="connsiteX869" fmla="*/ 857077 w 1217767"/>
                <a:gd name="connsiteY869" fmla="*/ 1163360 h 1167624"/>
                <a:gd name="connsiteX870" fmla="*/ 859920 w 1217767"/>
                <a:gd name="connsiteY870" fmla="*/ 1163360 h 1167624"/>
                <a:gd name="connsiteX871" fmla="*/ 868966 w 1217767"/>
                <a:gd name="connsiteY871" fmla="*/ 1165428 h 1167624"/>
                <a:gd name="connsiteX872" fmla="*/ 872326 w 1217767"/>
                <a:gd name="connsiteY872" fmla="*/ 1165686 h 1167624"/>
                <a:gd name="connsiteX873" fmla="*/ 875428 w 1217767"/>
                <a:gd name="connsiteY873" fmla="*/ 1165169 h 1167624"/>
                <a:gd name="connsiteX874" fmla="*/ 876720 w 1217767"/>
                <a:gd name="connsiteY874" fmla="*/ 1164135 h 1167624"/>
                <a:gd name="connsiteX875" fmla="*/ 878788 w 1217767"/>
                <a:gd name="connsiteY875" fmla="*/ 1164394 h 1167624"/>
                <a:gd name="connsiteX876" fmla="*/ 888868 w 1217767"/>
                <a:gd name="connsiteY876" fmla="*/ 1163877 h 1167624"/>
                <a:gd name="connsiteX877" fmla="*/ 891065 w 1217767"/>
                <a:gd name="connsiteY877" fmla="*/ 1164006 h 1167624"/>
                <a:gd name="connsiteX878" fmla="*/ 899207 w 1217767"/>
                <a:gd name="connsiteY878" fmla="*/ 1165816 h 1167624"/>
                <a:gd name="connsiteX879" fmla="*/ 901792 w 1217767"/>
                <a:gd name="connsiteY879" fmla="*/ 1166849 h 1167624"/>
                <a:gd name="connsiteX880" fmla="*/ 906185 w 1217767"/>
                <a:gd name="connsiteY880" fmla="*/ 1167625 h 1167624"/>
                <a:gd name="connsiteX881" fmla="*/ 914844 w 1217767"/>
                <a:gd name="connsiteY881" fmla="*/ 1166591 h 1167624"/>
                <a:gd name="connsiteX882" fmla="*/ 916007 w 1217767"/>
                <a:gd name="connsiteY882" fmla="*/ 1165945 h 1167624"/>
                <a:gd name="connsiteX883" fmla="*/ 914327 w 1217767"/>
                <a:gd name="connsiteY883" fmla="*/ 1161422 h 1167624"/>
                <a:gd name="connsiteX884" fmla="*/ 910192 w 1217767"/>
                <a:gd name="connsiteY884" fmla="*/ 1152505 h 1167624"/>
                <a:gd name="connsiteX885" fmla="*/ 907607 w 1217767"/>
                <a:gd name="connsiteY885" fmla="*/ 1144880 h 1167624"/>
                <a:gd name="connsiteX886" fmla="*/ 906832 w 1217767"/>
                <a:gd name="connsiteY886" fmla="*/ 1141520 h 1167624"/>
                <a:gd name="connsiteX887" fmla="*/ 906444 w 1217767"/>
                <a:gd name="connsiteY887" fmla="*/ 1140357 h 1167624"/>
                <a:gd name="connsiteX888" fmla="*/ 905927 w 1217767"/>
                <a:gd name="connsiteY888" fmla="*/ 1139323 h 1167624"/>
                <a:gd name="connsiteX889" fmla="*/ 902825 w 1217767"/>
                <a:gd name="connsiteY889" fmla="*/ 1135316 h 1167624"/>
                <a:gd name="connsiteX890" fmla="*/ 897139 w 1217767"/>
                <a:gd name="connsiteY890" fmla="*/ 1125236 h 1167624"/>
                <a:gd name="connsiteX891" fmla="*/ 895976 w 1217767"/>
                <a:gd name="connsiteY891" fmla="*/ 1121876 h 1167624"/>
                <a:gd name="connsiteX892" fmla="*/ 895588 w 1217767"/>
                <a:gd name="connsiteY892" fmla="*/ 1118516 h 1167624"/>
                <a:gd name="connsiteX893" fmla="*/ 895718 w 1217767"/>
                <a:gd name="connsiteY893" fmla="*/ 1115285 h 1167624"/>
                <a:gd name="connsiteX894" fmla="*/ 896881 w 1217767"/>
                <a:gd name="connsiteY894" fmla="*/ 1109857 h 1167624"/>
                <a:gd name="connsiteX895" fmla="*/ 898044 w 1217767"/>
                <a:gd name="connsiteY895" fmla="*/ 1108436 h 1167624"/>
                <a:gd name="connsiteX896" fmla="*/ 897915 w 1217767"/>
                <a:gd name="connsiteY896" fmla="*/ 1107144 h 1167624"/>
                <a:gd name="connsiteX897" fmla="*/ 898173 w 1217767"/>
                <a:gd name="connsiteY897" fmla="*/ 1102750 h 1167624"/>
                <a:gd name="connsiteX898" fmla="*/ 899207 w 1217767"/>
                <a:gd name="connsiteY898" fmla="*/ 1098097 h 1167624"/>
                <a:gd name="connsiteX899" fmla="*/ 899853 w 1217767"/>
                <a:gd name="connsiteY899" fmla="*/ 1096030 h 1167624"/>
                <a:gd name="connsiteX900" fmla="*/ 900370 w 1217767"/>
                <a:gd name="connsiteY900" fmla="*/ 1094866 h 1167624"/>
                <a:gd name="connsiteX901" fmla="*/ 901016 w 1217767"/>
                <a:gd name="connsiteY901" fmla="*/ 1093962 h 1167624"/>
                <a:gd name="connsiteX902" fmla="*/ 901533 w 1217767"/>
                <a:gd name="connsiteY902" fmla="*/ 1092928 h 1167624"/>
                <a:gd name="connsiteX903" fmla="*/ 901275 w 1217767"/>
                <a:gd name="connsiteY903" fmla="*/ 1091765 h 1167624"/>
                <a:gd name="connsiteX904" fmla="*/ 900887 w 1217767"/>
                <a:gd name="connsiteY904" fmla="*/ 1090602 h 1167624"/>
                <a:gd name="connsiteX905" fmla="*/ 900629 w 1217767"/>
                <a:gd name="connsiteY905" fmla="*/ 1089438 h 1167624"/>
                <a:gd name="connsiteX906" fmla="*/ 900111 w 1217767"/>
                <a:gd name="connsiteY906" fmla="*/ 1084011 h 1167624"/>
                <a:gd name="connsiteX907" fmla="*/ 900629 w 1217767"/>
                <a:gd name="connsiteY907" fmla="*/ 1082201 h 1167624"/>
                <a:gd name="connsiteX908" fmla="*/ 901275 w 1217767"/>
                <a:gd name="connsiteY908" fmla="*/ 1081038 h 1167624"/>
                <a:gd name="connsiteX909" fmla="*/ 903989 w 1217767"/>
                <a:gd name="connsiteY909" fmla="*/ 1078712 h 1167624"/>
                <a:gd name="connsiteX910" fmla="*/ 904893 w 1217767"/>
                <a:gd name="connsiteY910" fmla="*/ 1077549 h 1167624"/>
                <a:gd name="connsiteX911" fmla="*/ 905669 w 1217767"/>
                <a:gd name="connsiteY911" fmla="*/ 1075223 h 1167624"/>
                <a:gd name="connsiteX912" fmla="*/ 906573 w 1217767"/>
                <a:gd name="connsiteY912" fmla="*/ 1073414 h 1167624"/>
                <a:gd name="connsiteX913" fmla="*/ 907349 w 1217767"/>
                <a:gd name="connsiteY913" fmla="*/ 1070700 h 1167624"/>
                <a:gd name="connsiteX914" fmla="*/ 907736 w 1217767"/>
                <a:gd name="connsiteY914" fmla="*/ 1070183 h 1167624"/>
                <a:gd name="connsiteX915" fmla="*/ 909546 w 1217767"/>
                <a:gd name="connsiteY915" fmla="*/ 1068503 h 1167624"/>
                <a:gd name="connsiteX916" fmla="*/ 913423 w 1217767"/>
                <a:gd name="connsiteY916" fmla="*/ 1062429 h 1167624"/>
                <a:gd name="connsiteX917" fmla="*/ 914198 w 1217767"/>
                <a:gd name="connsiteY917" fmla="*/ 1061524 h 1167624"/>
                <a:gd name="connsiteX918" fmla="*/ 915620 w 1217767"/>
                <a:gd name="connsiteY918" fmla="*/ 1060749 h 1167624"/>
                <a:gd name="connsiteX919" fmla="*/ 916783 w 1217767"/>
                <a:gd name="connsiteY919" fmla="*/ 1058939 h 1167624"/>
                <a:gd name="connsiteX920" fmla="*/ 917817 w 1217767"/>
                <a:gd name="connsiteY920" fmla="*/ 1056742 h 1167624"/>
                <a:gd name="connsiteX921" fmla="*/ 918333 w 1217767"/>
                <a:gd name="connsiteY921" fmla="*/ 1054675 h 1167624"/>
                <a:gd name="connsiteX922" fmla="*/ 918204 w 1217767"/>
                <a:gd name="connsiteY922" fmla="*/ 1053770 h 1167624"/>
                <a:gd name="connsiteX923" fmla="*/ 917687 w 1217767"/>
                <a:gd name="connsiteY923" fmla="*/ 1051573 h 1167624"/>
                <a:gd name="connsiteX924" fmla="*/ 917558 w 1217767"/>
                <a:gd name="connsiteY924" fmla="*/ 1050539 h 1167624"/>
                <a:gd name="connsiteX925" fmla="*/ 917817 w 1217767"/>
                <a:gd name="connsiteY925" fmla="*/ 1049376 h 1167624"/>
                <a:gd name="connsiteX926" fmla="*/ 918851 w 1217767"/>
                <a:gd name="connsiteY926" fmla="*/ 1046921 h 1167624"/>
                <a:gd name="connsiteX927" fmla="*/ 920401 w 1217767"/>
                <a:gd name="connsiteY927" fmla="*/ 1039813 h 1167624"/>
                <a:gd name="connsiteX928" fmla="*/ 919755 w 1217767"/>
                <a:gd name="connsiteY928" fmla="*/ 1037874 h 1167624"/>
                <a:gd name="connsiteX929" fmla="*/ 922727 w 1217767"/>
                <a:gd name="connsiteY929" fmla="*/ 1034644 h 1167624"/>
                <a:gd name="connsiteX930" fmla="*/ 925700 w 1217767"/>
                <a:gd name="connsiteY930" fmla="*/ 1032447 h 1167624"/>
                <a:gd name="connsiteX931" fmla="*/ 932937 w 1217767"/>
                <a:gd name="connsiteY931" fmla="*/ 1028828 h 1167624"/>
                <a:gd name="connsiteX932" fmla="*/ 937460 w 1217767"/>
                <a:gd name="connsiteY932" fmla="*/ 1027277 h 1167624"/>
                <a:gd name="connsiteX933" fmla="*/ 938365 w 1217767"/>
                <a:gd name="connsiteY933" fmla="*/ 1026631 h 1167624"/>
                <a:gd name="connsiteX934" fmla="*/ 940174 w 1217767"/>
                <a:gd name="connsiteY934" fmla="*/ 1025209 h 1167624"/>
                <a:gd name="connsiteX935" fmla="*/ 942242 w 1217767"/>
                <a:gd name="connsiteY935" fmla="*/ 1024305 h 1167624"/>
                <a:gd name="connsiteX936" fmla="*/ 946248 w 1217767"/>
                <a:gd name="connsiteY936" fmla="*/ 1019652 h 1167624"/>
                <a:gd name="connsiteX937" fmla="*/ 950642 w 1217767"/>
                <a:gd name="connsiteY937" fmla="*/ 1015905 h 1167624"/>
                <a:gd name="connsiteX938" fmla="*/ 952580 w 1217767"/>
                <a:gd name="connsiteY938" fmla="*/ 1013708 h 1167624"/>
                <a:gd name="connsiteX939" fmla="*/ 953485 w 1217767"/>
                <a:gd name="connsiteY939" fmla="*/ 1011640 h 1167624"/>
                <a:gd name="connsiteX940" fmla="*/ 953744 w 1217767"/>
                <a:gd name="connsiteY940" fmla="*/ 1009055 h 1167624"/>
                <a:gd name="connsiteX941" fmla="*/ 954260 w 1217767"/>
                <a:gd name="connsiteY941" fmla="*/ 1006858 h 1167624"/>
                <a:gd name="connsiteX942" fmla="*/ 955424 w 1217767"/>
                <a:gd name="connsiteY942" fmla="*/ 1005178 h 1167624"/>
                <a:gd name="connsiteX943" fmla="*/ 957104 w 1217767"/>
                <a:gd name="connsiteY943" fmla="*/ 1003627 h 1167624"/>
                <a:gd name="connsiteX944" fmla="*/ 960076 w 1217767"/>
                <a:gd name="connsiteY944" fmla="*/ 1001689 h 1167624"/>
                <a:gd name="connsiteX945" fmla="*/ 961110 w 1217767"/>
                <a:gd name="connsiteY945" fmla="*/ 1000267 h 1167624"/>
                <a:gd name="connsiteX946" fmla="*/ 961627 w 1217767"/>
                <a:gd name="connsiteY946" fmla="*/ 997941 h 1167624"/>
                <a:gd name="connsiteX947" fmla="*/ 962014 w 1217767"/>
                <a:gd name="connsiteY947" fmla="*/ 993030 h 1167624"/>
                <a:gd name="connsiteX948" fmla="*/ 962919 w 1217767"/>
                <a:gd name="connsiteY948" fmla="*/ 988766 h 1167624"/>
                <a:gd name="connsiteX949" fmla="*/ 961368 w 1217767"/>
                <a:gd name="connsiteY949" fmla="*/ 987861 h 1167624"/>
                <a:gd name="connsiteX950" fmla="*/ 961110 w 1217767"/>
                <a:gd name="connsiteY950" fmla="*/ 987603 h 1167624"/>
                <a:gd name="connsiteX951" fmla="*/ 960722 w 1217767"/>
                <a:gd name="connsiteY951" fmla="*/ 987344 h 1167624"/>
                <a:gd name="connsiteX952" fmla="*/ 958784 w 1217767"/>
                <a:gd name="connsiteY952" fmla="*/ 986310 h 1167624"/>
                <a:gd name="connsiteX953" fmla="*/ 958008 w 1217767"/>
                <a:gd name="connsiteY953" fmla="*/ 985793 h 1167624"/>
                <a:gd name="connsiteX954" fmla="*/ 957362 w 1217767"/>
                <a:gd name="connsiteY954" fmla="*/ 985276 h 1167624"/>
                <a:gd name="connsiteX955" fmla="*/ 956974 w 1217767"/>
                <a:gd name="connsiteY955" fmla="*/ 984759 h 1167624"/>
                <a:gd name="connsiteX956" fmla="*/ 956457 w 1217767"/>
                <a:gd name="connsiteY956" fmla="*/ 983984 h 1167624"/>
                <a:gd name="connsiteX957" fmla="*/ 955940 w 1217767"/>
                <a:gd name="connsiteY957" fmla="*/ 982562 h 1167624"/>
                <a:gd name="connsiteX958" fmla="*/ 955811 w 1217767"/>
                <a:gd name="connsiteY958" fmla="*/ 981658 h 1167624"/>
                <a:gd name="connsiteX959" fmla="*/ 955940 w 1217767"/>
                <a:gd name="connsiteY959" fmla="*/ 979202 h 1167624"/>
                <a:gd name="connsiteX960" fmla="*/ 956199 w 1217767"/>
                <a:gd name="connsiteY960" fmla="*/ 976359 h 1167624"/>
                <a:gd name="connsiteX961" fmla="*/ 956587 w 1217767"/>
                <a:gd name="connsiteY961" fmla="*/ 974938 h 1167624"/>
                <a:gd name="connsiteX962" fmla="*/ 957233 w 1217767"/>
                <a:gd name="connsiteY962" fmla="*/ 973904 h 1167624"/>
                <a:gd name="connsiteX963" fmla="*/ 957879 w 1217767"/>
                <a:gd name="connsiteY963" fmla="*/ 973387 h 1167624"/>
                <a:gd name="connsiteX964" fmla="*/ 959818 w 1217767"/>
                <a:gd name="connsiteY964" fmla="*/ 972094 h 1167624"/>
                <a:gd name="connsiteX965" fmla="*/ 962273 w 1217767"/>
                <a:gd name="connsiteY965" fmla="*/ 970931 h 1167624"/>
                <a:gd name="connsiteX966" fmla="*/ 967959 w 1217767"/>
                <a:gd name="connsiteY966" fmla="*/ 969381 h 1167624"/>
                <a:gd name="connsiteX967" fmla="*/ 969252 w 1217767"/>
                <a:gd name="connsiteY967" fmla="*/ 968864 h 1167624"/>
                <a:gd name="connsiteX968" fmla="*/ 970285 w 1217767"/>
                <a:gd name="connsiteY968" fmla="*/ 968347 h 1167624"/>
                <a:gd name="connsiteX969" fmla="*/ 971190 w 1217767"/>
                <a:gd name="connsiteY969" fmla="*/ 967442 h 1167624"/>
                <a:gd name="connsiteX970" fmla="*/ 971448 w 1217767"/>
                <a:gd name="connsiteY970" fmla="*/ 966667 h 1167624"/>
                <a:gd name="connsiteX971" fmla="*/ 971707 w 1217767"/>
                <a:gd name="connsiteY971" fmla="*/ 966021 h 1167624"/>
                <a:gd name="connsiteX972" fmla="*/ 971707 w 1217767"/>
                <a:gd name="connsiteY972" fmla="*/ 965245 h 1167624"/>
                <a:gd name="connsiteX973" fmla="*/ 971190 w 1217767"/>
                <a:gd name="connsiteY973" fmla="*/ 960334 h 1167624"/>
                <a:gd name="connsiteX974" fmla="*/ 971319 w 1217767"/>
                <a:gd name="connsiteY974" fmla="*/ 959300 h 1167624"/>
                <a:gd name="connsiteX975" fmla="*/ 971836 w 1217767"/>
                <a:gd name="connsiteY975" fmla="*/ 958396 h 1167624"/>
                <a:gd name="connsiteX976" fmla="*/ 972612 w 1217767"/>
                <a:gd name="connsiteY976" fmla="*/ 957749 h 1167624"/>
                <a:gd name="connsiteX977" fmla="*/ 973775 w 1217767"/>
                <a:gd name="connsiteY977" fmla="*/ 957103 h 1167624"/>
                <a:gd name="connsiteX978" fmla="*/ 979332 w 1217767"/>
                <a:gd name="connsiteY978" fmla="*/ 954777 h 1167624"/>
                <a:gd name="connsiteX979" fmla="*/ 980882 w 1217767"/>
                <a:gd name="connsiteY979" fmla="*/ 953873 h 1167624"/>
                <a:gd name="connsiteX980" fmla="*/ 981270 w 1217767"/>
                <a:gd name="connsiteY980" fmla="*/ 952063 h 1167624"/>
                <a:gd name="connsiteX981" fmla="*/ 982821 w 1217767"/>
                <a:gd name="connsiteY981" fmla="*/ 950771 h 1167624"/>
                <a:gd name="connsiteX982" fmla="*/ 987215 w 1217767"/>
                <a:gd name="connsiteY982" fmla="*/ 949091 h 1167624"/>
                <a:gd name="connsiteX983" fmla="*/ 990187 w 1217767"/>
                <a:gd name="connsiteY983" fmla="*/ 947152 h 1167624"/>
                <a:gd name="connsiteX984" fmla="*/ 991221 w 1217767"/>
                <a:gd name="connsiteY984" fmla="*/ 947023 h 1167624"/>
                <a:gd name="connsiteX985" fmla="*/ 992255 w 1217767"/>
                <a:gd name="connsiteY985" fmla="*/ 947023 h 1167624"/>
                <a:gd name="connsiteX986" fmla="*/ 993030 w 1217767"/>
                <a:gd name="connsiteY986" fmla="*/ 946765 h 1167624"/>
                <a:gd name="connsiteX987" fmla="*/ 993677 w 1217767"/>
                <a:gd name="connsiteY987" fmla="*/ 945860 h 1167624"/>
                <a:gd name="connsiteX988" fmla="*/ 996003 w 1217767"/>
                <a:gd name="connsiteY988" fmla="*/ 940045 h 1167624"/>
                <a:gd name="connsiteX989" fmla="*/ 1000914 w 1217767"/>
                <a:gd name="connsiteY989" fmla="*/ 934746 h 1167624"/>
                <a:gd name="connsiteX990" fmla="*/ 1001689 w 1217767"/>
                <a:gd name="connsiteY990" fmla="*/ 932808 h 1167624"/>
                <a:gd name="connsiteX991" fmla="*/ 1002077 w 1217767"/>
                <a:gd name="connsiteY991" fmla="*/ 932032 h 1167624"/>
                <a:gd name="connsiteX992" fmla="*/ 1003111 w 1217767"/>
                <a:gd name="connsiteY992" fmla="*/ 931127 h 1167624"/>
                <a:gd name="connsiteX993" fmla="*/ 1004145 w 1217767"/>
                <a:gd name="connsiteY993" fmla="*/ 930352 h 1167624"/>
                <a:gd name="connsiteX994" fmla="*/ 1006729 w 1217767"/>
                <a:gd name="connsiteY994" fmla="*/ 929448 h 1167624"/>
                <a:gd name="connsiteX995" fmla="*/ 1011899 w 1217767"/>
                <a:gd name="connsiteY995" fmla="*/ 928414 h 1167624"/>
                <a:gd name="connsiteX996" fmla="*/ 1023142 w 1217767"/>
                <a:gd name="connsiteY996" fmla="*/ 927767 h 1167624"/>
                <a:gd name="connsiteX997" fmla="*/ 1025726 w 1217767"/>
                <a:gd name="connsiteY997" fmla="*/ 926992 h 1167624"/>
                <a:gd name="connsiteX998" fmla="*/ 1027923 w 1217767"/>
                <a:gd name="connsiteY998" fmla="*/ 925700 h 1167624"/>
                <a:gd name="connsiteX999" fmla="*/ 1031671 w 1217767"/>
                <a:gd name="connsiteY999" fmla="*/ 922081 h 1167624"/>
                <a:gd name="connsiteX1000" fmla="*/ 1032188 w 1217767"/>
                <a:gd name="connsiteY1000" fmla="*/ 920918 h 1167624"/>
                <a:gd name="connsiteX1001" fmla="*/ 1032188 w 1217767"/>
                <a:gd name="connsiteY1001" fmla="*/ 920143 h 1167624"/>
                <a:gd name="connsiteX1002" fmla="*/ 1032447 w 1217767"/>
                <a:gd name="connsiteY1002" fmla="*/ 919626 h 1167624"/>
                <a:gd name="connsiteX1003" fmla="*/ 1033868 w 1217767"/>
                <a:gd name="connsiteY1003" fmla="*/ 919367 h 1167624"/>
                <a:gd name="connsiteX1004" fmla="*/ 1035161 w 1217767"/>
                <a:gd name="connsiteY1004" fmla="*/ 919626 h 1167624"/>
                <a:gd name="connsiteX1005" fmla="*/ 1036841 w 1217767"/>
                <a:gd name="connsiteY1005" fmla="*/ 920530 h 1167624"/>
                <a:gd name="connsiteX1006" fmla="*/ 1037874 w 1217767"/>
                <a:gd name="connsiteY1006" fmla="*/ 920918 h 1167624"/>
                <a:gd name="connsiteX1007" fmla="*/ 1039813 w 1217767"/>
                <a:gd name="connsiteY1007" fmla="*/ 920789 h 1167624"/>
                <a:gd name="connsiteX1008" fmla="*/ 1041364 w 1217767"/>
                <a:gd name="connsiteY1008" fmla="*/ 920013 h 1167624"/>
                <a:gd name="connsiteX1009" fmla="*/ 1042656 w 1217767"/>
                <a:gd name="connsiteY1009" fmla="*/ 918721 h 1167624"/>
                <a:gd name="connsiteX1010" fmla="*/ 1043561 w 1217767"/>
                <a:gd name="connsiteY1010" fmla="*/ 915103 h 1167624"/>
                <a:gd name="connsiteX1011" fmla="*/ 1047438 w 1217767"/>
                <a:gd name="connsiteY1011" fmla="*/ 910321 h 1167624"/>
                <a:gd name="connsiteX1012" fmla="*/ 1050669 w 1217767"/>
                <a:gd name="connsiteY1012" fmla="*/ 903084 h 1167624"/>
                <a:gd name="connsiteX1013" fmla="*/ 1052219 w 1217767"/>
                <a:gd name="connsiteY1013" fmla="*/ 900887 h 1167624"/>
                <a:gd name="connsiteX1014" fmla="*/ 1053124 w 1217767"/>
                <a:gd name="connsiteY1014" fmla="*/ 898561 h 1167624"/>
                <a:gd name="connsiteX1015" fmla="*/ 1052995 w 1217767"/>
                <a:gd name="connsiteY1015" fmla="*/ 895718 h 1167624"/>
                <a:gd name="connsiteX1016" fmla="*/ 1052219 w 1217767"/>
                <a:gd name="connsiteY1016" fmla="*/ 892874 h 1167624"/>
                <a:gd name="connsiteX1017" fmla="*/ 1051056 w 1217767"/>
                <a:gd name="connsiteY1017" fmla="*/ 890677 h 1167624"/>
                <a:gd name="connsiteX1018" fmla="*/ 1051832 w 1217767"/>
                <a:gd name="connsiteY1018" fmla="*/ 889127 h 1167624"/>
                <a:gd name="connsiteX1019" fmla="*/ 1054287 w 1217767"/>
                <a:gd name="connsiteY1019" fmla="*/ 890548 h 1167624"/>
                <a:gd name="connsiteX1020" fmla="*/ 1055838 w 1217767"/>
                <a:gd name="connsiteY1020" fmla="*/ 889644 h 1167624"/>
                <a:gd name="connsiteX1021" fmla="*/ 1058035 w 1217767"/>
                <a:gd name="connsiteY1021" fmla="*/ 885767 h 1167624"/>
                <a:gd name="connsiteX1022" fmla="*/ 1059715 w 1217767"/>
                <a:gd name="connsiteY1022" fmla="*/ 883440 h 1167624"/>
                <a:gd name="connsiteX1023" fmla="*/ 1060490 w 1217767"/>
                <a:gd name="connsiteY1023" fmla="*/ 881502 h 1167624"/>
                <a:gd name="connsiteX1024" fmla="*/ 1061266 w 1217767"/>
                <a:gd name="connsiteY1024" fmla="*/ 876203 h 1167624"/>
                <a:gd name="connsiteX1025" fmla="*/ 1061783 w 1217767"/>
                <a:gd name="connsiteY1025" fmla="*/ 875169 h 1167624"/>
                <a:gd name="connsiteX1026" fmla="*/ 1063204 w 1217767"/>
                <a:gd name="connsiteY1026" fmla="*/ 872972 h 1167624"/>
                <a:gd name="connsiteX1027" fmla="*/ 1063592 w 1217767"/>
                <a:gd name="connsiteY1027" fmla="*/ 871680 h 1167624"/>
                <a:gd name="connsiteX1028" fmla="*/ 1063592 w 1217767"/>
                <a:gd name="connsiteY1028" fmla="*/ 870388 h 1167624"/>
                <a:gd name="connsiteX1029" fmla="*/ 1062946 w 1217767"/>
                <a:gd name="connsiteY1029" fmla="*/ 867932 h 1167624"/>
                <a:gd name="connsiteX1030" fmla="*/ 1062817 w 1217767"/>
                <a:gd name="connsiteY1030" fmla="*/ 866769 h 1167624"/>
                <a:gd name="connsiteX1031" fmla="*/ 1062946 w 1217767"/>
                <a:gd name="connsiteY1031" fmla="*/ 865477 h 1167624"/>
                <a:gd name="connsiteX1032" fmla="*/ 1063463 w 1217767"/>
                <a:gd name="connsiteY1032" fmla="*/ 863926 h 1167624"/>
                <a:gd name="connsiteX1033" fmla="*/ 1063592 w 1217767"/>
                <a:gd name="connsiteY1033" fmla="*/ 863021 h 1167624"/>
                <a:gd name="connsiteX1034" fmla="*/ 1063980 w 1217767"/>
                <a:gd name="connsiteY1034" fmla="*/ 862246 h 1167624"/>
                <a:gd name="connsiteX1035" fmla="*/ 1065918 w 1217767"/>
                <a:gd name="connsiteY1035" fmla="*/ 861212 h 1167624"/>
                <a:gd name="connsiteX1036" fmla="*/ 1066435 w 1217767"/>
                <a:gd name="connsiteY1036" fmla="*/ 860437 h 1167624"/>
                <a:gd name="connsiteX1037" fmla="*/ 1066435 w 1217767"/>
                <a:gd name="connsiteY1037" fmla="*/ 857981 h 1167624"/>
                <a:gd name="connsiteX1038" fmla="*/ 1065789 w 1217767"/>
                <a:gd name="connsiteY1038" fmla="*/ 856043 h 1167624"/>
                <a:gd name="connsiteX1039" fmla="*/ 1065530 w 1217767"/>
                <a:gd name="connsiteY1039" fmla="*/ 854363 h 1167624"/>
                <a:gd name="connsiteX1040" fmla="*/ 1066435 w 1217767"/>
                <a:gd name="connsiteY1040" fmla="*/ 852166 h 1167624"/>
                <a:gd name="connsiteX1041" fmla="*/ 1067469 w 1217767"/>
                <a:gd name="connsiteY1041" fmla="*/ 851003 h 1167624"/>
                <a:gd name="connsiteX1042" fmla="*/ 1069020 w 1217767"/>
                <a:gd name="connsiteY1042" fmla="*/ 849452 h 1167624"/>
                <a:gd name="connsiteX1043" fmla="*/ 1070829 w 1217767"/>
                <a:gd name="connsiteY1043" fmla="*/ 848160 h 1167624"/>
                <a:gd name="connsiteX1044" fmla="*/ 1072638 w 1217767"/>
                <a:gd name="connsiteY1044" fmla="*/ 847643 h 1167624"/>
                <a:gd name="connsiteX1045" fmla="*/ 1074318 w 1217767"/>
                <a:gd name="connsiteY1045" fmla="*/ 846609 h 1167624"/>
                <a:gd name="connsiteX1046" fmla="*/ 1078971 w 1217767"/>
                <a:gd name="connsiteY1046" fmla="*/ 840018 h 1167624"/>
                <a:gd name="connsiteX1047" fmla="*/ 1080909 w 1217767"/>
                <a:gd name="connsiteY1047" fmla="*/ 838079 h 1167624"/>
                <a:gd name="connsiteX1048" fmla="*/ 1085174 w 1217767"/>
                <a:gd name="connsiteY1048" fmla="*/ 836529 h 1167624"/>
                <a:gd name="connsiteX1049" fmla="*/ 1087371 w 1217767"/>
                <a:gd name="connsiteY1049" fmla="*/ 835107 h 1167624"/>
                <a:gd name="connsiteX1050" fmla="*/ 1090214 w 1217767"/>
                <a:gd name="connsiteY1050" fmla="*/ 832005 h 1167624"/>
                <a:gd name="connsiteX1051" fmla="*/ 1091765 w 1217767"/>
                <a:gd name="connsiteY1051" fmla="*/ 830713 h 1167624"/>
                <a:gd name="connsiteX1052" fmla="*/ 1093962 w 1217767"/>
                <a:gd name="connsiteY1052" fmla="*/ 830196 h 1167624"/>
                <a:gd name="connsiteX1053" fmla="*/ 1096547 w 1217767"/>
                <a:gd name="connsiteY1053" fmla="*/ 829938 h 1167624"/>
                <a:gd name="connsiteX1054" fmla="*/ 1098356 w 1217767"/>
                <a:gd name="connsiteY1054" fmla="*/ 829162 h 1167624"/>
                <a:gd name="connsiteX1055" fmla="*/ 1101716 w 1217767"/>
                <a:gd name="connsiteY1055" fmla="*/ 826448 h 1167624"/>
                <a:gd name="connsiteX1056" fmla="*/ 1103008 w 1217767"/>
                <a:gd name="connsiteY1056" fmla="*/ 827999 h 1167624"/>
                <a:gd name="connsiteX1057" fmla="*/ 1103396 w 1217767"/>
                <a:gd name="connsiteY1057" fmla="*/ 830325 h 1167624"/>
                <a:gd name="connsiteX1058" fmla="*/ 1104042 w 1217767"/>
                <a:gd name="connsiteY1058" fmla="*/ 832393 h 1167624"/>
                <a:gd name="connsiteX1059" fmla="*/ 1106497 w 1217767"/>
                <a:gd name="connsiteY1059" fmla="*/ 833168 h 1167624"/>
                <a:gd name="connsiteX1060" fmla="*/ 1108565 w 1217767"/>
                <a:gd name="connsiteY1060" fmla="*/ 832910 h 1167624"/>
                <a:gd name="connsiteX1061" fmla="*/ 1110245 w 1217767"/>
                <a:gd name="connsiteY1061" fmla="*/ 832135 h 1167624"/>
                <a:gd name="connsiteX1062" fmla="*/ 1113476 w 1217767"/>
                <a:gd name="connsiteY1062" fmla="*/ 830196 h 1167624"/>
                <a:gd name="connsiteX1063" fmla="*/ 1117095 w 1217767"/>
                <a:gd name="connsiteY1063" fmla="*/ 828645 h 1167624"/>
                <a:gd name="connsiteX1064" fmla="*/ 1118775 w 1217767"/>
                <a:gd name="connsiteY1064" fmla="*/ 827095 h 1167624"/>
                <a:gd name="connsiteX1065" fmla="*/ 1119679 w 1217767"/>
                <a:gd name="connsiteY1065" fmla="*/ 826190 h 1167624"/>
                <a:gd name="connsiteX1066" fmla="*/ 1119679 w 1217767"/>
                <a:gd name="connsiteY1066" fmla="*/ 825673 h 1167624"/>
                <a:gd name="connsiteX1067" fmla="*/ 1120067 w 1217767"/>
                <a:gd name="connsiteY1067" fmla="*/ 825156 h 1167624"/>
                <a:gd name="connsiteX1068" fmla="*/ 1120713 w 1217767"/>
                <a:gd name="connsiteY1068" fmla="*/ 822442 h 1167624"/>
                <a:gd name="connsiteX1069" fmla="*/ 1121101 w 1217767"/>
                <a:gd name="connsiteY1069" fmla="*/ 821537 h 1167624"/>
                <a:gd name="connsiteX1070" fmla="*/ 1122135 w 1217767"/>
                <a:gd name="connsiteY1070" fmla="*/ 820762 h 1167624"/>
                <a:gd name="connsiteX1071" fmla="*/ 1124461 w 1217767"/>
                <a:gd name="connsiteY1071" fmla="*/ 819599 h 1167624"/>
                <a:gd name="connsiteX1072" fmla="*/ 1125236 w 1217767"/>
                <a:gd name="connsiteY1072" fmla="*/ 818823 h 1167624"/>
                <a:gd name="connsiteX1073" fmla="*/ 1126012 w 1217767"/>
                <a:gd name="connsiteY1073" fmla="*/ 811716 h 1167624"/>
                <a:gd name="connsiteX1074" fmla="*/ 1126916 w 1217767"/>
                <a:gd name="connsiteY1074" fmla="*/ 810553 h 1167624"/>
                <a:gd name="connsiteX1075" fmla="*/ 1128596 w 1217767"/>
                <a:gd name="connsiteY1075" fmla="*/ 809648 h 1167624"/>
                <a:gd name="connsiteX1076" fmla="*/ 1128984 w 1217767"/>
                <a:gd name="connsiteY1076" fmla="*/ 807710 h 1167624"/>
                <a:gd name="connsiteX1077" fmla="*/ 1128855 w 1217767"/>
                <a:gd name="connsiteY1077" fmla="*/ 803057 h 1167624"/>
                <a:gd name="connsiteX1078" fmla="*/ 1129501 w 1217767"/>
                <a:gd name="connsiteY1078" fmla="*/ 800602 h 1167624"/>
                <a:gd name="connsiteX1079" fmla="*/ 1131440 w 1217767"/>
                <a:gd name="connsiteY1079" fmla="*/ 796337 h 1167624"/>
                <a:gd name="connsiteX1080" fmla="*/ 1131698 w 1217767"/>
                <a:gd name="connsiteY1080" fmla="*/ 793623 h 1167624"/>
                <a:gd name="connsiteX1081" fmla="*/ 1132344 w 1217767"/>
                <a:gd name="connsiteY1081" fmla="*/ 792331 h 1167624"/>
                <a:gd name="connsiteX1082" fmla="*/ 1134800 w 1217767"/>
                <a:gd name="connsiteY1082" fmla="*/ 790263 h 1167624"/>
                <a:gd name="connsiteX1083" fmla="*/ 1135446 w 1217767"/>
                <a:gd name="connsiteY1083" fmla="*/ 789100 h 1167624"/>
                <a:gd name="connsiteX1084" fmla="*/ 1135575 w 1217767"/>
                <a:gd name="connsiteY1084" fmla="*/ 788066 h 1167624"/>
                <a:gd name="connsiteX1085" fmla="*/ 1136480 w 1217767"/>
                <a:gd name="connsiteY1085" fmla="*/ 785998 h 1167624"/>
                <a:gd name="connsiteX1086" fmla="*/ 1136997 w 1217767"/>
                <a:gd name="connsiteY1086" fmla="*/ 784318 h 1167624"/>
                <a:gd name="connsiteX1087" fmla="*/ 1137255 w 1217767"/>
                <a:gd name="connsiteY1087" fmla="*/ 784060 h 1167624"/>
                <a:gd name="connsiteX1088" fmla="*/ 1137643 w 1217767"/>
                <a:gd name="connsiteY1088" fmla="*/ 783543 h 1167624"/>
                <a:gd name="connsiteX1089" fmla="*/ 1137255 w 1217767"/>
                <a:gd name="connsiteY1089" fmla="*/ 782251 h 1167624"/>
                <a:gd name="connsiteX1090" fmla="*/ 1137772 w 1217767"/>
                <a:gd name="connsiteY1090" fmla="*/ 781087 h 1167624"/>
                <a:gd name="connsiteX1091" fmla="*/ 1138548 w 1217767"/>
                <a:gd name="connsiteY1091" fmla="*/ 779795 h 1167624"/>
                <a:gd name="connsiteX1092" fmla="*/ 1139194 w 1217767"/>
                <a:gd name="connsiteY1092" fmla="*/ 778244 h 1167624"/>
                <a:gd name="connsiteX1093" fmla="*/ 1139194 w 1217767"/>
                <a:gd name="connsiteY1093" fmla="*/ 776435 h 1167624"/>
                <a:gd name="connsiteX1094" fmla="*/ 1139064 w 1217767"/>
                <a:gd name="connsiteY1094" fmla="*/ 774755 h 1167624"/>
                <a:gd name="connsiteX1095" fmla="*/ 1137643 w 1217767"/>
                <a:gd name="connsiteY1095" fmla="*/ 770749 h 1167624"/>
                <a:gd name="connsiteX1096" fmla="*/ 1137514 w 1217767"/>
                <a:gd name="connsiteY1096" fmla="*/ 770232 h 1167624"/>
                <a:gd name="connsiteX1097" fmla="*/ 1137255 w 1217767"/>
                <a:gd name="connsiteY1097" fmla="*/ 768940 h 1167624"/>
                <a:gd name="connsiteX1098" fmla="*/ 1136738 w 1217767"/>
                <a:gd name="connsiteY1098" fmla="*/ 767389 h 1167624"/>
                <a:gd name="connsiteX1099" fmla="*/ 1136221 w 1217767"/>
                <a:gd name="connsiteY1099" fmla="*/ 766355 h 1167624"/>
                <a:gd name="connsiteX1100" fmla="*/ 1136092 w 1217767"/>
                <a:gd name="connsiteY1100" fmla="*/ 765838 h 1167624"/>
                <a:gd name="connsiteX1101" fmla="*/ 1136092 w 1217767"/>
                <a:gd name="connsiteY1101" fmla="*/ 765192 h 1167624"/>
                <a:gd name="connsiteX1102" fmla="*/ 1136609 w 1217767"/>
                <a:gd name="connsiteY1102" fmla="*/ 763382 h 1167624"/>
                <a:gd name="connsiteX1103" fmla="*/ 1136738 w 1217767"/>
                <a:gd name="connsiteY1103" fmla="*/ 762736 h 1167624"/>
                <a:gd name="connsiteX1104" fmla="*/ 1137384 w 1217767"/>
                <a:gd name="connsiteY1104" fmla="*/ 760410 h 1167624"/>
                <a:gd name="connsiteX1105" fmla="*/ 1138418 w 1217767"/>
                <a:gd name="connsiteY1105" fmla="*/ 758213 h 1167624"/>
                <a:gd name="connsiteX1106" fmla="*/ 1138806 w 1217767"/>
                <a:gd name="connsiteY1106" fmla="*/ 756921 h 1167624"/>
                <a:gd name="connsiteX1107" fmla="*/ 1138935 w 1217767"/>
                <a:gd name="connsiteY1107" fmla="*/ 755758 h 1167624"/>
                <a:gd name="connsiteX1108" fmla="*/ 1138677 w 1217767"/>
                <a:gd name="connsiteY1108" fmla="*/ 754207 h 1167624"/>
                <a:gd name="connsiteX1109" fmla="*/ 1138677 w 1217767"/>
                <a:gd name="connsiteY1109" fmla="*/ 753431 h 1167624"/>
                <a:gd name="connsiteX1110" fmla="*/ 1138806 w 1217767"/>
                <a:gd name="connsiteY1110" fmla="*/ 752785 h 1167624"/>
                <a:gd name="connsiteX1111" fmla="*/ 1140227 w 1217767"/>
                <a:gd name="connsiteY1111" fmla="*/ 747228 h 1167624"/>
                <a:gd name="connsiteX1112" fmla="*/ 1143975 w 1217767"/>
                <a:gd name="connsiteY1112" fmla="*/ 739603 h 1167624"/>
                <a:gd name="connsiteX1113" fmla="*/ 1144492 w 1217767"/>
                <a:gd name="connsiteY1113" fmla="*/ 738440 h 1167624"/>
                <a:gd name="connsiteX1114" fmla="*/ 1144751 w 1217767"/>
                <a:gd name="connsiteY1114" fmla="*/ 737536 h 1167624"/>
                <a:gd name="connsiteX1115" fmla="*/ 1144622 w 1217767"/>
                <a:gd name="connsiteY1115" fmla="*/ 736889 h 1167624"/>
                <a:gd name="connsiteX1116" fmla="*/ 1144104 w 1217767"/>
                <a:gd name="connsiteY1116" fmla="*/ 735985 h 1167624"/>
                <a:gd name="connsiteX1117" fmla="*/ 1143975 w 1217767"/>
                <a:gd name="connsiteY1117" fmla="*/ 735468 h 1167624"/>
                <a:gd name="connsiteX1118" fmla="*/ 1143975 w 1217767"/>
                <a:gd name="connsiteY1118" fmla="*/ 734693 h 1167624"/>
                <a:gd name="connsiteX1119" fmla="*/ 1144234 w 1217767"/>
                <a:gd name="connsiteY1119" fmla="*/ 734176 h 1167624"/>
                <a:gd name="connsiteX1120" fmla="*/ 1144622 w 1217767"/>
                <a:gd name="connsiteY1120" fmla="*/ 734046 h 1167624"/>
                <a:gd name="connsiteX1121" fmla="*/ 1145268 w 1217767"/>
                <a:gd name="connsiteY1121" fmla="*/ 734046 h 1167624"/>
                <a:gd name="connsiteX1122" fmla="*/ 1146689 w 1217767"/>
                <a:gd name="connsiteY1122" fmla="*/ 734434 h 1167624"/>
                <a:gd name="connsiteX1123" fmla="*/ 1150049 w 1217767"/>
                <a:gd name="connsiteY1123" fmla="*/ 733400 h 1167624"/>
                <a:gd name="connsiteX1124" fmla="*/ 1151342 w 1217767"/>
                <a:gd name="connsiteY1124" fmla="*/ 732754 h 1167624"/>
                <a:gd name="connsiteX1125" fmla="*/ 1151729 w 1217767"/>
                <a:gd name="connsiteY1125" fmla="*/ 732237 h 1167624"/>
                <a:gd name="connsiteX1126" fmla="*/ 1151988 w 1217767"/>
                <a:gd name="connsiteY1126" fmla="*/ 731849 h 1167624"/>
                <a:gd name="connsiteX1127" fmla="*/ 1152246 w 1217767"/>
                <a:gd name="connsiteY1127" fmla="*/ 731333 h 1167624"/>
                <a:gd name="connsiteX1128" fmla="*/ 1152375 w 1217767"/>
                <a:gd name="connsiteY1128" fmla="*/ 730557 h 1167624"/>
                <a:gd name="connsiteX1129" fmla="*/ 1152505 w 1217767"/>
                <a:gd name="connsiteY1129" fmla="*/ 729523 h 1167624"/>
                <a:gd name="connsiteX1130" fmla="*/ 1152505 w 1217767"/>
                <a:gd name="connsiteY1130" fmla="*/ 728748 h 1167624"/>
                <a:gd name="connsiteX1131" fmla="*/ 1152375 w 1217767"/>
                <a:gd name="connsiteY1131" fmla="*/ 728102 h 1167624"/>
                <a:gd name="connsiteX1132" fmla="*/ 1151342 w 1217767"/>
                <a:gd name="connsiteY1132" fmla="*/ 726809 h 1167624"/>
                <a:gd name="connsiteX1133" fmla="*/ 1151212 w 1217767"/>
                <a:gd name="connsiteY1133" fmla="*/ 726422 h 1167624"/>
                <a:gd name="connsiteX1134" fmla="*/ 1150954 w 1217767"/>
                <a:gd name="connsiteY1134" fmla="*/ 725775 h 1167624"/>
                <a:gd name="connsiteX1135" fmla="*/ 1150954 w 1217767"/>
                <a:gd name="connsiteY1135" fmla="*/ 724483 h 1167624"/>
                <a:gd name="connsiteX1136" fmla="*/ 1151083 w 1217767"/>
                <a:gd name="connsiteY1136" fmla="*/ 721769 h 1167624"/>
                <a:gd name="connsiteX1137" fmla="*/ 1150954 w 1217767"/>
                <a:gd name="connsiteY1137" fmla="*/ 721381 h 1167624"/>
                <a:gd name="connsiteX1138" fmla="*/ 1150566 w 1217767"/>
                <a:gd name="connsiteY1138" fmla="*/ 719701 h 1167624"/>
                <a:gd name="connsiteX1139" fmla="*/ 1150437 w 1217767"/>
                <a:gd name="connsiteY1139" fmla="*/ 718797 h 1167624"/>
                <a:gd name="connsiteX1140" fmla="*/ 1150437 w 1217767"/>
                <a:gd name="connsiteY1140" fmla="*/ 717246 h 1167624"/>
                <a:gd name="connsiteX1141" fmla="*/ 1150566 w 1217767"/>
                <a:gd name="connsiteY1141" fmla="*/ 716471 h 1167624"/>
                <a:gd name="connsiteX1142" fmla="*/ 1151859 w 1217767"/>
                <a:gd name="connsiteY1142" fmla="*/ 712594 h 1167624"/>
                <a:gd name="connsiteX1143" fmla="*/ 1152505 w 1217767"/>
                <a:gd name="connsiteY1143" fmla="*/ 708200 h 1167624"/>
                <a:gd name="connsiteX1144" fmla="*/ 1152505 w 1217767"/>
                <a:gd name="connsiteY1144" fmla="*/ 706907 h 1167624"/>
                <a:gd name="connsiteX1145" fmla="*/ 1152375 w 1217767"/>
                <a:gd name="connsiteY1145" fmla="*/ 706003 h 1167624"/>
                <a:gd name="connsiteX1146" fmla="*/ 1151600 w 1217767"/>
                <a:gd name="connsiteY1146" fmla="*/ 703806 h 1167624"/>
                <a:gd name="connsiteX1147" fmla="*/ 1151212 w 1217767"/>
                <a:gd name="connsiteY1147" fmla="*/ 701996 h 1167624"/>
                <a:gd name="connsiteX1148" fmla="*/ 1151083 w 1217767"/>
                <a:gd name="connsiteY1148" fmla="*/ 701092 h 1167624"/>
                <a:gd name="connsiteX1149" fmla="*/ 1151212 w 1217767"/>
                <a:gd name="connsiteY1149" fmla="*/ 695018 h 1167624"/>
                <a:gd name="connsiteX1150" fmla="*/ 1151083 w 1217767"/>
                <a:gd name="connsiteY1150" fmla="*/ 694372 h 1167624"/>
                <a:gd name="connsiteX1151" fmla="*/ 1150954 w 1217767"/>
                <a:gd name="connsiteY1151" fmla="*/ 693726 h 1167624"/>
                <a:gd name="connsiteX1152" fmla="*/ 1150308 w 1217767"/>
                <a:gd name="connsiteY1152" fmla="*/ 691916 h 1167624"/>
                <a:gd name="connsiteX1153" fmla="*/ 1150049 w 1217767"/>
                <a:gd name="connsiteY1153" fmla="*/ 690882 h 1167624"/>
                <a:gd name="connsiteX1154" fmla="*/ 1150178 w 1217767"/>
                <a:gd name="connsiteY1154" fmla="*/ 690236 h 1167624"/>
                <a:gd name="connsiteX1155" fmla="*/ 1150566 w 1217767"/>
                <a:gd name="connsiteY1155" fmla="*/ 689719 h 1167624"/>
                <a:gd name="connsiteX1156" fmla="*/ 1151083 w 1217767"/>
                <a:gd name="connsiteY1156" fmla="*/ 689590 h 1167624"/>
                <a:gd name="connsiteX1157" fmla="*/ 1152634 w 1217767"/>
                <a:gd name="connsiteY1157" fmla="*/ 688944 h 1167624"/>
                <a:gd name="connsiteX1158" fmla="*/ 1153926 w 1217767"/>
                <a:gd name="connsiteY1158" fmla="*/ 688685 h 1167624"/>
                <a:gd name="connsiteX1159" fmla="*/ 1154572 w 1217767"/>
                <a:gd name="connsiteY1159" fmla="*/ 688556 h 1167624"/>
                <a:gd name="connsiteX1160" fmla="*/ 1154960 w 1217767"/>
                <a:gd name="connsiteY1160" fmla="*/ 688298 h 1167624"/>
                <a:gd name="connsiteX1161" fmla="*/ 1156640 w 1217767"/>
                <a:gd name="connsiteY1161" fmla="*/ 687005 h 1167624"/>
                <a:gd name="connsiteX1162" fmla="*/ 1157416 w 1217767"/>
                <a:gd name="connsiteY1162" fmla="*/ 686230 h 1167624"/>
                <a:gd name="connsiteX1163" fmla="*/ 1157803 w 1217767"/>
                <a:gd name="connsiteY1163" fmla="*/ 685842 h 1167624"/>
                <a:gd name="connsiteX1164" fmla="*/ 1158062 w 1217767"/>
                <a:gd name="connsiteY1164" fmla="*/ 685196 h 1167624"/>
                <a:gd name="connsiteX1165" fmla="*/ 1158449 w 1217767"/>
                <a:gd name="connsiteY1165" fmla="*/ 684421 h 1167624"/>
                <a:gd name="connsiteX1166" fmla="*/ 1160646 w 1217767"/>
                <a:gd name="connsiteY1166" fmla="*/ 677830 h 1167624"/>
                <a:gd name="connsiteX1167" fmla="*/ 1161809 w 1217767"/>
                <a:gd name="connsiteY1167" fmla="*/ 671110 h 1167624"/>
                <a:gd name="connsiteX1168" fmla="*/ 1162068 w 1217767"/>
                <a:gd name="connsiteY1168" fmla="*/ 670334 h 1167624"/>
                <a:gd name="connsiteX1169" fmla="*/ 1163748 w 1217767"/>
                <a:gd name="connsiteY1169" fmla="*/ 668008 h 1167624"/>
                <a:gd name="connsiteX1170" fmla="*/ 1164136 w 1217767"/>
                <a:gd name="connsiteY1170" fmla="*/ 667750 h 1167624"/>
                <a:gd name="connsiteX1171" fmla="*/ 1164523 w 1217767"/>
                <a:gd name="connsiteY1171" fmla="*/ 667362 h 1167624"/>
                <a:gd name="connsiteX1172" fmla="*/ 1165945 w 1217767"/>
                <a:gd name="connsiteY1172" fmla="*/ 666586 h 1167624"/>
                <a:gd name="connsiteX1173" fmla="*/ 1166074 w 1217767"/>
                <a:gd name="connsiteY1173" fmla="*/ 666586 h 1167624"/>
                <a:gd name="connsiteX1174" fmla="*/ 1166333 w 1217767"/>
                <a:gd name="connsiteY1174" fmla="*/ 666199 h 1167624"/>
                <a:gd name="connsiteX1175" fmla="*/ 1167625 w 1217767"/>
                <a:gd name="connsiteY1175" fmla="*/ 664519 h 1167624"/>
                <a:gd name="connsiteX1176" fmla="*/ 1168013 w 1217767"/>
                <a:gd name="connsiteY1176" fmla="*/ 664131 h 1167624"/>
                <a:gd name="connsiteX1177" fmla="*/ 1168271 w 1217767"/>
                <a:gd name="connsiteY1177" fmla="*/ 663614 h 1167624"/>
                <a:gd name="connsiteX1178" fmla="*/ 1169047 w 1217767"/>
                <a:gd name="connsiteY1178" fmla="*/ 662193 h 1167624"/>
                <a:gd name="connsiteX1179" fmla="*/ 1170597 w 1217767"/>
                <a:gd name="connsiteY1179" fmla="*/ 660771 h 1167624"/>
                <a:gd name="connsiteX1180" fmla="*/ 1171373 w 1217767"/>
                <a:gd name="connsiteY1180" fmla="*/ 659737 h 1167624"/>
                <a:gd name="connsiteX1181" fmla="*/ 1171760 w 1217767"/>
                <a:gd name="connsiteY1181" fmla="*/ 658962 h 1167624"/>
                <a:gd name="connsiteX1182" fmla="*/ 1172019 w 1217767"/>
                <a:gd name="connsiteY1182" fmla="*/ 658186 h 1167624"/>
                <a:gd name="connsiteX1183" fmla="*/ 1172277 w 1217767"/>
                <a:gd name="connsiteY1183" fmla="*/ 654955 h 1167624"/>
                <a:gd name="connsiteX1184" fmla="*/ 1172536 w 1217767"/>
                <a:gd name="connsiteY1184" fmla="*/ 654180 h 1167624"/>
                <a:gd name="connsiteX1185" fmla="*/ 1172794 w 1217767"/>
                <a:gd name="connsiteY1185" fmla="*/ 653534 h 1167624"/>
                <a:gd name="connsiteX1186" fmla="*/ 1174087 w 1217767"/>
                <a:gd name="connsiteY1186" fmla="*/ 651725 h 1167624"/>
                <a:gd name="connsiteX1187" fmla="*/ 1175508 w 1217767"/>
                <a:gd name="connsiteY1187" fmla="*/ 650174 h 1167624"/>
                <a:gd name="connsiteX1188" fmla="*/ 1177188 w 1217767"/>
                <a:gd name="connsiteY1188" fmla="*/ 647977 h 1167624"/>
                <a:gd name="connsiteX1189" fmla="*/ 1178739 w 1217767"/>
                <a:gd name="connsiteY1189" fmla="*/ 645004 h 1167624"/>
                <a:gd name="connsiteX1190" fmla="*/ 1181453 w 1217767"/>
                <a:gd name="connsiteY1190" fmla="*/ 638930 h 1167624"/>
                <a:gd name="connsiteX1191" fmla="*/ 1181970 w 1217767"/>
                <a:gd name="connsiteY1191" fmla="*/ 637509 h 1167624"/>
                <a:gd name="connsiteX1192" fmla="*/ 1182099 w 1217767"/>
                <a:gd name="connsiteY1192" fmla="*/ 636863 h 1167624"/>
                <a:gd name="connsiteX1193" fmla="*/ 1181970 w 1217767"/>
                <a:gd name="connsiteY1193" fmla="*/ 636217 h 1167624"/>
                <a:gd name="connsiteX1194" fmla="*/ 1181841 w 1217767"/>
                <a:gd name="connsiteY1194" fmla="*/ 635700 h 1167624"/>
                <a:gd name="connsiteX1195" fmla="*/ 1180936 w 1217767"/>
                <a:gd name="connsiteY1195" fmla="*/ 633761 h 1167624"/>
                <a:gd name="connsiteX1196" fmla="*/ 1180807 w 1217767"/>
                <a:gd name="connsiteY1196" fmla="*/ 633115 h 1167624"/>
                <a:gd name="connsiteX1197" fmla="*/ 1180936 w 1217767"/>
                <a:gd name="connsiteY1197" fmla="*/ 631177 h 1167624"/>
                <a:gd name="connsiteX1198" fmla="*/ 1180936 w 1217767"/>
                <a:gd name="connsiteY1198" fmla="*/ 629755 h 1167624"/>
                <a:gd name="connsiteX1199" fmla="*/ 1181453 w 1217767"/>
                <a:gd name="connsiteY1199" fmla="*/ 625361 h 1167624"/>
                <a:gd name="connsiteX1200" fmla="*/ 1181453 w 1217767"/>
                <a:gd name="connsiteY1200" fmla="*/ 623940 h 1167624"/>
                <a:gd name="connsiteX1201" fmla="*/ 1181065 w 1217767"/>
                <a:gd name="connsiteY1201" fmla="*/ 622776 h 1167624"/>
                <a:gd name="connsiteX1202" fmla="*/ 1180161 w 1217767"/>
                <a:gd name="connsiteY1202" fmla="*/ 621355 h 1167624"/>
                <a:gd name="connsiteX1203" fmla="*/ 1180031 w 1217767"/>
                <a:gd name="connsiteY1203" fmla="*/ 620579 h 1167624"/>
                <a:gd name="connsiteX1204" fmla="*/ 1180161 w 1217767"/>
                <a:gd name="connsiteY1204" fmla="*/ 619933 h 1167624"/>
                <a:gd name="connsiteX1205" fmla="*/ 1180419 w 1217767"/>
                <a:gd name="connsiteY1205" fmla="*/ 619545 h 1167624"/>
                <a:gd name="connsiteX1206" fmla="*/ 1180807 w 1217767"/>
                <a:gd name="connsiteY1206" fmla="*/ 619158 h 1167624"/>
                <a:gd name="connsiteX1207" fmla="*/ 1181324 w 1217767"/>
                <a:gd name="connsiteY1207" fmla="*/ 618899 h 1167624"/>
                <a:gd name="connsiteX1208" fmla="*/ 1183004 w 1217767"/>
                <a:gd name="connsiteY1208" fmla="*/ 618253 h 1167624"/>
                <a:gd name="connsiteX1209" fmla="*/ 1183521 w 1217767"/>
                <a:gd name="connsiteY1209" fmla="*/ 617866 h 1167624"/>
                <a:gd name="connsiteX1210" fmla="*/ 1184038 w 1217767"/>
                <a:gd name="connsiteY1210" fmla="*/ 617478 h 1167624"/>
                <a:gd name="connsiteX1211" fmla="*/ 1184167 w 1217767"/>
                <a:gd name="connsiteY1211" fmla="*/ 616832 h 1167624"/>
                <a:gd name="connsiteX1212" fmla="*/ 1184167 w 1217767"/>
                <a:gd name="connsiteY1212" fmla="*/ 616315 h 1167624"/>
                <a:gd name="connsiteX1213" fmla="*/ 1184038 w 1217767"/>
                <a:gd name="connsiteY1213" fmla="*/ 615798 h 1167624"/>
                <a:gd name="connsiteX1214" fmla="*/ 1183650 w 1217767"/>
                <a:gd name="connsiteY1214" fmla="*/ 615410 h 1167624"/>
                <a:gd name="connsiteX1215" fmla="*/ 1182875 w 1217767"/>
                <a:gd name="connsiteY1215" fmla="*/ 614635 h 1167624"/>
                <a:gd name="connsiteX1216" fmla="*/ 1182616 w 1217767"/>
                <a:gd name="connsiteY1216" fmla="*/ 613988 h 1167624"/>
                <a:gd name="connsiteX1217" fmla="*/ 1182745 w 1217767"/>
                <a:gd name="connsiteY1217" fmla="*/ 613471 h 1167624"/>
                <a:gd name="connsiteX1218" fmla="*/ 1183133 w 1217767"/>
                <a:gd name="connsiteY1218" fmla="*/ 613084 h 1167624"/>
                <a:gd name="connsiteX1219" fmla="*/ 1183908 w 1217767"/>
                <a:gd name="connsiteY1219" fmla="*/ 612438 h 1167624"/>
                <a:gd name="connsiteX1220" fmla="*/ 1187527 w 1217767"/>
                <a:gd name="connsiteY1220" fmla="*/ 610111 h 1167624"/>
                <a:gd name="connsiteX1221" fmla="*/ 1188044 w 1217767"/>
                <a:gd name="connsiteY1221" fmla="*/ 609724 h 1167624"/>
                <a:gd name="connsiteX1222" fmla="*/ 1188949 w 1217767"/>
                <a:gd name="connsiteY1222" fmla="*/ 608561 h 1167624"/>
                <a:gd name="connsiteX1223" fmla="*/ 1189595 w 1217767"/>
                <a:gd name="connsiteY1223" fmla="*/ 607398 h 1167624"/>
                <a:gd name="connsiteX1224" fmla="*/ 1189853 w 1217767"/>
                <a:gd name="connsiteY1224" fmla="*/ 606622 h 1167624"/>
                <a:gd name="connsiteX1225" fmla="*/ 1191792 w 1217767"/>
                <a:gd name="connsiteY1225" fmla="*/ 598739 h 1167624"/>
                <a:gd name="connsiteX1226" fmla="*/ 1191792 w 1217767"/>
                <a:gd name="connsiteY1226" fmla="*/ 597188 h 1167624"/>
                <a:gd name="connsiteX1227" fmla="*/ 1191533 w 1217767"/>
                <a:gd name="connsiteY1227" fmla="*/ 596025 h 1167624"/>
                <a:gd name="connsiteX1228" fmla="*/ 1191145 w 1217767"/>
                <a:gd name="connsiteY1228" fmla="*/ 594991 h 1167624"/>
                <a:gd name="connsiteX1229" fmla="*/ 1189595 w 1217767"/>
                <a:gd name="connsiteY1229" fmla="*/ 594474 h 1167624"/>
                <a:gd name="connsiteX1230" fmla="*/ 1186364 w 1217767"/>
                <a:gd name="connsiteY1230" fmla="*/ 594603 h 1167624"/>
                <a:gd name="connsiteX1231" fmla="*/ 1185071 w 1217767"/>
                <a:gd name="connsiteY1231" fmla="*/ 594345 h 1167624"/>
                <a:gd name="connsiteX1232" fmla="*/ 1183521 w 1217767"/>
                <a:gd name="connsiteY1232" fmla="*/ 593828 h 1167624"/>
                <a:gd name="connsiteX1233" fmla="*/ 1182875 w 1217767"/>
                <a:gd name="connsiteY1233" fmla="*/ 593311 h 1167624"/>
                <a:gd name="connsiteX1234" fmla="*/ 1182358 w 1217767"/>
                <a:gd name="connsiteY1234" fmla="*/ 592923 h 1167624"/>
                <a:gd name="connsiteX1235" fmla="*/ 1182099 w 1217767"/>
                <a:gd name="connsiteY1235" fmla="*/ 592536 h 1167624"/>
                <a:gd name="connsiteX1236" fmla="*/ 1181970 w 1217767"/>
                <a:gd name="connsiteY1236" fmla="*/ 592019 h 1167624"/>
                <a:gd name="connsiteX1237" fmla="*/ 1182099 w 1217767"/>
                <a:gd name="connsiteY1237" fmla="*/ 591502 h 1167624"/>
                <a:gd name="connsiteX1238" fmla="*/ 1182358 w 1217767"/>
                <a:gd name="connsiteY1238" fmla="*/ 591114 h 1167624"/>
                <a:gd name="connsiteX1239" fmla="*/ 1182616 w 1217767"/>
                <a:gd name="connsiteY1239" fmla="*/ 590726 h 1167624"/>
                <a:gd name="connsiteX1240" fmla="*/ 1182228 w 1217767"/>
                <a:gd name="connsiteY1240" fmla="*/ 590468 h 1167624"/>
                <a:gd name="connsiteX1241" fmla="*/ 1181711 w 1217767"/>
                <a:gd name="connsiteY1241" fmla="*/ 590468 h 1167624"/>
                <a:gd name="connsiteX1242" fmla="*/ 1181065 w 1217767"/>
                <a:gd name="connsiteY1242" fmla="*/ 590468 h 1167624"/>
                <a:gd name="connsiteX1243" fmla="*/ 1179902 w 1217767"/>
                <a:gd name="connsiteY1243" fmla="*/ 590856 h 1167624"/>
                <a:gd name="connsiteX1244" fmla="*/ 1179256 w 1217767"/>
                <a:gd name="connsiteY1244" fmla="*/ 590985 h 1167624"/>
                <a:gd name="connsiteX1245" fmla="*/ 1178868 w 1217767"/>
                <a:gd name="connsiteY1245" fmla="*/ 590597 h 1167624"/>
                <a:gd name="connsiteX1246" fmla="*/ 1178610 w 1217767"/>
                <a:gd name="connsiteY1246" fmla="*/ 590080 h 1167624"/>
                <a:gd name="connsiteX1247" fmla="*/ 1178481 w 1217767"/>
                <a:gd name="connsiteY1247" fmla="*/ 588529 h 1167624"/>
                <a:gd name="connsiteX1248" fmla="*/ 1177964 w 1217767"/>
                <a:gd name="connsiteY1248" fmla="*/ 587496 h 1167624"/>
                <a:gd name="connsiteX1249" fmla="*/ 1177705 w 1217767"/>
                <a:gd name="connsiteY1249" fmla="*/ 586849 h 1167624"/>
                <a:gd name="connsiteX1250" fmla="*/ 1177705 w 1217767"/>
                <a:gd name="connsiteY1250" fmla="*/ 586074 h 1167624"/>
                <a:gd name="connsiteX1251" fmla="*/ 1177834 w 1217767"/>
                <a:gd name="connsiteY1251" fmla="*/ 584782 h 1167624"/>
                <a:gd name="connsiteX1252" fmla="*/ 1177834 w 1217767"/>
                <a:gd name="connsiteY1252" fmla="*/ 583360 h 1167624"/>
                <a:gd name="connsiteX1253" fmla="*/ 1177576 w 1217767"/>
                <a:gd name="connsiteY1253" fmla="*/ 581422 h 1167624"/>
                <a:gd name="connsiteX1254" fmla="*/ 1177318 w 1217767"/>
                <a:gd name="connsiteY1254" fmla="*/ 580259 h 1167624"/>
                <a:gd name="connsiteX1255" fmla="*/ 1177188 w 1217767"/>
                <a:gd name="connsiteY1255" fmla="*/ 579741 h 1167624"/>
                <a:gd name="connsiteX1256" fmla="*/ 1176154 w 1217767"/>
                <a:gd name="connsiteY1256" fmla="*/ 577803 h 1167624"/>
                <a:gd name="connsiteX1257" fmla="*/ 1176025 w 1217767"/>
                <a:gd name="connsiteY1257" fmla="*/ 577286 h 1167624"/>
                <a:gd name="connsiteX1258" fmla="*/ 1175896 w 1217767"/>
                <a:gd name="connsiteY1258" fmla="*/ 574831 h 1167624"/>
                <a:gd name="connsiteX1259" fmla="*/ 1175508 w 1217767"/>
                <a:gd name="connsiteY1259" fmla="*/ 574185 h 1167624"/>
                <a:gd name="connsiteX1260" fmla="*/ 1175121 w 1217767"/>
                <a:gd name="connsiteY1260" fmla="*/ 573926 h 1167624"/>
                <a:gd name="connsiteX1261" fmla="*/ 1173311 w 1217767"/>
                <a:gd name="connsiteY1261" fmla="*/ 572892 h 1167624"/>
                <a:gd name="connsiteX1262" fmla="*/ 1171760 w 1217767"/>
                <a:gd name="connsiteY1262" fmla="*/ 571729 h 1167624"/>
                <a:gd name="connsiteX1263" fmla="*/ 1170985 w 1217767"/>
                <a:gd name="connsiteY1263" fmla="*/ 570825 h 1167624"/>
                <a:gd name="connsiteX1264" fmla="*/ 1170727 w 1217767"/>
                <a:gd name="connsiteY1264" fmla="*/ 569920 h 1167624"/>
                <a:gd name="connsiteX1265" fmla="*/ 1170597 w 1217767"/>
                <a:gd name="connsiteY1265" fmla="*/ 569144 h 1167624"/>
                <a:gd name="connsiteX1266" fmla="*/ 1170856 w 1217767"/>
                <a:gd name="connsiteY1266" fmla="*/ 568628 h 1167624"/>
                <a:gd name="connsiteX1267" fmla="*/ 1171373 w 1217767"/>
                <a:gd name="connsiteY1267" fmla="*/ 568369 h 1167624"/>
                <a:gd name="connsiteX1268" fmla="*/ 1171890 w 1217767"/>
                <a:gd name="connsiteY1268" fmla="*/ 568369 h 1167624"/>
                <a:gd name="connsiteX1269" fmla="*/ 1172277 w 1217767"/>
                <a:gd name="connsiteY1269" fmla="*/ 568628 h 1167624"/>
                <a:gd name="connsiteX1270" fmla="*/ 1172536 w 1217767"/>
                <a:gd name="connsiteY1270" fmla="*/ 568886 h 1167624"/>
                <a:gd name="connsiteX1271" fmla="*/ 1172924 w 1217767"/>
                <a:gd name="connsiteY1271" fmla="*/ 569015 h 1167624"/>
                <a:gd name="connsiteX1272" fmla="*/ 1173311 w 1217767"/>
                <a:gd name="connsiteY1272" fmla="*/ 568757 h 1167624"/>
                <a:gd name="connsiteX1273" fmla="*/ 1173441 w 1217767"/>
                <a:gd name="connsiteY1273" fmla="*/ 568240 h 1167624"/>
                <a:gd name="connsiteX1274" fmla="*/ 1173570 w 1217767"/>
                <a:gd name="connsiteY1274" fmla="*/ 567335 h 1167624"/>
                <a:gd name="connsiteX1275" fmla="*/ 1173182 w 1217767"/>
                <a:gd name="connsiteY1275" fmla="*/ 565009 h 1167624"/>
                <a:gd name="connsiteX1276" fmla="*/ 1173182 w 1217767"/>
                <a:gd name="connsiteY1276" fmla="*/ 564233 h 1167624"/>
                <a:gd name="connsiteX1277" fmla="*/ 1173311 w 1217767"/>
                <a:gd name="connsiteY1277" fmla="*/ 563587 h 1167624"/>
                <a:gd name="connsiteX1278" fmla="*/ 1173441 w 1217767"/>
                <a:gd name="connsiteY1278" fmla="*/ 562941 h 1167624"/>
                <a:gd name="connsiteX1279" fmla="*/ 1174474 w 1217767"/>
                <a:gd name="connsiteY1279" fmla="*/ 560873 h 1167624"/>
                <a:gd name="connsiteX1280" fmla="*/ 1174604 w 1217767"/>
                <a:gd name="connsiteY1280" fmla="*/ 560227 h 1167624"/>
                <a:gd name="connsiteX1281" fmla="*/ 1174733 w 1217767"/>
                <a:gd name="connsiteY1281" fmla="*/ 558935 h 1167624"/>
                <a:gd name="connsiteX1282" fmla="*/ 1175250 w 1217767"/>
                <a:gd name="connsiteY1282" fmla="*/ 557255 h 1167624"/>
                <a:gd name="connsiteX1283" fmla="*/ 1175250 w 1217767"/>
                <a:gd name="connsiteY1283" fmla="*/ 555704 h 1167624"/>
                <a:gd name="connsiteX1284" fmla="*/ 1174991 w 1217767"/>
                <a:gd name="connsiteY1284" fmla="*/ 553766 h 1167624"/>
                <a:gd name="connsiteX1285" fmla="*/ 1175121 w 1217767"/>
                <a:gd name="connsiteY1285" fmla="*/ 552732 h 1167624"/>
                <a:gd name="connsiteX1286" fmla="*/ 1175379 w 1217767"/>
                <a:gd name="connsiteY1286" fmla="*/ 552215 h 1167624"/>
                <a:gd name="connsiteX1287" fmla="*/ 1175896 w 1217767"/>
                <a:gd name="connsiteY1287" fmla="*/ 551956 h 1167624"/>
                <a:gd name="connsiteX1288" fmla="*/ 1176542 w 1217767"/>
                <a:gd name="connsiteY1288" fmla="*/ 551827 h 1167624"/>
                <a:gd name="connsiteX1289" fmla="*/ 1176930 w 1217767"/>
                <a:gd name="connsiteY1289" fmla="*/ 551569 h 1167624"/>
                <a:gd name="connsiteX1290" fmla="*/ 1177188 w 1217767"/>
                <a:gd name="connsiteY1290" fmla="*/ 551181 h 1167624"/>
                <a:gd name="connsiteX1291" fmla="*/ 1177447 w 1217767"/>
                <a:gd name="connsiteY1291" fmla="*/ 550664 h 1167624"/>
                <a:gd name="connsiteX1292" fmla="*/ 1177447 w 1217767"/>
                <a:gd name="connsiteY1292" fmla="*/ 549889 h 1167624"/>
                <a:gd name="connsiteX1293" fmla="*/ 1175508 w 1217767"/>
                <a:gd name="connsiteY1293" fmla="*/ 536578 h 1167624"/>
                <a:gd name="connsiteX1294" fmla="*/ 1175637 w 1217767"/>
                <a:gd name="connsiteY1294" fmla="*/ 535931 h 1167624"/>
                <a:gd name="connsiteX1295" fmla="*/ 1176154 w 1217767"/>
                <a:gd name="connsiteY1295" fmla="*/ 534898 h 1167624"/>
                <a:gd name="connsiteX1296" fmla="*/ 1176284 w 1217767"/>
                <a:gd name="connsiteY1296" fmla="*/ 533734 h 1167624"/>
                <a:gd name="connsiteX1297" fmla="*/ 1176025 w 1217767"/>
                <a:gd name="connsiteY1297" fmla="*/ 532700 h 1167624"/>
                <a:gd name="connsiteX1298" fmla="*/ 1174474 w 1217767"/>
                <a:gd name="connsiteY1298" fmla="*/ 528694 h 1167624"/>
                <a:gd name="connsiteX1299" fmla="*/ 1174216 w 1217767"/>
                <a:gd name="connsiteY1299" fmla="*/ 528307 h 1167624"/>
                <a:gd name="connsiteX1300" fmla="*/ 1172407 w 1217767"/>
                <a:gd name="connsiteY1300" fmla="*/ 526756 h 1167624"/>
                <a:gd name="connsiteX1301" fmla="*/ 1171373 w 1217767"/>
                <a:gd name="connsiteY1301" fmla="*/ 524947 h 1167624"/>
                <a:gd name="connsiteX1302" fmla="*/ 1170985 w 1217767"/>
                <a:gd name="connsiteY1302" fmla="*/ 523913 h 1167624"/>
                <a:gd name="connsiteX1303" fmla="*/ 1169822 w 1217767"/>
                <a:gd name="connsiteY1303" fmla="*/ 507500 h 1167624"/>
                <a:gd name="connsiteX1304" fmla="*/ 1170080 w 1217767"/>
                <a:gd name="connsiteY1304" fmla="*/ 505174 h 1167624"/>
                <a:gd name="connsiteX1305" fmla="*/ 1169951 w 1217767"/>
                <a:gd name="connsiteY1305" fmla="*/ 503106 h 1167624"/>
                <a:gd name="connsiteX1306" fmla="*/ 1169951 w 1217767"/>
                <a:gd name="connsiteY1306" fmla="*/ 502977 h 1167624"/>
                <a:gd name="connsiteX1307" fmla="*/ 1170210 w 1217767"/>
                <a:gd name="connsiteY1307" fmla="*/ 502460 h 1167624"/>
                <a:gd name="connsiteX1308" fmla="*/ 1170597 w 1217767"/>
                <a:gd name="connsiteY1308" fmla="*/ 502201 h 1167624"/>
                <a:gd name="connsiteX1309" fmla="*/ 1171890 w 1217767"/>
                <a:gd name="connsiteY1309" fmla="*/ 501297 h 1167624"/>
                <a:gd name="connsiteX1310" fmla="*/ 1172277 w 1217767"/>
                <a:gd name="connsiteY1310" fmla="*/ 500651 h 1167624"/>
                <a:gd name="connsiteX1311" fmla="*/ 1172536 w 1217767"/>
                <a:gd name="connsiteY1311" fmla="*/ 500004 h 1167624"/>
                <a:gd name="connsiteX1312" fmla="*/ 1172665 w 1217767"/>
                <a:gd name="connsiteY1312" fmla="*/ 498712 h 1167624"/>
                <a:gd name="connsiteX1313" fmla="*/ 1172407 w 1217767"/>
                <a:gd name="connsiteY1313" fmla="*/ 497678 h 1167624"/>
                <a:gd name="connsiteX1314" fmla="*/ 1172019 w 1217767"/>
                <a:gd name="connsiteY1314" fmla="*/ 496644 h 1167624"/>
                <a:gd name="connsiteX1315" fmla="*/ 1171760 w 1217767"/>
                <a:gd name="connsiteY1315" fmla="*/ 495869 h 1167624"/>
                <a:gd name="connsiteX1316" fmla="*/ 1171760 w 1217767"/>
                <a:gd name="connsiteY1316" fmla="*/ 495223 h 1167624"/>
                <a:gd name="connsiteX1317" fmla="*/ 1172019 w 1217767"/>
                <a:gd name="connsiteY1317" fmla="*/ 494706 h 1167624"/>
                <a:gd name="connsiteX1318" fmla="*/ 1172277 w 1217767"/>
                <a:gd name="connsiteY1318" fmla="*/ 494318 h 1167624"/>
                <a:gd name="connsiteX1319" fmla="*/ 1172794 w 1217767"/>
                <a:gd name="connsiteY1319" fmla="*/ 494060 h 1167624"/>
                <a:gd name="connsiteX1320" fmla="*/ 1173311 w 1217767"/>
                <a:gd name="connsiteY1320" fmla="*/ 493801 h 1167624"/>
                <a:gd name="connsiteX1321" fmla="*/ 1173699 w 1217767"/>
                <a:gd name="connsiteY1321" fmla="*/ 493155 h 1167624"/>
                <a:gd name="connsiteX1322" fmla="*/ 1173957 w 1217767"/>
                <a:gd name="connsiteY1322" fmla="*/ 492251 h 1167624"/>
                <a:gd name="connsiteX1323" fmla="*/ 1173957 w 1217767"/>
                <a:gd name="connsiteY1323" fmla="*/ 491087 h 1167624"/>
                <a:gd name="connsiteX1324" fmla="*/ 1173699 w 1217767"/>
                <a:gd name="connsiteY1324" fmla="*/ 490312 h 1167624"/>
                <a:gd name="connsiteX1325" fmla="*/ 1173441 w 1217767"/>
                <a:gd name="connsiteY1325" fmla="*/ 489795 h 1167624"/>
                <a:gd name="connsiteX1326" fmla="*/ 1172924 w 1217767"/>
                <a:gd name="connsiteY1326" fmla="*/ 489537 h 1167624"/>
                <a:gd name="connsiteX1327" fmla="*/ 1171760 w 1217767"/>
                <a:gd name="connsiteY1327" fmla="*/ 489278 h 1167624"/>
                <a:gd name="connsiteX1328" fmla="*/ 1171114 w 1217767"/>
                <a:gd name="connsiteY1328" fmla="*/ 489020 h 1167624"/>
                <a:gd name="connsiteX1329" fmla="*/ 1170468 w 1217767"/>
                <a:gd name="connsiteY1329" fmla="*/ 488115 h 1167624"/>
                <a:gd name="connsiteX1330" fmla="*/ 1170210 w 1217767"/>
                <a:gd name="connsiteY1330" fmla="*/ 487081 h 1167624"/>
                <a:gd name="connsiteX1331" fmla="*/ 1170080 w 1217767"/>
                <a:gd name="connsiteY1331" fmla="*/ 484367 h 1167624"/>
                <a:gd name="connsiteX1332" fmla="*/ 1169951 w 1217767"/>
                <a:gd name="connsiteY1332" fmla="*/ 483721 h 1167624"/>
                <a:gd name="connsiteX1333" fmla="*/ 1169564 w 1217767"/>
                <a:gd name="connsiteY1333" fmla="*/ 483075 h 1167624"/>
                <a:gd name="connsiteX1334" fmla="*/ 1168917 w 1217767"/>
                <a:gd name="connsiteY1334" fmla="*/ 481007 h 1167624"/>
                <a:gd name="connsiteX1335" fmla="*/ 1168659 w 1217767"/>
                <a:gd name="connsiteY1335" fmla="*/ 479327 h 1167624"/>
                <a:gd name="connsiteX1336" fmla="*/ 1168400 w 1217767"/>
                <a:gd name="connsiteY1336" fmla="*/ 478422 h 1167624"/>
                <a:gd name="connsiteX1337" fmla="*/ 1168142 w 1217767"/>
                <a:gd name="connsiteY1337" fmla="*/ 477776 h 1167624"/>
                <a:gd name="connsiteX1338" fmla="*/ 1167367 w 1217767"/>
                <a:gd name="connsiteY1338" fmla="*/ 476743 h 1167624"/>
                <a:gd name="connsiteX1339" fmla="*/ 1166850 w 1217767"/>
                <a:gd name="connsiteY1339" fmla="*/ 475967 h 1167624"/>
                <a:gd name="connsiteX1340" fmla="*/ 1166720 w 1217767"/>
                <a:gd name="connsiteY1340" fmla="*/ 475321 h 1167624"/>
                <a:gd name="connsiteX1341" fmla="*/ 1166720 w 1217767"/>
                <a:gd name="connsiteY1341" fmla="*/ 474545 h 1167624"/>
                <a:gd name="connsiteX1342" fmla="*/ 1166850 w 1217767"/>
                <a:gd name="connsiteY1342" fmla="*/ 472865 h 1167624"/>
                <a:gd name="connsiteX1343" fmla="*/ 1166979 w 1217767"/>
                <a:gd name="connsiteY1343" fmla="*/ 472219 h 1167624"/>
                <a:gd name="connsiteX1344" fmla="*/ 1167237 w 1217767"/>
                <a:gd name="connsiteY1344" fmla="*/ 471702 h 1167624"/>
                <a:gd name="connsiteX1345" fmla="*/ 1168271 w 1217767"/>
                <a:gd name="connsiteY1345" fmla="*/ 470410 h 1167624"/>
                <a:gd name="connsiteX1346" fmla="*/ 1169047 w 1217767"/>
                <a:gd name="connsiteY1346" fmla="*/ 469764 h 1167624"/>
                <a:gd name="connsiteX1347" fmla="*/ 1169951 w 1217767"/>
                <a:gd name="connsiteY1347" fmla="*/ 469118 h 1167624"/>
                <a:gd name="connsiteX1348" fmla="*/ 1170985 w 1217767"/>
                <a:gd name="connsiteY1348" fmla="*/ 467955 h 1167624"/>
                <a:gd name="connsiteX1349" fmla="*/ 1171890 w 1217767"/>
                <a:gd name="connsiteY1349" fmla="*/ 467308 h 1167624"/>
                <a:gd name="connsiteX1350" fmla="*/ 1172277 w 1217767"/>
                <a:gd name="connsiteY1350" fmla="*/ 466921 h 1167624"/>
                <a:gd name="connsiteX1351" fmla="*/ 1172536 w 1217767"/>
                <a:gd name="connsiteY1351" fmla="*/ 466404 h 1167624"/>
                <a:gd name="connsiteX1352" fmla="*/ 1172794 w 1217767"/>
                <a:gd name="connsiteY1352" fmla="*/ 465887 h 1167624"/>
                <a:gd name="connsiteX1353" fmla="*/ 1172924 w 1217767"/>
                <a:gd name="connsiteY1353" fmla="*/ 465241 h 1167624"/>
                <a:gd name="connsiteX1354" fmla="*/ 1173441 w 1217767"/>
                <a:gd name="connsiteY1354" fmla="*/ 460459 h 1167624"/>
                <a:gd name="connsiteX1355" fmla="*/ 1173311 w 1217767"/>
                <a:gd name="connsiteY1355" fmla="*/ 459554 h 1167624"/>
                <a:gd name="connsiteX1356" fmla="*/ 1173053 w 1217767"/>
                <a:gd name="connsiteY1356" fmla="*/ 458908 h 1167624"/>
                <a:gd name="connsiteX1357" fmla="*/ 1172794 w 1217767"/>
                <a:gd name="connsiteY1357" fmla="*/ 458521 h 1167624"/>
                <a:gd name="connsiteX1358" fmla="*/ 1172407 w 1217767"/>
                <a:gd name="connsiteY1358" fmla="*/ 458133 h 1167624"/>
                <a:gd name="connsiteX1359" fmla="*/ 1172019 w 1217767"/>
                <a:gd name="connsiteY1359" fmla="*/ 457745 h 1167624"/>
                <a:gd name="connsiteX1360" fmla="*/ 1167625 w 1217767"/>
                <a:gd name="connsiteY1360" fmla="*/ 455290 h 1167624"/>
                <a:gd name="connsiteX1361" fmla="*/ 1167108 w 1217767"/>
                <a:gd name="connsiteY1361" fmla="*/ 455031 h 1167624"/>
                <a:gd name="connsiteX1362" fmla="*/ 1166720 w 1217767"/>
                <a:gd name="connsiteY1362" fmla="*/ 454644 h 1167624"/>
                <a:gd name="connsiteX1363" fmla="*/ 1166074 w 1217767"/>
                <a:gd name="connsiteY1363" fmla="*/ 453739 h 1167624"/>
                <a:gd name="connsiteX1364" fmla="*/ 1165816 w 1217767"/>
                <a:gd name="connsiteY1364" fmla="*/ 453351 h 1167624"/>
                <a:gd name="connsiteX1365" fmla="*/ 1164653 w 1217767"/>
                <a:gd name="connsiteY1365" fmla="*/ 452059 h 1167624"/>
                <a:gd name="connsiteX1366" fmla="*/ 1163748 w 1217767"/>
                <a:gd name="connsiteY1366" fmla="*/ 450120 h 1167624"/>
                <a:gd name="connsiteX1367" fmla="*/ 1163490 w 1217767"/>
                <a:gd name="connsiteY1367" fmla="*/ 448828 h 1167624"/>
                <a:gd name="connsiteX1368" fmla="*/ 1163619 w 1217767"/>
                <a:gd name="connsiteY1368" fmla="*/ 445597 h 1167624"/>
                <a:gd name="connsiteX1369" fmla="*/ 1163877 w 1217767"/>
                <a:gd name="connsiteY1369" fmla="*/ 443659 h 1167624"/>
                <a:gd name="connsiteX1370" fmla="*/ 1164523 w 1217767"/>
                <a:gd name="connsiteY1370" fmla="*/ 441979 h 1167624"/>
                <a:gd name="connsiteX1371" fmla="*/ 1164911 w 1217767"/>
                <a:gd name="connsiteY1371" fmla="*/ 440686 h 1167624"/>
                <a:gd name="connsiteX1372" fmla="*/ 1165299 w 1217767"/>
                <a:gd name="connsiteY1372" fmla="*/ 438102 h 1167624"/>
                <a:gd name="connsiteX1373" fmla="*/ 1168659 w 1217767"/>
                <a:gd name="connsiteY1373" fmla="*/ 427634 h 1167624"/>
                <a:gd name="connsiteX1374" fmla="*/ 1169176 w 1217767"/>
                <a:gd name="connsiteY1374" fmla="*/ 426729 h 1167624"/>
                <a:gd name="connsiteX1375" fmla="*/ 1169564 w 1217767"/>
                <a:gd name="connsiteY1375" fmla="*/ 426341 h 1167624"/>
                <a:gd name="connsiteX1376" fmla="*/ 1170080 w 1217767"/>
                <a:gd name="connsiteY1376" fmla="*/ 425307 h 1167624"/>
                <a:gd name="connsiteX1377" fmla="*/ 1170856 w 1217767"/>
                <a:gd name="connsiteY1377" fmla="*/ 423111 h 1167624"/>
                <a:gd name="connsiteX1378" fmla="*/ 1171114 w 1217767"/>
                <a:gd name="connsiteY1378" fmla="*/ 422594 h 1167624"/>
                <a:gd name="connsiteX1379" fmla="*/ 1171631 w 1217767"/>
                <a:gd name="connsiteY1379" fmla="*/ 418975 h 1167624"/>
                <a:gd name="connsiteX1380" fmla="*/ 1171890 w 1217767"/>
                <a:gd name="connsiteY1380" fmla="*/ 409929 h 1167624"/>
                <a:gd name="connsiteX1381" fmla="*/ 1172277 w 1217767"/>
                <a:gd name="connsiteY1381" fmla="*/ 408895 h 1167624"/>
                <a:gd name="connsiteX1382" fmla="*/ 1173957 w 1217767"/>
                <a:gd name="connsiteY1382" fmla="*/ 406052 h 1167624"/>
                <a:gd name="connsiteX1383" fmla="*/ 1174216 w 1217767"/>
                <a:gd name="connsiteY1383" fmla="*/ 405535 h 1167624"/>
                <a:gd name="connsiteX1384" fmla="*/ 1174604 w 1217767"/>
                <a:gd name="connsiteY1384" fmla="*/ 405147 h 1167624"/>
                <a:gd name="connsiteX1385" fmla="*/ 1175508 w 1217767"/>
                <a:gd name="connsiteY1385" fmla="*/ 404630 h 1167624"/>
                <a:gd name="connsiteX1386" fmla="*/ 1176025 w 1217767"/>
                <a:gd name="connsiteY1386" fmla="*/ 404372 h 1167624"/>
                <a:gd name="connsiteX1387" fmla="*/ 1176413 w 1217767"/>
                <a:gd name="connsiteY1387" fmla="*/ 403984 h 1167624"/>
                <a:gd name="connsiteX1388" fmla="*/ 1176801 w 1217767"/>
                <a:gd name="connsiteY1388" fmla="*/ 403596 h 1167624"/>
                <a:gd name="connsiteX1389" fmla="*/ 1177188 w 1217767"/>
                <a:gd name="connsiteY1389" fmla="*/ 402692 h 1167624"/>
                <a:gd name="connsiteX1390" fmla="*/ 1177447 w 1217767"/>
                <a:gd name="connsiteY1390" fmla="*/ 401141 h 1167624"/>
                <a:gd name="connsiteX1391" fmla="*/ 1177318 w 1217767"/>
                <a:gd name="connsiteY1391" fmla="*/ 397910 h 1167624"/>
                <a:gd name="connsiteX1392" fmla="*/ 1177188 w 1217767"/>
                <a:gd name="connsiteY1392" fmla="*/ 397005 h 1167624"/>
                <a:gd name="connsiteX1393" fmla="*/ 1176801 w 1217767"/>
                <a:gd name="connsiteY1393" fmla="*/ 395972 h 1167624"/>
                <a:gd name="connsiteX1394" fmla="*/ 1175767 w 1217767"/>
                <a:gd name="connsiteY1394" fmla="*/ 390414 h 1167624"/>
                <a:gd name="connsiteX1395" fmla="*/ 1174991 w 1217767"/>
                <a:gd name="connsiteY1395" fmla="*/ 387571 h 1167624"/>
                <a:gd name="connsiteX1396" fmla="*/ 1174991 w 1217767"/>
                <a:gd name="connsiteY1396" fmla="*/ 386667 h 1167624"/>
                <a:gd name="connsiteX1397" fmla="*/ 1175121 w 1217767"/>
                <a:gd name="connsiteY1397" fmla="*/ 386021 h 1167624"/>
                <a:gd name="connsiteX1398" fmla="*/ 1176413 w 1217767"/>
                <a:gd name="connsiteY1398" fmla="*/ 384340 h 1167624"/>
                <a:gd name="connsiteX1399" fmla="*/ 1176801 w 1217767"/>
                <a:gd name="connsiteY1399" fmla="*/ 383694 h 1167624"/>
                <a:gd name="connsiteX1400" fmla="*/ 1177059 w 1217767"/>
                <a:gd name="connsiteY1400" fmla="*/ 383048 h 1167624"/>
                <a:gd name="connsiteX1401" fmla="*/ 1177318 w 1217767"/>
                <a:gd name="connsiteY1401" fmla="*/ 381885 h 1167624"/>
                <a:gd name="connsiteX1402" fmla="*/ 1177318 w 1217767"/>
                <a:gd name="connsiteY1402" fmla="*/ 381110 h 1167624"/>
                <a:gd name="connsiteX1403" fmla="*/ 1177188 w 1217767"/>
                <a:gd name="connsiteY1403" fmla="*/ 380463 h 1167624"/>
                <a:gd name="connsiteX1404" fmla="*/ 1176284 w 1217767"/>
                <a:gd name="connsiteY1404" fmla="*/ 378266 h 1167624"/>
                <a:gd name="connsiteX1405" fmla="*/ 1175767 w 1217767"/>
                <a:gd name="connsiteY1405" fmla="*/ 376587 h 1167624"/>
                <a:gd name="connsiteX1406" fmla="*/ 1175767 w 1217767"/>
                <a:gd name="connsiteY1406" fmla="*/ 375811 h 1167624"/>
                <a:gd name="connsiteX1407" fmla="*/ 1175896 w 1217767"/>
                <a:gd name="connsiteY1407" fmla="*/ 375165 h 1167624"/>
                <a:gd name="connsiteX1408" fmla="*/ 1176801 w 1217767"/>
                <a:gd name="connsiteY1408" fmla="*/ 373743 h 1167624"/>
                <a:gd name="connsiteX1409" fmla="*/ 1177576 w 1217767"/>
                <a:gd name="connsiteY1409" fmla="*/ 373097 h 1167624"/>
                <a:gd name="connsiteX1410" fmla="*/ 1177964 w 1217767"/>
                <a:gd name="connsiteY1410" fmla="*/ 372710 h 1167624"/>
                <a:gd name="connsiteX1411" fmla="*/ 1178610 w 1217767"/>
                <a:gd name="connsiteY1411" fmla="*/ 371934 h 1167624"/>
                <a:gd name="connsiteX1412" fmla="*/ 1178739 w 1217767"/>
                <a:gd name="connsiteY1412" fmla="*/ 371676 h 1167624"/>
                <a:gd name="connsiteX1413" fmla="*/ 1179644 w 1217767"/>
                <a:gd name="connsiteY1413" fmla="*/ 369737 h 1167624"/>
                <a:gd name="connsiteX1414" fmla="*/ 1180161 w 1217767"/>
                <a:gd name="connsiteY1414" fmla="*/ 367669 h 1167624"/>
                <a:gd name="connsiteX1415" fmla="*/ 1180161 w 1217767"/>
                <a:gd name="connsiteY1415" fmla="*/ 363275 h 1167624"/>
                <a:gd name="connsiteX1416" fmla="*/ 1179902 w 1217767"/>
                <a:gd name="connsiteY1416" fmla="*/ 362242 h 1167624"/>
                <a:gd name="connsiteX1417" fmla="*/ 1178739 w 1217767"/>
                <a:gd name="connsiteY1417" fmla="*/ 359528 h 1167624"/>
                <a:gd name="connsiteX1418" fmla="*/ 1178739 w 1217767"/>
                <a:gd name="connsiteY1418" fmla="*/ 357977 h 1167624"/>
                <a:gd name="connsiteX1419" fmla="*/ 1178868 w 1217767"/>
                <a:gd name="connsiteY1419" fmla="*/ 357331 h 1167624"/>
                <a:gd name="connsiteX1420" fmla="*/ 1180161 w 1217767"/>
                <a:gd name="connsiteY1420" fmla="*/ 355521 h 1167624"/>
                <a:gd name="connsiteX1421" fmla="*/ 1180678 w 1217767"/>
                <a:gd name="connsiteY1421" fmla="*/ 354617 h 1167624"/>
                <a:gd name="connsiteX1422" fmla="*/ 1181065 w 1217767"/>
                <a:gd name="connsiteY1422" fmla="*/ 353195 h 1167624"/>
                <a:gd name="connsiteX1423" fmla="*/ 1181711 w 1217767"/>
                <a:gd name="connsiteY1423" fmla="*/ 352420 h 1167624"/>
                <a:gd name="connsiteX1424" fmla="*/ 1182487 w 1217767"/>
                <a:gd name="connsiteY1424" fmla="*/ 352032 h 1167624"/>
                <a:gd name="connsiteX1425" fmla="*/ 1183392 w 1217767"/>
                <a:gd name="connsiteY1425" fmla="*/ 351903 h 1167624"/>
                <a:gd name="connsiteX1426" fmla="*/ 1184296 w 1217767"/>
                <a:gd name="connsiteY1426" fmla="*/ 351515 h 1167624"/>
                <a:gd name="connsiteX1427" fmla="*/ 1185976 w 1217767"/>
                <a:gd name="connsiteY1427" fmla="*/ 347767 h 1167624"/>
                <a:gd name="connsiteX1428" fmla="*/ 1186364 w 1217767"/>
                <a:gd name="connsiteY1428" fmla="*/ 347250 h 1167624"/>
                <a:gd name="connsiteX1429" fmla="*/ 1187398 w 1217767"/>
                <a:gd name="connsiteY1429" fmla="*/ 346604 h 1167624"/>
                <a:gd name="connsiteX1430" fmla="*/ 1187398 w 1217767"/>
                <a:gd name="connsiteY1430" fmla="*/ 345312 h 1167624"/>
                <a:gd name="connsiteX1431" fmla="*/ 1186752 w 1217767"/>
                <a:gd name="connsiteY1431" fmla="*/ 342727 h 1167624"/>
                <a:gd name="connsiteX1432" fmla="*/ 1187398 w 1217767"/>
                <a:gd name="connsiteY1432" fmla="*/ 341693 h 1167624"/>
                <a:gd name="connsiteX1433" fmla="*/ 1189078 w 1217767"/>
                <a:gd name="connsiteY1433" fmla="*/ 339626 h 1167624"/>
                <a:gd name="connsiteX1434" fmla="*/ 1189595 w 1217767"/>
                <a:gd name="connsiteY1434" fmla="*/ 338333 h 1167624"/>
                <a:gd name="connsiteX1435" fmla="*/ 1189724 w 1217767"/>
                <a:gd name="connsiteY1435" fmla="*/ 337170 h 1167624"/>
                <a:gd name="connsiteX1436" fmla="*/ 1189595 w 1217767"/>
                <a:gd name="connsiteY1436" fmla="*/ 333552 h 1167624"/>
                <a:gd name="connsiteX1437" fmla="*/ 1190112 w 1217767"/>
                <a:gd name="connsiteY1437" fmla="*/ 331484 h 1167624"/>
                <a:gd name="connsiteX1438" fmla="*/ 1191404 w 1217767"/>
                <a:gd name="connsiteY1438" fmla="*/ 329675 h 1167624"/>
                <a:gd name="connsiteX1439" fmla="*/ 1194764 w 1217767"/>
                <a:gd name="connsiteY1439" fmla="*/ 326444 h 1167624"/>
                <a:gd name="connsiteX1440" fmla="*/ 1197349 w 1217767"/>
                <a:gd name="connsiteY1440" fmla="*/ 323213 h 1167624"/>
                <a:gd name="connsiteX1441" fmla="*/ 1199416 w 1217767"/>
                <a:gd name="connsiteY1441" fmla="*/ 318561 h 1167624"/>
                <a:gd name="connsiteX1442" fmla="*/ 1200838 w 1217767"/>
                <a:gd name="connsiteY1442" fmla="*/ 313779 h 1167624"/>
                <a:gd name="connsiteX1443" fmla="*/ 1201355 w 1217767"/>
                <a:gd name="connsiteY1443" fmla="*/ 309385 h 1167624"/>
                <a:gd name="connsiteX1444" fmla="*/ 1200579 w 1217767"/>
                <a:gd name="connsiteY1444" fmla="*/ 305379 h 1167624"/>
                <a:gd name="connsiteX1445" fmla="*/ 1200450 w 1217767"/>
                <a:gd name="connsiteY1445" fmla="*/ 302923 h 1167624"/>
                <a:gd name="connsiteX1446" fmla="*/ 1201097 w 1217767"/>
                <a:gd name="connsiteY1446" fmla="*/ 300985 h 1167624"/>
                <a:gd name="connsiteX1447" fmla="*/ 1201613 w 1217767"/>
                <a:gd name="connsiteY1447" fmla="*/ 299951 h 1167624"/>
                <a:gd name="connsiteX1448" fmla="*/ 1202518 w 1217767"/>
                <a:gd name="connsiteY1448" fmla="*/ 297625 h 1167624"/>
                <a:gd name="connsiteX1449" fmla="*/ 1203293 w 1217767"/>
                <a:gd name="connsiteY1449" fmla="*/ 296591 h 1167624"/>
                <a:gd name="connsiteX1450" fmla="*/ 1209109 w 1217767"/>
                <a:gd name="connsiteY1450" fmla="*/ 290388 h 1167624"/>
                <a:gd name="connsiteX1451" fmla="*/ 1210401 w 1217767"/>
                <a:gd name="connsiteY1451" fmla="*/ 288578 h 1167624"/>
                <a:gd name="connsiteX1452" fmla="*/ 1210918 w 1217767"/>
                <a:gd name="connsiteY1452" fmla="*/ 286898 h 1167624"/>
                <a:gd name="connsiteX1453" fmla="*/ 1211177 w 1217767"/>
                <a:gd name="connsiteY1453" fmla="*/ 284701 h 1167624"/>
                <a:gd name="connsiteX1454" fmla="*/ 1213115 w 1217767"/>
                <a:gd name="connsiteY1454" fmla="*/ 277594 h 1167624"/>
                <a:gd name="connsiteX1455" fmla="*/ 1215183 w 1217767"/>
                <a:gd name="connsiteY1455" fmla="*/ 273329 h 1167624"/>
                <a:gd name="connsiteX1456" fmla="*/ 1217768 w 1217767"/>
                <a:gd name="connsiteY1456" fmla="*/ 269452 h 116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Lst>
              <a:rect l="l" t="t" r="r" b="b"/>
              <a:pathLst>
                <a:path w="1217767" h="1167624">
                  <a:moveTo>
                    <a:pt x="1117741" y="264283"/>
                  </a:moveTo>
                  <a:lnTo>
                    <a:pt x="1104042" y="263636"/>
                  </a:lnTo>
                  <a:lnTo>
                    <a:pt x="697861" y="239340"/>
                  </a:lnTo>
                  <a:lnTo>
                    <a:pt x="551310" y="228743"/>
                  </a:lnTo>
                  <a:lnTo>
                    <a:pt x="550664" y="229648"/>
                  </a:lnTo>
                  <a:lnTo>
                    <a:pt x="548338" y="229002"/>
                  </a:lnTo>
                  <a:lnTo>
                    <a:pt x="541876" y="226029"/>
                  </a:lnTo>
                  <a:lnTo>
                    <a:pt x="538516" y="223186"/>
                  </a:lnTo>
                  <a:lnTo>
                    <a:pt x="536965" y="222540"/>
                  </a:lnTo>
                  <a:lnTo>
                    <a:pt x="531796" y="221248"/>
                  </a:lnTo>
                  <a:lnTo>
                    <a:pt x="530504" y="220602"/>
                  </a:lnTo>
                  <a:lnTo>
                    <a:pt x="529341" y="219697"/>
                  </a:lnTo>
                  <a:lnTo>
                    <a:pt x="528048" y="219180"/>
                  </a:lnTo>
                  <a:lnTo>
                    <a:pt x="526885" y="218922"/>
                  </a:lnTo>
                  <a:lnTo>
                    <a:pt x="525722" y="219051"/>
                  </a:lnTo>
                  <a:lnTo>
                    <a:pt x="524688" y="219439"/>
                  </a:lnTo>
                  <a:lnTo>
                    <a:pt x="522103" y="220731"/>
                  </a:lnTo>
                  <a:lnTo>
                    <a:pt x="520553" y="221248"/>
                  </a:lnTo>
                  <a:lnTo>
                    <a:pt x="518227" y="221377"/>
                  </a:lnTo>
                  <a:lnTo>
                    <a:pt x="516934" y="220860"/>
                  </a:lnTo>
                  <a:lnTo>
                    <a:pt x="515900" y="219955"/>
                  </a:lnTo>
                  <a:lnTo>
                    <a:pt x="515254" y="218922"/>
                  </a:lnTo>
                  <a:lnTo>
                    <a:pt x="514220" y="215691"/>
                  </a:lnTo>
                  <a:lnTo>
                    <a:pt x="513962" y="212201"/>
                  </a:lnTo>
                  <a:lnTo>
                    <a:pt x="513574" y="211168"/>
                  </a:lnTo>
                  <a:lnTo>
                    <a:pt x="512928" y="210004"/>
                  </a:lnTo>
                  <a:lnTo>
                    <a:pt x="512023" y="208971"/>
                  </a:lnTo>
                  <a:lnTo>
                    <a:pt x="511119" y="207937"/>
                  </a:lnTo>
                  <a:lnTo>
                    <a:pt x="509180" y="206903"/>
                  </a:lnTo>
                  <a:lnTo>
                    <a:pt x="501685" y="204835"/>
                  </a:lnTo>
                  <a:lnTo>
                    <a:pt x="499100" y="204447"/>
                  </a:lnTo>
                  <a:lnTo>
                    <a:pt x="497161" y="204189"/>
                  </a:lnTo>
                  <a:lnTo>
                    <a:pt x="496128" y="204447"/>
                  </a:lnTo>
                  <a:lnTo>
                    <a:pt x="495094" y="204706"/>
                  </a:lnTo>
                  <a:lnTo>
                    <a:pt x="493543" y="204964"/>
                  </a:lnTo>
                  <a:lnTo>
                    <a:pt x="492121" y="204577"/>
                  </a:lnTo>
                  <a:lnTo>
                    <a:pt x="488761" y="203284"/>
                  </a:lnTo>
                  <a:lnTo>
                    <a:pt x="487210" y="202121"/>
                  </a:lnTo>
                  <a:lnTo>
                    <a:pt x="486176" y="200829"/>
                  </a:lnTo>
                  <a:lnTo>
                    <a:pt x="485918" y="199795"/>
                  </a:lnTo>
                  <a:lnTo>
                    <a:pt x="485660" y="198761"/>
                  </a:lnTo>
                  <a:lnTo>
                    <a:pt x="485789" y="191653"/>
                  </a:lnTo>
                  <a:lnTo>
                    <a:pt x="484884" y="186872"/>
                  </a:lnTo>
                  <a:lnTo>
                    <a:pt x="484367" y="185709"/>
                  </a:lnTo>
                  <a:lnTo>
                    <a:pt x="483721" y="184675"/>
                  </a:lnTo>
                  <a:lnTo>
                    <a:pt x="482558" y="184028"/>
                  </a:lnTo>
                  <a:lnTo>
                    <a:pt x="474804" y="180539"/>
                  </a:lnTo>
                  <a:lnTo>
                    <a:pt x="473770" y="179893"/>
                  </a:lnTo>
                  <a:lnTo>
                    <a:pt x="472349" y="178601"/>
                  </a:lnTo>
                  <a:lnTo>
                    <a:pt x="469505" y="177050"/>
                  </a:lnTo>
                  <a:lnTo>
                    <a:pt x="461751" y="173948"/>
                  </a:lnTo>
                  <a:lnTo>
                    <a:pt x="460588" y="173173"/>
                  </a:lnTo>
                  <a:lnTo>
                    <a:pt x="455290" y="169167"/>
                  </a:lnTo>
                  <a:lnTo>
                    <a:pt x="454773" y="168133"/>
                  </a:lnTo>
                  <a:lnTo>
                    <a:pt x="454256" y="165936"/>
                  </a:lnTo>
                  <a:lnTo>
                    <a:pt x="453480" y="164902"/>
                  </a:lnTo>
                  <a:lnTo>
                    <a:pt x="452447" y="164127"/>
                  </a:lnTo>
                  <a:lnTo>
                    <a:pt x="448053" y="161413"/>
                  </a:lnTo>
                  <a:lnTo>
                    <a:pt x="445856" y="159733"/>
                  </a:lnTo>
                  <a:lnTo>
                    <a:pt x="442108" y="156114"/>
                  </a:lnTo>
                  <a:lnTo>
                    <a:pt x="440299" y="154951"/>
                  </a:lnTo>
                  <a:lnTo>
                    <a:pt x="438877" y="154305"/>
                  </a:lnTo>
                  <a:lnTo>
                    <a:pt x="431640" y="152237"/>
                  </a:lnTo>
                  <a:lnTo>
                    <a:pt x="430348" y="151074"/>
                  </a:lnTo>
                  <a:lnTo>
                    <a:pt x="429831" y="149782"/>
                  </a:lnTo>
                  <a:lnTo>
                    <a:pt x="429960" y="147197"/>
                  </a:lnTo>
                  <a:lnTo>
                    <a:pt x="429831" y="145905"/>
                  </a:lnTo>
                  <a:lnTo>
                    <a:pt x="429314" y="143449"/>
                  </a:lnTo>
                  <a:lnTo>
                    <a:pt x="428538" y="141123"/>
                  </a:lnTo>
                  <a:lnTo>
                    <a:pt x="427892" y="139960"/>
                  </a:lnTo>
                  <a:lnTo>
                    <a:pt x="426988" y="138926"/>
                  </a:lnTo>
                  <a:lnTo>
                    <a:pt x="426083" y="137892"/>
                  </a:lnTo>
                  <a:lnTo>
                    <a:pt x="425178" y="136858"/>
                  </a:lnTo>
                  <a:lnTo>
                    <a:pt x="424661" y="135695"/>
                  </a:lnTo>
                  <a:lnTo>
                    <a:pt x="424532" y="134532"/>
                  </a:lnTo>
                  <a:lnTo>
                    <a:pt x="424920" y="132077"/>
                  </a:lnTo>
                  <a:lnTo>
                    <a:pt x="424920" y="131043"/>
                  </a:lnTo>
                  <a:lnTo>
                    <a:pt x="423886" y="127554"/>
                  </a:lnTo>
                  <a:lnTo>
                    <a:pt x="423757" y="126520"/>
                  </a:lnTo>
                  <a:lnTo>
                    <a:pt x="423886" y="125615"/>
                  </a:lnTo>
                  <a:lnTo>
                    <a:pt x="424015" y="124581"/>
                  </a:lnTo>
                  <a:lnTo>
                    <a:pt x="423757" y="123935"/>
                  </a:lnTo>
                  <a:lnTo>
                    <a:pt x="423369" y="123030"/>
                  </a:lnTo>
                  <a:lnTo>
                    <a:pt x="421301" y="119929"/>
                  </a:lnTo>
                  <a:lnTo>
                    <a:pt x="420784" y="118895"/>
                  </a:lnTo>
                  <a:lnTo>
                    <a:pt x="420784" y="117732"/>
                  </a:lnTo>
                  <a:lnTo>
                    <a:pt x="421172" y="116698"/>
                  </a:lnTo>
                  <a:lnTo>
                    <a:pt x="421689" y="115664"/>
                  </a:lnTo>
                  <a:lnTo>
                    <a:pt x="421947" y="114372"/>
                  </a:lnTo>
                  <a:lnTo>
                    <a:pt x="422077" y="113209"/>
                  </a:lnTo>
                  <a:lnTo>
                    <a:pt x="421947" y="108298"/>
                  </a:lnTo>
                  <a:lnTo>
                    <a:pt x="422077" y="106230"/>
                  </a:lnTo>
                  <a:lnTo>
                    <a:pt x="422335" y="105196"/>
                  </a:lnTo>
                  <a:lnTo>
                    <a:pt x="423111" y="103128"/>
                  </a:lnTo>
                  <a:lnTo>
                    <a:pt x="423498" y="102094"/>
                  </a:lnTo>
                  <a:lnTo>
                    <a:pt x="423757" y="98864"/>
                  </a:lnTo>
                  <a:lnTo>
                    <a:pt x="425049" y="95633"/>
                  </a:lnTo>
                  <a:lnTo>
                    <a:pt x="424791" y="94082"/>
                  </a:lnTo>
                  <a:lnTo>
                    <a:pt x="423628" y="92402"/>
                  </a:lnTo>
                  <a:lnTo>
                    <a:pt x="418846" y="88008"/>
                  </a:lnTo>
                  <a:lnTo>
                    <a:pt x="417683" y="86586"/>
                  </a:lnTo>
                  <a:lnTo>
                    <a:pt x="417166" y="85553"/>
                  </a:lnTo>
                  <a:lnTo>
                    <a:pt x="416520" y="83485"/>
                  </a:lnTo>
                  <a:lnTo>
                    <a:pt x="415874" y="82322"/>
                  </a:lnTo>
                  <a:lnTo>
                    <a:pt x="414969" y="81029"/>
                  </a:lnTo>
                  <a:lnTo>
                    <a:pt x="410058" y="75989"/>
                  </a:lnTo>
                  <a:lnTo>
                    <a:pt x="409283" y="74826"/>
                  </a:lnTo>
                  <a:lnTo>
                    <a:pt x="408766" y="73663"/>
                  </a:lnTo>
                  <a:lnTo>
                    <a:pt x="408378" y="72629"/>
                  </a:lnTo>
                  <a:lnTo>
                    <a:pt x="407861" y="69269"/>
                  </a:lnTo>
                  <a:lnTo>
                    <a:pt x="406052" y="66038"/>
                  </a:lnTo>
                  <a:lnTo>
                    <a:pt x="405147" y="63712"/>
                  </a:lnTo>
                  <a:lnTo>
                    <a:pt x="404630" y="61515"/>
                  </a:lnTo>
                  <a:lnTo>
                    <a:pt x="404242" y="57897"/>
                  </a:lnTo>
                  <a:lnTo>
                    <a:pt x="403855" y="56604"/>
                  </a:lnTo>
                  <a:lnTo>
                    <a:pt x="401270" y="51435"/>
                  </a:lnTo>
                  <a:lnTo>
                    <a:pt x="399461" y="46266"/>
                  </a:lnTo>
                  <a:lnTo>
                    <a:pt x="398039" y="37995"/>
                  </a:lnTo>
                  <a:lnTo>
                    <a:pt x="397135" y="36444"/>
                  </a:lnTo>
                  <a:lnTo>
                    <a:pt x="396101" y="34893"/>
                  </a:lnTo>
                  <a:lnTo>
                    <a:pt x="394033" y="32825"/>
                  </a:lnTo>
                  <a:lnTo>
                    <a:pt x="392999" y="31404"/>
                  </a:lnTo>
                  <a:lnTo>
                    <a:pt x="392224" y="30111"/>
                  </a:lnTo>
                  <a:lnTo>
                    <a:pt x="390931" y="25200"/>
                  </a:lnTo>
                  <a:lnTo>
                    <a:pt x="388734" y="20548"/>
                  </a:lnTo>
                  <a:lnTo>
                    <a:pt x="380334" y="7754"/>
                  </a:lnTo>
                  <a:lnTo>
                    <a:pt x="372063" y="0"/>
                  </a:lnTo>
                  <a:lnTo>
                    <a:pt x="370383" y="2068"/>
                  </a:lnTo>
                  <a:lnTo>
                    <a:pt x="368057" y="5169"/>
                  </a:lnTo>
                  <a:lnTo>
                    <a:pt x="367153" y="6203"/>
                  </a:lnTo>
                  <a:lnTo>
                    <a:pt x="364309" y="8529"/>
                  </a:lnTo>
                  <a:lnTo>
                    <a:pt x="363792" y="9305"/>
                  </a:lnTo>
                  <a:lnTo>
                    <a:pt x="363405" y="9951"/>
                  </a:lnTo>
                  <a:lnTo>
                    <a:pt x="362888" y="11889"/>
                  </a:lnTo>
                  <a:lnTo>
                    <a:pt x="362629" y="12923"/>
                  </a:lnTo>
                  <a:lnTo>
                    <a:pt x="362629" y="14991"/>
                  </a:lnTo>
                  <a:lnTo>
                    <a:pt x="362242" y="17188"/>
                  </a:lnTo>
                  <a:lnTo>
                    <a:pt x="362242" y="17576"/>
                  </a:lnTo>
                  <a:lnTo>
                    <a:pt x="362371" y="18351"/>
                  </a:lnTo>
                  <a:lnTo>
                    <a:pt x="363146" y="20419"/>
                  </a:lnTo>
                  <a:lnTo>
                    <a:pt x="364309" y="22616"/>
                  </a:lnTo>
                  <a:lnTo>
                    <a:pt x="364568" y="23650"/>
                  </a:lnTo>
                  <a:lnTo>
                    <a:pt x="364568" y="24813"/>
                  </a:lnTo>
                  <a:lnTo>
                    <a:pt x="364439" y="25976"/>
                  </a:lnTo>
                  <a:lnTo>
                    <a:pt x="364180" y="27010"/>
                  </a:lnTo>
                  <a:lnTo>
                    <a:pt x="362629" y="30370"/>
                  </a:lnTo>
                  <a:lnTo>
                    <a:pt x="361983" y="31404"/>
                  </a:lnTo>
                  <a:lnTo>
                    <a:pt x="361208" y="32567"/>
                  </a:lnTo>
                  <a:lnTo>
                    <a:pt x="358365" y="35539"/>
                  </a:lnTo>
                  <a:lnTo>
                    <a:pt x="357589" y="36573"/>
                  </a:lnTo>
                  <a:lnTo>
                    <a:pt x="354746" y="42259"/>
                  </a:lnTo>
                  <a:lnTo>
                    <a:pt x="353841" y="43293"/>
                  </a:lnTo>
                  <a:lnTo>
                    <a:pt x="350740" y="45490"/>
                  </a:lnTo>
                  <a:lnTo>
                    <a:pt x="348672" y="47300"/>
                  </a:lnTo>
                  <a:lnTo>
                    <a:pt x="347121" y="49238"/>
                  </a:lnTo>
                  <a:lnTo>
                    <a:pt x="346475" y="50272"/>
                  </a:lnTo>
                  <a:lnTo>
                    <a:pt x="346087" y="51435"/>
                  </a:lnTo>
                  <a:lnTo>
                    <a:pt x="345829" y="52598"/>
                  </a:lnTo>
                  <a:lnTo>
                    <a:pt x="345700" y="53632"/>
                  </a:lnTo>
                  <a:lnTo>
                    <a:pt x="345829" y="55829"/>
                  </a:lnTo>
                  <a:lnTo>
                    <a:pt x="346217" y="57897"/>
                  </a:lnTo>
                  <a:lnTo>
                    <a:pt x="346734" y="59964"/>
                  </a:lnTo>
                  <a:lnTo>
                    <a:pt x="347250" y="61127"/>
                  </a:lnTo>
                  <a:lnTo>
                    <a:pt x="349964" y="66038"/>
                  </a:lnTo>
                  <a:lnTo>
                    <a:pt x="351774" y="71337"/>
                  </a:lnTo>
                  <a:lnTo>
                    <a:pt x="353841" y="79866"/>
                  </a:lnTo>
                  <a:lnTo>
                    <a:pt x="353971" y="81029"/>
                  </a:lnTo>
                  <a:lnTo>
                    <a:pt x="353841" y="82193"/>
                  </a:lnTo>
                  <a:lnTo>
                    <a:pt x="353583" y="83485"/>
                  </a:lnTo>
                  <a:lnTo>
                    <a:pt x="350223" y="93048"/>
                  </a:lnTo>
                  <a:lnTo>
                    <a:pt x="350094" y="94211"/>
                  </a:lnTo>
                  <a:lnTo>
                    <a:pt x="350223" y="95374"/>
                  </a:lnTo>
                  <a:lnTo>
                    <a:pt x="350611" y="96408"/>
                  </a:lnTo>
                  <a:lnTo>
                    <a:pt x="350611" y="97442"/>
                  </a:lnTo>
                  <a:lnTo>
                    <a:pt x="350094" y="98476"/>
                  </a:lnTo>
                  <a:lnTo>
                    <a:pt x="348543" y="100544"/>
                  </a:lnTo>
                  <a:lnTo>
                    <a:pt x="347250" y="102741"/>
                  </a:lnTo>
                  <a:lnTo>
                    <a:pt x="346863" y="103774"/>
                  </a:lnTo>
                  <a:lnTo>
                    <a:pt x="345571" y="107910"/>
                  </a:lnTo>
                  <a:lnTo>
                    <a:pt x="344795" y="109978"/>
                  </a:lnTo>
                  <a:lnTo>
                    <a:pt x="344149" y="111141"/>
                  </a:lnTo>
                  <a:lnTo>
                    <a:pt x="343374" y="112045"/>
                  </a:lnTo>
                  <a:lnTo>
                    <a:pt x="340530" y="114372"/>
                  </a:lnTo>
                  <a:lnTo>
                    <a:pt x="339755" y="115276"/>
                  </a:lnTo>
                  <a:lnTo>
                    <a:pt x="339497" y="116310"/>
                  </a:lnTo>
                  <a:lnTo>
                    <a:pt x="339497" y="117344"/>
                  </a:lnTo>
                  <a:lnTo>
                    <a:pt x="340530" y="124840"/>
                  </a:lnTo>
                  <a:lnTo>
                    <a:pt x="340918" y="126132"/>
                  </a:lnTo>
                  <a:lnTo>
                    <a:pt x="341693" y="128200"/>
                  </a:lnTo>
                  <a:lnTo>
                    <a:pt x="341823" y="129104"/>
                  </a:lnTo>
                  <a:lnTo>
                    <a:pt x="341693" y="130138"/>
                  </a:lnTo>
                  <a:lnTo>
                    <a:pt x="341306" y="131172"/>
                  </a:lnTo>
                  <a:lnTo>
                    <a:pt x="339109" y="134920"/>
                  </a:lnTo>
                  <a:lnTo>
                    <a:pt x="337946" y="137763"/>
                  </a:lnTo>
                  <a:lnTo>
                    <a:pt x="336007" y="145129"/>
                  </a:lnTo>
                  <a:lnTo>
                    <a:pt x="335103" y="146680"/>
                  </a:lnTo>
                  <a:lnTo>
                    <a:pt x="333164" y="148231"/>
                  </a:lnTo>
                  <a:lnTo>
                    <a:pt x="328253" y="151332"/>
                  </a:lnTo>
                  <a:lnTo>
                    <a:pt x="0" y="153529"/>
                  </a:lnTo>
                  <a:lnTo>
                    <a:pt x="3489" y="156373"/>
                  </a:lnTo>
                  <a:lnTo>
                    <a:pt x="7366" y="158828"/>
                  </a:lnTo>
                  <a:lnTo>
                    <a:pt x="10985" y="161930"/>
                  </a:lnTo>
                  <a:lnTo>
                    <a:pt x="12148" y="163739"/>
                  </a:lnTo>
                  <a:lnTo>
                    <a:pt x="13053" y="165936"/>
                  </a:lnTo>
                  <a:lnTo>
                    <a:pt x="13440" y="167099"/>
                  </a:lnTo>
                  <a:lnTo>
                    <a:pt x="13570" y="168133"/>
                  </a:lnTo>
                  <a:lnTo>
                    <a:pt x="13440" y="169296"/>
                  </a:lnTo>
                  <a:lnTo>
                    <a:pt x="8659" y="178213"/>
                  </a:lnTo>
                  <a:lnTo>
                    <a:pt x="5945" y="187389"/>
                  </a:lnTo>
                  <a:lnTo>
                    <a:pt x="5815" y="188939"/>
                  </a:lnTo>
                  <a:lnTo>
                    <a:pt x="5686" y="190878"/>
                  </a:lnTo>
                  <a:lnTo>
                    <a:pt x="5945" y="192429"/>
                  </a:lnTo>
                  <a:lnTo>
                    <a:pt x="8659" y="199795"/>
                  </a:lnTo>
                  <a:lnTo>
                    <a:pt x="8917" y="201475"/>
                  </a:lnTo>
                  <a:lnTo>
                    <a:pt x="8659" y="202638"/>
                  </a:lnTo>
                  <a:lnTo>
                    <a:pt x="7754" y="203284"/>
                  </a:lnTo>
                  <a:lnTo>
                    <a:pt x="6720" y="203543"/>
                  </a:lnTo>
                  <a:lnTo>
                    <a:pt x="4135" y="203672"/>
                  </a:lnTo>
                  <a:lnTo>
                    <a:pt x="2972" y="203930"/>
                  </a:lnTo>
                  <a:lnTo>
                    <a:pt x="2068" y="204577"/>
                  </a:lnTo>
                  <a:lnTo>
                    <a:pt x="1551" y="205611"/>
                  </a:lnTo>
                  <a:lnTo>
                    <a:pt x="1680" y="206903"/>
                  </a:lnTo>
                  <a:lnTo>
                    <a:pt x="1809" y="208583"/>
                  </a:lnTo>
                  <a:lnTo>
                    <a:pt x="646" y="211297"/>
                  </a:lnTo>
                  <a:lnTo>
                    <a:pt x="0" y="212977"/>
                  </a:lnTo>
                  <a:lnTo>
                    <a:pt x="129" y="214398"/>
                  </a:lnTo>
                  <a:lnTo>
                    <a:pt x="646" y="215562"/>
                  </a:lnTo>
                  <a:lnTo>
                    <a:pt x="1809" y="216595"/>
                  </a:lnTo>
                  <a:lnTo>
                    <a:pt x="4265" y="218017"/>
                  </a:lnTo>
                  <a:lnTo>
                    <a:pt x="5299" y="218792"/>
                  </a:lnTo>
                  <a:lnTo>
                    <a:pt x="6074" y="220343"/>
                  </a:lnTo>
                  <a:lnTo>
                    <a:pt x="6849" y="222411"/>
                  </a:lnTo>
                  <a:lnTo>
                    <a:pt x="6849" y="224091"/>
                  </a:lnTo>
                  <a:lnTo>
                    <a:pt x="6462" y="228226"/>
                  </a:lnTo>
                  <a:lnTo>
                    <a:pt x="9563" y="239211"/>
                  </a:lnTo>
                  <a:lnTo>
                    <a:pt x="10209" y="240504"/>
                  </a:lnTo>
                  <a:lnTo>
                    <a:pt x="10985" y="241537"/>
                  </a:lnTo>
                  <a:lnTo>
                    <a:pt x="11631" y="242959"/>
                  </a:lnTo>
                  <a:lnTo>
                    <a:pt x="12536" y="244510"/>
                  </a:lnTo>
                  <a:lnTo>
                    <a:pt x="13311" y="245156"/>
                  </a:lnTo>
                  <a:lnTo>
                    <a:pt x="13957" y="246190"/>
                  </a:lnTo>
                  <a:lnTo>
                    <a:pt x="13957" y="247224"/>
                  </a:lnTo>
                  <a:lnTo>
                    <a:pt x="13440" y="248258"/>
                  </a:lnTo>
                  <a:lnTo>
                    <a:pt x="12665" y="248904"/>
                  </a:lnTo>
                  <a:lnTo>
                    <a:pt x="12019" y="249550"/>
                  </a:lnTo>
                  <a:lnTo>
                    <a:pt x="11502" y="250325"/>
                  </a:lnTo>
                  <a:lnTo>
                    <a:pt x="10339" y="253685"/>
                  </a:lnTo>
                  <a:lnTo>
                    <a:pt x="9693" y="254590"/>
                  </a:lnTo>
                  <a:lnTo>
                    <a:pt x="8659" y="254978"/>
                  </a:lnTo>
                  <a:lnTo>
                    <a:pt x="6462" y="255624"/>
                  </a:lnTo>
                  <a:lnTo>
                    <a:pt x="5557" y="256012"/>
                  </a:lnTo>
                  <a:lnTo>
                    <a:pt x="5040" y="256787"/>
                  </a:lnTo>
                  <a:lnTo>
                    <a:pt x="5686" y="257692"/>
                  </a:lnTo>
                  <a:lnTo>
                    <a:pt x="6462" y="258725"/>
                  </a:lnTo>
                  <a:lnTo>
                    <a:pt x="7496" y="260276"/>
                  </a:lnTo>
                  <a:lnTo>
                    <a:pt x="7754" y="261827"/>
                  </a:lnTo>
                  <a:lnTo>
                    <a:pt x="8013" y="265704"/>
                  </a:lnTo>
                  <a:lnTo>
                    <a:pt x="8400" y="267126"/>
                  </a:lnTo>
                  <a:lnTo>
                    <a:pt x="9822" y="271390"/>
                  </a:lnTo>
                  <a:lnTo>
                    <a:pt x="9822" y="272683"/>
                  </a:lnTo>
                  <a:lnTo>
                    <a:pt x="9693" y="273975"/>
                  </a:lnTo>
                  <a:lnTo>
                    <a:pt x="8529" y="277594"/>
                  </a:lnTo>
                  <a:lnTo>
                    <a:pt x="8271" y="279532"/>
                  </a:lnTo>
                  <a:lnTo>
                    <a:pt x="8271" y="281212"/>
                  </a:lnTo>
                  <a:lnTo>
                    <a:pt x="8659" y="283538"/>
                  </a:lnTo>
                  <a:lnTo>
                    <a:pt x="8529" y="284831"/>
                  </a:lnTo>
                  <a:lnTo>
                    <a:pt x="8142" y="285865"/>
                  </a:lnTo>
                  <a:lnTo>
                    <a:pt x="5686" y="290129"/>
                  </a:lnTo>
                  <a:lnTo>
                    <a:pt x="4394" y="292843"/>
                  </a:lnTo>
                  <a:lnTo>
                    <a:pt x="4006" y="294652"/>
                  </a:lnTo>
                  <a:lnTo>
                    <a:pt x="3619" y="296849"/>
                  </a:lnTo>
                  <a:lnTo>
                    <a:pt x="3489" y="300468"/>
                  </a:lnTo>
                  <a:lnTo>
                    <a:pt x="3877" y="302406"/>
                  </a:lnTo>
                  <a:lnTo>
                    <a:pt x="4652" y="303828"/>
                  </a:lnTo>
                  <a:lnTo>
                    <a:pt x="5428" y="304862"/>
                  </a:lnTo>
                  <a:lnTo>
                    <a:pt x="6074" y="306283"/>
                  </a:lnTo>
                  <a:lnTo>
                    <a:pt x="6074" y="307834"/>
                  </a:lnTo>
                  <a:lnTo>
                    <a:pt x="5040" y="311582"/>
                  </a:lnTo>
                  <a:lnTo>
                    <a:pt x="4911" y="313133"/>
                  </a:lnTo>
                  <a:lnTo>
                    <a:pt x="5169" y="314554"/>
                  </a:lnTo>
                  <a:lnTo>
                    <a:pt x="9822" y="324764"/>
                  </a:lnTo>
                  <a:lnTo>
                    <a:pt x="10468" y="325798"/>
                  </a:lnTo>
                  <a:lnTo>
                    <a:pt x="12665" y="327865"/>
                  </a:lnTo>
                  <a:lnTo>
                    <a:pt x="13570" y="329029"/>
                  </a:lnTo>
                  <a:lnTo>
                    <a:pt x="14216" y="330321"/>
                  </a:lnTo>
                  <a:lnTo>
                    <a:pt x="14862" y="332001"/>
                  </a:lnTo>
                  <a:lnTo>
                    <a:pt x="14991" y="333293"/>
                  </a:lnTo>
                  <a:lnTo>
                    <a:pt x="14862" y="335490"/>
                  </a:lnTo>
                  <a:lnTo>
                    <a:pt x="13828" y="340530"/>
                  </a:lnTo>
                  <a:lnTo>
                    <a:pt x="13570" y="347380"/>
                  </a:lnTo>
                  <a:lnTo>
                    <a:pt x="12536" y="353066"/>
                  </a:lnTo>
                  <a:lnTo>
                    <a:pt x="12277" y="357202"/>
                  </a:lnTo>
                  <a:lnTo>
                    <a:pt x="11631" y="360562"/>
                  </a:lnTo>
                  <a:lnTo>
                    <a:pt x="12019" y="361337"/>
                  </a:lnTo>
                  <a:lnTo>
                    <a:pt x="12406" y="361725"/>
                  </a:lnTo>
                  <a:lnTo>
                    <a:pt x="13311" y="361983"/>
                  </a:lnTo>
                  <a:lnTo>
                    <a:pt x="14345" y="362371"/>
                  </a:lnTo>
                  <a:lnTo>
                    <a:pt x="15120" y="362888"/>
                  </a:lnTo>
                  <a:lnTo>
                    <a:pt x="15637" y="364180"/>
                  </a:lnTo>
                  <a:lnTo>
                    <a:pt x="15508" y="365731"/>
                  </a:lnTo>
                  <a:lnTo>
                    <a:pt x="14862" y="368316"/>
                  </a:lnTo>
                  <a:lnTo>
                    <a:pt x="14087" y="369737"/>
                  </a:lnTo>
                  <a:lnTo>
                    <a:pt x="13182" y="370513"/>
                  </a:lnTo>
                  <a:lnTo>
                    <a:pt x="12406" y="370383"/>
                  </a:lnTo>
                  <a:lnTo>
                    <a:pt x="11760" y="370125"/>
                  </a:lnTo>
                  <a:lnTo>
                    <a:pt x="10985" y="369996"/>
                  </a:lnTo>
                  <a:lnTo>
                    <a:pt x="10209" y="370513"/>
                  </a:lnTo>
                  <a:lnTo>
                    <a:pt x="9822" y="371805"/>
                  </a:lnTo>
                  <a:lnTo>
                    <a:pt x="9951" y="373356"/>
                  </a:lnTo>
                  <a:lnTo>
                    <a:pt x="10985" y="377879"/>
                  </a:lnTo>
                  <a:lnTo>
                    <a:pt x="11243" y="379688"/>
                  </a:lnTo>
                  <a:lnTo>
                    <a:pt x="11114" y="381368"/>
                  </a:lnTo>
                  <a:lnTo>
                    <a:pt x="9563" y="389381"/>
                  </a:lnTo>
                  <a:lnTo>
                    <a:pt x="9693" y="390931"/>
                  </a:lnTo>
                  <a:lnTo>
                    <a:pt x="10856" y="393258"/>
                  </a:lnTo>
                  <a:lnTo>
                    <a:pt x="15120" y="394162"/>
                  </a:lnTo>
                  <a:lnTo>
                    <a:pt x="125227" y="394808"/>
                  </a:lnTo>
                  <a:lnTo>
                    <a:pt x="126003" y="395325"/>
                  </a:lnTo>
                  <a:lnTo>
                    <a:pt x="125873" y="396359"/>
                  </a:lnTo>
                  <a:lnTo>
                    <a:pt x="125356" y="397522"/>
                  </a:lnTo>
                  <a:lnTo>
                    <a:pt x="125227" y="398944"/>
                  </a:lnTo>
                  <a:lnTo>
                    <a:pt x="126132" y="400236"/>
                  </a:lnTo>
                  <a:lnTo>
                    <a:pt x="131560" y="405535"/>
                  </a:lnTo>
                  <a:lnTo>
                    <a:pt x="132852" y="406310"/>
                  </a:lnTo>
                  <a:lnTo>
                    <a:pt x="134015" y="406310"/>
                  </a:lnTo>
                  <a:lnTo>
                    <a:pt x="135049" y="405793"/>
                  </a:lnTo>
                  <a:lnTo>
                    <a:pt x="138280" y="403467"/>
                  </a:lnTo>
                  <a:lnTo>
                    <a:pt x="139443" y="402950"/>
                  </a:lnTo>
                  <a:lnTo>
                    <a:pt x="140477" y="402692"/>
                  </a:lnTo>
                  <a:lnTo>
                    <a:pt x="141511" y="402821"/>
                  </a:lnTo>
                  <a:lnTo>
                    <a:pt x="142674" y="403209"/>
                  </a:lnTo>
                  <a:lnTo>
                    <a:pt x="146292" y="405535"/>
                  </a:lnTo>
                  <a:lnTo>
                    <a:pt x="147714" y="406052"/>
                  </a:lnTo>
                  <a:lnTo>
                    <a:pt x="152108" y="407086"/>
                  </a:lnTo>
                  <a:lnTo>
                    <a:pt x="153400" y="407215"/>
                  </a:lnTo>
                  <a:lnTo>
                    <a:pt x="154563" y="406956"/>
                  </a:lnTo>
                  <a:lnTo>
                    <a:pt x="155726" y="406310"/>
                  </a:lnTo>
                  <a:lnTo>
                    <a:pt x="156890" y="405922"/>
                  </a:lnTo>
                  <a:lnTo>
                    <a:pt x="158053" y="405922"/>
                  </a:lnTo>
                  <a:lnTo>
                    <a:pt x="161671" y="406956"/>
                  </a:lnTo>
                  <a:lnTo>
                    <a:pt x="162834" y="407086"/>
                  </a:lnTo>
                  <a:lnTo>
                    <a:pt x="163868" y="406827"/>
                  </a:lnTo>
                  <a:lnTo>
                    <a:pt x="165031" y="406827"/>
                  </a:lnTo>
                  <a:lnTo>
                    <a:pt x="166065" y="407215"/>
                  </a:lnTo>
                  <a:lnTo>
                    <a:pt x="168133" y="408636"/>
                  </a:lnTo>
                  <a:lnTo>
                    <a:pt x="170847" y="409283"/>
                  </a:lnTo>
                  <a:lnTo>
                    <a:pt x="172398" y="410058"/>
                  </a:lnTo>
                  <a:lnTo>
                    <a:pt x="173302" y="411480"/>
                  </a:lnTo>
                  <a:lnTo>
                    <a:pt x="174982" y="416003"/>
                  </a:lnTo>
                  <a:lnTo>
                    <a:pt x="175370" y="417812"/>
                  </a:lnTo>
                  <a:lnTo>
                    <a:pt x="175499" y="419233"/>
                  </a:lnTo>
                  <a:lnTo>
                    <a:pt x="176016" y="421430"/>
                  </a:lnTo>
                  <a:lnTo>
                    <a:pt x="177050" y="424403"/>
                  </a:lnTo>
                  <a:lnTo>
                    <a:pt x="181444" y="433708"/>
                  </a:lnTo>
                  <a:lnTo>
                    <a:pt x="181961" y="436163"/>
                  </a:lnTo>
                  <a:lnTo>
                    <a:pt x="181702" y="437326"/>
                  </a:lnTo>
                  <a:lnTo>
                    <a:pt x="181185" y="438618"/>
                  </a:lnTo>
                  <a:lnTo>
                    <a:pt x="180281" y="439652"/>
                  </a:lnTo>
                  <a:lnTo>
                    <a:pt x="179247" y="440428"/>
                  </a:lnTo>
                  <a:lnTo>
                    <a:pt x="178084" y="441074"/>
                  </a:lnTo>
                  <a:lnTo>
                    <a:pt x="177050" y="441720"/>
                  </a:lnTo>
                  <a:lnTo>
                    <a:pt x="176016" y="442754"/>
                  </a:lnTo>
                  <a:lnTo>
                    <a:pt x="175499" y="444046"/>
                  </a:lnTo>
                  <a:lnTo>
                    <a:pt x="174595" y="446373"/>
                  </a:lnTo>
                  <a:lnTo>
                    <a:pt x="174078" y="447406"/>
                  </a:lnTo>
                  <a:lnTo>
                    <a:pt x="172785" y="448828"/>
                  </a:lnTo>
                  <a:lnTo>
                    <a:pt x="171105" y="451284"/>
                  </a:lnTo>
                  <a:lnTo>
                    <a:pt x="169813" y="452576"/>
                  </a:lnTo>
                  <a:lnTo>
                    <a:pt x="163222" y="457487"/>
                  </a:lnTo>
                  <a:lnTo>
                    <a:pt x="162317" y="458391"/>
                  </a:lnTo>
                  <a:lnTo>
                    <a:pt x="161671" y="459554"/>
                  </a:lnTo>
                  <a:lnTo>
                    <a:pt x="161413" y="460847"/>
                  </a:lnTo>
                  <a:lnTo>
                    <a:pt x="161025" y="465887"/>
                  </a:lnTo>
                  <a:lnTo>
                    <a:pt x="161671" y="475192"/>
                  </a:lnTo>
                  <a:lnTo>
                    <a:pt x="161930" y="476484"/>
                  </a:lnTo>
                  <a:lnTo>
                    <a:pt x="162834" y="479456"/>
                  </a:lnTo>
                  <a:lnTo>
                    <a:pt x="163093" y="480619"/>
                  </a:lnTo>
                  <a:lnTo>
                    <a:pt x="163222" y="485530"/>
                  </a:lnTo>
                  <a:lnTo>
                    <a:pt x="163480" y="487210"/>
                  </a:lnTo>
                  <a:lnTo>
                    <a:pt x="164127" y="489537"/>
                  </a:lnTo>
                  <a:lnTo>
                    <a:pt x="165031" y="491475"/>
                  </a:lnTo>
                  <a:lnTo>
                    <a:pt x="166065" y="492638"/>
                  </a:lnTo>
                  <a:lnTo>
                    <a:pt x="167228" y="493155"/>
                  </a:lnTo>
                  <a:lnTo>
                    <a:pt x="168521" y="493155"/>
                  </a:lnTo>
                  <a:lnTo>
                    <a:pt x="170588" y="492509"/>
                  </a:lnTo>
                  <a:lnTo>
                    <a:pt x="171622" y="492380"/>
                  </a:lnTo>
                  <a:lnTo>
                    <a:pt x="172527" y="492509"/>
                  </a:lnTo>
                  <a:lnTo>
                    <a:pt x="173173" y="492897"/>
                  </a:lnTo>
                  <a:lnTo>
                    <a:pt x="174336" y="493930"/>
                  </a:lnTo>
                  <a:lnTo>
                    <a:pt x="176145" y="499488"/>
                  </a:lnTo>
                  <a:lnTo>
                    <a:pt x="178601" y="504269"/>
                  </a:lnTo>
                  <a:lnTo>
                    <a:pt x="179893" y="508792"/>
                  </a:lnTo>
                  <a:lnTo>
                    <a:pt x="183641" y="514091"/>
                  </a:lnTo>
                  <a:lnTo>
                    <a:pt x="184287" y="515642"/>
                  </a:lnTo>
                  <a:lnTo>
                    <a:pt x="184545" y="517063"/>
                  </a:lnTo>
                  <a:lnTo>
                    <a:pt x="184287" y="529470"/>
                  </a:lnTo>
                  <a:lnTo>
                    <a:pt x="184545" y="531279"/>
                  </a:lnTo>
                  <a:lnTo>
                    <a:pt x="185062" y="533218"/>
                  </a:lnTo>
                  <a:lnTo>
                    <a:pt x="187389" y="538516"/>
                  </a:lnTo>
                  <a:lnTo>
                    <a:pt x="189715" y="542393"/>
                  </a:lnTo>
                  <a:lnTo>
                    <a:pt x="191395" y="545107"/>
                  </a:lnTo>
                  <a:lnTo>
                    <a:pt x="191524" y="546141"/>
                  </a:lnTo>
                  <a:lnTo>
                    <a:pt x="191395" y="547433"/>
                  </a:lnTo>
                  <a:lnTo>
                    <a:pt x="189456" y="551310"/>
                  </a:lnTo>
                  <a:lnTo>
                    <a:pt x="182219" y="570307"/>
                  </a:lnTo>
                  <a:lnTo>
                    <a:pt x="173561" y="580000"/>
                  </a:lnTo>
                  <a:lnTo>
                    <a:pt x="172785" y="581292"/>
                  </a:lnTo>
                  <a:lnTo>
                    <a:pt x="172268" y="582455"/>
                  </a:lnTo>
                  <a:lnTo>
                    <a:pt x="171234" y="587108"/>
                  </a:lnTo>
                  <a:lnTo>
                    <a:pt x="169813" y="591889"/>
                  </a:lnTo>
                  <a:lnTo>
                    <a:pt x="169296" y="594862"/>
                  </a:lnTo>
                  <a:lnTo>
                    <a:pt x="168650" y="596930"/>
                  </a:lnTo>
                  <a:lnTo>
                    <a:pt x="168004" y="598351"/>
                  </a:lnTo>
                  <a:lnTo>
                    <a:pt x="164773" y="602745"/>
                  </a:lnTo>
                  <a:lnTo>
                    <a:pt x="163610" y="604167"/>
                  </a:lnTo>
                  <a:lnTo>
                    <a:pt x="162447" y="605071"/>
                  </a:lnTo>
                  <a:lnTo>
                    <a:pt x="161154" y="605588"/>
                  </a:lnTo>
                  <a:lnTo>
                    <a:pt x="156502" y="606364"/>
                  </a:lnTo>
                  <a:lnTo>
                    <a:pt x="155080" y="606751"/>
                  </a:lnTo>
                  <a:lnTo>
                    <a:pt x="153659" y="607398"/>
                  </a:lnTo>
                  <a:lnTo>
                    <a:pt x="151591" y="608948"/>
                  </a:lnTo>
                  <a:lnTo>
                    <a:pt x="150428" y="610370"/>
                  </a:lnTo>
                  <a:lnTo>
                    <a:pt x="149265" y="612308"/>
                  </a:lnTo>
                  <a:lnTo>
                    <a:pt x="145258" y="616444"/>
                  </a:lnTo>
                  <a:lnTo>
                    <a:pt x="144095" y="618124"/>
                  </a:lnTo>
                  <a:lnTo>
                    <a:pt x="143578" y="619416"/>
                  </a:lnTo>
                  <a:lnTo>
                    <a:pt x="143578" y="620579"/>
                  </a:lnTo>
                  <a:lnTo>
                    <a:pt x="143966" y="623810"/>
                  </a:lnTo>
                  <a:lnTo>
                    <a:pt x="143708" y="624973"/>
                  </a:lnTo>
                  <a:lnTo>
                    <a:pt x="142932" y="627041"/>
                  </a:lnTo>
                  <a:lnTo>
                    <a:pt x="135954" y="639189"/>
                  </a:lnTo>
                  <a:lnTo>
                    <a:pt x="134920" y="641644"/>
                  </a:lnTo>
                  <a:lnTo>
                    <a:pt x="134274" y="643971"/>
                  </a:lnTo>
                  <a:lnTo>
                    <a:pt x="133886" y="647331"/>
                  </a:lnTo>
                  <a:lnTo>
                    <a:pt x="132981" y="650562"/>
                  </a:lnTo>
                  <a:lnTo>
                    <a:pt x="132594" y="654180"/>
                  </a:lnTo>
                  <a:lnTo>
                    <a:pt x="132206" y="655602"/>
                  </a:lnTo>
                  <a:lnTo>
                    <a:pt x="131430" y="657928"/>
                  </a:lnTo>
                  <a:lnTo>
                    <a:pt x="130397" y="659349"/>
                  </a:lnTo>
                  <a:lnTo>
                    <a:pt x="128975" y="660512"/>
                  </a:lnTo>
                  <a:lnTo>
                    <a:pt x="120446" y="664907"/>
                  </a:lnTo>
                  <a:lnTo>
                    <a:pt x="101836" y="677700"/>
                  </a:lnTo>
                  <a:lnTo>
                    <a:pt x="97959" y="681061"/>
                  </a:lnTo>
                  <a:lnTo>
                    <a:pt x="94857" y="684421"/>
                  </a:lnTo>
                  <a:lnTo>
                    <a:pt x="102611" y="690495"/>
                  </a:lnTo>
                  <a:lnTo>
                    <a:pt x="106359" y="692562"/>
                  </a:lnTo>
                  <a:lnTo>
                    <a:pt x="108815" y="693079"/>
                  </a:lnTo>
                  <a:lnTo>
                    <a:pt x="109461" y="693338"/>
                  </a:lnTo>
                  <a:lnTo>
                    <a:pt x="109849" y="693855"/>
                  </a:lnTo>
                  <a:lnTo>
                    <a:pt x="110495" y="695147"/>
                  </a:lnTo>
                  <a:lnTo>
                    <a:pt x="111012" y="695664"/>
                  </a:lnTo>
                  <a:lnTo>
                    <a:pt x="111916" y="696181"/>
                  </a:lnTo>
                  <a:lnTo>
                    <a:pt x="120058" y="698119"/>
                  </a:lnTo>
                  <a:lnTo>
                    <a:pt x="121867" y="699153"/>
                  </a:lnTo>
                  <a:lnTo>
                    <a:pt x="122772" y="701221"/>
                  </a:lnTo>
                  <a:lnTo>
                    <a:pt x="122901" y="704193"/>
                  </a:lnTo>
                  <a:lnTo>
                    <a:pt x="123547" y="707166"/>
                  </a:lnTo>
                  <a:lnTo>
                    <a:pt x="124452" y="710009"/>
                  </a:lnTo>
                  <a:lnTo>
                    <a:pt x="125615" y="712335"/>
                  </a:lnTo>
                  <a:lnTo>
                    <a:pt x="126390" y="713369"/>
                  </a:lnTo>
                  <a:lnTo>
                    <a:pt x="128717" y="715307"/>
                  </a:lnTo>
                  <a:lnTo>
                    <a:pt x="128975" y="715954"/>
                  </a:lnTo>
                  <a:lnTo>
                    <a:pt x="128458" y="716988"/>
                  </a:lnTo>
                  <a:lnTo>
                    <a:pt x="129104" y="717634"/>
                  </a:lnTo>
                  <a:lnTo>
                    <a:pt x="130138" y="718151"/>
                  </a:lnTo>
                  <a:lnTo>
                    <a:pt x="130784" y="718538"/>
                  </a:lnTo>
                  <a:lnTo>
                    <a:pt x="131043" y="719572"/>
                  </a:lnTo>
                  <a:lnTo>
                    <a:pt x="131043" y="720218"/>
                  </a:lnTo>
                  <a:lnTo>
                    <a:pt x="130009" y="722286"/>
                  </a:lnTo>
                  <a:lnTo>
                    <a:pt x="128717" y="727455"/>
                  </a:lnTo>
                  <a:lnTo>
                    <a:pt x="127683" y="729782"/>
                  </a:lnTo>
                  <a:lnTo>
                    <a:pt x="125744" y="731462"/>
                  </a:lnTo>
                  <a:lnTo>
                    <a:pt x="123160" y="732108"/>
                  </a:lnTo>
                  <a:lnTo>
                    <a:pt x="122384" y="732754"/>
                  </a:lnTo>
                  <a:lnTo>
                    <a:pt x="121867" y="734176"/>
                  </a:lnTo>
                  <a:lnTo>
                    <a:pt x="121350" y="736631"/>
                  </a:lnTo>
                  <a:lnTo>
                    <a:pt x="121221" y="739216"/>
                  </a:lnTo>
                  <a:lnTo>
                    <a:pt x="121609" y="740637"/>
                  </a:lnTo>
                  <a:lnTo>
                    <a:pt x="123030" y="743093"/>
                  </a:lnTo>
                  <a:lnTo>
                    <a:pt x="123030" y="745936"/>
                  </a:lnTo>
                  <a:lnTo>
                    <a:pt x="122643" y="748908"/>
                  </a:lnTo>
                  <a:lnTo>
                    <a:pt x="122772" y="751881"/>
                  </a:lnTo>
                  <a:lnTo>
                    <a:pt x="123935" y="753948"/>
                  </a:lnTo>
                  <a:lnTo>
                    <a:pt x="129750" y="758730"/>
                  </a:lnTo>
                  <a:lnTo>
                    <a:pt x="130655" y="760539"/>
                  </a:lnTo>
                  <a:lnTo>
                    <a:pt x="132206" y="767389"/>
                  </a:lnTo>
                  <a:lnTo>
                    <a:pt x="135695" y="775272"/>
                  </a:lnTo>
                  <a:lnTo>
                    <a:pt x="136341" y="779795"/>
                  </a:lnTo>
                  <a:lnTo>
                    <a:pt x="132981" y="780958"/>
                  </a:lnTo>
                  <a:lnTo>
                    <a:pt x="134791" y="784447"/>
                  </a:lnTo>
                  <a:lnTo>
                    <a:pt x="139960" y="788066"/>
                  </a:lnTo>
                  <a:lnTo>
                    <a:pt x="141252" y="790521"/>
                  </a:lnTo>
                  <a:lnTo>
                    <a:pt x="141640" y="797241"/>
                  </a:lnTo>
                  <a:lnTo>
                    <a:pt x="142028" y="806159"/>
                  </a:lnTo>
                  <a:lnTo>
                    <a:pt x="142415" y="815205"/>
                  </a:lnTo>
                  <a:lnTo>
                    <a:pt x="142932" y="824251"/>
                  </a:lnTo>
                  <a:lnTo>
                    <a:pt x="143320" y="833298"/>
                  </a:lnTo>
                  <a:lnTo>
                    <a:pt x="143578" y="840406"/>
                  </a:lnTo>
                  <a:lnTo>
                    <a:pt x="143062" y="841698"/>
                  </a:lnTo>
                  <a:lnTo>
                    <a:pt x="130784" y="841827"/>
                  </a:lnTo>
                  <a:lnTo>
                    <a:pt x="110236" y="842086"/>
                  </a:lnTo>
                  <a:lnTo>
                    <a:pt x="115793" y="846996"/>
                  </a:lnTo>
                  <a:lnTo>
                    <a:pt x="123289" y="855914"/>
                  </a:lnTo>
                  <a:lnTo>
                    <a:pt x="134791" y="869741"/>
                  </a:lnTo>
                  <a:lnTo>
                    <a:pt x="144612" y="881502"/>
                  </a:lnTo>
                  <a:lnTo>
                    <a:pt x="146163" y="883957"/>
                  </a:lnTo>
                  <a:lnTo>
                    <a:pt x="147068" y="886671"/>
                  </a:lnTo>
                  <a:lnTo>
                    <a:pt x="148489" y="903084"/>
                  </a:lnTo>
                  <a:lnTo>
                    <a:pt x="150299" y="925312"/>
                  </a:lnTo>
                  <a:lnTo>
                    <a:pt x="151720" y="941725"/>
                  </a:lnTo>
                  <a:lnTo>
                    <a:pt x="152496" y="953614"/>
                  </a:lnTo>
                  <a:lnTo>
                    <a:pt x="153271" y="966150"/>
                  </a:lnTo>
                  <a:lnTo>
                    <a:pt x="155339" y="970931"/>
                  </a:lnTo>
                  <a:lnTo>
                    <a:pt x="158570" y="971836"/>
                  </a:lnTo>
                  <a:lnTo>
                    <a:pt x="166065" y="972094"/>
                  </a:lnTo>
                  <a:lnTo>
                    <a:pt x="186484" y="972870"/>
                  </a:lnTo>
                  <a:lnTo>
                    <a:pt x="206774" y="973645"/>
                  </a:lnTo>
                  <a:lnTo>
                    <a:pt x="227193" y="974292"/>
                  </a:lnTo>
                  <a:lnTo>
                    <a:pt x="247611" y="975067"/>
                  </a:lnTo>
                  <a:lnTo>
                    <a:pt x="268030" y="975842"/>
                  </a:lnTo>
                  <a:lnTo>
                    <a:pt x="288320" y="976489"/>
                  </a:lnTo>
                  <a:lnTo>
                    <a:pt x="308739" y="977264"/>
                  </a:lnTo>
                  <a:lnTo>
                    <a:pt x="329158" y="978039"/>
                  </a:lnTo>
                  <a:lnTo>
                    <a:pt x="336912" y="978298"/>
                  </a:lnTo>
                  <a:lnTo>
                    <a:pt x="339238" y="978039"/>
                  </a:lnTo>
                  <a:lnTo>
                    <a:pt x="341435" y="976876"/>
                  </a:lnTo>
                  <a:lnTo>
                    <a:pt x="342210" y="975842"/>
                  </a:lnTo>
                  <a:lnTo>
                    <a:pt x="343761" y="973128"/>
                  </a:lnTo>
                  <a:lnTo>
                    <a:pt x="344537" y="972611"/>
                  </a:lnTo>
                  <a:lnTo>
                    <a:pt x="349189" y="972611"/>
                  </a:lnTo>
                  <a:lnTo>
                    <a:pt x="350223" y="973645"/>
                  </a:lnTo>
                  <a:lnTo>
                    <a:pt x="350740" y="984501"/>
                  </a:lnTo>
                  <a:lnTo>
                    <a:pt x="350352" y="985922"/>
                  </a:lnTo>
                  <a:lnTo>
                    <a:pt x="347767" y="988119"/>
                  </a:lnTo>
                  <a:lnTo>
                    <a:pt x="347638" y="989929"/>
                  </a:lnTo>
                  <a:lnTo>
                    <a:pt x="349964" y="994064"/>
                  </a:lnTo>
                  <a:lnTo>
                    <a:pt x="348543" y="998070"/>
                  </a:lnTo>
                  <a:lnTo>
                    <a:pt x="337816" y="1010218"/>
                  </a:lnTo>
                  <a:lnTo>
                    <a:pt x="336007" y="1013578"/>
                  </a:lnTo>
                  <a:lnTo>
                    <a:pt x="335232" y="1017456"/>
                  </a:lnTo>
                  <a:lnTo>
                    <a:pt x="335620" y="1022237"/>
                  </a:lnTo>
                  <a:lnTo>
                    <a:pt x="337816" y="1030637"/>
                  </a:lnTo>
                  <a:lnTo>
                    <a:pt x="338075" y="1034902"/>
                  </a:lnTo>
                  <a:lnTo>
                    <a:pt x="337946" y="1035677"/>
                  </a:lnTo>
                  <a:lnTo>
                    <a:pt x="336912" y="1037616"/>
                  </a:lnTo>
                  <a:lnTo>
                    <a:pt x="336653" y="1038779"/>
                  </a:lnTo>
                  <a:lnTo>
                    <a:pt x="336653" y="1040071"/>
                  </a:lnTo>
                  <a:lnTo>
                    <a:pt x="337816" y="1045499"/>
                  </a:lnTo>
                  <a:lnTo>
                    <a:pt x="339626" y="1048989"/>
                  </a:lnTo>
                  <a:lnTo>
                    <a:pt x="340272" y="1050927"/>
                  </a:lnTo>
                  <a:lnTo>
                    <a:pt x="340918" y="1058681"/>
                  </a:lnTo>
                  <a:lnTo>
                    <a:pt x="341435" y="1060361"/>
                  </a:lnTo>
                  <a:lnTo>
                    <a:pt x="342598" y="1062429"/>
                  </a:lnTo>
                  <a:lnTo>
                    <a:pt x="343115" y="1064884"/>
                  </a:lnTo>
                  <a:lnTo>
                    <a:pt x="343244" y="1074835"/>
                  </a:lnTo>
                  <a:lnTo>
                    <a:pt x="343890" y="1078971"/>
                  </a:lnTo>
                  <a:lnTo>
                    <a:pt x="345829" y="1082331"/>
                  </a:lnTo>
                  <a:lnTo>
                    <a:pt x="349835" y="1084528"/>
                  </a:lnTo>
                  <a:lnTo>
                    <a:pt x="353195" y="1084915"/>
                  </a:lnTo>
                  <a:lnTo>
                    <a:pt x="354229" y="1085303"/>
                  </a:lnTo>
                  <a:lnTo>
                    <a:pt x="355263" y="1085949"/>
                  </a:lnTo>
                  <a:lnTo>
                    <a:pt x="357201" y="1087500"/>
                  </a:lnTo>
                  <a:lnTo>
                    <a:pt x="358235" y="1088146"/>
                  </a:lnTo>
                  <a:lnTo>
                    <a:pt x="359140" y="1088534"/>
                  </a:lnTo>
                  <a:lnTo>
                    <a:pt x="360949" y="1088792"/>
                  </a:lnTo>
                  <a:lnTo>
                    <a:pt x="361854" y="1089309"/>
                  </a:lnTo>
                  <a:lnTo>
                    <a:pt x="363017" y="1090860"/>
                  </a:lnTo>
                  <a:lnTo>
                    <a:pt x="364697" y="1094608"/>
                  </a:lnTo>
                  <a:lnTo>
                    <a:pt x="366377" y="1095900"/>
                  </a:lnTo>
                  <a:lnTo>
                    <a:pt x="367928" y="1096288"/>
                  </a:lnTo>
                  <a:lnTo>
                    <a:pt x="369091" y="1096417"/>
                  </a:lnTo>
                  <a:lnTo>
                    <a:pt x="370254" y="1096676"/>
                  </a:lnTo>
                  <a:lnTo>
                    <a:pt x="371676" y="1097580"/>
                  </a:lnTo>
                  <a:lnTo>
                    <a:pt x="374648" y="1100811"/>
                  </a:lnTo>
                  <a:lnTo>
                    <a:pt x="375811" y="1101716"/>
                  </a:lnTo>
                  <a:lnTo>
                    <a:pt x="379559" y="1103396"/>
                  </a:lnTo>
                  <a:lnTo>
                    <a:pt x="380851" y="1104042"/>
                  </a:lnTo>
                  <a:lnTo>
                    <a:pt x="385504" y="1107919"/>
                  </a:lnTo>
                  <a:lnTo>
                    <a:pt x="388605" y="1109211"/>
                  </a:lnTo>
                  <a:lnTo>
                    <a:pt x="392612" y="1110245"/>
                  </a:lnTo>
                  <a:lnTo>
                    <a:pt x="396747" y="1110504"/>
                  </a:lnTo>
                  <a:lnTo>
                    <a:pt x="399719" y="1109599"/>
                  </a:lnTo>
                  <a:lnTo>
                    <a:pt x="402175" y="1109211"/>
                  </a:lnTo>
                  <a:lnTo>
                    <a:pt x="404113" y="1109470"/>
                  </a:lnTo>
                  <a:lnTo>
                    <a:pt x="406439" y="1110504"/>
                  </a:lnTo>
                  <a:lnTo>
                    <a:pt x="407990" y="1112054"/>
                  </a:lnTo>
                  <a:lnTo>
                    <a:pt x="409024" y="1114510"/>
                  </a:lnTo>
                  <a:lnTo>
                    <a:pt x="409283" y="1117224"/>
                  </a:lnTo>
                  <a:lnTo>
                    <a:pt x="409153" y="1119938"/>
                  </a:lnTo>
                  <a:lnTo>
                    <a:pt x="409283" y="1121747"/>
                  </a:lnTo>
                  <a:lnTo>
                    <a:pt x="409283" y="1126012"/>
                  </a:lnTo>
                  <a:lnTo>
                    <a:pt x="409541" y="1128079"/>
                  </a:lnTo>
                  <a:lnTo>
                    <a:pt x="410316" y="1130147"/>
                  </a:lnTo>
                  <a:lnTo>
                    <a:pt x="411480" y="1131569"/>
                  </a:lnTo>
                  <a:lnTo>
                    <a:pt x="412901" y="1132861"/>
                  </a:lnTo>
                  <a:lnTo>
                    <a:pt x="414452" y="1134024"/>
                  </a:lnTo>
                  <a:lnTo>
                    <a:pt x="416132" y="1134670"/>
                  </a:lnTo>
                  <a:lnTo>
                    <a:pt x="417166" y="1133895"/>
                  </a:lnTo>
                  <a:lnTo>
                    <a:pt x="420397" y="1134929"/>
                  </a:lnTo>
                  <a:lnTo>
                    <a:pt x="421301" y="1135058"/>
                  </a:lnTo>
                  <a:lnTo>
                    <a:pt x="424403" y="1134929"/>
                  </a:lnTo>
                  <a:lnTo>
                    <a:pt x="425178" y="1134929"/>
                  </a:lnTo>
                  <a:lnTo>
                    <a:pt x="425824" y="1135187"/>
                  </a:lnTo>
                  <a:lnTo>
                    <a:pt x="428151" y="1138030"/>
                  </a:lnTo>
                  <a:lnTo>
                    <a:pt x="428538" y="1139193"/>
                  </a:lnTo>
                  <a:lnTo>
                    <a:pt x="428668" y="1139452"/>
                  </a:lnTo>
                  <a:lnTo>
                    <a:pt x="428797" y="1139969"/>
                  </a:lnTo>
                  <a:lnTo>
                    <a:pt x="428668" y="1141907"/>
                  </a:lnTo>
                  <a:lnTo>
                    <a:pt x="428668" y="1142553"/>
                  </a:lnTo>
                  <a:lnTo>
                    <a:pt x="428797" y="1143071"/>
                  </a:lnTo>
                  <a:lnTo>
                    <a:pt x="428926" y="1143458"/>
                  </a:lnTo>
                  <a:lnTo>
                    <a:pt x="429185" y="1143846"/>
                  </a:lnTo>
                  <a:lnTo>
                    <a:pt x="429572" y="1144104"/>
                  </a:lnTo>
                  <a:lnTo>
                    <a:pt x="429960" y="1144363"/>
                  </a:lnTo>
                  <a:lnTo>
                    <a:pt x="431769" y="1144750"/>
                  </a:lnTo>
                  <a:lnTo>
                    <a:pt x="432415" y="1145009"/>
                  </a:lnTo>
                  <a:lnTo>
                    <a:pt x="433966" y="1146172"/>
                  </a:lnTo>
                  <a:lnTo>
                    <a:pt x="434095" y="1146301"/>
                  </a:lnTo>
                  <a:lnTo>
                    <a:pt x="435259" y="1146818"/>
                  </a:lnTo>
                  <a:lnTo>
                    <a:pt x="436809" y="1148240"/>
                  </a:lnTo>
                  <a:lnTo>
                    <a:pt x="437326" y="1148498"/>
                  </a:lnTo>
                  <a:lnTo>
                    <a:pt x="437843" y="1148627"/>
                  </a:lnTo>
                  <a:lnTo>
                    <a:pt x="440299" y="1149145"/>
                  </a:lnTo>
                  <a:lnTo>
                    <a:pt x="440557" y="1149145"/>
                  </a:lnTo>
                  <a:lnTo>
                    <a:pt x="440945" y="1149532"/>
                  </a:lnTo>
                  <a:lnTo>
                    <a:pt x="441203" y="1149920"/>
                  </a:lnTo>
                  <a:lnTo>
                    <a:pt x="441849" y="1150954"/>
                  </a:lnTo>
                  <a:lnTo>
                    <a:pt x="442883" y="1152117"/>
                  </a:lnTo>
                  <a:lnTo>
                    <a:pt x="443142" y="1152505"/>
                  </a:lnTo>
                  <a:lnTo>
                    <a:pt x="443400" y="1153021"/>
                  </a:lnTo>
                  <a:lnTo>
                    <a:pt x="443400" y="1153668"/>
                  </a:lnTo>
                  <a:lnTo>
                    <a:pt x="443271" y="1154314"/>
                  </a:lnTo>
                  <a:lnTo>
                    <a:pt x="442625" y="1155865"/>
                  </a:lnTo>
                  <a:lnTo>
                    <a:pt x="442625" y="1156511"/>
                  </a:lnTo>
                  <a:lnTo>
                    <a:pt x="442625" y="1157157"/>
                  </a:lnTo>
                  <a:lnTo>
                    <a:pt x="442754" y="1157674"/>
                  </a:lnTo>
                  <a:lnTo>
                    <a:pt x="442883" y="1158061"/>
                  </a:lnTo>
                  <a:lnTo>
                    <a:pt x="443142" y="1158191"/>
                  </a:lnTo>
                  <a:lnTo>
                    <a:pt x="443271" y="1158191"/>
                  </a:lnTo>
                  <a:lnTo>
                    <a:pt x="443400" y="1157803"/>
                  </a:lnTo>
                  <a:lnTo>
                    <a:pt x="443659" y="1157028"/>
                  </a:lnTo>
                  <a:lnTo>
                    <a:pt x="444693" y="1155219"/>
                  </a:lnTo>
                  <a:lnTo>
                    <a:pt x="446243" y="1151471"/>
                  </a:lnTo>
                  <a:lnTo>
                    <a:pt x="446760" y="1150437"/>
                  </a:lnTo>
                  <a:lnTo>
                    <a:pt x="447148" y="1150049"/>
                  </a:lnTo>
                  <a:lnTo>
                    <a:pt x="447536" y="1149661"/>
                  </a:lnTo>
                  <a:lnTo>
                    <a:pt x="448053" y="1149403"/>
                  </a:lnTo>
                  <a:lnTo>
                    <a:pt x="448828" y="1148886"/>
                  </a:lnTo>
                  <a:lnTo>
                    <a:pt x="466404" y="1144234"/>
                  </a:lnTo>
                  <a:lnTo>
                    <a:pt x="469635" y="1142166"/>
                  </a:lnTo>
                  <a:lnTo>
                    <a:pt x="471961" y="1141390"/>
                  </a:lnTo>
                  <a:lnTo>
                    <a:pt x="479586" y="1140227"/>
                  </a:lnTo>
                  <a:lnTo>
                    <a:pt x="480490" y="1139969"/>
                  </a:lnTo>
                  <a:lnTo>
                    <a:pt x="483204" y="1138676"/>
                  </a:lnTo>
                  <a:lnTo>
                    <a:pt x="484755" y="1137643"/>
                  </a:lnTo>
                  <a:lnTo>
                    <a:pt x="495869" y="1125753"/>
                  </a:lnTo>
                  <a:lnTo>
                    <a:pt x="496128" y="1125365"/>
                  </a:lnTo>
                  <a:lnTo>
                    <a:pt x="496257" y="1125107"/>
                  </a:lnTo>
                  <a:lnTo>
                    <a:pt x="496386" y="1124590"/>
                  </a:lnTo>
                  <a:lnTo>
                    <a:pt x="496515" y="1124073"/>
                  </a:lnTo>
                  <a:lnTo>
                    <a:pt x="496515" y="1123298"/>
                  </a:lnTo>
                  <a:lnTo>
                    <a:pt x="495869" y="1119291"/>
                  </a:lnTo>
                  <a:lnTo>
                    <a:pt x="495869" y="1118775"/>
                  </a:lnTo>
                  <a:lnTo>
                    <a:pt x="495998" y="1118128"/>
                  </a:lnTo>
                  <a:lnTo>
                    <a:pt x="496257" y="1117741"/>
                  </a:lnTo>
                  <a:lnTo>
                    <a:pt x="496645" y="1117224"/>
                  </a:lnTo>
                  <a:lnTo>
                    <a:pt x="497032" y="1116836"/>
                  </a:lnTo>
                  <a:lnTo>
                    <a:pt x="499617" y="1115544"/>
                  </a:lnTo>
                  <a:lnTo>
                    <a:pt x="500909" y="1114639"/>
                  </a:lnTo>
                  <a:lnTo>
                    <a:pt x="502202" y="1113605"/>
                  </a:lnTo>
                  <a:lnTo>
                    <a:pt x="502589" y="1113347"/>
                  </a:lnTo>
                  <a:lnTo>
                    <a:pt x="504140" y="1112442"/>
                  </a:lnTo>
                  <a:lnTo>
                    <a:pt x="504786" y="1112054"/>
                  </a:lnTo>
                  <a:lnTo>
                    <a:pt x="505174" y="1111796"/>
                  </a:lnTo>
                  <a:lnTo>
                    <a:pt x="505432" y="1111408"/>
                  </a:lnTo>
                  <a:lnTo>
                    <a:pt x="506983" y="1109082"/>
                  </a:lnTo>
                  <a:lnTo>
                    <a:pt x="508405" y="1107531"/>
                  </a:lnTo>
                  <a:lnTo>
                    <a:pt x="508792" y="1107273"/>
                  </a:lnTo>
                  <a:lnTo>
                    <a:pt x="509439" y="1106627"/>
                  </a:lnTo>
                  <a:lnTo>
                    <a:pt x="509697" y="1106110"/>
                  </a:lnTo>
                  <a:lnTo>
                    <a:pt x="509956" y="1105593"/>
                  </a:lnTo>
                  <a:lnTo>
                    <a:pt x="510472" y="1102362"/>
                  </a:lnTo>
                  <a:lnTo>
                    <a:pt x="510472" y="1101716"/>
                  </a:lnTo>
                  <a:lnTo>
                    <a:pt x="510214" y="1099002"/>
                  </a:lnTo>
                  <a:lnTo>
                    <a:pt x="510214" y="1098356"/>
                  </a:lnTo>
                  <a:lnTo>
                    <a:pt x="510343" y="1097709"/>
                  </a:lnTo>
                  <a:lnTo>
                    <a:pt x="510602" y="1097193"/>
                  </a:lnTo>
                  <a:lnTo>
                    <a:pt x="510860" y="1096805"/>
                  </a:lnTo>
                  <a:lnTo>
                    <a:pt x="511506" y="1096417"/>
                  </a:lnTo>
                  <a:lnTo>
                    <a:pt x="512153" y="1096030"/>
                  </a:lnTo>
                  <a:lnTo>
                    <a:pt x="514737" y="1094996"/>
                  </a:lnTo>
                  <a:lnTo>
                    <a:pt x="515513" y="1094479"/>
                  </a:lnTo>
                  <a:lnTo>
                    <a:pt x="515642" y="1094349"/>
                  </a:lnTo>
                  <a:lnTo>
                    <a:pt x="515900" y="1093962"/>
                  </a:lnTo>
                  <a:lnTo>
                    <a:pt x="516159" y="1093445"/>
                  </a:lnTo>
                  <a:lnTo>
                    <a:pt x="516288" y="1092799"/>
                  </a:lnTo>
                  <a:lnTo>
                    <a:pt x="516417" y="1091506"/>
                  </a:lnTo>
                  <a:lnTo>
                    <a:pt x="516546" y="1090989"/>
                  </a:lnTo>
                  <a:lnTo>
                    <a:pt x="516934" y="1090472"/>
                  </a:lnTo>
                  <a:lnTo>
                    <a:pt x="517193" y="1090085"/>
                  </a:lnTo>
                  <a:lnTo>
                    <a:pt x="519777" y="1088017"/>
                  </a:lnTo>
                  <a:lnTo>
                    <a:pt x="520811" y="1087759"/>
                  </a:lnTo>
                  <a:lnTo>
                    <a:pt x="529211" y="1088405"/>
                  </a:lnTo>
                  <a:lnTo>
                    <a:pt x="544202" y="1087242"/>
                  </a:lnTo>
                  <a:lnTo>
                    <a:pt x="545624" y="1086854"/>
                  </a:lnTo>
                  <a:lnTo>
                    <a:pt x="546658" y="1086466"/>
                  </a:lnTo>
                  <a:lnTo>
                    <a:pt x="547433" y="1086337"/>
                  </a:lnTo>
                  <a:lnTo>
                    <a:pt x="548467" y="1086337"/>
                  </a:lnTo>
                  <a:lnTo>
                    <a:pt x="552344" y="1087888"/>
                  </a:lnTo>
                  <a:lnTo>
                    <a:pt x="553895" y="1088146"/>
                  </a:lnTo>
                  <a:lnTo>
                    <a:pt x="556092" y="1087759"/>
                  </a:lnTo>
                  <a:lnTo>
                    <a:pt x="557513" y="1087242"/>
                  </a:lnTo>
                  <a:lnTo>
                    <a:pt x="559710" y="1086078"/>
                  </a:lnTo>
                  <a:lnTo>
                    <a:pt x="562037" y="1083882"/>
                  </a:lnTo>
                  <a:lnTo>
                    <a:pt x="562941" y="1083752"/>
                  </a:lnTo>
                  <a:lnTo>
                    <a:pt x="564234" y="1084269"/>
                  </a:lnTo>
                  <a:lnTo>
                    <a:pt x="565526" y="1084398"/>
                  </a:lnTo>
                  <a:lnTo>
                    <a:pt x="566947" y="1084011"/>
                  </a:lnTo>
                  <a:lnTo>
                    <a:pt x="567981" y="1083235"/>
                  </a:lnTo>
                  <a:lnTo>
                    <a:pt x="568886" y="1082460"/>
                  </a:lnTo>
                  <a:lnTo>
                    <a:pt x="572375" y="1078324"/>
                  </a:lnTo>
                  <a:lnTo>
                    <a:pt x="573151" y="1077549"/>
                  </a:lnTo>
                  <a:lnTo>
                    <a:pt x="574055" y="1076903"/>
                  </a:lnTo>
                  <a:lnTo>
                    <a:pt x="575089" y="1076386"/>
                  </a:lnTo>
                  <a:lnTo>
                    <a:pt x="576252" y="1075869"/>
                  </a:lnTo>
                  <a:lnTo>
                    <a:pt x="578579" y="1075223"/>
                  </a:lnTo>
                  <a:lnTo>
                    <a:pt x="584265" y="1074448"/>
                  </a:lnTo>
                  <a:lnTo>
                    <a:pt x="586462" y="1073672"/>
                  </a:lnTo>
                  <a:lnTo>
                    <a:pt x="587883" y="1073414"/>
                  </a:lnTo>
                  <a:lnTo>
                    <a:pt x="589693" y="1073414"/>
                  </a:lnTo>
                  <a:lnTo>
                    <a:pt x="594087" y="1073931"/>
                  </a:lnTo>
                  <a:lnTo>
                    <a:pt x="596025" y="1074577"/>
                  </a:lnTo>
                  <a:lnTo>
                    <a:pt x="598093" y="1076127"/>
                  </a:lnTo>
                  <a:lnTo>
                    <a:pt x="598998" y="1077420"/>
                  </a:lnTo>
                  <a:lnTo>
                    <a:pt x="599385" y="1078583"/>
                  </a:lnTo>
                  <a:lnTo>
                    <a:pt x="599773" y="1079617"/>
                  </a:lnTo>
                  <a:lnTo>
                    <a:pt x="600290" y="1080392"/>
                  </a:lnTo>
                  <a:lnTo>
                    <a:pt x="600677" y="1080909"/>
                  </a:lnTo>
                  <a:lnTo>
                    <a:pt x="601194" y="1081555"/>
                  </a:lnTo>
                  <a:lnTo>
                    <a:pt x="602487" y="1082201"/>
                  </a:lnTo>
                  <a:lnTo>
                    <a:pt x="610499" y="1084140"/>
                  </a:lnTo>
                  <a:lnTo>
                    <a:pt x="613730" y="1085691"/>
                  </a:lnTo>
                  <a:lnTo>
                    <a:pt x="617090" y="1086595"/>
                  </a:lnTo>
                  <a:lnTo>
                    <a:pt x="618512" y="1087371"/>
                  </a:lnTo>
                  <a:lnTo>
                    <a:pt x="619287" y="1088405"/>
                  </a:lnTo>
                  <a:lnTo>
                    <a:pt x="620709" y="1090214"/>
                  </a:lnTo>
                  <a:lnTo>
                    <a:pt x="621872" y="1090989"/>
                  </a:lnTo>
                  <a:lnTo>
                    <a:pt x="623423" y="1091765"/>
                  </a:lnTo>
                  <a:lnTo>
                    <a:pt x="629626" y="1093057"/>
                  </a:lnTo>
                  <a:lnTo>
                    <a:pt x="632081" y="1092540"/>
                  </a:lnTo>
                  <a:lnTo>
                    <a:pt x="635312" y="1093703"/>
                  </a:lnTo>
                  <a:lnTo>
                    <a:pt x="638284" y="1094349"/>
                  </a:lnTo>
                  <a:lnTo>
                    <a:pt x="640094" y="1094996"/>
                  </a:lnTo>
                  <a:lnTo>
                    <a:pt x="642549" y="1096417"/>
                  </a:lnTo>
                  <a:lnTo>
                    <a:pt x="643971" y="1097968"/>
                  </a:lnTo>
                  <a:lnTo>
                    <a:pt x="644746" y="1099390"/>
                  </a:lnTo>
                  <a:lnTo>
                    <a:pt x="645263" y="1101457"/>
                  </a:lnTo>
                  <a:lnTo>
                    <a:pt x="645651" y="1102104"/>
                  </a:lnTo>
                  <a:lnTo>
                    <a:pt x="646168" y="1103008"/>
                  </a:lnTo>
                  <a:lnTo>
                    <a:pt x="649269" y="1106497"/>
                  </a:lnTo>
                  <a:lnTo>
                    <a:pt x="650303" y="1108436"/>
                  </a:lnTo>
                  <a:lnTo>
                    <a:pt x="653276" y="1110245"/>
                  </a:lnTo>
                  <a:lnTo>
                    <a:pt x="660254" y="1113347"/>
                  </a:lnTo>
                  <a:lnTo>
                    <a:pt x="664648" y="1114768"/>
                  </a:lnTo>
                  <a:lnTo>
                    <a:pt x="666199" y="1115802"/>
                  </a:lnTo>
                  <a:lnTo>
                    <a:pt x="667491" y="1116578"/>
                  </a:lnTo>
                  <a:lnTo>
                    <a:pt x="670076" y="1117094"/>
                  </a:lnTo>
                  <a:lnTo>
                    <a:pt x="671498" y="1117741"/>
                  </a:lnTo>
                  <a:lnTo>
                    <a:pt x="673307" y="1119291"/>
                  </a:lnTo>
                  <a:lnTo>
                    <a:pt x="674341" y="1120455"/>
                  </a:lnTo>
                  <a:lnTo>
                    <a:pt x="676796" y="1122522"/>
                  </a:lnTo>
                  <a:lnTo>
                    <a:pt x="688427" y="1128984"/>
                  </a:lnTo>
                  <a:lnTo>
                    <a:pt x="695276" y="1128079"/>
                  </a:lnTo>
                  <a:lnTo>
                    <a:pt x="696698" y="1128338"/>
                  </a:lnTo>
                  <a:lnTo>
                    <a:pt x="699541" y="1128338"/>
                  </a:lnTo>
                  <a:lnTo>
                    <a:pt x="710397" y="1125753"/>
                  </a:lnTo>
                  <a:lnTo>
                    <a:pt x="712206" y="1125495"/>
                  </a:lnTo>
                  <a:lnTo>
                    <a:pt x="715437" y="1125882"/>
                  </a:lnTo>
                  <a:lnTo>
                    <a:pt x="716858" y="1125495"/>
                  </a:lnTo>
                  <a:lnTo>
                    <a:pt x="718539" y="1124978"/>
                  </a:lnTo>
                  <a:lnTo>
                    <a:pt x="727973" y="1119550"/>
                  </a:lnTo>
                  <a:lnTo>
                    <a:pt x="729006" y="1118645"/>
                  </a:lnTo>
                  <a:lnTo>
                    <a:pt x="729653" y="1117612"/>
                  </a:lnTo>
                  <a:lnTo>
                    <a:pt x="730686" y="1115544"/>
                  </a:lnTo>
                  <a:lnTo>
                    <a:pt x="731333" y="1114510"/>
                  </a:lnTo>
                  <a:lnTo>
                    <a:pt x="732496" y="1113476"/>
                  </a:lnTo>
                  <a:lnTo>
                    <a:pt x="734305" y="1112442"/>
                  </a:lnTo>
                  <a:lnTo>
                    <a:pt x="740121" y="1110116"/>
                  </a:lnTo>
                  <a:lnTo>
                    <a:pt x="749813" y="1108824"/>
                  </a:lnTo>
                  <a:lnTo>
                    <a:pt x="750976" y="1108953"/>
                  </a:lnTo>
                  <a:lnTo>
                    <a:pt x="752139" y="1109082"/>
                  </a:lnTo>
                  <a:lnTo>
                    <a:pt x="756145" y="1109082"/>
                  </a:lnTo>
                  <a:lnTo>
                    <a:pt x="757309" y="1109341"/>
                  </a:lnTo>
                  <a:lnTo>
                    <a:pt x="758472" y="1109728"/>
                  </a:lnTo>
                  <a:lnTo>
                    <a:pt x="760539" y="1111020"/>
                  </a:lnTo>
                  <a:lnTo>
                    <a:pt x="762995" y="1113088"/>
                  </a:lnTo>
                  <a:lnTo>
                    <a:pt x="768810" y="1116578"/>
                  </a:lnTo>
                  <a:lnTo>
                    <a:pt x="769715" y="1117353"/>
                  </a:lnTo>
                  <a:lnTo>
                    <a:pt x="770361" y="1118258"/>
                  </a:lnTo>
                  <a:lnTo>
                    <a:pt x="770620" y="1119291"/>
                  </a:lnTo>
                  <a:lnTo>
                    <a:pt x="770620" y="1120325"/>
                  </a:lnTo>
                  <a:lnTo>
                    <a:pt x="770878" y="1122522"/>
                  </a:lnTo>
                  <a:lnTo>
                    <a:pt x="771266" y="1123556"/>
                  </a:lnTo>
                  <a:lnTo>
                    <a:pt x="771524" y="1125624"/>
                  </a:lnTo>
                  <a:lnTo>
                    <a:pt x="771912" y="1126658"/>
                  </a:lnTo>
                  <a:lnTo>
                    <a:pt x="772687" y="1127433"/>
                  </a:lnTo>
                  <a:lnTo>
                    <a:pt x="773721" y="1127950"/>
                  </a:lnTo>
                  <a:lnTo>
                    <a:pt x="777210" y="1128338"/>
                  </a:lnTo>
                  <a:lnTo>
                    <a:pt x="778761" y="1128079"/>
                  </a:lnTo>
                  <a:lnTo>
                    <a:pt x="780570" y="1127563"/>
                  </a:lnTo>
                  <a:lnTo>
                    <a:pt x="789617" y="1123556"/>
                  </a:lnTo>
                  <a:lnTo>
                    <a:pt x="794528" y="1122264"/>
                  </a:lnTo>
                  <a:lnTo>
                    <a:pt x="796983" y="1122135"/>
                  </a:lnTo>
                  <a:lnTo>
                    <a:pt x="799439" y="1122522"/>
                  </a:lnTo>
                  <a:lnTo>
                    <a:pt x="800989" y="1122135"/>
                  </a:lnTo>
                  <a:lnTo>
                    <a:pt x="802799" y="1120972"/>
                  </a:lnTo>
                  <a:lnTo>
                    <a:pt x="805900" y="1117870"/>
                  </a:lnTo>
                  <a:lnTo>
                    <a:pt x="807063" y="1115931"/>
                  </a:lnTo>
                  <a:lnTo>
                    <a:pt x="807710" y="1114251"/>
                  </a:lnTo>
                  <a:lnTo>
                    <a:pt x="807968" y="1113088"/>
                  </a:lnTo>
                  <a:lnTo>
                    <a:pt x="808614" y="1111796"/>
                  </a:lnTo>
                  <a:lnTo>
                    <a:pt x="809519" y="1110633"/>
                  </a:lnTo>
                  <a:lnTo>
                    <a:pt x="810682" y="1109470"/>
                  </a:lnTo>
                  <a:lnTo>
                    <a:pt x="816885" y="1106239"/>
                  </a:lnTo>
                  <a:lnTo>
                    <a:pt x="819987" y="1103525"/>
                  </a:lnTo>
                  <a:lnTo>
                    <a:pt x="829809" y="1092928"/>
                  </a:lnTo>
                  <a:lnTo>
                    <a:pt x="831359" y="1090214"/>
                  </a:lnTo>
                  <a:lnTo>
                    <a:pt x="831747" y="1089180"/>
                  </a:lnTo>
                  <a:lnTo>
                    <a:pt x="832652" y="1087888"/>
                  </a:lnTo>
                  <a:lnTo>
                    <a:pt x="833944" y="1086595"/>
                  </a:lnTo>
                  <a:lnTo>
                    <a:pt x="838984" y="1082331"/>
                  </a:lnTo>
                  <a:lnTo>
                    <a:pt x="840664" y="1081555"/>
                  </a:lnTo>
                  <a:lnTo>
                    <a:pt x="842215" y="1080909"/>
                  </a:lnTo>
                  <a:lnTo>
                    <a:pt x="848030" y="1080392"/>
                  </a:lnTo>
                  <a:lnTo>
                    <a:pt x="848806" y="1081168"/>
                  </a:lnTo>
                  <a:lnTo>
                    <a:pt x="848806" y="1082331"/>
                  </a:lnTo>
                  <a:lnTo>
                    <a:pt x="848935" y="1084657"/>
                  </a:lnTo>
                  <a:lnTo>
                    <a:pt x="848935" y="1085691"/>
                  </a:lnTo>
                  <a:lnTo>
                    <a:pt x="848806" y="1086854"/>
                  </a:lnTo>
                  <a:lnTo>
                    <a:pt x="845317" y="1100811"/>
                  </a:lnTo>
                  <a:lnTo>
                    <a:pt x="844800" y="1108307"/>
                  </a:lnTo>
                  <a:lnTo>
                    <a:pt x="844670" y="1109470"/>
                  </a:lnTo>
                  <a:lnTo>
                    <a:pt x="843507" y="1112830"/>
                  </a:lnTo>
                  <a:lnTo>
                    <a:pt x="841440" y="1124202"/>
                  </a:lnTo>
                  <a:lnTo>
                    <a:pt x="841181" y="1125107"/>
                  </a:lnTo>
                  <a:lnTo>
                    <a:pt x="840406" y="1126012"/>
                  </a:lnTo>
                  <a:lnTo>
                    <a:pt x="839501" y="1126399"/>
                  </a:lnTo>
                  <a:lnTo>
                    <a:pt x="835107" y="1127433"/>
                  </a:lnTo>
                  <a:lnTo>
                    <a:pt x="830972" y="1128855"/>
                  </a:lnTo>
                  <a:lnTo>
                    <a:pt x="829938" y="1129372"/>
                  </a:lnTo>
                  <a:lnTo>
                    <a:pt x="828904" y="1130147"/>
                  </a:lnTo>
                  <a:lnTo>
                    <a:pt x="828129" y="1131181"/>
                  </a:lnTo>
                  <a:lnTo>
                    <a:pt x="827741" y="1132344"/>
                  </a:lnTo>
                  <a:lnTo>
                    <a:pt x="826836" y="1135704"/>
                  </a:lnTo>
                  <a:lnTo>
                    <a:pt x="826319" y="1136738"/>
                  </a:lnTo>
                  <a:lnTo>
                    <a:pt x="823993" y="1139840"/>
                  </a:lnTo>
                  <a:lnTo>
                    <a:pt x="822701" y="1143071"/>
                  </a:lnTo>
                  <a:lnTo>
                    <a:pt x="822055" y="1143975"/>
                  </a:lnTo>
                  <a:lnTo>
                    <a:pt x="818436" y="1147981"/>
                  </a:lnTo>
                  <a:lnTo>
                    <a:pt x="817144" y="1150049"/>
                  </a:lnTo>
                  <a:lnTo>
                    <a:pt x="816239" y="1152117"/>
                  </a:lnTo>
                  <a:lnTo>
                    <a:pt x="815981" y="1153151"/>
                  </a:lnTo>
                  <a:lnTo>
                    <a:pt x="816110" y="1154185"/>
                  </a:lnTo>
                  <a:lnTo>
                    <a:pt x="816368" y="1155219"/>
                  </a:lnTo>
                  <a:lnTo>
                    <a:pt x="817273" y="1156640"/>
                  </a:lnTo>
                  <a:lnTo>
                    <a:pt x="821021" y="1156123"/>
                  </a:lnTo>
                  <a:lnTo>
                    <a:pt x="828775" y="1158191"/>
                  </a:lnTo>
                  <a:lnTo>
                    <a:pt x="839630" y="1164265"/>
                  </a:lnTo>
                  <a:lnTo>
                    <a:pt x="843895" y="1165040"/>
                  </a:lnTo>
                  <a:lnTo>
                    <a:pt x="857077" y="1163360"/>
                  </a:lnTo>
                  <a:lnTo>
                    <a:pt x="859920" y="1163360"/>
                  </a:lnTo>
                  <a:lnTo>
                    <a:pt x="868966" y="1165428"/>
                  </a:lnTo>
                  <a:lnTo>
                    <a:pt x="872326" y="1165686"/>
                  </a:lnTo>
                  <a:lnTo>
                    <a:pt x="875428" y="1165169"/>
                  </a:lnTo>
                  <a:lnTo>
                    <a:pt x="876720" y="1164135"/>
                  </a:lnTo>
                  <a:lnTo>
                    <a:pt x="878788" y="1164394"/>
                  </a:lnTo>
                  <a:lnTo>
                    <a:pt x="888868" y="1163877"/>
                  </a:lnTo>
                  <a:lnTo>
                    <a:pt x="891065" y="1164006"/>
                  </a:lnTo>
                  <a:lnTo>
                    <a:pt x="899207" y="1165816"/>
                  </a:lnTo>
                  <a:lnTo>
                    <a:pt x="901792" y="1166849"/>
                  </a:lnTo>
                  <a:lnTo>
                    <a:pt x="906185" y="1167625"/>
                  </a:lnTo>
                  <a:lnTo>
                    <a:pt x="914844" y="1166591"/>
                  </a:lnTo>
                  <a:lnTo>
                    <a:pt x="916007" y="1165945"/>
                  </a:lnTo>
                  <a:lnTo>
                    <a:pt x="914327" y="1161422"/>
                  </a:lnTo>
                  <a:lnTo>
                    <a:pt x="910192" y="1152505"/>
                  </a:lnTo>
                  <a:lnTo>
                    <a:pt x="907607" y="1144880"/>
                  </a:lnTo>
                  <a:lnTo>
                    <a:pt x="906832" y="1141520"/>
                  </a:lnTo>
                  <a:lnTo>
                    <a:pt x="906444" y="1140357"/>
                  </a:lnTo>
                  <a:lnTo>
                    <a:pt x="905927" y="1139323"/>
                  </a:lnTo>
                  <a:lnTo>
                    <a:pt x="902825" y="1135316"/>
                  </a:lnTo>
                  <a:lnTo>
                    <a:pt x="897139" y="1125236"/>
                  </a:lnTo>
                  <a:lnTo>
                    <a:pt x="895976" y="1121876"/>
                  </a:lnTo>
                  <a:lnTo>
                    <a:pt x="895588" y="1118516"/>
                  </a:lnTo>
                  <a:lnTo>
                    <a:pt x="895718" y="1115285"/>
                  </a:lnTo>
                  <a:lnTo>
                    <a:pt x="896881" y="1109857"/>
                  </a:lnTo>
                  <a:lnTo>
                    <a:pt x="898044" y="1108436"/>
                  </a:lnTo>
                  <a:lnTo>
                    <a:pt x="897915" y="1107144"/>
                  </a:lnTo>
                  <a:lnTo>
                    <a:pt x="898173" y="1102750"/>
                  </a:lnTo>
                  <a:lnTo>
                    <a:pt x="899207" y="1098097"/>
                  </a:lnTo>
                  <a:lnTo>
                    <a:pt x="899853" y="1096030"/>
                  </a:lnTo>
                  <a:lnTo>
                    <a:pt x="900370" y="1094866"/>
                  </a:lnTo>
                  <a:lnTo>
                    <a:pt x="901016" y="1093962"/>
                  </a:lnTo>
                  <a:lnTo>
                    <a:pt x="901533" y="1092928"/>
                  </a:lnTo>
                  <a:lnTo>
                    <a:pt x="901275" y="1091765"/>
                  </a:lnTo>
                  <a:lnTo>
                    <a:pt x="900887" y="1090602"/>
                  </a:lnTo>
                  <a:lnTo>
                    <a:pt x="900629" y="1089438"/>
                  </a:lnTo>
                  <a:lnTo>
                    <a:pt x="900111" y="1084011"/>
                  </a:lnTo>
                  <a:lnTo>
                    <a:pt x="900629" y="1082201"/>
                  </a:lnTo>
                  <a:lnTo>
                    <a:pt x="901275" y="1081038"/>
                  </a:lnTo>
                  <a:lnTo>
                    <a:pt x="903989" y="1078712"/>
                  </a:lnTo>
                  <a:lnTo>
                    <a:pt x="904893" y="1077549"/>
                  </a:lnTo>
                  <a:lnTo>
                    <a:pt x="905669" y="1075223"/>
                  </a:lnTo>
                  <a:lnTo>
                    <a:pt x="906573" y="1073414"/>
                  </a:lnTo>
                  <a:lnTo>
                    <a:pt x="907349" y="1070700"/>
                  </a:lnTo>
                  <a:lnTo>
                    <a:pt x="907736" y="1070183"/>
                  </a:lnTo>
                  <a:lnTo>
                    <a:pt x="909546" y="1068503"/>
                  </a:lnTo>
                  <a:lnTo>
                    <a:pt x="913423" y="1062429"/>
                  </a:lnTo>
                  <a:lnTo>
                    <a:pt x="914198" y="1061524"/>
                  </a:lnTo>
                  <a:lnTo>
                    <a:pt x="915620" y="1060749"/>
                  </a:lnTo>
                  <a:lnTo>
                    <a:pt x="916783" y="1058939"/>
                  </a:lnTo>
                  <a:lnTo>
                    <a:pt x="917817" y="1056742"/>
                  </a:lnTo>
                  <a:lnTo>
                    <a:pt x="918333" y="1054675"/>
                  </a:lnTo>
                  <a:lnTo>
                    <a:pt x="918204" y="1053770"/>
                  </a:lnTo>
                  <a:lnTo>
                    <a:pt x="917687" y="1051573"/>
                  </a:lnTo>
                  <a:lnTo>
                    <a:pt x="917558" y="1050539"/>
                  </a:lnTo>
                  <a:lnTo>
                    <a:pt x="917817" y="1049376"/>
                  </a:lnTo>
                  <a:lnTo>
                    <a:pt x="918851" y="1046921"/>
                  </a:lnTo>
                  <a:lnTo>
                    <a:pt x="920401" y="1039813"/>
                  </a:lnTo>
                  <a:lnTo>
                    <a:pt x="919755" y="1037874"/>
                  </a:lnTo>
                  <a:lnTo>
                    <a:pt x="922727" y="1034644"/>
                  </a:lnTo>
                  <a:lnTo>
                    <a:pt x="925700" y="1032447"/>
                  </a:lnTo>
                  <a:lnTo>
                    <a:pt x="932937" y="1028828"/>
                  </a:lnTo>
                  <a:lnTo>
                    <a:pt x="937460" y="1027277"/>
                  </a:lnTo>
                  <a:lnTo>
                    <a:pt x="938365" y="1026631"/>
                  </a:lnTo>
                  <a:lnTo>
                    <a:pt x="940174" y="1025209"/>
                  </a:lnTo>
                  <a:lnTo>
                    <a:pt x="942242" y="1024305"/>
                  </a:lnTo>
                  <a:lnTo>
                    <a:pt x="946248" y="1019652"/>
                  </a:lnTo>
                  <a:lnTo>
                    <a:pt x="950642" y="1015905"/>
                  </a:lnTo>
                  <a:lnTo>
                    <a:pt x="952580" y="1013708"/>
                  </a:lnTo>
                  <a:lnTo>
                    <a:pt x="953485" y="1011640"/>
                  </a:lnTo>
                  <a:lnTo>
                    <a:pt x="953744" y="1009055"/>
                  </a:lnTo>
                  <a:lnTo>
                    <a:pt x="954260" y="1006858"/>
                  </a:lnTo>
                  <a:lnTo>
                    <a:pt x="955424" y="1005178"/>
                  </a:lnTo>
                  <a:lnTo>
                    <a:pt x="957104" y="1003627"/>
                  </a:lnTo>
                  <a:lnTo>
                    <a:pt x="960076" y="1001689"/>
                  </a:lnTo>
                  <a:lnTo>
                    <a:pt x="961110" y="1000267"/>
                  </a:lnTo>
                  <a:lnTo>
                    <a:pt x="961627" y="997941"/>
                  </a:lnTo>
                  <a:lnTo>
                    <a:pt x="962014" y="993030"/>
                  </a:lnTo>
                  <a:lnTo>
                    <a:pt x="962919" y="988766"/>
                  </a:lnTo>
                  <a:lnTo>
                    <a:pt x="961368" y="987861"/>
                  </a:lnTo>
                  <a:lnTo>
                    <a:pt x="961110" y="987603"/>
                  </a:lnTo>
                  <a:lnTo>
                    <a:pt x="960722" y="987344"/>
                  </a:lnTo>
                  <a:lnTo>
                    <a:pt x="958784" y="986310"/>
                  </a:lnTo>
                  <a:lnTo>
                    <a:pt x="958008" y="985793"/>
                  </a:lnTo>
                  <a:lnTo>
                    <a:pt x="957362" y="985276"/>
                  </a:lnTo>
                  <a:lnTo>
                    <a:pt x="956974" y="984759"/>
                  </a:lnTo>
                  <a:lnTo>
                    <a:pt x="956457" y="983984"/>
                  </a:lnTo>
                  <a:lnTo>
                    <a:pt x="955940" y="982562"/>
                  </a:lnTo>
                  <a:lnTo>
                    <a:pt x="955811" y="981658"/>
                  </a:lnTo>
                  <a:lnTo>
                    <a:pt x="955940" y="979202"/>
                  </a:lnTo>
                  <a:lnTo>
                    <a:pt x="956199" y="976359"/>
                  </a:lnTo>
                  <a:lnTo>
                    <a:pt x="956587" y="974938"/>
                  </a:lnTo>
                  <a:lnTo>
                    <a:pt x="957233" y="973904"/>
                  </a:lnTo>
                  <a:lnTo>
                    <a:pt x="957879" y="973387"/>
                  </a:lnTo>
                  <a:lnTo>
                    <a:pt x="959818" y="972094"/>
                  </a:lnTo>
                  <a:lnTo>
                    <a:pt x="962273" y="970931"/>
                  </a:lnTo>
                  <a:lnTo>
                    <a:pt x="967959" y="969381"/>
                  </a:lnTo>
                  <a:lnTo>
                    <a:pt x="969252" y="968864"/>
                  </a:lnTo>
                  <a:lnTo>
                    <a:pt x="970285" y="968347"/>
                  </a:lnTo>
                  <a:lnTo>
                    <a:pt x="971190" y="967442"/>
                  </a:lnTo>
                  <a:lnTo>
                    <a:pt x="971448" y="966667"/>
                  </a:lnTo>
                  <a:lnTo>
                    <a:pt x="971707" y="966021"/>
                  </a:lnTo>
                  <a:lnTo>
                    <a:pt x="971707" y="965245"/>
                  </a:lnTo>
                  <a:lnTo>
                    <a:pt x="971190" y="960334"/>
                  </a:lnTo>
                  <a:lnTo>
                    <a:pt x="971319" y="959300"/>
                  </a:lnTo>
                  <a:lnTo>
                    <a:pt x="971836" y="958396"/>
                  </a:lnTo>
                  <a:lnTo>
                    <a:pt x="972612" y="957749"/>
                  </a:lnTo>
                  <a:lnTo>
                    <a:pt x="973775" y="957103"/>
                  </a:lnTo>
                  <a:lnTo>
                    <a:pt x="979332" y="954777"/>
                  </a:lnTo>
                  <a:lnTo>
                    <a:pt x="980882" y="953873"/>
                  </a:lnTo>
                  <a:lnTo>
                    <a:pt x="981270" y="952063"/>
                  </a:lnTo>
                  <a:lnTo>
                    <a:pt x="982821" y="950771"/>
                  </a:lnTo>
                  <a:lnTo>
                    <a:pt x="987215" y="949091"/>
                  </a:lnTo>
                  <a:lnTo>
                    <a:pt x="990187" y="947152"/>
                  </a:lnTo>
                  <a:lnTo>
                    <a:pt x="991221" y="947023"/>
                  </a:lnTo>
                  <a:lnTo>
                    <a:pt x="992255" y="947023"/>
                  </a:lnTo>
                  <a:lnTo>
                    <a:pt x="993030" y="946765"/>
                  </a:lnTo>
                  <a:lnTo>
                    <a:pt x="993677" y="945860"/>
                  </a:lnTo>
                  <a:lnTo>
                    <a:pt x="996003" y="940045"/>
                  </a:lnTo>
                  <a:lnTo>
                    <a:pt x="1000914" y="934746"/>
                  </a:lnTo>
                  <a:lnTo>
                    <a:pt x="1001689" y="932808"/>
                  </a:lnTo>
                  <a:lnTo>
                    <a:pt x="1002077" y="932032"/>
                  </a:lnTo>
                  <a:lnTo>
                    <a:pt x="1003111" y="931127"/>
                  </a:lnTo>
                  <a:lnTo>
                    <a:pt x="1004145" y="930352"/>
                  </a:lnTo>
                  <a:lnTo>
                    <a:pt x="1006729" y="929448"/>
                  </a:lnTo>
                  <a:lnTo>
                    <a:pt x="1011899" y="928414"/>
                  </a:lnTo>
                  <a:lnTo>
                    <a:pt x="1023142" y="927767"/>
                  </a:lnTo>
                  <a:lnTo>
                    <a:pt x="1025726" y="926992"/>
                  </a:lnTo>
                  <a:lnTo>
                    <a:pt x="1027923" y="925700"/>
                  </a:lnTo>
                  <a:lnTo>
                    <a:pt x="1031671" y="922081"/>
                  </a:lnTo>
                  <a:lnTo>
                    <a:pt x="1032188" y="920918"/>
                  </a:lnTo>
                  <a:lnTo>
                    <a:pt x="1032188" y="920143"/>
                  </a:lnTo>
                  <a:lnTo>
                    <a:pt x="1032447" y="919626"/>
                  </a:lnTo>
                  <a:lnTo>
                    <a:pt x="1033868" y="919367"/>
                  </a:lnTo>
                  <a:lnTo>
                    <a:pt x="1035161" y="919626"/>
                  </a:lnTo>
                  <a:lnTo>
                    <a:pt x="1036841" y="920530"/>
                  </a:lnTo>
                  <a:lnTo>
                    <a:pt x="1037874" y="920918"/>
                  </a:lnTo>
                  <a:lnTo>
                    <a:pt x="1039813" y="920789"/>
                  </a:lnTo>
                  <a:lnTo>
                    <a:pt x="1041364" y="920013"/>
                  </a:lnTo>
                  <a:lnTo>
                    <a:pt x="1042656" y="918721"/>
                  </a:lnTo>
                  <a:lnTo>
                    <a:pt x="1043561" y="915103"/>
                  </a:lnTo>
                  <a:lnTo>
                    <a:pt x="1047438" y="910321"/>
                  </a:lnTo>
                  <a:lnTo>
                    <a:pt x="1050669" y="903084"/>
                  </a:lnTo>
                  <a:lnTo>
                    <a:pt x="1052219" y="900887"/>
                  </a:lnTo>
                  <a:lnTo>
                    <a:pt x="1053124" y="898561"/>
                  </a:lnTo>
                  <a:lnTo>
                    <a:pt x="1052995" y="895718"/>
                  </a:lnTo>
                  <a:lnTo>
                    <a:pt x="1052219" y="892874"/>
                  </a:lnTo>
                  <a:lnTo>
                    <a:pt x="1051056" y="890677"/>
                  </a:lnTo>
                  <a:lnTo>
                    <a:pt x="1051832" y="889127"/>
                  </a:lnTo>
                  <a:lnTo>
                    <a:pt x="1054287" y="890548"/>
                  </a:lnTo>
                  <a:lnTo>
                    <a:pt x="1055838" y="889644"/>
                  </a:lnTo>
                  <a:lnTo>
                    <a:pt x="1058035" y="885767"/>
                  </a:lnTo>
                  <a:lnTo>
                    <a:pt x="1059715" y="883440"/>
                  </a:lnTo>
                  <a:lnTo>
                    <a:pt x="1060490" y="881502"/>
                  </a:lnTo>
                  <a:lnTo>
                    <a:pt x="1061266" y="876203"/>
                  </a:lnTo>
                  <a:lnTo>
                    <a:pt x="1061783" y="875169"/>
                  </a:lnTo>
                  <a:lnTo>
                    <a:pt x="1063204" y="872972"/>
                  </a:lnTo>
                  <a:lnTo>
                    <a:pt x="1063592" y="871680"/>
                  </a:lnTo>
                  <a:lnTo>
                    <a:pt x="1063592" y="870388"/>
                  </a:lnTo>
                  <a:lnTo>
                    <a:pt x="1062946" y="867932"/>
                  </a:lnTo>
                  <a:lnTo>
                    <a:pt x="1062817" y="866769"/>
                  </a:lnTo>
                  <a:lnTo>
                    <a:pt x="1062946" y="865477"/>
                  </a:lnTo>
                  <a:lnTo>
                    <a:pt x="1063463" y="863926"/>
                  </a:lnTo>
                  <a:lnTo>
                    <a:pt x="1063592" y="863021"/>
                  </a:lnTo>
                  <a:lnTo>
                    <a:pt x="1063980" y="862246"/>
                  </a:lnTo>
                  <a:lnTo>
                    <a:pt x="1065918" y="861212"/>
                  </a:lnTo>
                  <a:lnTo>
                    <a:pt x="1066435" y="860437"/>
                  </a:lnTo>
                  <a:lnTo>
                    <a:pt x="1066435" y="857981"/>
                  </a:lnTo>
                  <a:lnTo>
                    <a:pt x="1065789" y="856043"/>
                  </a:lnTo>
                  <a:lnTo>
                    <a:pt x="1065530" y="854363"/>
                  </a:lnTo>
                  <a:lnTo>
                    <a:pt x="1066435" y="852166"/>
                  </a:lnTo>
                  <a:lnTo>
                    <a:pt x="1067469" y="851003"/>
                  </a:lnTo>
                  <a:lnTo>
                    <a:pt x="1069020" y="849452"/>
                  </a:lnTo>
                  <a:lnTo>
                    <a:pt x="1070829" y="848160"/>
                  </a:lnTo>
                  <a:lnTo>
                    <a:pt x="1072638" y="847643"/>
                  </a:lnTo>
                  <a:lnTo>
                    <a:pt x="1074318" y="846609"/>
                  </a:lnTo>
                  <a:lnTo>
                    <a:pt x="1078971" y="840018"/>
                  </a:lnTo>
                  <a:lnTo>
                    <a:pt x="1080909" y="838079"/>
                  </a:lnTo>
                  <a:lnTo>
                    <a:pt x="1085174" y="836529"/>
                  </a:lnTo>
                  <a:lnTo>
                    <a:pt x="1087371" y="835107"/>
                  </a:lnTo>
                  <a:lnTo>
                    <a:pt x="1090214" y="832005"/>
                  </a:lnTo>
                  <a:lnTo>
                    <a:pt x="1091765" y="830713"/>
                  </a:lnTo>
                  <a:lnTo>
                    <a:pt x="1093962" y="830196"/>
                  </a:lnTo>
                  <a:lnTo>
                    <a:pt x="1096547" y="829938"/>
                  </a:lnTo>
                  <a:lnTo>
                    <a:pt x="1098356" y="829162"/>
                  </a:lnTo>
                  <a:lnTo>
                    <a:pt x="1101716" y="826448"/>
                  </a:lnTo>
                  <a:lnTo>
                    <a:pt x="1103008" y="827999"/>
                  </a:lnTo>
                  <a:lnTo>
                    <a:pt x="1103396" y="830325"/>
                  </a:lnTo>
                  <a:lnTo>
                    <a:pt x="1104042" y="832393"/>
                  </a:lnTo>
                  <a:lnTo>
                    <a:pt x="1106497" y="833168"/>
                  </a:lnTo>
                  <a:lnTo>
                    <a:pt x="1108565" y="832910"/>
                  </a:lnTo>
                  <a:lnTo>
                    <a:pt x="1110245" y="832135"/>
                  </a:lnTo>
                  <a:lnTo>
                    <a:pt x="1113476" y="830196"/>
                  </a:lnTo>
                  <a:lnTo>
                    <a:pt x="1117095" y="828645"/>
                  </a:lnTo>
                  <a:lnTo>
                    <a:pt x="1118775" y="827095"/>
                  </a:lnTo>
                  <a:lnTo>
                    <a:pt x="1119679" y="826190"/>
                  </a:lnTo>
                  <a:lnTo>
                    <a:pt x="1119679" y="825673"/>
                  </a:lnTo>
                  <a:lnTo>
                    <a:pt x="1120067" y="825156"/>
                  </a:lnTo>
                  <a:lnTo>
                    <a:pt x="1120713" y="822442"/>
                  </a:lnTo>
                  <a:lnTo>
                    <a:pt x="1121101" y="821537"/>
                  </a:lnTo>
                  <a:lnTo>
                    <a:pt x="1122135" y="820762"/>
                  </a:lnTo>
                  <a:lnTo>
                    <a:pt x="1124461" y="819599"/>
                  </a:lnTo>
                  <a:lnTo>
                    <a:pt x="1125236" y="818823"/>
                  </a:lnTo>
                  <a:lnTo>
                    <a:pt x="1126012" y="811716"/>
                  </a:lnTo>
                  <a:lnTo>
                    <a:pt x="1126916" y="810553"/>
                  </a:lnTo>
                  <a:lnTo>
                    <a:pt x="1128596" y="809648"/>
                  </a:lnTo>
                  <a:lnTo>
                    <a:pt x="1128984" y="807710"/>
                  </a:lnTo>
                  <a:lnTo>
                    <a:pt x="1128855" y="803057"/>
                  </a:lnTo>
                  <a:lnTo>
                    <a:pt x="1129501" y="800602"/>
                  </a:lnTo>
                  <a:lnTo>
                    <a:pt x="1131440" y="796337"/>
                  </a:lnTo>
                  <a:lnTo>
                    <a:pt x="1131698" y="793623"/>
                  </a:lnTo>
                  <a:lnTo>
                    <a:pt x="1132344" y="792331"/>
                  </a:lnTo>
                  <a:lnTo>
                    <a:pt x="1134800" y="790263"/>
                  </a:lnTo>
                  <a:lnTo>
                    <a:pt x="1135446" y="789100"/>
                  </a:lnTo>
                  <a:lnTo>
                    <a:pt x="1135575" y="788066"/>
                  </a:lnTo>
                  <a:lnTo>
                    <a:pt x="1136480" y="785998"/>
                  </a:lnTo>
                  <a:lnTo>
                    <a:pt x="1136997" y="784318"/>
                  </a:lnTo>
                  <a:lnTo>
                    <a:pt x="1137255" y="784060"/>
                  </a:lnTo>
                  <a:lnTo>
                    <a:pt x="1137643" y="783543"/>
                  </a:lnTo>
                  <a:lnTo>
                    <a:pt x="1137255" y="782251"/>
                  </a:lnTo>
                  <a:lnTo>
                    <a:pt x="1137772" y="781087"/>
                  </a:lnTo>
                  <a:lnTo>
                    <a:pt x="1138548" y="779795"/>
                  </a:lnTo>
                  <a:lnTo>
                    <a:pt x="1139194" y="778244"/>
                  </a:lnTo>
                  <a:lnTo>
                    <a:pt x="1139194" y="776435"/>
                  </a:lnTo>
                  <a:lnTo>
                    <a:pt x="1139064" y="774755"/>
                  </a:lnTo>
                  <a:lnTo>
                    <a:pt x="1137643" y="770749"/>
                  </a:lnTo>
                  <a:lnTo>
                    <a:pt x="1137514" y="770232"/>
                  </a:lnTo>
                  <a:lnTo>
                    <a:pt x="1137255" y="768940"/>
                  </a:lnTo>
                  <a:lnTo>
                    <a:pt x="1136738" y="767389"/>
                  </a:lnTo>
                  <a:lnTo>
                    <a:pt x="1136221" y="766355"/>
                  </a:lnTo>
                  <a:lnTo>
                    <a:pt x="1136092" y="765838"/>
                  </a:lnTo>
                  <a:lnTo>
                    <a:pt x="1136092" y="765192"/>
                  </a:lnTo>
                  <a:lnTo>
                    <a:pt x="1136609" y="763382"/>
                  </a:lnTo>
                  <a:lnTo>
                    <a:pt x="1136738" y="762736"/>
                  </a:lnTo>
                  <a:lnTo>
                    <a:pt x="1137384" y="760410"/>
                  </a:lnTo>
                  <a:lnTo>
                    <a:pt x="1138418" y="758213"/>
                  </a:lnTo>
                  <a:lnTo>
                    <a:pt x="1138806" y="756921"/>
                  </a:lnTo>
                  <a:lnTo>
                    <a:pt x="1138935" y="755758"/>
                  </a:lnTo>
                  <a:lnTo>
                    <a:pt x="1138677" y="754207"/>
                  </a:lnTo>
                  <a:lnTo>
                    <a:pt x="1138677" y="753431"/>
                  </a:lnTo>
                  <a:lnTo>
                    <a:pt x="1138806" y="752785"/>
                  </a:lnTo>
                  <a:lnTo>
                    <a:pt x="1140227" y="747228"/>
                  </a:lnTo>
                  <a:lnTo>
                    <a:pt x="1143975" y="739603"/>
                  </a:lnTo>
                  <a:lnTo>
                    <a:pt x="1144492" y="738440"/>
                  </a:lnTo>
                  <a:lnTo>
                    <a:pt x="1144751" y="737536"/>
                  </a:lnTo>
                  <a:lnTo>
                    <a:pt x="1144622" y="736889"/>
                  </a:lnTo>
                  <a:lnTo>
                    <a:pt x="1144104" y="735985"/>
                  </a:lnTo>
                  <a:lnTo>
                    <a:pt x="1143975" y="735468"/>
                  </a:lnTo>
                  <a:lnTo>
                    <a:pt x="1143975" y="734693"/>
                  </a:lnTo>
                  <a:lnTo>
                    <a:pt x="1144234" y="734176"/>
                  </a:lnTo>
                  <a:lnTo>
                    <a:pt x="1144622" y="734046"/>
                  </a:lnTo>
                  <a:lnTo>
                    <a:pt x="1145268" y="734046"/>
                  </a:lnTo>
                  <a:lnTo>
                    <a:pt x="1146689" y="734434"/>
                  </a:lnTo>
                  <a:lnTo>
                    <a:pt x="1150049" y="733400"/>
                  </a:lnTo>
                  <a:lnTo>
                    <a:pt x="1151342" y="732754"/>
                  </a:lnTo>
                  <a:lnTo>
                    <a:pt x="1151729" y="732237"/>
                  </a:lnTo>
                  <a:lnTo>
                    <a:pt x="1151988" y="731849"/>
                  </a:lnTo>
                  <a:lnTo>
                    <a:pt x="1152246" y="731333"/>
                  </a:lnTo>
                  <a:lnTo>
                    <a:pt x="1152375" y="730557"/>
                  </a:lnTo>
                  <a:lnTo>
                    <a:pt x="1152505" y="729523"/>
                  </a:lnTo>
                  <a:lnTo>
                    <a:pt x="1152505" y="728748"/>
                  </a:lnTo>
                  <a:lnTo>
                    <a:pt x="1152375" y="728102"/>
                  </a:lnTo>
                  <a:lnTo>
                    <a:pt x="1151342" y="726809"/>
                  </a:lnTo>
                  <a:lnTo>
                    <a:pt x="1151212" y="726422"/>
                  </a:lnTo>
                  <a:lnTo>
                    <a:pt x="1150954" y="725775"/>
                  </a:lnTo>
                  <a:lnTo>
                    <a:pt x="1150954" y="724483"/>
                  </a:lnTo>
                  <a:lnTo>
                    <a:pt x="1151083" y="721769"/>
                  </a:lnTo>
                  <a:lnTo>
                    <a:pt x="1150954" y="721381"/>
                  </a:lnTo>
                  <a:lnTo>
                    <a:pt x="1150566" y="719701"/>
                  </a:lnTo>
                  <a:lnTo>
                    <a:pt x="1150437" y="718797"/>
                  </a:lnTo>
                  <a:lnTo>
                    <a:pt x="1150437" y="717246"/>
                  </a:lnTo>
                  <a:lnTo>
                    <a:pt x="1150566" y="716471"/>
                  </a:lnTo>
                  <a:lnTo>
                    <a:pt x="1151859" y="712594"/>
                  </a:lnTo>
                  <a:lnTo>
                    <a:pt x="1152505" y="708200"/>
                  </a:lnTo>
                  <a:lnTo>
                    <a:pt x="1152505" y="706907"/>
                  </a:lnTo>
                  <a:lnTo>
                    <a:pt x="1152375" y="706003"/>
                  </a:lnTo>
                  <a:lnTo>
                    <a:pt x="1151600" y="703806"/>
                  </a:lnTo>
                  <a:lnTo>
                    <a:pt x="1151212" y="701996"/>
                  </a:lnTo>
                  <a:lnTo>
                    <a:pt x="1151083" y="701092"/>
                  </a:lnTo>
                  <a:lnTo>
                    <a:pt x="1151212" y="695018"/>
                  </a:lnTo>
                  <a:lnTo>
                    <a:pt x="1151083" y="694372"/>
                  </a:lnTo>
                  <a:lnTo>
                    <a:pt x="1150954" y="693726"/>
                  </a:lnTo>
                  <a:lnTo>
                    <a:pt x="1150308" y="691916"/>
                  </a:lnTo>
                  <a:lnTo>
                    <a:pt x="1150049" y="690882"/>
                  </a:lnTo>
                  <a:lnTo>
                    <a:pt x="1150178" y="690236"/>
                  </a:lnTo>
                  <a:lnTo>
                    <a:pt x="1150566" y="689719"/>
                  </a:lnTo>
                  <a:lnTo>
                    <a:pt x="1151083" y="689590"/>
                  </a:lnTo>
                  <a:lnTo>
                    <a:pt x="1152634" y="688944"/>
                  </a:lnTo>
                  <a:lnTo>
                    <a:pt x="1153926" y="688685"/>
                  </a:lnTo>
                  <a:lnTo>
                    <a:pt x="1154572" y="688556"/>
                  </a:lnTo>
                  <a:lnTo>
                    <a:pt x="1154960" y="688298"/>
                  </a:lnTo>
                  <a:lnTo>
                    <a:pt x="1156640" y="687005"/>
                  </a:lnTo>
                  <a:lnTo>
                    <a:pt x="1157416" y="686230"/>
                  </a:lnTo>
                  <a:lnTo>
                    <a:pt x="1157803" y="685842"/>
                  </a:lnTo>
                  <a:lnTo>
                    <a:pt x="1158062" y="685196"/>
                  </a:lnTo>
                  <a:lnTo>
                    <a:pt x="1158449" y="684421"/>
                  </a:lnTo>
                  <a:lnTo>
                    <a:pt x="1160646" y="677830"/>
                  </a:lnTo>
                  <a:lnTo>
                    <a:pt x="1161809" y="671110"/>
                  </a:lnTo>
                  <a:lnTo>
                    <a:pt x="1162068" y="670334"/>
                  </a:lnTo>
                  <a:lnTo>
                    <a:pt x="1163748" y="668008"/>
                  </a:lnTo>
                  <a:lnTo>
                    <a:pt x="1164136" y="667750"/>
                  </a:lnTo>
                  <a:lnTo>
                    <a:pt x="1164523" y="667362"/>
                  </a:lnTo>
                  <a:lnTo>
                    <a:pt x="1165945" y="666586"/>
                  </a:lnTo>
                  <a:lnTo>
                    <a:pt x="1166074" y="666586"/>
                  </a:lnTo>
                  <a:lnTo>
                    <a:pt x="1166333" y="666199"/>
                  </a:lnTo>
                  <a:lnTo>
                    <a:pt x="1167625" y="664519"/>
                  </a:lnTo>
                  <a:lnTo>
                    <a:pt x="1168013" y="664131"/>
                  </a:lnTo>
                  <a:lnTo>
                    <a:pt x="1168271" y="663614"/>
                  </a:lnTo>
                  <a:lnTo>
                    <a:pt x="1169047" y="662193"/>
                  </a:lnTo>
                  <a:lnTo>
                    <a:pt x="1170597" y="660771"/>
                  </a:lnTo>
                  <a:lnTo>
                    <a:pt x="1171373" y="659737"/>
                  </a:lnTo>
                  <a:lnTo>
                    <a:pt x="1171760" y="658962"/>
                  </a:lnTo>
                  <a:lnTo>
                    <a:pt x="1172019" y="658186"/>
                  </a:lnTo>
                  <a:lnTo>
                    <a:pt x="1172277" y="654955"/>
                  </a:lnTo>
                  <a:lnTo>
                    <a:pt x="1172536" y="654180"/>
                  </a:lnTo>
                  <a:lnTo>
                    <a:pt x="1172794" y="653534"/>
                  </a:lnTo>
                  <a:lnTo>
                    <a:pt x="1174087" y="651725"/>
                  </a:lnTo>
                  <a:lnTo>
                    <a:pt x="1175508" y="650174"/>
                  </a:lnTo>
                  <a:lnTo>
                    <a:pt x="1177188" y="647977"/>
                  </a:lnTo>
                  <a:lnTo>
                    <a:pt x="1178739" y="645004"/>
                  </a:lnTo>
                  <a:lnTo>
                    <a:pt x="1181453" y="638930"/>
                  </a:lnTo>
                  <a:lnTo>
                    <a:pt x="1181970" y="637509"/>
                  </a:lnTo>
                  <a:lnTo>
                    <a:pt x="1182099" y="636863"/>
                  </a:lnTo>
                  <a:lnTo>
                    <a:pt x="1181970" y="636217"/>
                  </a:lnTo>
                  <a:lnTo>
                    <a:pt x="1181841" y="635700"/>
                  </a:lnTo>
                  <a:lnTo>
                    <a:pt x="1180936" y="633761"/>
                  </a:lnTo>
                  <a:lnTo>
                    <a:pt x="1180807" y="633115"/>
                  </a:lnTo>
                  <a:lnTo>
                    <a:pt x="1180936" y="631177"/>
                  </a:lnTo>
                  <a:lnTo>
                    <a:pt x="1180936" y="629755"/>
                  </a:lnTo>
                  <a:lnTo>
                    <a:pt x="1181453" y="625361"/>
                  </a:lnTo>
                  <a:lnTo>
                    <a:pt x="1181453" y="623940"/>
                  </a:lnTo>
                  <a:lnTo>
                    <a:pt x="1181065" y="622776"/>
                  </a:lnTo>
                  <a:lnTo>
                    <a:pt x="1180161" y="621355"/>
                  </a:lnTo>
                  <a:lnTo>
                    <a:pt x="1180031" y="620579"/>
                  </a:lnTo>
                  <a:lnTo>
                    <a:pt x="1180161" y="619933"/>
                  </a:lnTo>
                  <a:lnTo>
                    <a:pt x="1180419" y="619545"/>
                  </a:lnTo>
                  <a:lnTo>
                    <a:pt x="1180807" y="619158"/>
                  </a:lnTo>
                  <a:lnTo>
                    <a:pt x="1181324" y="618899"/>
                  </a:lnTo>
                  <a:lnTo>
                    <a:pt x="1183004" y="618253"/>
                  </a:lnTo>
                  <a:lnTo>
                    <a:pt x="1183521" y="617866"/>
                  </a:lnTo>
                  <a:lnTo>
                    <a:pt x="1184038" y="617478"/>
                  </a:lnTo>
                  <a:lnTo>
                    <a:pt x="1184167" y="616832"/>
                  </a:lnTo>
                  <a:lnTo>
                    <a:pt x="1184167" y="616315"/>
                  </a:lnTo>
                  <a:lnTo>
                    <a:pt x="1184038" y="615798"/>
                  </a:lnTo>
                  <a:lnTo>
                    <a:pt x="1183650" y="615410"/>
                  </a:lnTo>
                  <a:lnTo>
                    <a:pt x="1182875" y="614635"/>
                  </a:lnTo>
                  <a:lnTo>
                    <a:pt x="1182616" y="613988"/>
                  </a:lnTo>
                  <a:lnTo>
                    <a:pt x="1182745" y="613471"/>
                  </a:lnTo>
                  <a:lnTo>
                    <a:pt x="1183133" y="613084"/>
                  </a:lnTo>
                  <a:lnTo>
                    <a:pt x="1183908" y="612438"/>
                  </a:lnTo>
                  <a:lnTo>
                    <a:pt x="1187527" y="610111"/>
                  </a:lnTo>
                  <a:lnTo>
                    <a:pt x="1188044" y="609724"/>
                  </a:lnTo>
                  <a:lnTo>
                    <a:pt x="1188949" y="608561"/>
                  </a:lnTo>
                  <a:lnTo>
                    <a:pt x="1189595" y="607398"/>
                  </a:lnTo>
                  <a:lnTo>
                    <a:pt x="1189853" y="606622"/>
                  </a:lnTo>
                  <a:lnTo>
                    <a:pt x="1191792" y="598739"/>
                  </a:lnTo>
                  <a:lnTo>
                    <a:pt x="1191792" y="597188"/>
                  </a:lnTo>
                  <a:lnTo>
                    <a:pt x="1191533" y="596025"/>
                  </a:lnTo>
                  <a:lnTo>
                    <a:pt x="1191145" y="594991"/>
                  </a:lnTo>
                  <a:lnTo>
                    <a:pt x="1189595" y="594474"/>
                  </a:lnTo>
                  <a:lnTo>
                    <a:pt x="1186364" y="594603"/>
                  </a:lnTo>
                  <a:lnTo>
                    <a:pt x="1185071" y="594345"/>
                  </a:lnTo>
                  <a:lnTo>
                    <a:pt x="1183521" y="593828"/>
                  </a:lnTo>
                  <a:lnTo>
                    <a:pt x="1182875" y="593311"/>
                  </a:lnTo>
                  <a:lnTo>
                    <a:pt x="1182358" y="592923"/>
                  </a:lnTo>
                  <a:lnTo>
                    <a:pt x="1182099" y="592536"/>
                  </a:lnTo>
                  <a:lnTo>
                    <a:pt x="1181970" y="592019"/>
                  </a:lnTo>
                  <a:lnTo>
                    <a:pt x="1182099" y="591502"/>
                  </a:lnTo>
                  <a:lnTo>
                    <a:pt x="1182358" y="591114"/>
                  </a:lnTo>
                  <a:lnTo>
                    <a:pt x="1182616" y="590726"/>
                  </a:lnTo>
                  <a:lnTo>
                    <a:pt x="1182228" y="590468"/>
                  </a:lnTo>
                  <a:lnTo>
                    <a:pt x="1181711" y="590468"/>
                  </a:lnTo>
                  <a:lnTo>
                    <a:pt x="1181065" y="590468"/>
                  </a:lnTo>
                  <a:lnTo>
                    <a:pt x="1179902" y="590856"/>
                  </a:lnTo>
                  <a:lnTo>
                    <a:pt x="1179256" y="590985"/>
                  </a:lnTo>
                  <a:lnTo>
                    <a:pt x="1178868" y="590597"/>
                  </a:lnTo>
                  <a:lnTo>
                    <a:pt x="1178610" y="590080"/>
                  </a:lnTo>
                  <a:lnTo>
                    <a:pt x="1178481" y="588529"/>
                  </a:lnTo>
                  <a:lnTo>
                    <a:pt x="1177964" y="587496"/>
                  </a:lnTo>
                  <a:lnTo>
                    <a:pt x="1177705" y="586849"/>
                  </a:lnTo>
                  <a:lnTo>
                    <a:pt x="1177705" y="586074"/>
                  </a:lnTo>
                  <a:lnTo>
                    <a:pt x="1177834" y="584782"/>
                  </a:lnTo>
                  <a:lnTo>
                    <a:pt x="1177834" y="583360"/>
                  </a:lnTo>
                  <a:lnTo>
                    <a:pt x="1177576" y="581422"/>
                  </a:lnTo>
                  <a:lnTo>
                    <a:pt x="1177318" y="580259"/>
                  </a:lnTo>
                  <a:lnTo>
                    <a:pt x="1177188" y="579741"/>
                  </a:lnTo>
                  <a:lnTo>
                    <a:pt x="1176154" y="577803"/>
                  </a:lnTo>
                  <a:lnTo>
                    <a:pt x="1176025" y="577286"/>
                  </a:lnTo>
                  <a:lnTo>
                    <a:pt x="1175896" y="574831"/>
                  </a:lnTo>
                  <a:lnTo>
                    <a:pt x="1175508" y="574185"/>
                  </a:lnTo>
                  <a:lnTo>
                    <a:pt x="1175121" y="573926"/>
                  </a:lnTo>
                  <a:lnTo>
                    <a:pt x="1173311" y="572892"/>
                  </a:lnTo>
                  <a:lnTo>
                    <a:pt x="1171760" y="571729"/>
                  </a:lnTo>
                  <a:lnTo>
                    <a:pt x="1170985" y="570825"/>
                  </a:lnTo>
                  <a:lnTo>
                    <a:pt x="1170727" y="569920"/>
                  </a:lnTo>
                  <a:lnTo>
                    <a:pt x="1170597" y="569144"/>
                  </a:lnTo>
                  <a:lnTo>
                    <a:pt x="1170856" y="568628"/>
                  </a:lnTo>
                  <a:lnTo>
                    <a:pt x="1171373" y="568369"/>
                  </a:lnTo>
                  <a:lnTo>
                    <a:pt x="1171890" y="568369"/>
                  </a:lnTo>
                  <a:lnTo>
                    <a:pt x="1172277" y="568628"/>
                  </a:lnTo>
                  <a:lnTo>
                    <a:pt x="1172536" y="568886"/>
                  </a:lnTo>
                  <a:lnTo>
                    <a:pt x="1172924" y="569015"/>
                  </a:lnTo>
                  <a:lnTo>
                    <a:pt x="1173311" y="568757"/>
                  </a:lnTo>
                  <a:lnTo>
                    <a:pt x="1173441" y="568240"/>
                  </a:lnTo>
                  <a:lnTo>
                    <a:pt x="1173570" y="567335"/>
                  </a:lnTo>
                  <a:lnTo>
                    <a:pt x="1173182" y="565009"/>
                  </a:lnTo>
                  <a:lnTo>
                    <a:pt x="1173182" y="564233"/>
                  </a:lnTo>
                  <a:lnTo>
                    <a:pt x="1173311" y="563587"/>
                  </a:lnTo>
                  <a:lnTo>
                    <a:pt x="1173441" y="562941"/>
                  </a:lnTo>
                  <a:lnTo>
                    <a:pt x="1174474" y="560873"/>
                  </a:lnTo>
                  <a:lnTo>
                    <a:pt x="1174604" y="560227"/>
                  </a:lnTo>
                  <a:lnTo>
                    <a:pt x="1174733" y="558935"/>
                  </a:lnTo>
                  <a:lnTo>
                    <a:pt x="1175250" y="557255"/>
                  </a:lnTo>
                  <a:lnTo>
                    <a:pt x="1175250" y="555704"/>
                  </a:lnTo>
                  <a:lnTo>
                    <a:pt x="1174991" y="553766"/>
                  </a:lnTo>
                  <a:lnTo>
                    <a:pt x="1175121" y="552732"/>
                  </a:lnTo>
                  <a:lnTo>
                    <a:pt x="1175379" y="552215"/>
                  </a:lnTo>
                  <a:lnTo>
                    <a:pt x="1175896" y="551956"/>
                  </a:lnTo>
                  <a:lnTo>
                    <a:pt x="1176542" y="551827"/>
                  </a:lnTo>
                  <a:lnTo>
                    <a:pt x="1176930" y="551569"/>
                  </a:lnTo>
                  <a:lnTo>
                    <a:pt x="1177188" y="551181"/>
                  </a:lnTo>
                  <a:lnTo>
                    <a:pt x="1177447" y="550664"/>
                  </a:lnTo>
                  <a:lnTo>
                    <a:pt x="1177447" y="549889"/>
                  </a:lnTo>
                  <a:lnTo>
                    <a:pt x="1175508" y="536578"/>
                  </a:lnTo>
                  <a:lnTo>
                    <a:pt x="1175637" y="535931"/>
                  </a:lnTo>
                  <a:lnTo>
                    <a:pt x="1176154" y="534898"/>
                  </a:lnTo>
                  <a:lnTo>
                    <a:pt x="1176284" y="533734"/>
                  </a:lnTo>
                  <a:lnTo>
                    <a:pt x="1176025" y="532700"/>
                  </a:lnTo>
                  <a:lnTo>
                    <a:pt x="1174474" y="528694"/>
                  </a:lnTo>
                  <a:lnTo>
                    <a:pt x="1174216" y="528307"/>
                  </a:lnTo>
                  <a:lnTo>
                    <a:pt x="1172407" y="526756"/>
                  </a:lnTo>
                  <a:lnTo>
                    <a:pt x="1171373" y="524947"/>
                  </a:lnTo>
                  <a:lnTo>
                    <a:pt x="1170985" y="523913"/>
                  </a:lnTo>
                  <a:lnTo>
                    <a:pt x="1169822" y="507500"/>
                  </a:lnTo>
                  <a:lnTo>
                    <a:pt x="1170080" y="505174"/>
                  </a:lnTo>
                  <a:lnTo>
                    <a:pt x="1169951" y="503106"/>
                  </a:lnTo>
                  <a:lnTo>
                    <a:pt x="1169951" y="502977"/>
                  </a:lnTo>
                  <a:lnTo>
                    <a:pt x="1170210" y="502460"/>
                  </a:lnTo>
                  <a:lnTo>
                    <a:pt x="1170597" y="502201"/>
                  </a:lnTo>
                  <a:lnTo>
                    <a:pt x="1171890" y="501297"/>
                  </a:lnTo>
                  <a:lnTo>
                    <a:pt x="1172277" y="500651"/>
                  </a:lnTo>
                  <a:lnTo>
                    <a:pt x="1172536" y="500004"/>
                  </a:lnTo>
                  <a:lnTo>
                    <a:pt x="1172665" y="498712"/>
                  </a:lnTo>
                  <a:lnTo>
                    <a:pt x="1172407" y="497678"/>
                  </a:lnTo>
                  <a:lnTo>
                    <a:pt x="1172019" y="496644"/>
                  </a:lnTo>
                  <a:lnTo>
                    <a:pt x="1171760" y="495869"/>
                  </a:lnTo>
                  <a:lnTo>
                    <a:pt x="1171760" y="495223"/>
                  </a:lnTo>
                  <a:lnTo>
                    <a:pt x="1172019" y="494706"/>
                  </a:lnTo>
                  <a:lnTo>
                    <a:pt x="1172277" y="494318"/>
                  </a:lnTo>
                  <a:lnTo>
                    <a:pt x="1172794" y="494060"/>
                  </a:lnTo>
                  <a:lnTo>
                    <a:pt x="1173311" y="493801"/>
                  </a:lnTo>
                  <a:lnTo>
                    <a:pt x="1173699" y="493155"/>
                  </a:lnTo>
                  <a:lnTo>
                    <a:pt x="1173957" y="492251"/>
                  </a:lnTo>
                  <a:lnTo>
                    <a:pt x="1173957" y="491087"/>
                  </a:lnTo>
                  <a:lnTo>
                    <a:pt x="1173699" y="490312"/>
                  </a:lnTo>
                  <a:lnTo>
                    <a:pt x="1173441" y="489795"/>
                  </a:lnTo>
                  <a:lnTo>
                    <a:pt x="1172924" y="489537"/>
                  </a:lnTo>
                  <a:lnTo>
                    <a:pt x="1171760" y="489278"/>
                  </a:lnTo>
                  <a:lnTo>
                    <a:pt x="1171114" y="489020"/>
                  </a:lnTo>
                  <a:lnTo>
                    <a:pt x="1170468" y="488115"/>
                  </a:lnTo>
                  <a:lnTo>
                    <a:pt x="1170210" y="487081"/>
                  </a:lnTo>
                  <a:lnTo>
                    <a:pt x="1170080" y="484367"/>
                  </a:lnTo>
                  <a:lnTo>
                    <a:pt x="1169951" y="483721"/>
                  </a:lnTo>
                  <a:lnTo>
                    <a:pt x="1169564" y="483075"/>
                  </a:lnTo>
                  <a:lnTo>
                    <a:pt x="1168917" y="481007"/>
                  </a:lnTo>
                  <a:lnTo>
                    <a:pt x="1168659" y="479327"/>
                  </a:lnTo>
                  <a:lnTo>
                    <a:pt x="1168400" y="478422"/>
                  </a:lnTo>
                  <a:lnTo>
                    <a:pt x="1168142" y="477776"/>
                  </a:lnTo>
                  <a:lnTo>
                    <a:pt x="1167367" y="476743"/>
                  </a:lnTo>
                  <a:lnTo>
                    <a:pt x="1166850" y="475967"/>
                  </a:lnTo>
                  <a:lnTo>
                    <a:pt x="1166720" y="475321"/>
                  </a:lnTo>
                  <a:lnTo>
                    <a:pt x="1166720" y="474545"/>
                  </a:lnTo>
                  <a:lnTo>
                    <a:pt x="1166850" y="472865"/>
                  </a:lnTo>
                  <a:lnTo>
                    <a:pt x="1166979" y="472219"/>
                  </a:lnTo>
                  <a:lnTo>
                    <a:pt x="1167237" y="471702"/>
                  </a:lnTo>
                  <a:lnTo>
                    <a:pt x="1168271" y="470410"/>
                  </a:lnTo>
                  <a:lnTo>
                    <a:pt x="1169047" y="469764"/>
                  </a:lnTo>
                  <a:lnTo>
                    <a:pt x="1169951" y="469118"/>
                  </a:lnTo>
                  <a:lnTo>
                    <a:pt x="1170985" y="467955"/>
                  </a:lnTo>
                  <a:lnTo>
                    <a:pt x="1171890" y="467308"/>
                  </a:lnTo>
                  <a:lnTo>
                    <a:pt x="1172277" y="466921"/>
                  </a:lnTo>
                  <a:lnTo>
                    <a:pt x="1172536" y="466404"/>
                  </a:lnTo>
                  <a:lnTo>
                    <a:pt x="1172794" y="465887"/>
                  </a:lnTo>
                  <a:lnTo>
                    <a:pt x="1172924" y="465241"/>
                  </a:lnTo>
                  <a:lnTo>
                    <a:pt x="1173441" y="460459"/>
                  </a:lnTo>
                  <a:lnTo>
                    <a:pt x="1173311" y="459554"/>
                  </a:lnTo>
                  <a:lnTo>
                    <a:pt x="1173053" y="458908"/>
                  </a:lnTo>
                  <a:lnTo>
                    <a:pt x="1172794" y="458521"/>
                  </a:lnTo>
                  <a:lnTo>
                    <a:pt x="1172407" y="458133"/>
                  </a:lnTo>
                  <a:lnTo>
                    <a:pt x="1172019" y="457745"/>
                  </a:lnTo>
                  <a:lnTo>
                    <a:pt x="1167625" y="455290"/>
                  </a:lnTo>
                  <a:lnTo>
                    <a:pt x="1167108" y="455031"/>
                  </a:lnTo>
                  <a:lnTo>
                    <a:pt x="1166720" y="454644"/>
                  </a:lnTo>
                  <a:lnTo>
                    <a:pt x="1166074" y="453739"/>
                  </a:lnTo>
                  <a:lnTo>
                    <a:pt x="1165816" y="453351"/>
                  </a:lnTo>
                  <a:lnTo>
                    <a:pt x="1164653" y="452059"/>
                  </a:lnTo>
                  <a:lnTo>
                    <a:pt x="1163748" y="450120"/>
                  </a:lnTo>
                  <a:lnTo>
                    <a:pt x="1163490" y="448828"/>
                  </a:lnTo>
                  <a:lnTo>
                    <a:pt x="1163619" y="445597"/>
                  </a:lnTo>
                  <a:lnTo>
                    <a:pt x="1163877" y="443659"/>
                  </a:lnTo>
                  <a:lnTo>
                    <a:pt x="1164523" y="441979"/>
                  </a:lnTo>
                  <a:lnTo>
                    <a:pt x="1164911" y="440686"/>
                  </a:lnTo>
                  <a:lnTo>
                    <a:pt x="1165299" y="438102"/>
                  </a:lnTo>
                  <a:lnTo>
                    <a:pt x="1168659" y="427634"/>
                  </a:lnTo>
                  <a:lnTo>
                    <a:pt x="1169176" y="426729"/>
                  </a:lnTo>
                  <a:lnTo>
                    <a:pt x="1169564" y="426341"/>
                  </a:lnTo>
                  <a:lnTo>
                    <a:pt x="1170080" y="425307"/>
                  </a:lnTo>
                  <a:lnTo>
                    <a:pt x="1170856" y="423111"/>
                  </a:lnTo>
                  <a:lnTo>
                    <a:pt x="1171114" y="422594"/>
                  </a:lnTo>
                  <a:lnTo>
                    <a:pt x="1171631" y="418975"/>
                  </a:lnTo>
                  <a:lnTo>
                    <a:pt x="1171890" y="409929"/>
                  </a:lnTo>
                  <a:lnTo>
                    <a:pt x="1172277" y="408895"/>
                  </a:lnTo>
                  <a:lnTo>
                    <a:pt x="1173957" y="406052"/>
                  </a:lnTo>
                  <a:lnTo>
                    <a:pt x="1174216" y="405535"/>
                  </a:lnTo>
                  <a:lnTo>
                    <a:pt x="1174604" y="405147"/>
                  </a:lnTo>
                  <a:lnTo>
                    <a:pt x="1175508" y="404630"/>
                  </a:lnTo>
                  <a:lnTo>
                    <a:pt x="1176025" y="404372"/>
                  </a:lnTo>
                  <a:lnTo>
                    <a:pt x="1176413" y="403984"/>
                  </a:lnTo>
                  <a:lnTo>
                    <a:pt x="1176801" y="403596"/>
                  </a:lnTo>
                  <a:lnTo>
                    <a:pt x="1177188" y="402692"/>
                  </a:lnTo>
                  <a:lnTo>
                    <a:pt x="1177447" y="401141"/>
                  </a:lnTo>
                  <a:lnTo>
                    <a:pt x="1177318" y="397910"/>
                  </a:lnTo>
                  <a:lnTo>
                    <a:pt x="1177188" y="397005"/>
                  </a:lnTo>
                  <a:lnTo>
                    <a:pt x="1176801" y="395972"/>
                  </a:lnTo>
                  <a:lnTo>
                    <a:pt x="1175767" y="390414"/>
                  </a:lnTo>
                  <a:lnTo>
                    <a:pt x="1174991" y="387571"/>
                  </a:lnTo>
                  <a:lnTo>
                    <a:pt x="1174991" y="386667"/>
                  </a:lnTo>
                  <a:lnTo>
                    <a:pt x="1175121" y="386021"/>
                  </a:lnTo>
                  <a:lnTo>
                    <a:pt x="1176413" y="384340"/>
                  </a:lnTo>
                  <a:lnTo>
                    <a:pt x="1176801" y="383694"/>
                  </a:lnTo>
                  <a:lnTo>
                    <a:pt x="1177059" y="383048"/>
                  </a:lnTo>
                  <a:lnTo>
                    <a:pt x="1177318" y="381885"/>
                  </a:lnTo>
                  <a:lnTo>
                    <a:pt x="1177318" y="381110"/>
                  </a:lnTo>
                  <a:lnTo>
                    <a:pt x="1177188" y="380463"/>
                  </a:lnTo>
                  <a:lnTo>
                    <a:pt x="1176284" y="378266"/>
                  </a:lnTo>
                  <a:lnTo>
                    <a:pt x="1175767" y="376587"/>
                  </a:lnTo>
                  <a:lnTo>
                    <a:pt x="1175767" y="375811"/>
                  </a:lnTo>
                  <a:lnTo>
                    <a:pt x="1175896" y="375165"/>
                  </a:lnTo>
                  <a:lnTo>
                    <a:pt x="1176801" y="373743"/>
                  </a:lnTo>
                  <a:lnTo>
                    <a:pt x="1177576" y="373097"/>
                  </a:lnTo>
                  <a:lnTo>
                    <a:pt x="1177964" y="372710"/>
                  </a:lnTo>
                  <a:lnTo>
                    <a:pt x="1178610" y="371934"/>
                  </a:lnTo>
                  <a:lnTo>
                    <a:pt x="1178739" y="371676"/>
                  </a:lnTo>
                  <a:lnTo>
                    <a:pt x="1179644" y="369737"/>
                  </a:lnTo>
                  <a:lnTo>
                    <a:pt x="1180161" y="367669"/>
                  </a:lnTo>
                  <a:lnTo>
                    <a:pt x="1180161" y="363275"/>
                  </a:lnTo>
                  <a:lnTo>
                    <a:pt x="1179902" y="362242"/>
                  </a:lnTo>
                  <a:lnTo>
                    <a:pt x="1178739" y="359528"/>
                  </a:lnTo>
                  <a:lnTo>
                    <a:pt x="1178739" y="357977"/>
                  </a:lnTo>
                  <a:lnTo>
                    <a:pt x="1178868" y="357331"/>
                  </a:lnTo>
                  <a:lnTo>
                    <a:pt x="1180161" y="355521"/>
                  </a:lnTo>
                  <a:lnTo>
                    <a:pt x="1180678" y="354617"/>
                  </a:lnTo>
                  <a:lnTo>
                    <a:pt x="1181065" y="353195"/>
                  </a:lnTo>
                  <a:lnTo>
                    <a:pt x="1181711" y="352420"/>
                  </a:lnTo>
                  <a:lnTo>
                    <a:pt x="1182487" y="352032"/>
                  </a:lnTo>
                  <a:lnTo>
                    <a:pt x="1183392" y="351903"/>
                  </a:lnTo>
                  <a:lnTo>
                    <a:pt x="1184296" y="351515"/>
                  </a:lnTo>
                  <a:lnTo>
                    <a:pt x="1185976" y="347767"/>
                  </a:lnTo>
                  <a:lnTo>
                    <a:pt x="1186364" y="347250"/>
                  </a:lnTo>
                  <a:lnTo>
                    <a:pt x="1187398" y="346604"/>
                  </a:lnTo>
                  <a:lnTo>
                    <a:pt x="1187398" y="345312"/>
                  </a:lnTo>
                  <a:lnTo>
                    <a:pt x="1186752" y="342727"/>
                  </a:lnTo>
                  <a:lnTo>
                    <a:pt x="1187398" y="341693"/>
                  </a:lnTo>
                  <a:lnTo>
                    <a:pt x="1189078" y="339626"/>
                  </a:lnTo>
                  <a:lnTo>
                    <a:pt x="1189595" y="338333"/>
                  </a:lnTo>
                  <a:lnTo>
                    <a:pt x="1189724" y="337170"/>
                  </a:lnTo>
                  <a:lnTo>
                    <a:pt x="1189595" y="333552"/>
                  </a:lnTo>
                  <a:lnTo>
                    <a:pt x="1190112" y="331484"/>
                  </a:lnTo>
                  <a:lnTo>
                    <a:pt x="1191404" y="329675"/>
                  </a:lnTo>
                  <a:lnTo>
                    <a:pt x="1194764" y="326444"/>
                  </a:lnTo>
                  <a:lnTo>
                    <a:pt x="1197349" y="323213"/>
                  </a:lnTo>
                  <a:lnTo>
                    <a:pt x="1199416" y="318561"/>
                  </a:lnTo>
                  <a:lnTo>
                    <a:pt x="1200838" y="313779"/>
                  </a:lnTo>
                  <a:lnTo>
                    <a:pt x="1201355" y="309385"/>
                  </a:lnTo>
                  <a:lnTo>
                    <a:pt x="1200579" y="305379"/>
                  </a:lnTo>
                  <a:lnTo>
                    <a:pt x="1200450" y="302923"/>
                  </a:lnTo>
                  <a:lnTo>
                    <a:pt x="1201097" y="300985"/>
                  </a:lnTo>
                  <a:lnTo>
                    <a:pt x="1201613" y="299951"/>
                  </a:lnTo>
                  <a:lnTo>
                    <a:pt x="1202518" y="297625"/>
                  </a:lnTo>
                  <a:lnTo>
                    <a:pt x="1203293" y="296591"/>
                  </a:lnTo>
                  <a:lnTo>
                    <a:pt x="1209109" y="290388"/>
                  </a:lnTo>
                  <a:lnTo>
                    <a:pt x="1210401" y="288578"/>
                  </a:lnTo>
                  <a:lnTo>
                    <a:pt x="1210918" y="286898"/>
                  </a:lnTo>
                  <a:lnTo>
                    <a:pt x="1211177" y="284701"/>
                  </a:lnTo>
                  <a:lnTo>
                    <a:pt x="1213115" y="277594"/>
                  </a:lnTo>
                  <a:lnTo>
                    <a:pt x="1215183" y="273329"/>
                  </a:lnTo>
                  <a:lnTo>
                    <a:pt x="1217768" y="269452"/>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0" name="Graphic 2">
              <a:extLst>
                <a:ext uri="{FF2B5EF4-FFF2-40B4-BE49-F238E27FC236}">
                  <a16:creationId xmlns:a16="http://schemas.microsoft.com/office/drawing/2014/main" id="{FEACAFF2-24B6-B0AD-CFFE-7EC15617A591}"/>
                </a:ext>
              </a:extLst>
            </p:cNvPr>
            <p:cNvSpPr/>
            <p:nvPr/>
          </p:nvSpPr>
          <p:spPr>
            <a:xfrm>
              <a:off x="6386646" y="1912832"/>
              <a:ext cx="741412" cy="991091"/>
            </a:xfrm>
            <a:custGeom>
              <a:avLst/>
              <a:gdLst>
                <a:gd name="connsiteX0" fmla="*/ 535027 w 741412"/>
                <a:gd name="connsiteY0" fmla="*/ 143708 h 991091"/>
                <a:gd name="connsiteX1" fmla="*/ 535156 w 741412"/>
                <a:gd name="connsiteY1" fmla="*/ 144612 h 991091"/>
                <a:gd name="connsiteX2" fmla="*/ 536190 w 741412"/>
                <a:gd name="connsiteY2" fmla="*/ 145517 h 991091"/>
                <a:gd name="connsiteX3" fmla="*/ 537095 w 741412"/>
                <a:gd name="connsiteY3" fmla="*/ 145775 h 991091"/>
                <a:gd name="connsiteX4" fmla="*/ 538387 w 741412"/>
                <a:gd name="connsiteY4" fmla="*/ 146292 h 991091"/>
                <a:gd name="connsiteX5" fmla="*/ 538904 w 741412"/>
                <a:gd name="connsiteY5" fmla="*/ 146163 h 991091"/>
                <a:gd name="connsiteX6" fmla="*/ 539291 w 741412"/>
                <a:gd name="connsiteY6" fmla="*/ 145129 h 991091"/>
                <a:gd name="connsiteX7" fmla="*/ 539679 w 741412"/>
                <a:gd name="connsiteY7" fmla="*/ 144742 h 991091"/>
                <a:gd name="connsiteX8" fmla="*/ 540584 w 741412"/>
                <a:gd name="connsiteY8" fmla="*/ 144483 h 991091"/>
                <a:gd name="connsiteX9" fmla="*/ 541230 w 741412"/>
                <a:gd name="connsiteY9" fmla="*/ 143708 h 991091"/>
                <a:gd name="connsiteX10" fmla="*/ 542393 w 741412"/>
                <a:gd name="connsiteY10" fmla="*/ 143578 h 991091"/>
                <a:gd name="connsiteX11" fmla="*/ 544461 w 741412"/>
                <a:gd name="connsiteY11" fmla="*/ 143578 h 991091"/>
                <a:gd name="connsiteX12" fmla="*/ 546270 w 741412"/>
                <a:gd name="connsiteY12" fmla="*/ 143966 h 991091"/>
                <a:gd name="connsiteX13" fmla="*/ 546787 w 741412"/>
                <a:gd name="connsiteY13" fmla="*/ 143449 h 991091"/>
                <a:gd name="connsiteX14" fmla="*/ 546658 w 741412"/>
                <a:gd name="connsiteY14" fmla="*/ 142674 h 991091"/>
                <a:gd name="connsiteX15" fmla="*/ 546141 w 741412"/>
                <a:gd name="connsiteY15" fmla="*/ 141640 h 991091"/>
                <a:gd name="connsiteX16" fmla="*/ 547046 w 741412"/>
                <a:gd name="connsiteY16" fmla="*/ 140994 h 991091"/>
                <a:gd name="connsiteX17" fmla="*/ 547304 w 741412"/>
                <a:gd name="connsiteY17" fmla="*/ 139185 h 991091"/>
                <a:gd name="connsiteX18" fmla="*/ 547433 w 741412"/>
                <a:gd name="connsiteY18" fmla="*/ 136341 h 991091"/>
                <a:gd name="connsiteX19" fmla="*/ 547821 w 741412"/>
                <a:gd name="connsiteY19" fmla="*/ 134532 h 991091"/>
                <a:gd name="connsiteX20" fmla="*/ 549630 w 741412"/>
                <a:gd name="connsiteY20" fmla="*/ 132981 h 991091"/>
                <a:gd name="connsiteX21" fmla="*/ 550664 w 741412"/>
                <a:gd name="connsiteY21" fmla="*/ 131043 h 991091"/>
                <a:gd name="connsiteX22" fmla="*/ 550276 w 741412"/>
                <a:gd name="connsiteY22" fmla="*/ 129104 h 991091"/>
                <a:gd name="connsiteX23" fmla="*/ 550018 w 741412"/>
                <a:gd name="connsiteY23" fmla="*/ 128070 h 991091"/>
                <a:gd name="connsiteX24" fmla="*/ 547821 w 741412"/>
                <a:gd name="connsiteY24" fmla="*/ 127553 h 991091"/>
                <a:gd name="connsiteX25" fmla="*/ 546529 w 741412"/>
                <a:gd name="connsiteY25" fmla="*/ 127683 h 991091"/>
                <a:gd name="connsiteX26" fmla="*/ 544719 w 741412"/>
                <a:gd name="connsiteY26" fmla="*/ 128200 h 991091"/>
                <a:gd name="connsiteX27" fmla="*/ 543298 w 741412"/>
                <a:gd name="connsiteY27" fmla="*/ 128329 h 991091"/>
                <a:gd name="connsiteX28" fmla="*/ 541618 w 741412"/>
                <a:gd name="connsiteY28" fmla="*/ 128846 h 991091"/>
                <a:gd name="connsiteX29" fmla="*/ 539808 w 741412"/>
                <a:gd name="connsiteY29" fmla="*/ 130009 h 991091"/>
                <a:gd name="connsiteX30" fmla="*/ 538387 w 741412"/>
                <a:gd name="connsiteY30" fmla="*/ 131560 h 991091"/>
                <a:gd name="connsiteX31" fmla="*/ 537095 w 741412"/>
                <a:gd name="connsiteY31" fmla="*/ 134661 h 991091"/>
                <a:gd name="connsiteX32" fmla="*/ 536061 w 741412"/>
                <a:gd name="connsiteY32" fmla="*/ 136341 h 991091"/>
                <a:gd name="connsiteX33" fmla="*/ 536319 w 741412"/>
                <a:gd name="connsiteY33" fmla="*/ 138538 h 991091"/>
                <a:gd name="connsiteX34" fmla="*/ 536707 w 741412"/>
                <a:gd name="connsiteY34" fmla="*/ 140735 h 991091"/>
                <a:gd name="connsiteX35" fmla="*/ 536061 w 741412"/>
                <a:gd name="connsiteY35" fmla="*/ 142932 h 991091"/>
                <a:gd name="connsiteX36" fmla="*/ 535027 w 741412"/>
                <a:gd name="connsiteY36" fmla="*/ 143708 h 991091"/>
                <a:gd name="connsiteX37" fmla="*/ 549113 w 741412"/>
                <a:gd name="connsiteY37" fmla="*/ 141769 h 991091"/>
                <a:gd name="connsiteX38" fmla="*/ 549630 w 741412"/>
                <a:gd name="connsiteY38" fmla="*/ 143061 h 991091"/>
                <a:gd name="connsiteX39" fmla="*/ 550276 w 741412"/>
                <a:gd name="connsiteY39" fmla="*/ 144612 h 991091"/>
                <a:gd name="connsiteX40" fmla="*/ 551956 w 741412"/>
                <a:gd name="connsiteY40" fmla="*/ 145000 h 991091"/>
                <a:gd name="connsiteX41" fmla="*/ 553249 w 741412"/>
                <a:gd name="connsiteY41" fmla="*/ 145905 h 991091"/>
                <a:gd name="connsiteX42" fmla="*/ 554670 w 741412"/>
                <a:gd name="connsiteY42" fmla="*/ 145388 h 991091"/>
                <a:gd name="connsiteX43" fmla="*/ 554670 w 741412"/>
                <a:gd name="connsiteY43" fmla="*/ 145258 h 991091"/>
                <a:gd name="connsiteX44" fmla="*/ 555187 w 741412"/>
                <a:gd name="connsiteY44" fmla="*/ 143837 h 991091"/>
                <a:gd name="connsiteX45" fmla="*/ 556350 w 741412"/>
                <a:gd name="connsiteY45" fmla="*/ 142415 h 991091"/>
                <a:gd name="connsiteX46" fmla="*/ 556609 w 741412"/>
                <a:gd name="connsiteY46" fmla="*/ 140477 h 991091"/>
                <a:gd name="connsiteX47" fmla="*/ 556221 w 741412"/>
                <a:gd name="connsiteY47" fmla="*/ 139314 h 991091"/>
                <a:gd name="connsiteX48" fmla="*/ 554153 w 741412"/>
                <a:gd name="connsiteY48" fmla="*/ 139443 h 991091"/>
                <a:gd name="connsiteX49" fmla="*/ 552603 w 741412"/>
                <a:gd name="connsiteY49" fmla="*/ 139831 h 991091"/>
                <a:gd name="connsiteX50" fmla="*/ 551310 w 741412"/>
                <a:gd name="connsiteY50" fmla="*/ 140218 h 991091"/>
                <a:gd name="connsiteX51" fmla="*/ 549630 w 741412"/>
                <a:gd name="connsiteY51" fmla="*/ 140735 h 991091"/>
                <a:gd name="connsiteX52" fmla="*/ 549113 w 741412"/>
                <a:gd name="connsiteY52" fmla="*/ 141769 h 991091"/>
                <a:gd name="connsiteX53" fmla="*/ 694889 w 741412"/>
                <a:gd name="connsiteY53" fmla="*/ 179247 h 991091"/>
                <a:gd name="connsiteX54" fmla="*/ 698636 w 741412"/>
                <a:gd name="connsiteY54" fmla="*/ 180022 h 991091"/>
                <a:gd name="connsiteX55" fmla="*/ 701350 w 741412"/>
                <a:gd name="connsiteY55" fmla="*/ 181185 h 991091"/>
                <a:gd name="connsiteX56" fmla="*/ 703418 w 741412"/>
                <a:gd name="connsiteY56" fmla="*/ 182607 h 991091"/>
                <a:gd name="connsiteX57" fmla="*/ 707553 w 741412"/>
                <a:gd name="connsiteY57" fmla="*/ 183253 h 991091"/>
                <a:gd name="connsiteX58" fmla="*/ 710268 w 741412"/>
                <a:gd name="connsiteY58" fmla="*/ 183124 h 991091"/>
                <a:gd name="connsiteX59" fmla="*/ 709880 w 741412"/>
                <a:gd name="connsiteY59" fmla="*/ 182090 h 991091"/>
                <a:gd name="connsiteX60" fmla="*/ 708070 w 741412"/>
                <a:gd name="connsiteY60" fmla="*/ 181185 h 991091"/>
                <a:gd name="connsiteX61" fmla="*/ 705744 w 741412"/>
                <a:gd name="connsiteY61" fmla="*/ 179118 h 991091"/>
                <a:gd name="connsiteX62" fmla="*/ 703935 w 741412"/>
                <a:gd name="connsiteY62" fmla="*/ 178084 h 991091"/>
                <a:gd name="connsiteX63" fmla="*/ 700446 w 741412"/>
                <a:gd name="connsiteY63" fmla="*/ 177438 h 991091"/>
                <a:gd name="connsiteX64" fmla="*/ 698507 w 741412"/>
                <a:gd name="connsiteY64" fmla="*/ 175499 h 991091"/>
                <a:gd name="connsiteX65" fmla="*/ 697215 w 741412"/>
                <a:gd name="connsiteY65" fmla="*/ 174595 h 991091"/>
                <a:gd name="connsiteX66" fmla="*/ 696052 w 741412"/>
                <a:gd name="connsiteY66" fmla="*/ 173302 h 991091"/>
                <a:gd name="connsiteX67" fmla="*/ 694759 w 741412"/>
                <a:gd name="connsiteY67" fmla="*/ 173431 h 991091"/>
                <a:gd name="connsiteX68" fmla="*/ 693984 w 741412"/>
                <a:gd name="connsiteY68" fmla="*/ 174982 h 991091"/>
                <a:gd name="connsiteX69" fmla="*/ 693984 w 741412"/>
                <a:gd name="connsiteY69" fmla="*/ 177567 h 991091"/>
                <a:gd name="connsiteX70" fmla="*/ 694889 w 741412"/>
                <a:gd name="connsiteY70" fmla="*/ 179247 h 991091"/>
                <a:gd name="connsiteX71" fmla="*/ 708458 w 741412"/>
                <a:gd name="connsiteY71" fmla="*/ 176145 h 991091"/>
                <a:gd name="connsiteX72" fmla="*/ 710655 w 741412"/>
                <a:gd name="connsiteY72" fmla="*/ 175887 h 991091"/>
                <a:gd name="connsiteX73" fmla="*/ 710009 w 741412"/>
                <a:gd name="connsiteY73" fmla="*/ 177179 h 991091"/>
                <a:gd name="connsiteX74" fmla="*/ 710397 w 741412"/>
                <a:gd name="connsiteY74" fmla="*/ 178084 h 991091"/>
                <a:gd name="connsiteX75" fmla="*/ 711431 w 741412"/>
                <a:gd name="connsiteY75" fmla="*/ 178601 h 991091"/>
                <a:gd name="connsiteX76" fmla="*/ 712852 w 741412"/>
                <a:gd name="connsiteY76" fmla="*/ 178859 h 991091"/>
                <a:gd name="connsiteX77" fmla="*/ 712852 w 741412"/>
                <a:gd name="connsiteY77" fmla="*/ 179635 h 991091"/>
                <a:gd name="connsiteX78" fmla="*/ 712206 w 741412"/>
                <a:gd name="connsiteY78" fmla="*/ 179635 h 991091"/>
                <a:gd name="connsiteX79" fmla="*/ 710655 w 741412"/>
                <a:gd name="connsiteY79" fmla="*/ 180281 h 991091"/>
                <a:gd name="connsiteX80" fmla="*/ 711560 w 741412"/>
                <a:gd name="connsiteY80" fmla="*/ 181185 h 991091"/>
                <a:gd name="connsiteX81" fmla="*/ 712594 w 741412"/>
                <a:gd name="connsiteY81" fmla="*/ 181702 h 991091"/>
                <a:gd name="connsiteX82" fmla="*/ 713757 w 741412"/>
                <a:gd name="connsiteY82" fmla="*/ 181832 h 991091"/>
                <a:gd name="connsiteX83" fmla="*/ 716083 w 741412"/>
                <a:gd name="connsiteY83" fmla="*/ 181444 h 991091"/>
                <a:gd name="connsiteX84" fmla="*/ 716988 w 741412"/>
                <a:gd name="connsiteY84" fmla="*/ 181056 h 991091"/>
                <a:gd name="connsiteX85" fmla="*/ 717892 w 741412"/>
                <a:gd name="connsiteY85" fmla="*/ 180668 h 991091"/>
                <a:gd name="connsiteX86" fmla="*/ 718668 w 741412"/>
                <a:gd name="connsiteY86" fmla="*/ 180152 h 991091"/>
                <a:gd name="connsiteX87" fmla="*/ 718280 w 741412"/>
                <a:gd name="connsiteY87" fmla="*/ 179247 h 991091"/>
                <a:gd name="connsiteX88" fmla="*/ 718021 w 741412"/>
                <a:gd name="connsiteY88" fmla="*/ 178213 h 991091"/>
                <a:gd name="connsiteX89" fmla="*/ 717892 w 741412"/>
                <a:gd name="connsiteY89" fmla="*/ 177050 h 991091"/>
                <a:gd name="connsiteX90" fmla="*/ 718021 w 741412"/>
                <a:gd name="connsiteY90" fmla="*/ 175887 h 991091"/>
                <a:gd name="connsiteX91" fmla="*/ 717375 w 741412"/>
                <a:gd name="connsiteY91" fmla="*/ 175887 h 991091"/>
                <a:gd name="connsiteX92" fmla="*/ 717117 w 741412"/>
                <a:gd name="connsiteY92" fmla="*/ 176145 h 991091"/>
                <a:gd name="connsiteX93" fmla="*/ 716988 w 741412"/>
                <a:gd name="connsiteY93" fmla="*/ 176275 h 991091"/>
                <a:gd name="connsiteX94" fmla="*/ 716600 w 741412"/>
                <a:gd name="connsiteY94" fmla="*/ 176533 h 991091"/>
                <a:gd name="connsiteX95" fmla="*/ 715437 w 741412"/>
                <a:gd name="connsiteY95" fmla="*/ 174853 h 991091"/>
                <a:gd name="connsiteX96" fmla="*/ 713886 w 741412"/>
                <a:gd name="connsiteY96" fmla="*/ 173690 h 991091"/>
                <a:gd name="connsiteX97" fmla="*/ 711947 w 741412"/>
                <a:gd name="connsiteY97" fmla="*/ 173044 h 991091"/>
                <a:gd name="connsiteX98" fmla="*/ 703418 w 741412"/>
                <a:gd name="connsiteY98" fmla="*/ 172527 h 991091"/>
                <a:gd name="connsiteX99" fmla="*/ 701738 w 741412"/>
                <a:gd name="connsiteY99" fmla="*/ 172914 h 991091"/>
                <a:gd name="connsiteX100" fmla="*/ 706261 w 741412"/>
                <a:gd name="connsiteY100" fmla="*/ 175499 h 991091"/>
                <a:gd name="connsiteX101" fmla="*/ 708458 w 741412"/>
                <a:gd name="connsiteY101" fmla="*/ 176145 h 991091"/>
                <a:gd name="connsiteX102" fmla="*/ 741413 w 741412"/>
                <a:gd name="connsiteY102" fmla="*/ 200441 h 991091"/>
                <a:gd name="connsiteX103" fmla="*/ 740508 w 741412"/>
                <a:gd name="connsiteY103" fmla="*/ 199407 h 991091"/>
                <a:gd name="connsiteX104" fmla="*/ 737665 w 741412"/>
                <a:gd name="connsiteY104" fmla="*/ 197340 h 991091"/>
                <a:gd name="connsiteX105" fmla="*/ 737019 w 741412"/>
                <a:gd name="connsiteY105" fmla="*/ 196435 h 991091"/>
                <a:gd name="connsiteX106" fmla="*/ 736760 w 741412"/>
                <a:gd name="connsiteY106" fmla="*/ 194755 h 991091"/>
                <a:gd name="connsiteX107" fmla="*/ 735727 w 741412"/>
                <a:gd name="connsiteY107" fmla="*/ 191524 h 991091"/>
                <a:gd name="connsiteX108" fmla="*/ 735468 w 741412"/>
                <a:gd name="connsiteY108" fmla="*/ 189456 h 991091"/>
                <a:gd name="connsiteX109" fmla="*/ 736502 w 741412"/>
                <a:gd name="connsiteY109" fmla="*/ 189973 h 991091"/>
                <a:gd name="connsiteX110" fmla="*/ 736890 w 741412"/>
                <a:gd name="connsiteY110" fmla="*/ 190232 h 991091"/>
                <a:gd name="connsiteX111" fmla="*/ 737794 w 741412"/>
                <a:gd name="connsiteY111" fmla="*/ 184028 h 991091"/>
                <a:gd name="connsiteX112" fmla="*/ 738311 w 741412"/>
                <a:gd name="connsiteY112" fmla="*/ 182090 h 991091"/>
                <a:gd name="connsiteX113" fmla="*/ 740637 w 741412"/>
                <a:gd name="connsiteY113" fmla="*/ 178730 h 991091"/>
                <a:gd name="connsiteX114" fmla="*/ 738828 w 741412"/>
                <a:gd name="connsiteY114" fmla="*/ 178342 h 991091"/>
                <a:gd name="connsiteX115" fmla="*/ 732237 w 741412"/>
                <a:gd name="connsiteY115" fmla="*/ 177955 h 991091"/>
                <a:gd name="connsiteX116" fmla="*/ 722027 w 741412"/>
                <a:gd name="connsiteY116" fmla="*/ 177567 h 991091"/>
                <a:gd name="connsiteX117" fmla="*/ 720477 w 741412"/>
                <a:gd name="connsiteY117" fmla="*/ 178213 h 991091"/>
                <a:gd name="connsiteX118" fmla="*/ 719960 w 741412"/>
                <a:gd name="connsiteY118" fmla="*/ 179635 h 991091"/>
                <a:gd name="connsiteX119" fmla="*/ 721381 w 741412"/>
                <a:gd name="connsiteY119" fmla="*/ 180539 h 991091"/>
                <a:gd name="connsiteX120" fmla="*/ 724742 w 741412"/>
                <a:gd name="connsiteY120" fmla="*/ 182478 h 991091"/>
                <a:gd name="connsiteX121" fmla="*/ 726034 w 741412"/>
                <a:gd name="connsiteY121" fmla="*/ 183641 h 991091"/>
                <a:gd name="connsiteX122" fmla="*/ 726680 w 741412"/>
                <a:gd name="connsiteY122" fmla="*/ 183641 h 991091"/>
                <a:gd name="connsiteX123" fmla="*/ 727973 w 741412"/>
                <a:gd name="connsiteY123" fmla="*/ 183124 h 991091"/>
                <a:gd name="connsiteX124" fmla="*/ 728360 w 741412"/>
                <a:gd name="connsiteY124" fmla="*/ 184675 h 991091"/>
                <a:gd name="connsiteX125" fmla="*/ 728101 w 741412"/>
                <a:gd name="connsiteY125" fmla="*/ 188552 h 991091"/>
                <a:gd name="connsiteX126" fmla="*/ 727585 w 741412"/>
                <a:gd name="connsiteY126" fmla="*/ 189973 h 991091"/>
                <a:gd name="connsiteX127" fmla="*/ 726292 w 741412"/>
                <a:gd name="connsiteY127" fmla="*/ 190102 h 991091"/>
                <a:gd name="connsiteX128" fmla="*/ 724871 w 741412"/>
                <a:gd name="connsiteY128" fmla="*/ 189586 h 991091"/>
                <a:gd name="connsiteX129" fmla="*/ 721123 w 741412"/>
                <a:gd name="connsiteY129" fmla="*/ 187389 h 991091"/>
                <a:gd name="connsiteX130" fmla="*/ 719831 w 741412"/>
                <a:gd name="connsiteY130" fmla="*/ 187259 h 991091"/>
                <a:gd name="connsiteX131" fmla="*/ 719314 w 741412"/>
                <a:gd name="connsiteY131" fmla="*/ 188552 h 991091"/>
                <a:gd name="connsiteX132" fmla="*/ 718409 w 741412"/>
                <a:gd name="connsiteY132" fmla="*/ 188681 h 991091"/>
                <a:gd name="connsiteX133" fmla="*/ 716471 w 741412"/>
                <a:gd name="connsiteY133" fmla="*/ 188293 h 991091"/>
                <a:gd name="connsiteX134" fmla="*/ 714274 w 741412"/>
                <a:gd name="connsiteY134" fmla="*/ 188164 h 991091"/>
                <a:gd name="connsiteX135" fmla="*/ 712723 w 741412"/>
                <a:gd name="connsiteY135" fmla="*/ 188939 h 991091"/>
                <a:gd name="connsiteX136" fmla="*/ 712594 w 741412"/>
                <a:gd name="connsiteY136" fmla="*/ 188293 h 991091"/>
                <a:gd name="connsiteX137" fmla="*/ 711947 w 741412"/>
                <a:gd name="connsiteY137" fmla="*/ 186742 h 991091"/>
                <a:gd name="connsiteX138" fmla="*/ 712206 w 741412"/>
                <a:gd name="connsiteY138" fmla="*/ 186484 h 991091"/>
                <a:gd name="connsiteX139" fmla="*/ 712335 w 741412"/>
                <a:gd name="connsiteY139" fmla="*/ 186484 h 991091"/>
                <a:gd name="connsiteX140" fmla="*/ 712464 w 741412"/>
                <a:gd name="connsiteY140" fmla="*/ 186355 h 991091"/>
                <a:gd name="connsiteX141" fmla="*/ 712723 w 741412"/>
                <a:gd name="connsiteY141" fmla="*/ 185967 h 991091"/>
                <a:gd name="connsiteX142" fmla="*/ 705744 w 741412"/>
                <a:gd name="connsiteY142" fmla="*/ 186355 h 991091"/>
                <a:gd name="connsiteX143" fmla="*/ 704452 w 741412"/>
                <a:gd name="connsiteY143" fmla="*/ 187001 h 991091"/>
                <a:gd name="connsiteX144" fmla="*/ 702642 w 741412"/>
                <a:gd name="connsiteY144" fmla="*/ 187259 h 991091"/>
                <a:gd name="connsiteX145" fmla="*/ 700833 w 741412"/>
                <a:gd name="connsiteY145" fmla="*/ 187001 h 991091"/>
                <a:gd name="connsiteX146" fmla="*/ 699412 w 741412"/>
                <a:gd name="connsiteY146" fmla="*/ 185967 h 991091"/>
                <a:gd name="connsiteX147" fmla="*/ 698636 w 741412"/>
                <a:gd name="connsiteY147" fmla="*/ 186484 h 991091"/>
                <a:gd name="connsiteX148" fmla="*/ 697732 w 741412"/>
                <a:gd name="connsiteY148" fmla="*/ 187259 h 991091"/>
                <a:gd name="connsiteX149" fmla="*/ 696957 w 741412"/>
                <a:gd name="connsiteY149" fmla="*/ 188293 h 991091"/>
                <a:gd name="connsiteX150" fmla="*/ 696569 w 741412"/>
                <a:gd name="connsiteY150" fmla="*/ 189586 h 991091"/>
                <a:gd name="connsiteX151" fmla="*/ 695922 w 741412"/>
                <a:gd name="connsiteY151" fmla="*/ 189586 h 991091"/>
                <a:gd name="connsiteX152" fmla="*/ 696440 w 741412"/>
                <a:gd name="connsiteY152" fmla="*/ 187130 h 991091"/>
                <a:gd name="connsiteX153" fmla="*/ 695922 w 741412"/>
                <a:gd name="connsiteY153" fmla="*/ 186484 h 991091"/>
                <a:gd name="connsiteX154" fmla="*/ 692821 w 741412"/>
                <a:gd name="connsiteY154" fmla="*/ 187518 h 991091"/>
                <a:gd name="connsiteX155" fmla="*/ 693726 w 741412"/>
                <a:gd name="connsiteY155" fmla="*/ 186225 h 991091"/>
                <a:gd name="connsiteX156" fmla="*/ 694242 w 741412"/>
                <a:gd name="connsiteY156" fmla="*/ 184287 h 991091"/>
                <a:gd name="connsiteX157" fmla="*/ 694242 w 741412"/>
                <a:gd name="connsiteY157" fmla="*/ 182478 h 991091"/>
                <a:gd name="connsiteX158" fmla="*/ 693209 w 741412"/>
                <a:gd name="connsiteY158" fmla="*/ 181702 h 991091"/>
                <a:gd name="connsiteX159" fmla="*/ 680931 w 741412"/>
                <a:gd name="connsiteY159" fmla="*/ 181444 h 991091"/>
                <a:gd name="connsiteX160" fmla="*/ 677830 w 741412"/>
                <a:gd name="connsiteY160" fmla="*/ 180798 h 991091"/>
                <a:gd name="connsiteX161" fmla="*/ 677313 w 741412"/>
                <a:gd name="connsiteY161" fmla="*/ 179505 h 991091"/>
                <a:gd name="connsiteX162" fmla="*/ 676925 w 741412"/>
                <a:gd name="connsiteY162" fmla="*/ 178601 h 991091"/>
                <a:gd name="connsiteX163" fmla="*/ 675891 w 741412"/>
                <a:gd name="connsiteY163" fmla="*/ 179376 h 991091"/>
                <a:gd name="connsiteX164" fmla="*/ 673953 w 741412"/>
                <a:gd name="connsiteY164" fmla="*/ 180281 h 991091"/>
                <a:gd name="connsiteX165" fmla="*/ 673177 w 741412"/>
                <a:gd name="connsiteY165" fmla="*/ 180798 h 991091"/>
                <a:gd name="connsiteX166" fmla="*/ 670851 w 741412"/>
                <a:gd name="connsiteY166" fmla="*/ 179247 h 991091"/>
                <a:gd name="connsiteX167" fmla="*/ 668783 w 741412"/>
                <a:gd name="connsiteY167" fmla="*/ 178601 h 991091"/>
                <a:gd name="connsiteX168" fmla="*/ 667233 w 741412"/>
                <a:gd name="connsiteY168" fmla="*/ 177567 h 991091"/>
                <a:gd name="connsiteX169" fmla="*/ 666457 w 741412"/>
                <a:gd name="connsiteY169" fmla="*/ 174853 h 991091"/>
                <a:gd name="connsiteX170" fmla="*/ 668137 w 741412"/>
                <a:gd name="connsiteY170" fmla="*/ 175628 h 991091"/>
                <a:gd name="connsiteX171" fmla="*/ 669042 w 741412"/>
                <a:gd name="connsiteY171" fmla="*/ 175111 h 991091"/>
                <a:gd name="connsiteX172" fmla="*/ 669430 w 741412"/>
                <a:gd name="connsiteY172" fmla="*/ 173690 h 991091"/>
                <a:gd name="connsiteX173" fmla="*/ 669300 w 741412"/>
                <a:gd name="connsiteY173" fmla="*/ 171751 h 991091"/>
                <a:gd name="connsiteX174" fmla="*/ 666199 w 741412"/>
                <a:gd name="connsiteY174" fmla="*/ 173044 h 991091"/>
                <a:gd name="connsiteX175" fmla="*/ 665036 w 741412"/>
                <a:gd name="connsiteY175" fmla="*/ 173302 h 991091"/>
                <a:gd name="connsiteX176" fmla="*/ 663743 w 741412"/>
                <a:gd name="connsiteY176" fmla="*/ 173302 h 991091"/>
                <a:gd name="connsiteX177" fmla="*/ 662063 w 741412"/>
                <a:gd name="connsiteY177" fmla="*/ 172785 h 991091"/>
                <a:gd name="connsiteX178" fmla="*/ 661030 w 741412"/>
                <a:gd name="connsiteY178" fmla="*/ 172656 h 991091"/>
                <a:gd name="connsiteX179" fmla="*/ 659350 w 741412"/>
                <a:gd name="connsiteY179" fmla="*/ 172139 h 991091"/>
                <a:gd name="connsiteX180" fmla="*/ 654051 w 741412"/>
                <a:gd name="connsiteY180" fmla="*/ 169037 h 991091"/>
                <a:gd name="connsiteX181" fmla="*/ 649528 w 741412"/>
                <a:gd name="connsiteY181" fmla="*/ 163351 h 991091"/>
                <a:gd name="connsiteX182" fmla="*/ 648494 w 741412"/>
                <a:gd name="connsiteY182" fmla="*/ 162447 h 991091"/>
                <a:gd name="connsiteX183" fmla="*/ 647848 w 741412"/>
                <a:gd name="connsiteY183" fmla="*/ 162188 h 991091"/>
                <a:gd name="connsiteX184" fmla="*/ 647331 w 741412"/>
                <a:gd name="connsiteY184" fmla="*/ 161413 h 991091"/>
                <a:gd name="connsiteX185" fmla="*/ 646555 w 741412"/>
                <a:gd name="connsiteY185" fmla="*/ 160637 h 991091"/>
                <a:gd name="connsiteX186" fmla="*/ 645521 w 741412"/>
                <a:gd name="connsiteY186" fmla="*/ 160250 h 991091"/>
                <a:gd name="connsiteX187" fmla="*/ 639577 w 741412"/>
                <a:gd name="connsiteY187" fmla="*/ 160379 h 991091"/>
                <a:gd name="connsiteX188" fmla="*/ 638543 w 741412"/>
                <a:gd name="connsiteY188" fmla="*/ 160250 h 991091"/>
                <a:gd name="connsiteX189" fmla="*/ 634795 w 741412"/>
                <a:gd name="connsiteY189" fmla="*/ 158957 h 991091"/>
                <a:gd name="connsiteX190" fmla="*/ 633891 w 741412"/>
                <a:gd name="connsiteY190" fmla="*/ 158699 h 991091"/>
                <a:gd name="connsiteX191" fmla="*/ 633373 w 741412"/>
                <a:gd name="connsiteY191" fmla="*/ 158440 h 991091"/>
                <a:gd name="connsiteX192" fmla="*/ 629755 w 741412"/>
                <a:gd name="connsiteY192" fmla="*/ 156243 h 991091"/>
                <a:gd name="connsiteX193" fmla="*/ 627041 w 741412"/>
                <a:gd name="connsiteY193" fmla="*/ 154951 h 991091"/>
                <a:gd name="connsiteX194" fmla="*/ 623423 w 741412"/>
                <a:gd name="connsiteY194" fmla="*/ 153012 h 991091"/>
                <a:gd name="connsiteX195" fmla="*/ 620579 w 741412"/>
                <a:gd name="connsiteY195" fmla="*/ 151849 h 991091"/>
                <a:gd name="connsiteX196" fmla="*/ 612955 w 741412"/>
                <a:gd name="connsiteY196" fmla="*/ 149265 h 991091"/>
                <a:gd name="connsiteX197" fmla="*/ 601711 w 741412"/>
                <a:gd name="connsiteY197" fmla="*/ 145000 h 991091"/>
                <a:gd name="connsiteX198" fmla="*/ 593053 w 741412"/>
                <a:gd name="connsiteY198" fmla="*/ 140994 h 991091"/>
                <a:gd name="connsiteX199" fmla="*/ 587496 w 741412"/>
                <a:gd name="connsiteY199" fmla="*/ 139701 h 991091"/>
                <a:gd name="connsiteX200" fmla="*/ 581034 w 741412"/>
                <a:gd name="connsiteY200" fmla="*/ 137504 h 991091"/>
                <a:gd name="connsiteX201" fmla="*/ 577932 w 741412"/>
                <a:gd name="connsiteY201" fmla="*/ 137375 h 991091"/>
                <a:gd name="connsiteX202" fmla="*/ 575477 w 741412"/>
                <a:gd name="connsiteY202" fmla="*/ 137117 h 991091"/>
                <a:gd name="connsiteX203" fmla="*/ 573151 w 741412"/>
                <a:gd name="connsiteY203" fmla="*/ 136858 h 991091"/>
                <a:gd name="connsiteX204" fmla="*/ 570825 w 741412"/>
                <a:gd name="connsiteY204" fmla="*/ 136600 h 991091"/>
                <a:gd name="connsiteX205" fmla="*/ 568757 w 741412"/>
                <a:gd name="connsiteY205" fmla="*/ 136729 h 991091"/>
                <a:gd name="connsiteX206" fmla="*/ 567077 w 741412"/>
                <a:gd name="connsiteY206" fmla="*/ 136858 h 991091"/>
                <a:gd name="connsiteX207" fmla="*/ 565655 w 741412"/>
                <a:gd name="connsiteY207" fmla="*/ 137117 h 991091"/>
                <a:gd name="connsiteX208" fmla="*/ 564233 w 741412"/>
                <a:gd name="connsiteY208" fmla="*/ 137634 h 991091"/>
                <a:gd name="connsiteX209" fmla="*/ 564233 w 741412"/>
                <a:gd name="connsiteY209" fmla="*/ 138538 h 991091"/>
                <a:gd name="connsiteX210" fmla="*/ 563329 w 741412"/>
                <a:gd name="connsiteY210" fmla="*/ 139831 h 991091"/>
                <a:gd name="connsiteX211" fmla="*/ 562554 w 741412"/>
                <a:gd name="connsiteY211" fmla="*/ 141252 h 991091"/>
                <a:gd name="connsiteX212" fmla="*/ 562037 w 741412"/>
                <a:gd name="connsiteY212" fmla="*/ 142932 h 991091"/>
                <a:gd name="connsiteX213" fmla="*/ 563458 w 741412"/>
                <a:gd name="connsiteY213" fmla="*/ 145258 h 991091"/>
                <a:gd name="connsiteX214" fmla="*/ 568369 w 741412"/>
                <a:gd name="connsiteY214" fmla="*/ 147843 h 991091"/>
                <a:gd name="connsiteX215" fmla="*/ 570049 w 741412"/>
                <a:gd name="connsiteY215" fmla="*/ 149394 h 991091"/>
                <a:gd name="connsiteX216" fmla="*/ 568498 w 741412"/>
                <a:gd name="connsiteY216" fmla="*/ 149523 h 991091"/>
                <a:gd name="connsiteX217" fmla="*/ 567206 w 741412"/>
                <a:gd name="connsiteY217" fmla="*/ 149394 h 991091"/>
                <a:gd name="connsiteX218" fmla="*/ 566172 w 741412"/>
                <a:gd name="connsiteY218" fmla="*/ 148877 h 991091"/>
                <a:gd name="connsiteX219" fmla="*/ 565655 w 741412"/>
                <a:gd name="connsiteY219" fmla="*/ 147972 h 991091"/>
                <a:gd name="connsiteX220" fmla="*/ 564880 w 741412"/>
                <a:gd name="connsiteY220" fmla="*/ 147972 h 991091"/>
                <a:gd name="connsiteX221" fmla="*/ 565397 w 741412"/>
                <a:gd name="connsiteY221" fmla="*/ 149394 h 991091"/>
                <a:gd name="connsiteX222" fmla="*/ 566301 w 741412"/>
                <a:gd name="connsiteY222" fmla="*/ 150945 h 991091"/>
                <a:gd name="connsiteX223" fmla="*/ 567594 w 741412"/>
                <a:gd name="connsiteY223" fmla="*/ 152108 h 991091"/>
                <a:gd name="connsiteX224" fmla="*/ 569274 w 741412"/>
                <a:gd name="connsiteY224" fmla="*/ 152366 h 991091"/>
                <a:gd name="connsiteX225" fmla="*/ 569274 w 741412"/>
                <a:gd name="connsiteY225" fmla="*/ 153142 h 991091"/>
                <a:gd name="connsiteX226" fmla="*/ 565655 w 741412"/>
                <a:gd name="connsiteY226" fmla="*/ 152366 h 991091"/>
                <a:gd name="connsiteX227" fmla="*/ 564233 w 741412"/>
                <a:gd name="connsiteY227" fmla="*/ 152625 h 991091"/>
                <a:gd name="connsiteX228" fmla="*/ 566043 w 741412"/>
                <a:gd name="connsiteY228" fmla="*/ 155726 h 991091"/>
                <a:gd name="connsiteX229" fmla="*/ 566431 w 741412"/>
                <a:gd name="connsiteY229" fmla="*/ 157406 h 991091"/>
                <a:gd name="connsiteX230" fmla="*/ 566301 w 741412"/>
                <a:gd name="connsiteY230" fmla="*/ 158957 h 991091"/>
                <a:gd name="connsiteX231" fmla="*/ 565526 w 741412"/>
                <a:gd name="connsiteY231" fmla="*/ 159862 h 991091"/>
                <a:gd name="connsiteX232" fmla="*/ 564880 w 741412"/>
                <a:gd name="connsiteY232" fmla="*/ 157923 h 991091"/>
                <a:gd name="connsiteX233" fmla="*/ 563975 w 741412"/>
                <a:gd name="connsiteY233" fmla="*/ 156114 h 991091"/>
                <a:gd name="connsiteX234" fmla="*/ 563458 w 741412"/>
                <a:gd name="connsiteY234" fmla="*/ 157277 h 991091"/>
                <a:gd name="connsiteX235" fmla="*/ 562941 w 741412"/>
                <a:gd name="connsiteY235" fmla="*/ 158182 h 991091"/>
                <a:gd name="connsiteX236" fmla="*/ 562166 w 741412"/>
                <a:gd name="connsiteY236" fmla="*/ 158828 h 991091"/>
                <a:gd name="connsiteX237" fmla="*/ 561003 w 741412"/>
                <a:gd name="connsiteY237" fmla="*/ 159086 h 991091"/>
                <a:gd name="connsiteX238" fmla="*/ 561778 w 741412"/>
                <a:gd name="connsiteY238" fmla="*/ 157665 h 991091"/>
                <a:gd name="connsiteX239" fmla="*/ 560357 w 741412"/>
                <a:gd name="connsiteY239" fmla="*/ 156889 h 991091"/>
                <a:gd name="connsiteX240" fmla="*/ 559452 w 741412"/>
                <a:gd name="connsiteY240" fmla="*/ 153400 h 991091"/>
                <a:gd name="connsiteX241" fmla="*/ 558030 w 741412"/>
                <a:gd name="connsiteY241" fmla="*/ 153400 h 991091"/>
                <a:gd name="connsiteX242" fmla="*/ 558547 w 741412"/>
                <a:gd name="connsiteY242" fmla="*/ 150557 h 991091"/>
                <a:gd name="connsiteX243" fmla="*/ 557901 w 741412"/>
                <a:gd name="connsiteY243" fmla="*/ 148231 h 991091"/>
                <a:gd name="connsiteX244" fmla="*/ 556480 w 741412"/>
                <a:gd name="connsiteY244" fmla="*/ 147455 h 991091"/>
                <a:gd name="connsiteX245" fmla="*/ 554541 w 741412"/>
                <a:gd name="connsiteY245" fmla="*/ 149652 h 991091"/>
                <a:gd name="connsiteX246" fmla="*/ 555963 w 741412"/>
                <a:gd name="connsiteY246" fmla="*/ 150686 h 991091"/>
                <a:gd name="connsiteX247" fmla="*/ 556480 w 741412"/>
                <a:gd name="connsiteY247" fmla="*/ 151979 h 991091"/>
                <a:gd name="connsiteX248" fmla="*/ 556221 w 741412"/>
                <a:gd name="connsiteY248" fmla="*/ 153400 h 991091"/>
                <a:gd name="connsiteX249" fmla="*/ 555187 w 741412"/>
                <a:gd name="connsiteY249" fmla="*/ 154951 h 991091"/>
                <a:gd name="connsiteX250" fmla="*/ 555187 w 741412"/>
                <a:gd name="connsiteY250" fmla="*/ 152754 h 991091"/>
                <a:gd name="connsiteX251" fmla="*/ 554153 w 741412"/>
                <a:gd name="connsiteY251" fmla="*/ 153917 h 991091"/>
                <a:gd name="connsiteX252" fmla="*/ 553636 w 741412"/>
                <a:gd name="connsiteY252" fmla="*/ 155339 h 991091"/>
                <a:gd name="connsiteX253" fmla="*/ 553895 w 741412"/>
                <a:gd name="connsiteY253" fmla="*/ 156373 h 991091"/>
                <a:gd name="connsiteX254" fmla="*/ 555187 w 741412"/>
                <a:gd name="connsiteY254" fmla="*/ 156243 h 991091"/>
                <a:gd name="connsiteX255" fmla="*/ 555833 w 741412"/>
                <a:gd name="connsiteY255" fmla="*/ 157019 h 991091"/>
                <a:gd name="connsiteX256" fmla="*/ 554153 w 741412"/>
                <a:gd name="connsiteY256" fmla="*/ 157665 h 991091"/>
                <a:gd name="connsiteX257" fmla="*/ 549889 w 741412"/>
                <a:gd name="connsiteY257" fmla="*/ 156114 h 991091"/>
                <a:gd name="connsiteX258" fmla="*/ 547821 w 741412"/>
                <a:gd name="connsiteY258" fmla="*/ 157019 h 991091"/>
                <a:gd name="connsiteX259" fmla="*/ 547304 w 741412"/>
                <a:gd name="connsiteY259" fmla="*/ 154951 h 991091"/>
                <a:gd name="connsiteX260" fmla="*/ 545882 w 741412"/>
                <a:gd name="connsiteY260" fmla="*/ 154176 h 991091"/>
                <a:gd name="connsiteX261" fmla="*/ 544073 w 741412"/>
                <a:gd name="connsiteY261" fmla="*/ 154563 h 991091"/>
                <a:gd name="connsiteX262" fmla="*/ 542651 w 741412"/>
                <a:gd name="connsiteY262" fmla="*/ 155726 h 991091"/>
                <a:gd name="connsiteX263" fmla="*/ 543556 w 741412"/>
                <a:gd name="connsiteY263" fmla="*/ 153788 h 991091"/>
                <a:gd name="connsiteX264" fmla="*/ 544073 w 741412"/>
                <a:gd name="connsiteY264" fmla="*/ 152883 h 991091"/>
                <a:gd name="connsiteX265" fmla="*/ 544848 w 741412"/>
                <a:gd name="connsiteY265" fmla="*/ 151979 h 991091"/>
                <a:gd name="connsiteX266" fmla="*/ 542264 w 741412"/>
                <a:gd name="connsiteY266" fmla="*/ 152625 h 991091"/>
                <a:gd name="connsiteX267" fmla="*/ 540713 w 741412"/>
                <a:gd name="connsiteY267" fmla="*/ 154951 h 991091"/>
                <a:gd name="connsiteX268" fmla="*/ 540842 w 741412"/>
                <a:gd name="connsiteY268" fmla="*/ 157665 h 991091"/>
                <a:gd name="connsiteX269" fmla="*/ 543298 w 741412"/>
                <a:gd name="connsiteY269" fmla="*/ 159474 h 991091"/>
                <a:gd name="connsiteX270" fmla="*/ 541359 w 741412"/>
                <a:gd name="connsiteY270" fmla="*/ 159474 h 991091"/>
                <a:gd name="connsiteX271" fmla="*/ 540455 w 741412"/>
                <a:gd name="connsiteY271" fmla="*/ 159216 h 991091"/>
                <a:gd name="connsiteX272" fmla="*/ 539550 w 741412"/>
                <a:gd name="connsiteY272" fmla="*/ 158828 h 991091"/>
                <a:gd name="connsiteX273" fmla="*/ 539033 w 741412"/>
                <a:gd name="connsiteY273" fmla="*/ 159862 h 991091"/>
                <a:gd name="connsiteX274" fmla="*/ 538904 w 741412"/>
                <a:gd name="connsiteY274" fmla="*/ 160379 h 991091"/>
                <a:gd name="connsiteX275" fmla="*/ 538904 w 741412"/>
                <a:gd name="connsiteY275" fmla="*/ 161025 h 991091"/>
                <a:gd name="connsiteX276" fmla="*/ 538128 w 741412"/>
                <a:gd name="connsiteY276" fmla="*/ 161025 h 991091"/>
                <a:gd name="connsiteX277" fmla="*/ 538128 w 741412"/>
                <a:gd name="connsiteY277" fmla="*/ 160250 h 991091"/>
                <a:gd name="connsiteX278" fmla="*/ 537353 w 741412"/>
                <a:gd name="connsiteY278" fmla="*/ 160250 h 991091"/>
                <a:gd name="connsiteX279" fmla="*/ 537353 w 741412"/>
                <a:gd name="connsiteY279" fmla="*/ 161025 h 991091"/>
                <a:gd name="connsiteX280" fmla="*/ 536578 w 741412"/>
                <a:gd name="connsiteY280" fmla="*/ 161025 h 991091"/>
                <a:gd name="connsiteX281" fmla="*/ 536578 w 741412"/>
                <a:gd name="connsiteY281" fmla="*/ 160250 h 991091"/>
                <a:gd name="connsiteX282" fmla="*/ 537870 w 741412"/>
                <a:gd name="connsiteY282" fmla="*/ 158828 h 991091"/>
                <a:gd name="connsiteX283" fmla="*/ 538128 w 741412"/>
                <a:gd name="connsiteY283" fmla="*/ 156114 h 991091"/>
                <a:gd name="connsiteX284" fmla="*/ 538387 w 741412"/>
                <a:gd name="connsiteY284" fmla="*/ 152754 h 991091"/>
                <a:gd name="connsiteX285" fmla="*/ 537095 w 741412"/>
                <a:gd name="connsiteY285" fmla="*/ 151591 h 991091"/>
                <a:gd name="connsiteX286" fmla="*/ 535414 w 741412"/>
                <a:gd name="connsiteY286" fmla="*/ 152625 h 991091"/>
                <a:gd name="connsiteX287" fmla="*/ 535544 w 741412"/>
                <a:gd name="connsiteY287" fmla="*/ 155856 h 991091"/>
                <a:gd name="connsiteX288" fmla="*/ 534768 w 741412"/>
                <a:gd name="connsiteY288" fmla="*/ 157148 h 991091"/>
                <a:gd name="connsiteX289" fmla="*/ 534122 w 741412"/>
                <a:gd name="connsiteY289" fmla="*/ 156631 h 991091"/>
                <a:gd name="connsiteX290" fmla="*/ 532571 w 741412"/>
                <a:gd name="connsiteY290" fmla="*/ 156889 h 991091"/>
                <a:gd name="connsiteX291" fmla="*/ 531021 w 741412"/>
                <a:gd name="connsiteY291" fmla="*/ 157536 h 991091"/>
                <a:gd name="connsiteX292" fmla="*/ 528565 w 741412"/>
                <a:gd name="connsiteY292" fmla="*/ 159345 h 991091"/>
                <a:gd name="connsiteX293" fmla="*/ 527402 w 741412"/>
                <a:gd name="connsiteY293" fmla="*/ 159603 h 991091"/>
                <a:gd name="connsiteX294" fmla="*/ 526756 w 741412"/>
                <a:gd name="connsiteY294" fmla="*/ 159603 h 991091"/>
                <a:gd name="connsiteX295" fmla="*/ 526110 w 741412"/>
                <a:gd name="connsiteY295" fmla="*/ 159603 h 991091"/>
                <a:gd name="connsiteX296" fmla="*/ 525463 w 741412"/>
                <a:gd name="connsiteY296" fmla="*/ 159991 h 991091"/>
                <a:gd name="connsiteX297" fmla="*/ 524947 w 741412"/>
                <a:gd name="connsiteY297" fmla="*/ 160120 h 991091"/>
                <a:gd name="connsiteX298" fmla="*/ 524171 w 741412"/>
                <a:gd name="connsiteY298" fmla="*/ 160120 h 991091"/>
                <a:gd name="connsiteX299" fmla="*/ 523396 w 741412"/>
                <a:gd name="connsiteY299" fmla="*/ 160379 h 991091"/>
                <a:gd name="connsiteX300" fmla="*/ 520553 w 741412"/>
                <a:gd name="connsiteY300" fmla="*/ 161671 h 991091"/>
                <a:gd name="connsiteX301" fmla="*/ 520036 w 741412"/>
                <a:gd name="connsiteY301" fmla="*/ 162963 h 991091"/>
                <a:gd name="connsiteX302" fmla="*/ 520294 w 741412"/>
                <a:gd name="connsiteY302" fmla="*/ 164514 h 991091"/>
                <a:gd name="connsiteX303" fmla="*/ 520811 w 741412"/>
                <a:gd name="connsiteY303" fmla="*/ 165807 h 991091"/>
                <a:gd name="connsiteX304" fmla="*/ 521070 w 741412"/>
                <a:gd name="connsiteY304" fmla="*/ 167099 h 991091"/>
                <a:gd name="connsiteX305" fmla="*/ 520682 w 741412"/>
                <a:gd name="connsiteY305" fmla="*/ 168391 h 991091"/>
                <a:gd name="connsiteX306" fmla="*/ 519260 w 741412"/>
                <a:gd name="connsiteY306" fmla="*/ 164773 h 991091"/>
                <a:gd name="connsiteX307" fmla="*/ 516288 w 741412"/>
                <a:gd name="connsiteY307" fmla="*/ 159345 h 991091"/>
                <a:gd name="connsiteX308" fmla="*/ 515900 w 741412"/>
                <a:gd name="connsiteY308" fmla="*/ 159086 h 991091"/>
                <a:gd name="connsiteX309" fmla="*/ 514866 w 741412"/>
                <a:gd name="connsiteY309" fmla="*/ 159991 h 991091"/>
                <a:gd name="connsiteX310" fmla="*/ 513445 w 741412"/>
                <a:gd name="connsiteY310" fmla="*/ 161930 h 991091"/>
                <a:gd name="connsiteX311" fmla="*/ 512152 w 741412"/>
                <a:gd name="connsiteY311" fmla="*/ 164773 h 991091"/>
                <a:gd name="connsiteX312" fmla="*/ 512282 w 741412"/>
                <a:gd name="connsiteY312" fmla="*/ 166065 h 991091"/>
                <a:gd name="connsiteX313" fmla="*/ 513445 w 741412"/>
                <a:gd name="connsiteY313" fmla="*/ 166970 h 991091"/>
                <a:gd name="connsiteX314" fmla="*/ 513445 w 741412"/>
                <a:gd name="connsiteY314" fmla="*/ 167745 h 991091"/>
                <a:gd name="connsiteX315" fmla="*/ 510343 w 741412"/>
                <a:gd name="connsiteY315" fmla="*/ 165807 h 991091"/>
                <a:gd name="connsiteX316" fmla="*/ 509826 w 741412"/>
                <a:gd name="connsiteY316" fmla="*/ 165936 h 991091"/>
                <a:gd name="connsiteX317" fmla="*/ 509439 w 741412"/>
                <a:gd name="connsiteY317" fmla="*/ 166324 h 991091"/>
                <a:gd name="connsiteX318" fmla="*/ 506208 w 741412"/>
                <a:gd name="connsiteY318" fmla="*/ 168391 h 991091"/>
                <a:gd name="connsiteX319" fmla="*/ 505303 w 741412"/>
                <a:gd name="connsiteY319" fmla="*/ 169942 h 991091"/>
                <a:gd name="connsiteX320" fmla="*/ 503881 w 741412"/>
                <a:gd name="connsiteY320" fmla="*/ 172914 h 991091"/>
                <a:gd name="connsiteX321" fmla="*/ 502072 w 741412"/>
                <a:gd name="connsiteY321" fmla="*/ 175628 h 991091"/>
                <a:gd name="connsiteX322" fmla="*/ 501168 w 741412"/>
                <a:gd name="connsiteY322" fmla="*/ 177308 h 991091"/>
                <a:gd name="connsiteX323" fmla="*/ 500780 w 741412"/>
                <a:gd name="connsiteY323" fmla="*/ 179118 h 991091"/>
                <a:gd name="connsiteX324" fmla="*/ 500909 w 741412"/>
                <a:gd name="connsiteY324" fmla="*/ 183641 h 991091"/>
                <a:gd name="connsiteX325" fmla="*/ 500392 w 741412"/>
                <a:gd name="connsiteY325" fmla="*/ 185579 h 991091"/>
                <a:gd name="connsiteX326" fmla="*/ 498841 w 741412"/>
                <a:gd name="connsiteY326" fmla="*/ 186872 h 991091"/>
                <a:gd name="connsiteX327" fmla="*/ 500004 w 741412"/>
                <a:gd name="connsiteY327" fmla="*/ 185062 h 991091"/>
                <a:gd name="connsiteX328" fmla="*/ 500392 w 741412"/>
                <a:gd name="connsiteY328" fmla="*/ 183899 h 991091"/>
                <a:gd name="connsiteX329" fmla="*/ 500263 w 741412"/>
                <a:gd name="connsiteY329" fmla="*/ 182478 h 991091"/>
                <a:gd name="connsiteX330" fmla="*/ 500004 w 741412"/>
                <a:gd name="connsiteY330" fmla="*/ 182865 h 991091"/>
                <a:gd name="connsiteX331" fmla="*/ 499875 w 741412"/>
                <a:gd name="connsiteY331" fmla="*/ 183253 h 991091"/>
                <a:gd name="connsiteX332" fmla="*/ 499617 w 741412"/>
                <a:gd name="connsiteY332" fmla="*/ 184028 h 991091"/>
                <a:gd name="connsiteX333" fmla="*/ 499488 w 741412"/>
                <a:gd name="connsiteY333" fmla="*/ 183253 h 991091"/>
                <a:gd name="connsiteX334" fmla="*/ 499358 w 741412"/>
                <a:gd name="connsiteY334" fmla="*/ 182995 h 991091"/>
                <a:gd name="connsiteX335" fmla="*/ 499358 w 741412"/>
                <a:gd name="connsiteY335" fmla="*/ 182736 h 991091"/>
                <a:gd name="connsiteX336" fmla="*/ 499617 w 741412"/>
                <a:gd name="connsiteY336" fmla="*/ 181961 h 991091"/>
                <a:gd name="connsiteX337" fmla="*/ 498971 w 741412"/>
                <a:gd name="connsiteY337" fmla="*/ 181185 h 991091"/>
                <a:gd name="connsiteX338" fmla="*/ 498324 w 741412"/>
                <a:gd name="connsiteY338" fmla="*/ 181961 h 991091"/>
                <a:gd name="connsiteX339" fmla="*/ 497678 w 741412"/>
                <a:gd name="connsiteY339" fmla="*/ 181832 h 991091"/>
                <a:gd name="connsiteX340" fmla="*/ 496386 w 741412"/>
                <a:gd name="connsiteY340" fmla="*/ 182219 h 991091"/>
                <a:gd name="connsiteX341" fmla="*/ 496386 w 741412"/>
                <a:gd name="connsiteY341" fmla="*/ 181573 h 991091"/>
                <a:gd name="connsiteX342" fmla="*/ 497032 w 741412"/>
                <a:gd name="connsiteY342" fmla="*/ 180410 h 991091"/>
                <a:gd name="connsiteX343" fmla="*/ 496128 w 741412"/>
                <a:gd name="connsiteY343" fmla="*/ 180539 h 991091"/>
                <a:gd name="connsiteX344" fmla="*/ 494835 w 741412"/>
                <a:gd name="connsiteY344" fmla="*/ 181444 h 991091"/>
                <a:gd name="connsiteX345" fmla="*/ 494189 w 741412"/>
                <a:gd name="connsiteY345" fmla="*/ 182607 h 991091"/>
                <a:gd name="connsiteX346" fmla="*/ 493931 w 741412"/>
                <a:gd name="connsiteY346" fmla="*/ 184416 h 991091"/>
                <a:gd name="connsiteX347" fmla="*/ 493284 w 741412"/>
                <a:gd name="connsiteY347" fmla="*/ 186355 h 991091"/>
                <a:gd name="connsiteX348" fmla="*/ 492380 w 741412"/>
                <a:gd name="connsiteY348" fmla="*/ 188164 h 991091"/>
                <a:gd name="connsiteX349" fmla="*/ 491217 w 741412"/>
                <a:gd name="connsiteY349" fmla="*/ 189586 h 991091"/>
                <a:gd name="connsiteX350" fmla="*/ 490958 w 741412"/>
                <a:gd name="connsiteY350" fmla="*/ 189198 h 991091"/>
                <a:gd name="connsiteX351" fmla="*/ 490829 w 741412"/>
                <a:gd name="connsiteY351" fmla="*/ 189069 h 991091"/>
                <a:gd name="connsiteX352" fmla="*/ 490700 w 741412"/>
                <a:gd name="connsiteY352" fmla="*/ 189069 h 991091"/>
                <a:gd name="connsiteX353" fmla="*/ 490312 w 741412"/>
                <a:gd name="connsiteY353" fmla="*/ 188810 h 991091"/>
                <a:gd name="connsiteX354" fmla="*/ 489536 w 741412"/>
                <a:gd name="connsiteY354" fmla="*/ 189973 h 991091"/>
                <a:gd name="connsiteX355" fmla="*/ 485918 w 741412"/>
                <a:gd name="connsiteY355" fmla="*/ 193204 h 991091"/>
                <a:gd name="connsiteX356" fmla="*/ 485918 w 741412"/>
                <a:gd name="connsiteY356" fmla="*/ 192429 h 991091"/>
                <a:gd name="connsiteX357" fmla="*/ 485660 w 741412"/>
                <a:gd name="connsiteY357" fmla="*/ 191912 h 991091"/>
                <a:gd name="connsiteX358" fmla="*/ 485401 w 741412"/>
                <a:gd name="connsiteY358" fmla="*/ 191524 h 991091"/>
                <a:gd name="connsiteX359" fmla="*/ 485143 w 741412"/>
                <a:gd name="connsiteY359" fmla="*/ 191007 h 991091"/>
                <a:gd name="connsiteX360" fmla="*/ 484626 w 741412"/>
                <a:gd name="connsiteY360" fmla="*/ 191524 h 991091"/>
                <a:gd name="connsiteX361" fmla="*/ 484109 w 741412"/>
                <a:gd name="connsiteY361" fmla="*/ 191524 h 991091"/>
                <a:gd name="connsiteX362" fmla="*/ 484109 w 741412"/>
                <a:gd name="connsiteY362" fmla="*/ 191136 h 991091"/>
                <a:gd name="connsiteX363" fmla="*/ 484626 w 741412"/>
                <a:gd name="connsiteY363" fmla="*/ 190361 h 991091"/>
                <a:gd name="connsiteX364" fmla="*/ 485401 w 741412"/>
                <a:gd name="connsiteY364" fmla="*/ 189844 h 991091"/>
                <a:gd name="connsiteX365" fmla="*/ 487081 w 741412"/>
                <a:gd name="connsiteY365" fmla="*/ 189198 h 991091"/>
                <a:gd name="connsiteX366" fmla="*/ 487986 w 741412"/>
                <a:gd name="connsiteY366" fmla="*/ 188552 h 991091"/>
                <a:gd name="connsiteX367" fmla="*/ 488890 w 741412"/>
                <a:gd name="connsiteY367" fmla="*/ 186742 h 991091"/>
                <a:gd name="connsiteX368" fmla="*/ 487469 w 741412"/>
                <a:gd name="connsiteY368" fmla="*/ 183641 h 991091"/>
                <a:gd name="connsiteX369" fmla="*/ 487727 w 741412"/>
                <a:gd name="connsiteY369" fmla="*/ 181573 h 991091"/>
                <a:gd name="connsiteX370" fmla="*/ 484367 w 741412"/>
                <a:gd name="connsiteY370" fmla="*/ 182478 h 991091"/>
                <a:gd name="connsiteX371" fmla="*/ 483592 w 741412"/>
                <a:gd name="connsiteY371" fmla="*/ 183512 h 991091"/>
                <a:gd name="connsiteX372" fmla="*/ 484238 w 741412"/>
                <a:gd name="connsiteY372" fmla="*/ 185192 h 991091"/>
                <a:gd name="connsiteX373" fmla="*/ 481395 w 741412"/>
                <a:gd name="connsiteY373" fmla="*/ 183124 h 991091"/>
                <a:gd name="connsiteX374" fmla="*/ 480361 w 741412"/>
                <a:gd name="connsiteY374" fmla="*/ 182219 h 991091"/>
                <a:gd name="connsiteX375" fmla="*/ 479715 w 741412"/>
                <a:gd name="connsiteY375" fmla="*/ 182995 h 991091"/>
                <a:gd name="connsiteX376" fmla="*/ 479327 w 741412"/>
                <a:gd name="connsiteY376" fmla="*/ 183770 h 991091"/>
                <a:gd name="connsiteX377" fmla="*/ 479069 w 741412"/>
                <a:gd name="connsiteY377" fmla="*/ 184804 h 991091"/>
                <a:gd name="connsiteX378" fmla="*/ 478939 w 741412"/>
                <a:gd name="connsiteY378" fmla="*/ 186225 h 991091"/>
                <a:gd name="connsiteX379" fmla="*/ 478681 w 741412"/>
                <a:gd name="connsiteY379" fmla="*/ 186613 h 991091"/>
                <a:gd name="connsiteX380" fmla="*/ 478035 w 741412"/>
                <a:gd name="connsiteY380" fmla="*/ 186613 h 991091"/>
                <a:gd name="connsiteX381" fmla="*/ 477259 w 741412"/>
                <a:gd name="connsiteY381" fmla="*/ 186484 h 991091"/>
                <a:gd name="connsiteX382" fmla="*/ 476742 w 741412"/>
                <a:gd name="connsiteY382" fmla="*/ 186613 h 991091"/>
                <a:gd name="connsiteX383" fmla="*/ 475967 w 741412"/>
                <a:gd name="connsiteY383" fmla="*/ 189586 h 991091"/>
                <a:gd name="connsiteX384" fmla="*/ 474546 w 741412"/>
                <a:gd name="connsiteY384" fmla="*/ 188164 h 991091"/>
                <a:gd name="connsiteX385" fmla="*/ 474546 w 741412"/>
                <a:gd name="connsiteY385" fmla="*/ 187518 h 991091"/>
                <a:gd name="connsiteX386" fmla="*/ 475062 w 741412"/>
                <a:gd name="connsiteY386" fmla="*/ 187130 h 991091"/>
                <a:gd name="connsiteX387" fmla="*/ 476096 w 741412"/>
                <a:gd name="connsiteY387" fmla="*/ 185321 h 991091"/>
                <a:gd name="connsiteX388" fmla="*/ 474416 w 741412"/>
                <a:gd name="connsiteY388" fmla="*/ 183770 h 991091"/>
                <a:gd name="connsiteX389" fmla="*/ 473382 w 741412"/>
                <a:gd name="connsiteY389" fmla="*/ 184416 h 991091"/>
                <a:gd name="connsiteX390" fmla="*/ 472736 w 741412"/>
                <a:gd name="connsiteY390" fmla="*/ 186484 h 991091"/>
                <a:gd name="connsiteX391" fmla="*/ 472607 w 741412"/>
                <a:gd name="connsiteY391" fmla="*/ 188939 h 991091"/>
                <a:gd name="connsiteX392" fmla="*/ 470669 w 741412"/>
                <a:gd name="connsiteY392" fmla="*/ 187130 h 991091"/>
                <a:gd name="connsiteX393" fmla="*/ 471702 w 741412"/>
                <a:gd name="connsiteY393" fmla="*/ 184416 h 991091"/>
                <a:gd name="connsiteX394" fmla="*/ 474416 w 741412"/>
                <a:gd name="connsiteY394" fmla="*/ 181961 h 991091"/>
                <a:gd name="connsiteX395" fmla="*/ 477389 w 741412"/>
                <a:gd name="connsiteY395" fmla="*/ 180927 h 991091"/>
                <a:gd name="connsiteX396" fmla="*/ 478035 w 741412"/>
                <a:gd name="connsiteY396" fmla="*/ 180539 h 991091"/>
                <a:gd name="connsiteX397" fmla="*/ 481007 w 741412"/>
                <a:gd name="connsiteY397" fmla="*/ 177696 h 991091"/>
                <a:gd name="connsiteX398" fmla="*/ 482299 w 741412"/>
                <a:gd name="connsiteY398" fmla="*/ 177050 h 991091"/>
                <a:gd name="connsiteX399" fmla="*/ 485272 w 741412"/>
                <a:gd name="connsiteY399" fmla="*/ 176275 h 991091"/>
                <a:gd name="connsiteX400" fmla="*/ 486564 w 741412"/>
                <a:gd name="connsiteY400" fmla="*/ 175111 h 991091"/>
                <a:gd name="connsiteX401" fmla="*/ 485918 w 741412"/>
                <a:gd name="connsiteY401" fmla="*/ 174595 h 991091"/>
                <a:gd name="connsiteX402" fmla="*/ 485530 w 741412"/>
                <a:gd name="connsiteY402" fmla="*/ 173948 h 991091"/>
                <a:gd name="connsiteX403" fmla="*/ 484755 w 741412"/>
                <a:gd name="connsiteY403" fmla="*/ 172010 h 991091"/>
                <a:gd name="connsiteX404" fmla="*/ 486435 w 741412"/>
                <a:gd name="connsiteY404" fmla="*/ 173690 h 991091"/>
                <a:gd name="connsiteX405" fmla="*/ 487210 w 741412"/>
                <a:gd name="connsiteY405" fmla="*/ 174078 h 991091"/>
                <a:gd name="connsiteX406" fmla="*/ 488373 w 741412"/>
                <a:gd name="connsiteY406" fmla="*/ 174207 h 991091"/>
                <a:gd name="connsiteX407" fmla="*/ 489666 w 741412"/>
                <a:gd name="connsiteY407" fmla="*/ 173948 h 991091"/>
                <a:gd name="connsiteX408" fmla="*/ 491346 w 741412"/>
                <a:gd name="connsiteY408" fmla="*/ 173173 h 991091"/>
                <a:gd name="connsiteX409" fmla="*/ 492767 w 741412"/>
                <a:gd name="connsiteY409" fmla="*/ 172139 h 991091"/>
                <a:gd name="connsiteX410" fmla="*/ 495610 w 741412"/>
                <a:gd name="connsiteY410" fmla="*/ 166970 h 991091"/>
                <a:gd name="connsiteX411" fmla="*/ 496128 w 741412"/>
                <a:gd name="connsiteY411" fmla="*/ 164902 h 991091"/>
                <a:gd name="connsiteX412" fmla="*/ 494189 w 741412"/>
                <a:gd name="connsiteY412" fmla="*/ 164127 h 991091"/>
                <a:gd name="connsiteX413" fmla="*/ 494964 w 741412"/>
                <a:gd name="connsiteY413" fmla="*/ 163351 h 991091"/>
                <a:gd name="connsiteX414" fmla="*/ 495740 w 741412"/>
                <a:gd name="connsiteY414" fmla="*/ 163093 h 991091"/>
                <a:gd name="connsiteX415" fmla="*/ 496515 w 741412"/>
                <a:gd name="connsiteY415" fmla="*/ 162963 h 991091"/>
                <a:gd name="connsiteX416" fmla="*/ 497161 w 741412"/>
                <a:gd name="connsiteY416" fmla="*/ 162576 h 991091"/>
                <a:gd name="connsiteX417" fmla="*/ 498712 w 741412"/>
                <a:gd name="connsiteY417" fmla="*/ 160508 h 991091"/>
                <a:gd name="connsiteX418" fmla="*/ 500521 w 741412"/>
                <a:gd name="connsiteY418" fmla="*/ 159603 h 991091"/>
                <a:gd name="connsiteX419" fmla="*/ 502202 w 741412"/>
                <a:gd name="connsiteY419" fmla="*/ 159733 h 991091"/>
                <a:gd name="connsiteX420" fmla="*/ 503494 w 741412"/>
                <a:gd name="connsiteY420" fmla="*/ 157536 h 991091"/>
                <a:gd name="connsiteX421" fmla="*/ 504011 w 741412"/>
                <a:gd name="connsiteY421" fmla="*/ 155468 h 991091"/>
                <a:gd name="connsiteX422" fmla="*/ 503881 w 741412"/>
                <a:gd name="connsiteY422" fmla="*/ 153400 h 991091"/>
                <a:gd name="connsiteX423" fmla="*/ 503106 w 741412"/>
                <a:gd name="connsiteY423" fmla="*/ 150945 h 991091"/>
                <a:gd name="connsiteX424" fmla="*/ 502331 w 741412"/>
                <a:gd name="connsiteY424" fmla="*/ 150945 h 991091"/>
                <a:gd name="connsiteX425" fmla="*/ 501814 w 741412"/>
                <a:gd name="connsiteY425" fmla="*/ 152625 h 991091"/>
                <a:gd name="connsiteX426" fmla="*/ 501684 w 741412"/>
                <a:gd name="connsiteY426" fmla="*/ 153400 h 991091"/>
                <a:gd name="connsiteX427" fmla="*/ 501684 w 741412"/>
                <a:gd name="connsiteY427" fmla="*/ 154563 h 991091"/>
                <a:gd name="connsiteX428" fmla="*/ 501297 w 741412"/>
                <a:gd name="connsiteY428" fmla="*/ 153529 h 991091"/>
                <a:gd name="connsiteX429" fmla="*/ 501297 w 741412"/>
                <a:gd name="connsiteY429" fmla="*/ 151074 h 991091"/>
                <a:gd name="connsiteX430" fmla="*/ 501038 w 741412"/>
                <a:gd name="connsiteY430" fmla="*/ 150169 h 991091"/>
                <a:gd name="connsiteX431" fmla="*/ 500392 w 741412"/>
                <a:gd name="connsiteY431" fmla="*/ 149911 h 991091"/>
                <a:gd name="connsiteX432" fmla="*/ 497420 w 741412"/>
                <a:gd name="connsiteY432" fmla="*/ 149523 h 991091"/>
                <a:gd name="connsiteX433" fmla="*/ 497937 w 741412"/>
                <a:gd name="connsiteY433" fmla="*/ 148102 h 991091"/>
                <a:gd name="connsiteX434" fmla="*/ 500134 w 741412"/>
                <a:gd name="connsiteY434" fmla="*/ 147585 h 991091"/>
                <a:gd name="connsiteX435" fmla="*/ 502848 w 741412"/>
                <a:gd name="connsiteY435" fmla="*/ 147585 h 991091"/>
                <a:gd name="connsiteX436" fmla="*/ 504657 w 741412"/>
                <a:gd name="connsiteY436" fmla="*/ 148102 h 991091"/>
                <a:gd name="connsiteX437" fmla="*/ 504011 w 741412"/>
                <a:gd name="connsiteY437" fmla="*/ 145129 h 991091"/>
                <a:gd name="connsiteX438" fmla="*/ 502072 w 741412"/>
                <a:gd name="connsiteY438" fmla="*/ 143449 h 991091"/>
                <a:gd name="connsiteX439" fmla="*/ 499875 w 741412"/>
                <a:gd name="connsiteY439" fmla="*/ 143449 h 991091"/>
                <a:gd name="connsiteX440" fmla="*/ 498841 w 741412"/>
                <a:gd name="connsiteY440" fmla="*/ 145258 h 991091"/>
                <a:gd name="connsiteX441" fmla="*/ 495740 w 741412"/>
                <a:gd name="connsiteY441" fmla="*/ 145129 h 991091"/>
                <a:gd name="connsiteX442" fmla="*/ 484109 w 741412"/>
                <a:gd name="connsiteY442" fmla="*/ 150945 h 991091"/>
                <a:gd name="connsiteX443" fmla="*/ 477776 w 741412"/>
                <a:gd name="connsiteY443" fmla="*/ 151462 h 991091"/>
                <a:gd name="connsiteX444" fmla="*/ 476355 w 741412"/>
                <a:gd name="connsiteY444" fmla="*/ 152108 h 991091"/>
                <a:gd name="connsiteX445" fmla="*/ 475450 w 741412"/>
                <a:gd name="connsiteY445" fmla="*/ 153529 h 991091"/>
                <a:gd name="connsiteX446" fmla="*/ 475450 w 741412"/>
                <a:gd name="connsiteY446" fmla="*/ 154951 h 991091"/>
                <a:gd name="connsiteX447" fmla="*/ 475579 w 741412"/>
                <a:gd name="connsiteY447" fmla="*/ 156373 h 991091"/>
                <a:gd name="connsiteX448" fmla="*/ 475321 w 741412"/>
                <a:gd name="connsiteY448" fmla="*/ 157536 h 991091"/>
                <a:gd name="connsiteX449" fmla="*/ 476484 w 741412"/>
                <a:gd name="connsiteY449" fmla="*/ 158311 h 991091"/>
                <a:gd name="connsiteX450" fmla="*/ 476872 w 741412"/>
                <a:gd name="connsiteY450" fmla="*/ 159603 h 991091"/>
                <a:gd name="connsiteX451" fmla="*/ 476742 w 741412"/>
                <a:gd name="connsiteY451" fmla="*/ 162705 h 991091"/>
                <a:gd name="connsiteX452" fmla="*/ 475321 w 741412"/>
                <a:gd name="connsiteY452" fmla="*/ 159216 h 991091"/>
                <a:gd name="connsiteX453" fmla="*/ 474158 w 741412"/>
                <a:gd name="connsiteY453" fmla="*/ 157536 h 991091"/>
                <a:gd name="connsiteX454" fmla="*/ 472607 w 741412"/>
                <a:gd name="connsiteY454" fmla="*/ 156760 h 991091"/>
                <a:gd name="connsiteX455" fmla="*/ 470669 w 741412"/>
                <a:gd name="connsiteY455" fmla="*/ 156889 h 991091"/>
                <a:gd name="connsiteX456" fmla="*/ 469893 w 741412"/>
                <a:gd name="connsiteY456" fmla="*/ 157277 h 991091"/>
                <a:gd name="connsiteX457" fmla="*/ 469376 w 741412"/>
                <a:gd name="connsiteY457" fmla="*/ 158053 h 991091"/>
                <a:gd name="connsiteX458" fmla="*/ 468213 w 741412"/>
                <a:gd name="connsiteY458" fmla="*/ 159474 h 991091"/>
                <a:gd name="connsiteX459" fmla="*/ 470022 w 741412"/>
                <a:gd name="connsiteY459" fmla="*/ 171493 h 991091"/>
                <a:gd name="connsiteX460" fmla="*/ 469247 w 741412"/>
                <a:gd name="connsiteY460" fmla="*/ 171493 h 991091"/>
                <a:gd name="connsiteX461" fmla="*/ 469247 w 741412"/>
                <a:gd name="connsiteY461" fmla="*/ 170459 h 991091"/>
                <a:gd name="connsiteX462" fmla="*/ 469118 w 741412"/>
                <a:gd name="connsiteY462" fmla="*/ 169554 h 991091"/>
                <a:gd name="connsiteX463" fmla="*/ 468859 w 741412"/>
                <a:gd name="connsiteY463" fmla="*/ 168779 h 991091"/>
                <a:gd name="connsiteX464" fmla="*/ 468472 w 741412"/>
                <a:gd name="connsiteY464" fmla="*/ 167874 h 991091"/>
                <a:gd name="connsiteX465" fmla="*/ 467825 w 741412"/>
                <a:gd name="connsiteY465" fmla="*/ 172010 h 991091"/>
                <a:gd name="connsiteX466" fmla="*/ 464077 w 741412"/>
                <a:gd name="connsiteY466" fmla="*/ 183899 h 991091"/>
                <a:gd name="connsiteX467" fmla="*/ 464724 w 741412"/>
                <a:gd name="connsiteY467" fmla="*/ 184158 h 991091"/>
                <a:gd name="connsiteX468" fmla="*/ 464982 w 741412"/>
                <a:gd name="connsiteY468" fmla="*/ 184545 h 991091"/>
                <a:gd name="connsiteX469" fmla="*/ 465111 w 741412"/>
                <a:gd name="connsiteY469" fmla="*/ 184933 h 991091"/>
                <a:gd name="connsiteX470" fmla="*/ 465499 w 741412"/>
                <a:gd name="connsiteY470" fmla="*/ 185321 h 991091"/>
                <a:gd name="connsiteX471" fmla="*/ 464207 w 741412"/>
                <a:gd name="connsiteY471" fmla="*/ 186613 h 991091"/>
                <a:gd name="connsiteX472" fmla="*/ 463819 w 741412"/>
                <a:gd name="connsiteY472" fmla="*/ 188939 h 991091"/>
                <a:gd name="connsiteX473" fmla="*/ 464077 w 741412"/>
                <a:gd name="connsiteY473" fmla="*/ 193850 h 991091"/>
                <a:gd name="connsiteX474" fmla="*/ 463819 w 741412"/>
                <a:gd name="connsiteY474" fmla="*/ 196047 h 991091"/>
                <a:gd name="connsiteX475" fmla="*/ 463173 w 741412"/>
                <a:gd name="connsiteY475" fmla="*/ 198373 h 991091"/>
                <a:gd name="connsiteX476" fmla="*/ 462268 w 741412"/>
                <a:gd name="connsiteY476" fmla="*/ 200570 h 991091"/>
                <a:gd name="connsiteX477" fmla="*/ 461364 w 741412"/>
                <a:gd name="connsiteY477" fmla="*/ 202250 h 991091"/>
                <a:gd name="connsiteX478" fmla="*/ 457487 w 741412"/>
                <a:gd name="connsiteY478" fmla="*/ 206127 h 991091"/>
                <a:gd name="connsiteX479" fmla="*/ 456970 w 741412"/>
                <a:gd name="connsiteY479" fmla="*/ 207678 h 991091"/>
                <a:gd name="connsiteX480" fmla="*/ 456065 w 741412"/>
                <a:gd name="connsiteY480" fmla="*/ 208324 h 991091"/>
                <a:gd name="connsiteX481" fmla="*/ 451025 w 741412"/>
                <a:gd name="connsiteY481" fmla="*/ 210909 h 991091"/>
                <a:gd name="connsiteX482" fmla="*/ 446243 w 741412"/>
                <a:gd name="connsiteY482" fmla="*/ 218275 h 991091"/>
                <a:gd name="connsiteX483" fmla="*/ 443400 w 741412"/>
                <a:gd name="connsiteY483" fmla="*/ 218534 h 991091"/>
                <a:gd name="connsiteX484" fmla="*/ 441979 w 741412"/>
                <a:gd name="connsiteY484" fmla="*/ 219439 h 991091"/>
                <a:gd name="connsiteX485" fmla="*/ 440040 w 741412"/>
                <a:gd name="connsiteY485" fmla="*/ 223445 h 991091"/>
                <a:gd name="connsiteX486" fmla="*/ 438618 w 741412"/>
                <a:gd name="connsiteY486" fmla="*/ 225642 h 991091"/>
                <a:gd name="connsiteX487" fmla="*/ 436939 w 741412"/>
                <a:gd name="connsiteY487" fmla="*/ 227193 h 991091"/>
                <a:gd name="connsiteX488" fmla="*/ 434871 w 741412"/>
                <a:gd name="connsiteY488" fmla="*/ 228226 h 991091"/>
                <a:gd name="connsiteX489" fmla="*/ 429960 w 741412"/>
                <a:gd name="connsiteY489" fmla="*/ 228873 h 991091"/>
                <a:gd name="connsiteX490" fmla="*/ 428151 w 741412"/>
                <a:gd name="connsiteY490" fmla="*/ 229648 h 991091"/>
                <a:gd name="connsiteX491" fmla="*/ 426858 w 741412"/>
                <a:gd name="connsiteY491" fmla="*/ 230940 h 991091"/>
                <a:gd name="connsiteX492" fmla="*/ 426212 w 741412"/>
                <a:gd name="connsiteY492" fmla="*/ 232879 h 991091"/>
                <a:gd name="connsiteX493" fmla="*/ 426988 w 741412"/>
                <a:gd name="connsiteY493" fmla="*/ 238436 h 991091"/>
                <a:gd name="connsiteX494" fmla="*/ 426083 w 741412"/>
                <a:gd name="connsiteY494" fmla="*/ 240116 h 991091"/>
                <a:gd name="connsiteX495" fmla="*/ 422335 w 741412"/>
                <a:gd name="connsiteY495" fmla="*/ 239599 h 991091"/>
                <a:gd name="connsiteX496" fmla="*/ 426083 w 741412"/>
                <a:gd name="connsiteY496" fmla="*/ 238048 h 991091"/>
                <a:gd name="connsiteX497" fmla="*/ 424920 w 741412"/>
                <a:gd name="connsiteY497" fmla="*/ 236239 h 991091"/>
                <a:gd name="connsiteX498" fmla="*/ 424015 w 741412"/>
                <a:gd name="connsiteY498" fmla="*/ 234300 h 991091"/>
                <a:gd name="connsiteX499" fmla="*/ 423369 w 741412"/>
                <a:gd name="connsiteY499" fmla="*/ 232362 h 991091"/>
                <a:gd name="connsiteX500" fmla="*/ 423110 w 741412"/>
                <a:gd name="connsiteY500" fmla="*/ 230423 h 991091"/>
                <a:gd name="connsiteX501" fmla="*/ 423886 w 741412"/>
                <a:gd name="connsiteY501" fmla="*/ 228485 h 991091"/>
                <a:gd name="connsiteX502" fmla="*/ 425824 w 741412"/>
                <a:gd name="connsiteY502" fmla="*/ 227839 h 991091"/>
                <a:gd name="connsiteX503" fmla="*/ 428280 w 741412"/>
                <a:gd name="connsiteY503" fmla="*/ 227451 h 991091"/>
                <a:gd name="connsiteX504" fmla="*/ 430348 w 741412"/>
                <a:gd name="connsiteY504" fmla="*/ 226417 h 991091"/>
                <a:gd name="connsiteX505" fmla="*/ 430735 w 741412"/>
                <a:gd name="connsiteY505" fmla="*/ 225512 h 991091"/>
                <a:gd name="connsiteX506" fmla="*/ 431252 w 741412"/>
                <a:gd name="connsiteY506" fmla="*/ 222928 h 991091"/>
                <a:gd name="connsiteX507" fmla="*/ 431640 w 741412"/>
                <a:gd name="connsiteY507" fmla="*/ 221894 h 991091"/>
                <a:gd name="connsiteX508" fmla="*/ 432674 w 741412"/>
                <a:gd name="connsiteY508" fmla="*/ 220989 h 991091"/>
                <a:gd name="connsiteX509" fmla="*/ 433966 w 741412"/>
                <a:gd name="connsiteY509" fmla="*/ 220214 h 991091"/>
                <a:gd name="connsiteX510" fmla="*/ 435000 w 741412"/>
                <a:gd name="connsiteY510" fmla="*/ 219309 h 991091"/>
                <a:gd name="connsiteX511" fmla="*/ 435517 w 741412"/>
                <a:gd name="connsiteY511" fmla="*/ 217888 h 991091"/>
                <a:gd name="connsiteX512" fmla="*/ 436680 w 741412"/>
                <a:gd name="connsiteY512" fmla="*/ 216337 h 991091"/>
                <a:gd name="connsiteX513" fmla="*/ 439006 w 741412"/>
                <a:gd name="connsiteY513" fmla="*/ 214786 h 991091"/>
                <a:gd name="connsiteX514" fmla="*/ 440945 w 741412"/>
                <a:gd name="connsiteY514" fmla="*/ 212848 h 991091"/>
                <a:gd name="connsiteX515" fmla="*/ 440686 w 741412"/>
                <a:gd name="connsiteY515" fmla="*/ 210134 h 991091"/>
                <a:gd name="connsiteX516" fmla="*/ 439135 w 741412"/>
                <a:gd name="connsiteY516" fmla="*/ 209358 h 991091"/>
                <a:gd name="connsiteX517" fmla="*/ 436680 w 741412"/>
                <a:gd name="connsiteY517" fmla="*/ 209229 h 991091"/>
                <a:gd name="connsiteX518" fmla="*/ 434354 w 741412"/>
                <a:gd name="connsiteY518" fmla="*/ 208712 h 991091"/>
                <a:gd name="connsiteX519" fmla="*/ 433320 w 741412"/>
                <a:gd name="connsiteY519" fmla="*/ 206774 h 991091"/>
                <a:gd name="connsiteX520" fmla="*/ 433449 w 741412"/>
                <a:gd name="connsiteY520" fmla="*/ 205740 h 991091"/>
                <a:gd name="connsiteX521" fmla="*/ 433966 w 741412"/>
                <a:gd name="connsiteY521" fmla="*/ 203672 h 991091"/>
                <a:gd name="connsiteX522" fmla="*/ 434095 w 741412"/>
                <a:gd name="connsiteY522" fmla="*/ 202380 h 991091"/>
                <a:gd name="connsiteX523" fmla="*/ 433966 w 741412"/>
                <a:gd name="connsiteY523" fmla="*/ 199278 h 991091"/>
                <a:gd name="connsiteX524" fmla="*/ 434095 w 741412"/>
                <a:gd name="connsiteY524" fmla="*/ 198503 h 991091"/>
                <a:gd name="connsiteX525" fmla="*/ 437972 w 741412"/>
                <a:gd name="connsiteY525" fmla="*/ 191912 h 991091"/>
                <a:gd name="connsiteX526" fmla="*/ 438489 w 741412"/>
                <a:gd name="connsiteY526" fmla="*/ 189327 h 991091"/>
                <a:gd name="connsiteX527" fmla="*/ 438231 w 741412"/>
                <a:gd name="connsiteY527" fmla="*/ 184675 h 991091"/>
                <a:gd name="connsiteX528" fmla="*/ 438360 w 741412"/>
                <a:gd name="connsiteY528" fmla="*/ 182607 h 991091"/>
                <a:gd name="connsiteX529" fmla="*/ 439135 w 741412"/>
                <a:gd name="connsiteY529" fmla="*/ 180152 h 991091"/>
                <a:gd name="connsiteX530" fmla="*/ 440428 w 741412"/>
                <a:gd name="connsiteY530" fmla="*/ 177438 h 991091"/>
                <a:gd name="connsiteX531" fmla="*/ 440557 w 741412"/>
                <a:gd name="connsiteY531" fmla="*/ 176145 h 991091"/>
                <a:gd name="connsiteX532" fmla="*/ 439911 w 741412"/>
                <a:gd name="connsiteY532" fmla="*/ 175111 h 991091"/>
                <a:gd name="connsiteX533" fmla="*/ 442495 w 741412"/>
                <a:gd name="connsiteY533" fmla="*/ 172268 h 991091"/>
                <a:gd name="connsiteX534" fmla="*/ 447923 w 741412"/>
                <a:gd name="connsiteY534" fmla="*/ 161283 h 991091"/>
                <a:gd name="connsiteX535" fmla="*/ 448311 w 741412"/>
                <a:gd name="connsiteY535" fmla="*/ 160896 h 991091"/>
                <a:gd name="connsiteX536" fmla="*/ 449087 w 741412"/>
                <a:gd name="connsiteY536" fmla="*/ 159603 h 991091"/>
                <a:gd name="connsiteX537" fmla="*/ 449603 w 741412"/>
                <a:gd name="connsiteY537" fmla="*/ 158311 h 991091"/>
                <a:gd name="connsiteX538" fmla="*/ 448957 w 741412"/>
                <a:gd name="connsiteY538" fmla="*/ 157665 h 991091"/>
                <a:gd name="connsiteX539" fmla="*/ 447277 w 741412"/>
                <a:gd name="connsiteY539" fmla="*/ 157923 h 991091"/>
                <a:gd name="connsiteX540" fmla="*/ 446631 w 741412"/>
                <a:gd name="connsiteY540" fmla="*/ 158699 h 991091"/>
                <a:gd name="connsiteX541" fmla="*/ 446243 w 741412"/>
                <a:gd name="connsiteY541" fmla="*/ 159733 h 991091"/>
                <a:gd name="connsiteX542" fmla="*/ 445339 w 741412"/>
                <a:gd name="connsiteY542" fmla="*/ 160896 h 991091"/>
                <a:gd name="connsiteX543" fmla="*/ 443271 w 741412"/>
                <a:gd name="connsiteY543" fmla="*/ 162059 h 991091"/>
                <a:gd name="connsiteX544" fmla="*/ 438360 w 741412"/>
                <a:gd name="connsiteY544" fmla="*/ 164127 h 991091"/>
                <a:gd name="connsiteX545" fmla="*/ 436809 w 741412"/>
                <a:gd name="connsiteY545" fmla="*/ 165677 h 991091"/>
                <a:gd name="connsiteX546" fmla="*/ 437197 w 741412"/>
                <a:gd name="connsiteY546" fmla="*/ 164127 h 991091"/>
                <a:gd name="connsiteX547" fmla="*/ 439265 w 741412"/>
                <a:gd name="connsiteY547" fmla="*/ 162705 h 991091"/>
                <a:gd name="connsiteX548" fmla="*/ 441849 w 741412"/>
                <a:gd name="connsiteY548" fmla="*/ 161671 h 991091"/>
                <a:gd name="connsiteX549" fmla="*/ 443788 w 741412"/>
                <a:gd name="connsiteY549" fmla="*/ 161283 h 991091"/>
                <a:gd name="connsiteX550" fmla="*/ 444434 w 741412"/>
                <a:gd name="connsiteY550" fmla="*/ 160767 h 991091"/>
                <a:gd name="connsiteX551" fmla="*/ 445726 w 741412"/>
                <a:gd name="connsiteY551" fmla="*/ 157665 h 991091"/>
                <a:gd name="connsiteX552" fmla="*/ 446890 w 741412"/>
                <a:gd name="connsiteY552" fmla="*/ 156502 h 991091"/>
                <a:gd name="connsiteX553" fmla="*/ 447794 w 741412"/>
                <a:gd name="connsiteY553" fmla="*/ 156373 h 991091"/>
                <a:gd name="connsiteX554" fmla="*/ 448828 w 741412"/>
                <a:gd name="connsiteY554" fmla="*/ 156502 h 991091"/>
                <a:gd name="connsiteX555" fmla="*/ 450120 w 741412"/>
                <a:gd name="connsiteY555" fmla="*/ 156114 h 991091"/>
                <a:gd name="connsiteX556" fmla="*/ 451542 w 741412"/>
                <a:gd name="connsiteY556" fmla="*/ 154176 h 991091"/>
                <a:gd name="connsiteX557" fmla="*/ 452705 w 741412"/>
                <a:gd name="connsiteY557" fmla="*/ 150945 h 991091"/>
                <a:gd name="connsiteX558" fmla="*/ 453739 w 741412"/>
                <a:gd name="connsiteY558" fmla="*/ 145517 h 991091"/>
                <a:gd name="connsiteX559" fmla="*/ 453093 w 741412"/>
                <a:gd name="connsiteY559" fmla="*/ 142415 h 991091"/>
                <a:gd name="connsiteX560" fmla="*/ 451413 w 741412"/>
                <a:gd name="connsiteY560" fmla="*/ 142157 h 991091"/>
                <a:gd name="connsiteX561" fmla="*/ 446373 w 741412"/>
                <a:gd name="connsiteY561" fmla="*/ 145258 h 991091"/>
                <a:gd name="connsiteX562" fmla="*/ 447148 w 741412"/>
                <a:gd name="connsiteY562" fmla="*/ 143966 h 991091"/>
                <a:gd name="connsiteX563" fmla="*/ 448440 w 741412"/>
                <a:gd name="connsiteY563" fmla="*/ 142545 h 991091"/>
                <a:gd name="connsiteX564" fmla="*/ 449862 w 741412"/>
                <a:gd name="connsiteY564" fmla="*/ 141381 h 991091"/>
                <a:gd name="connsiteX565" fmla="*/ 451671 w 741412"/>
                <a:gd name="connsiteY565" fmla="*/ 140606 h 991091"/>
                <a:gd name="connsiteX566" fmla="*/ 452317 w 741412"/>
                <a:gd name="connsiteY566" fmla="*/ 140218 h 991091"/>
                <a:gd name="connsiteX567" fmla="*/ 452834 w 741412"/>
                <a:gd name="connsiteY567" fmla="*/ 140089 h 991091"/>
                <a:gd name="connsiteX568" fmla="*/ 453093 w 741412"/>
                <a:gd name="connsiteY568" fmla="*/ 140477 h 991091"/>
                <a:gd name="connsiteX569" fmla="*/ 453222 w 741412"/>
                <a:gd name="connsiteY569" fmla="*/ 140735 h 991091"/>
                <a:gd name="connsiteX570" fmla="*/ 453610 w 741412"/>
                <a:gd name="connsiteY570" fmla="*/ 141123 h 991091"/>
                <a:gd name="connsiteX571" fmla="*/ 453997 w 741412"/>
                <a:gd name="connsiteY571" fmla="*/ 141381 h 991091"/>
                <a:gd name="connsiteX572" fmla="*/ 454256 w 741412"/>
                <a:gd name="connsiteY572" fmla="*/ 141511 h 991091"/>
                <a:gd name="connsiteX573" fmla="*/ 455031 w 741412"/>
                <a:gd name="connsiteY573" fmla="*/ 141769 h 991091"/>
                <a:gd name="connsiteX574" fmla="*/ 456194 w 741412"/>
                <a:gd name="connsiteY574" fmla="*/ 143191 h 991091"/>
                <a:gd name="connsiteX575" fmla="*/ 456840 w 741412"/>
                <a:gd name="connsiteY575" fmla="*/ 143837 h 991091"/>
                <a:gd name="connsiteX576" fmla="*/ 459037 w 741412"/>
                <a:gd name="connsiteY576" fmla="*/ 144354 h 991091"/>
                <a:gd name="connsiteX577" fmla="*/ 461493 w 741412"/>
                <a:gd name="connsiteY577" fmla="*/ 144354 h 991091"/>
                <a:gd name="connsiteX578" fmla="*/ 465241 w 741412"/>
                <a:gd name="connsiteY578" fmla="*/ 143837 h 991091"/>
                <a:gd name="connsiteX579" fmla="*/ 466662 w 741412"/>
                <a:gd name="connsiteY579" fmla="*/ 143061 h 991091"/>
                <a:gd name="connsiteX580" fmla="*/ 467567 w 741412"/>
                <a:gd name="connsiteY580" fmla="*/ 141252 h 991091"/>
                <a:gd name="connsiteX581" fmla="*/ 468601 w 741412"/>
                <a:gd name="connsiteY581" fmla="*/ 136600 h 991091"/>
                <a:gd name="connsiteX582" fmla="*/ 468730 w 741412"/>
                <a:gd name="connsiteY582" fmla="*/ 134144 h 991091"/>
                <a:gd name="connsiteX583" fmla="*/ 468472 w 741412"/>
                <a:gd name="connsiteY583" fmla="*/ 132981 h 991091"/>
                <a:gd name="connsiteX584" fmla="*/ 467955 w 741412"/>
                <a:gd name="connsiteY584" fmla="*/ 132206 h 991091"/>
                <a:gd name="connsiteX585" fmla="*/ 466533 w 741412"/>
                <a:gd name="connsiteY585" fmla="*/ 130655 h 991091"/>
                <a:gd name="connsiteX586" fmla="*/ 466275 w 741412"/>
                <a:gd name="connsiteY586" fmla="*/ 130397 h 991091"/>
                <a:gd name="connsiteX587" fmla="*/ 466145 w 741412"/>
                <a:gd name="connsiteY587" fmla="*/ 126390 h 991091"/>
                <a:gd name="connsiteX588" fmla="*/ 465758 w 741412"/>
                <a:gd name="connsiteY588" fmla="*/ 124323 h 991091"/>
                <a:gd name="connsiteX589" fmla="*/ 464853 w 741412"/>
                <a:gd name="connsiteY589" fmla="*/ 122126 h 991091"/>
                <a:gd name="connsiteX590" fmla="*/ 461881 w 741412"/>
                <a:gd name="connsiteY590" fmla="*/ 118378 h 991091"/>
                <a:gd name="connsiteX591" fmla="*/ 458133 w 741412"/>
                <a:gd name="connsiteY591" fmla="*/ 116439 h 991091"/>
                <a:gd name="connsiteX592" fmla="*/ 454256 w 741412"/>
                <a:gd name="connsiteY592" fmla="*/ 116827 h 991091"/>
                <a:gd name="connsiteX593" fmla="*/ 450896 w 741412"/>
                <a:gd name="connsiteY593" fmla="*/ 119799 h 991091"/>
                <a:gd name="connsiteX594" fmla="*/ 450508 w 741412"/>
                <a:gd name="connsiteY594" fmla="*/ 120316 h 991091"/>
                <a:gd name="connsiteX595" fmla="*/ 449862 w 741412"/>
                <a:gd name="connsiteY595" fmla="*/ 120833 h 991091"/>
                <a:gd name="connsiteX596" fmla="*/ 449474 w 741412"/>
                <a:gd name="connsiteY596" fmla="*/ 121221 h 991091"/>
                <a:gd name="connsiteX597" fmla="*/ 449216 w 741412"/>
                <a:gd name="connsiteY597" fmla="*/ 122772 h 991091"/>
                <a:gd name="connsiteX598" fmla="*/ 449474 w 741412"/>
                <a:gd name="connsiteY598" fmla="*/ 122772 h 991091"/>
                <a:gd name="connsiteX599" fmla="*/ 448311 w 741412"/>
                <a:gd name="connsiteY599" fmla="*/ 124193 h 991091"/>
                <a:gd name="connsiteX600" fmla="*/ 447406 w 741412"/>
                <a:gd name="connsiteY600" fmla="*/ 124710 h 991091"/>
                <a:gd name="connsiteX601" fmla="*/ 446243 w 741412"/>
                <a:gd name="connsiteY601" fmla="*/ 124969 h 991091"/>
                <a:gd name="connsiteX602" fmla="*/ 444951 w 741412"/>
                <a:gd name="connsiteY602" fmla="*/ 125615 h 991091"/>
                <a:gd name="connsiteX603" fmla="*/ 439911 w 741412"/>
                <a:gd name="connsiteY603" fmla="*/ 130009 h 991091"/>
                <a:gd name="connsiteX604" fmla="*/ 438618 w 741412"/>
                <a:gd name="connsiteY604" fmla="*/ 132077 h 991091"/>
                <a:gd name="connsiteX605" fmla="*/ 437972 w 741412"/>
                <a:gd name="connsiteY605" fmla="*/ 134015 h 991091"/>
                <a:gd name="connsiteX606" fmla="*/ 437714 w 741412"/>
                <a:gd name="connsiteY606" fmla="*/ 136083 h 991091"/>
                <a:gd name="connsiteX607" fmla="*/ 437714 w 741412"/>
                <a:gd name="connsiteY607" fmla="*/ 138538 h 991091"/>
                <a:gd name="connsiteX608" fmla="*/ 437972 w 741412"/>
                <a:gd name="connsiteY608" fmla="*/ 139314 h 991091"/>
                <a:gd name="connsiteX609" fmla="*/ 438489 w 741412"/>
                <a:gd name="connsiteY609" fmla="*/ 140089 h 991091"/>
                <a:gd name="connsiteX610" fmla="*/ 438748 w 741412"/>
                <a:gd name="connsiteY610" fmla="*/ 140994 h 991091"/>
                <a:gd name="connsiteX611" fmla="*/ 437714 w 741412"/>
                <a:gd name="connsiteY611" fmla="*/ 143061 h 991091"/>
                <a:gd name="connsiteX612" fmla="*/ 437455 w 741412"/>
                <a:gd name="connsiteY612" fmla="*/ 144483 h 991091"/>
                <a:gd name="connsiteX613" fmla="*/ 437585 w 741412"/>
                <a:gd name="connsiteY613" fmla="*/ 145775 h 991091"/>
                <a:gd name="connsiteX614" fmla="*/ 437843 w 741412"/>
                <a:gd name="connsiteY614" fmla="*/ 146809 h 991091"/>
                <a:gd name="connsiteX615" fmla="*/ 436680 w 741412"/>
                <a:gd name="connsiteY615" fmla="*/ 145905 h 991091"/>
                <a:gd name="connsiteX616" fmla="*/ 436551 w 741412"/>
                <a:gd name="connsiteY616" fmla="*/ 144095 h 991091"/>
                <a:gd name="connsiteX617" fmla="*/ 437068 w 741412"/>
                <a:gd name="connsiteY617" fmla="*/ 139831 h 991091"/>
                <a:gd name="connsiteX618" fmla="*/ 436551 w 741412"/>
                <a:gd name="connsiteY618" fmla="*/ 139055 h 991091"/>
                <a:gd name="connsiteX619" fmla="*/ 435388 w 741412"/>
                <a:gd name="connsiteY619" fmla="*/ 139443 h 991091"/>
                <a:gd name="connsiteX620" fmla="*/ 432545 w 741412"/>
                <a:gd name="connsiteY620" fmla="*/ 141769 h 991091"/>
                <a:gd name="connsiteX621" fmla="*/ 431898 w 741412"/>
                <a:gd name="connsiteY621" fmla="*/ 142415 h 991091"/>
                <a:gd name="connsiteX622" fmla="*/ 431511 w 741412"/>
                <a:gd name="connsiteY622" fmla="*/ 143320 h 991091"/>
                <a:gd name="connsiteX623" fmla="*/ 431252 w 741412"/>
                <a:gd name="connsiteY623" fmla="*/ 144612 h 991091"/>
                <a:gd name="connsiteX624" fmla="*/ 430477 w 741412"/>
                <a:gd name="connsiteY624" fmla="*/ 143837 h 991091"/>
                <a:gd name="connsiteX625" fmla="*/ 431123 w 741412"/>
                <a:gd name="connsiteY625" fmla="*/ 142803 h 991091"/>
                <a:gd name="connsiteX626" fmla="*/ 431640 w 741412"/>
                <a:gd name="connsiteY626" fmla="*/ 140218 h 991091"/>
                <a:gd name="connsiteX627" fmla="*/ 432286 w 741412"/>
                <a:gd name="connsiteY627" fmla="*/ 139185 h 991091"/>
                <a:gd name="connsiteX628" fmla="*/ 433578 w 741412"/>
                <a:gd name="connsiteY628" fmla="*/ 138151 h 991091"/>
                <a:gd name="connsiteX629" fmla="*/ 433966 w 741412"/>
                <a:gd name="connsiteY629" fmla="*/ 137634 h 991091"/>
                <a:gd name="connsiteX630" fmla="*/ 434871 w 741412"/>
                <a:gd name="connsiteY630" fmla="*/ 135178 h 991091"/>
                <a:gd name="connsiteX631" fmla="*/ 435517 w 741412"/>
                <a:gd name="connsiteY631" fmla="*/ 134274 h 991091"/>
                <a:gd name="connsiteX632" fmla="*/ 436292 w 741412"/>
                <a:gd name="connsiteY632" fmla="*/ 133498 h 991091"/>
                <a:gd name="connsiteX633" fmla="*/ 436939 w 741412"/>
                <a:gd name="connsiteY633" fmla="*/ 132594 h 991091"/>
                <a:gd name="connsiteX634" fmla="*/ 437197 w 741412"/>
                <a:gd name="connsiteY634" fmla="*/ 131172 h 991091"/>
                <a:gd name="connsiteX635" fmla="*/ 436551 w 741412"/>
                <a:gd name="connsiteY635" fmla="*/ 129880 h 991091"/>
                <a:gd name="connsiteX636" fmla="*/ 435129 w 741412"/>
                <a:gd name="connsiteY636" fmla="*/ 130138 h 991091"/>
                <a:gd name="connsiteX637" fmla="*/ 433578 w 741412"/>
                <a:gd name="connsiteY637" fmla="*/ 131430 h 991091"/>
                <a:gd name="connsiteX638" fmla="*/ 432803 w 741412"/>
                <a:gd name="connsiteY638" fmla="*/ 132981 h 991091"/>
                <a:gd name="connsiteX639" fmla="*/ 432028 w 741412"/>
                <a:gd name="connsiteY639" fmla="*/ 132981 h 991091"/>
                <a:gd name="connsiteX640" fmla="*/ 430994 w 741412"/>
                <a:gd name="connsiteY640" fmla="*/ 129363 h 991091"/>
                <a:gd name="connsiteX641" fmla="*/ 426600 w 741412"/>
                <a:gd name="connsiteY641" fmla="*/ 130397 h 991091"/>
                <a:gd name="connsiteX642" fmla="*/ 421818 w 741412"/>
                <a:gd name="connsiteY642" fmla="*/ 132206 h 991091"/>
                <a:gd name="connsiteX643" fmla="*/ 419750 w 741412"/>
                <a:gd name="connsiteY643" fmla="*/ 130914 h 991091"/>
                <a:gd name="connsiteX644" fmla="*/ 422206 w 741412"/>
                <a:gd name="connsiteY644" fmla="*/ 131560 h 991091"/>
                <a:gd name="connsiteX645" fmla="*/ 424015 w 741412"/>
                <a:gd name="connsiteY645" fmla="*/ 130397 h 991091"/>
                <a:gd name="connsiteX646" fmla="*/ 425566 w 741412"/>
                <a:gd name="connsiteY646" fmla="*/ 128717 h 991091"/>
                <a:gd name="connsiteX647" fmla="*/ 427505 w 741412"/>
                <a:gd name="connsiteY647" fmla="*/ 127941 h 991091"/>
                <a:gd name="connsiteX648" fmla="*/ 429443 w 741412"/>
                <a:gd name="connsiteY648" fmla="*/ 128070 h 991091"/>
                <a:gd name="connsiteX649" fmla="*/ 433708 w 741412"/>
                <a:gd name="connsiteY649" fmla="*/ 129363 h 991091"/>
                <a:gd name="connsiteX650" fmla="*/ 433320 w 741412"/>
                <a:gd name="connsiteY650" fmla="*/ 127812 h 991091"/>
                <a:gd name="connsiteX651" fmla="*/ 432932 w 741412"/>
                <a:gd name="connsiteY651" fmla="*/ 127166 h 991091"/>
                <a:gd name="connsiteX652" fmla="*/ 432157 w 741412"/>
                <a:gd name="connsiteY652" fmla="*/ 126390 h 991091"/>
                <a:gd name="connsiteX653" fmla="*/ 435517 w 741412"/>
                <a:gd name="connsiteY653" fmla="*/ 126649 h 991091"/>
                <a:gd name="connsiteX654" fmla="*/ 437714 w 741412"/>
                <a:gd name="connsiteY654" fmla="*/ 125744 h 991091"/>
                <a:gd name="connsiteX655" fmla="*/ 441849 w 741412"/>
                <a:gd name="connsiteY655" fmla="*/ 121350 h 991091"/>
                <a:gd name="connsiteX656" fmla="*/ 444305 w 741412"/>
                <a:gd name="connsiteY656" fmla="*/ 119670 h 991091"/>
                <a:gd name="connsiteX657" fmla="*/ 444951 w 741412"/>
                <a:gd name="connsiteY657" fmla="*/ 118766 h 991091"/>
                <a:gd name="connsiteX658" fmla="*/ 443917 w 741412"/>
                <a:gd name="connsiteY658" fmla="*/ 117732 h 991091"/>
                <a:gd name="connsiteX659" fmla="*/ 443400 w 741412"/>
                <a:gd name="connsiteY659" fmla="*/ 117861 h 991091"/>
                <a:gd name="connsiteX660" fmla="*/ 441979 w 741412"/>
                <a:gd name="connsiteY660" fmla="*/ 118119 h 991091"/>
                <a:gd name="connsiteX661" fmla="*/ 440299 w 741412"/>
                <a:gd name="connsiteY661" fmla="*/ 118119 h 991091"/>
                <a:gd name="connsiteX662" fmla="*/ 438877 w 741412"/>
                <a:gd name="connsiteY662" fmla="*/ 117732 h 991091"/>
                <a:gd name="connsiteX663" fmla="*/ 439523 w 741412"/>
                <a:gd name="connsiteY663" fmla="*/ 116956 h 991091"/>
                <a:gd name="connsiteX664" fmla="*/ 442883 w 741412"/>
                <a:gd name="connsiteY664" fmla="*/ 117473 h 991091"/>
                <a:gd name="connsiteX665" fmla="*/ 445985 w 741412"/>
                <a:gd name="connsiteY665" fmla="*/ 114113 h 991091"/>
                <a:gd name="connsiteX666" fmla="*/ 448699 w 741412"/>
                <a:gd name="connsiteY666" fmla="*/ 110365 h 991091"/>
                <a:gd name="connsiteX667" fmla="*/ 450637 w 741412"/>
                <a:gd name="connsiteY667" fmla="*/ 109590 h 991091"/>
                <a:gd name="connsiteX668" fmla="*/ 454385 w 741412"/>
                <a:gd name="connsiteY668" fmla="*/ 106876 h 991091"/>
                <a:gd name="connsiteX669" fmla="*/ 455031 w 741412"/>
                <a:gd name="connsiteY669" fmla="*/ 105971 h 991091"/>
                <a:gd name="connsiteX670" fmla="*/ 454773 w 741412"/>
                <a:gd name="connsiteY670" fmla="*/ 104938 h 991091"/>
                <a:gd name="connsiteX671" fmla="*/ 453868 w 741412"/>
                <a:gd name="connsiteY671" fmla="*/ 104550 h 991091"/>
                <a:gd name="connsiteX672" fmla="*/ 452059 w 741412"/>
                <a:gd name="connsiteY672" fmla="*/ 104550 h 991091"/>
                <a:gd name="connsiteX673" fmla="*/ 449991 w 741412"/>
                <a:gd name="connsiteY673" fmla="*/ 104162 h 991091"/>
                <a:gd name="connsiteX674" fmla="*/ 447794 w 741412"/>
                <a:gd name="connsiteY674" fmla="*/ 104162 h 991091"/>
                <a:gd name="connsiteX675" fmla="*/ 445726 w 741412"/>
                <a:gd name="connsiteY675" fmla="*/ 104679 h 991091"/>
                <a:gd name="connsiteX676" fmla="*/ 443917 w 741412"/>
                <a:gd name="connsiteY676" fmla="*/ 105842 h 991091"/>
                <a:gd name="connsiteX677" fmla="*/ 443400 w 741412"/>
                <a:gd name="connsiteY677" fmla="*/ 105325 h 991091"/>
                <a:gd name="connsiteX678" fmla="*/ 443013 w 741412"/>
                <a:gd name="connsiteY678" fmla="*/ 105196 h 991091"/>
                <a:gd name="connsiteX679" fmla="*/ 442495 w 741412"/>
                <a:gd name="connsiteY679" fmla="*/ 105196 h 991091"/>
                <a:gd name="connsiteX680" fmla="*/ 441849 w 741412"/>
                <a:gd name="connsiteY680" fmla="*/ 105067 h 991091"/>
                <a:gd name="connsiteX681" fmla="*/ 444951 w 741412"/>
                <a:gd name="connsiteY681" fmla="*/ 104162 h 991091"/>
                <a:gd name="connsiteX682" fmla="*/ 446373 w 741412"/>
                <a:gd name="connsiteY682" fmla="*/ 103387 h 991091"/>
                <a:gd name="connsiteX683" fmla="*/ 447536 w 741412"/>
                <a:gd name="connsiteY683" fmla="*/ 102094 h 991091"/>
                <a:gd name="connsiteX684" fmla="*/ 449087 w 741412"/>
                <a:gd name="connsiteY684" fmla="*/ 102611 h 991091"/>
                <a:gd name="connsiteX685" fmla="*/ 451283 w 741412"/>
                <a:gd name="connsiteY685" fmla="*/ 102741 h 991091"/>
                <a:gd name="connsiteX686" fmla="*/ 453351 w 741412"/>
                <a:gd name="connsiteY686" fmla="*/ 102482 h 991091"/>
                <a:gd name="connsiteX687" fmla="*/ 454256 w 741412"/>
                <a:gd name="connsiteY687" fmla="*/ 101707 h 991091"/>
                <a:gd name="connsiteX688" fmla="*/ 454514 w 741412"/>
                <a:gd name="connsiteY688" fmla="*/ 101190 h 991091"/>
                <a:gd name="connsiteX689" fmla="*/ 455031 w 741412"/>
                <a:gd name="connsiteY689" fmla="*/ 100802 h 991091"/>
                <a:gd name="connsiteX690" fmla="*/ 455548 w 741412"/>
                <a:gd name="connsiteY690" fmla="*/ 100285 h 991091"/>
                <a:gd name="connsiteX691" fmla="*/ 455807 w 741412"/>
                <a:gd name="connsiteY691" fmla="*/ 99381 h 991091"/>
                <a:gd name="connsiteX692" fmla="*/ 455548 w 741412"/>
                <a:gd name="connsiteY692" fmla="*/ 98347 h 991091"/>
                <a:gd name="connsiteX693" fmla="*/ 454643 w 741412"/>
                <a:gd name="connsiteY693" fmla="*/ 96537 h 991091"/>
                <a:gd name="connsiteX694" fmla="*/ 454385 w 741412"/>
                <a:gd name="connsiteY694" fmla="*/ 95633 h 991091"/>
                <a:gd name="connsiteX695" fmla="*/ 454256 w 741412"/>
                <a:gd name="connsiteY695" fmla="*/ 93953 h 991091"/>
                <a:gd name="connsiteX696" fmla="*/ 453868 w 741412"/>
                <a:gd name="connsiteY696" fmla="*/ 92144 h 991091"/>
                <a:gd name="connsiteX697" fmla="*/ 453222 w 741412"/>
                <a:gd name="connsiteY697" fmla="*/ 90463 h 991091"/>
                <a:gd name="connsiteX698" fmla="*/ 452317 w 741412"/>
                <a:gd name="connsiteY698" fmla="*/ 89430 h 991091"/>
                <a:gd name="connsiteX699" fmla="*/ 450766 w 741412"/>
                <a:gd name="connsiteY699" fmla="*/ 89042 h 991091"/>
                <a:gd name="connsiteX700" fmla="*/ 447019 w 741412"/>
                <a:gd name="connsiteY700" fmla="*/ 89947 h 991091"/>
                <a:gd name="connsiteX701" fmla="*/ 444951 w 741412"/>
                <a:gd name="connsiteY701" fmla="*/ 90076 h 991091"/>
                <a:gd name="connsiteX702" fmla="*/ 446243 w 741412"/>
                <a:gd name="connsiteY702" fmla="*/ 88525 h 991091"/>
                <a:gd name="connsiteX703" fmla="*/ 450637 w 741412"/>
                <a:gd name="connsiteY703" fmla="*/ 86199 h 991091"/>
                <a:gd name="connsiteX704" fmla="*/ 452317 w 741412"/>
                <a:gd name="connsiteY704" fmla="*/ 84260 h 991091"/>
                <a:gd name="connsiteX705" fmla="*/ 451930 w 741412"/>
                <a:gd name="connsiteY705" fmla="*/ 83485 h 991091"/>
                <a:gd name="connsiteX706" fmla="*/ 451413 w 741412"/>
                <a:gd name="connsiteY706" fmla="*/ 82839 h 991091"/>
                <a:gd name="connsiteX707" fmla="*/ 450766 w 741412"/>
                <a:gd name="connsiteY707" fmla="*/ 82322 h 991091"/>
                <a:gd name="connsiteX708" fmla="*/ 449991 w 741412"/>
                <a:gd name="connsiteY708" fmla="*/ 81934 h 991091"/>
                <a:gd name="connsiteX709" fmla="*/ 449603 w 741412"/>
                <a:gd name="connsiteY709" fmla="*/ 83226 h 991091"/>
                <a:gd name="connsiteX710" fmla="*/ 448828 w 741412"/>
                <a:gd name="connsiteY710" fmla="*/ 83873 h 991091"/>
                <a:gd name="connsiteX711" fmla="*/ 447923 w 741412"/>
                <a:gd name="connsiteY711" fmla="*/ 84519 h 991091"/>
                <a:gd name="connsiteX712" fmla="*/ 447148 w 741412"/>
                <a:gd name="connsiteY712" fmla="*/ 85553 h 991091"/>
                <a:gd name="connsiteX713" fmla="*/ 446502 w 741412"/>
                <a:gd name="connsiteY713" fmla="*/ 84777 h 991091"/>
                <a:gd name="connsiteX714" fmla="*/ 447277 w 741412"/>
                <a:gd name="connsiteY714" fmla="*/ 83743 h 991091"/>
                <a:gd name="connsiteX715" fmla="*/ 447794 w 741412"/>
                <a:gd name="connsiteY715" fmla="*/ 82322 h 991091"/>
                <a:gd name="connsiteX716" fmla="*/ 447794 w 741412"/>
                <a:gd name="connsiteY716" fmla="*/ 81029 h 991091"/>
                <a:gd name="connsiteX717" fmla="*/ 446890 w 741412"/>
                <a:gd name="connsiteY717" fmla="*/ 80512 h 991091"/>
                <a:gd name="connsiteX718" fmla="*/ 445597 w 741412"/>
                <a:gd name="connsiteY718" fmla="*/ 81029 h 991091"/>
                <a:gd name="connsiteX719" fmla="*/ 445080 w 741412"/>
                <a:gd name="connsiteY719" fmla="*/ 82193 h 991091"/>
                <a:gd name="connsiteX720" fmla="*/ 444822 w 741412"/>
                <a:gd name="connsiteY720" fmla="*/ 83485 h 991091"/>
                <a:gd name="connsiteX721" fmla="*/ 444176 w 741412"/>
                <a:gd name="connsiteY721" fmla="*/ 84260 h 991091"/>
                <a:gd name="connsiteX722" fmla="*/ 443659 w 741412"/>
                <a:gd name="connsiteY722" fmla="*/ 84002 h 991091"/>
                <a:gd name="connsiteX723" fmla="*/ 443271 w 741412"/>
                <a:gd name="connsiteY723" fmla="*/ 83226 h 991091"/>
                <a:gd name="connsiteX724" fmla="*/ 442625 w 741412"/>
                <a:gd name="connsiteY724" fmla="*/ 82451 h 991091"/>
                <a:gd name="connsiteX725" fmla="*/ 441720 w 741412"/>
                <a:gd name="connsiteY725" fmla="*/ 82063 h 991091"/>
                <a:gd name="connsiteX726" fmla="*/ 440428 w 741412"/>
                <a:gd name="connsiteY726" fmla="*/ 82322 h 991091"/>
                <a:gd name="connsiteX727" fmla="*/ 438618 w 741412"/>
                <a:gd name="connsiteY727" fmla="*/ 83226 h 991091"/>
                <a:gd name="connsiteX728" fmla="*/ 437455 w 741412"/>
                <a:gd name="connsiteY728" fmla="*/ 83485 h 991091"/>
                <a:gd name="connsiteX729" fmla="*/ 437455 w 741412"/>
                <a:gd name="connsiteY729" fmla="*/ 82839 h 991091"/>
                <a:gd name="connsiteX730" fmla="*/ 439006 w 741412"/>
                <a:gd name="connsiteY730" fmla="*/ 82580 h 991091"/>
                <a:gd name="connsiteX731" fmla="*/ 439394 w 741412"/>
                <a:gd name="connsiteY731" fmla="*/ 81546 h 991091"/>
                <a:gd name="connsiteX732" fmla="*/ 439394 w 741412"/>
                <a:gd name="connsiteY732" fmla="*/ 80125 h 991091"/>
                <a:gd name="connsiteX733" fmla="*/ 439523 w 741412"/>
                <a:gd name="connsiteY733" fmla="*/ 78445 h 991091"/>
                <a:gd name="connsiteX734" fmla="*/ 440169 w 741412"/>
                <a:gd name="connsiteY734" fmla="*/ 76635 h 991091"/>
                <a:gd name="connsiteX735" fmla="*/ 440945 w 741412"/>
                <a:gd name="connsiteY735" fmla="*/ 75343 h 991091"/>
                <a:gd name="connsiteX736" fmla="*/ 442108 w 741412"/>
                <a:gd name="connsiteY736" fmla="*/ 74309 h 991091"/>
                <a:gd name="connsiteX737" fmla="*/ 443788 w 741412"/>
                <a:gd name="connsiteY737" fmla="*/ 73405 h 991091"/>
                <a:gd name="connsiteX738" fmla="*/ 437972 w 741412"/>
                <a:gd name="connsiteY738" fmla="*/ 70432 h 991091"/>
                <a:gd name="connsiteX739" fmla="*/ 437714 w 741412"/>
                <a:gd name="connsiteY739" fmla="*/ 73922 h 991091"/>
                <a:gd name="connsiteX740" fmla="*/ 436809 w 741412"/>
                <a:gd name="connsiteY740" fmla="*/ 77669 h 991091"/>
                <a:gd name="connsiteX741" fmla="*/ 435000 w 741412"/>
                <a:gd name="connsiteY741" fmla="*/ 80383 h 991091"/>
                <a:gd name="connsiteX742" fmla="*/ 431898 w 741412"/>
                <a:gd name="connsiteY742" fmla="*/ 80642 h 991091"/>
                <a:gd name="connsiteX743" fmla="*/ 430865 w 741412"/>
                <a:gd name="connsiteY743" fmla="*/ 79608 h 991091"/>
                <a:gd name="connsiteX744" fmla="*/ 430218 w 741412"/>
                <a:gd name="connsiteY744" fmla="*/ 78316 h 991091"/>
                <a:gd name="connsiteX745" fmla="*/ 429443 w 741412"/>
                <a:gd name="connsiteY745" fmla="*/ 77799 h 991091"/>
                <a:gd name="connsiteX746" fmla="*/ 427892 w 741412"/>
                <a:gd name="connsiteY746" fmla="*/ 78832 h 991091"/>
                <a:gd name="connsiteX747" fmla="*/ 426600 w 741412"/>
                <a:gd name="connsiteY747" fmla="*/ 79479 h 991091"/>
                <a:gd name="connsiteX748" fmla="*/ 422464 w 741412"/>
                <a:gd name="connsiteY748" fmla="*/ 80125 h 991091"/>
                <a:gd name="connsiteX749" fmla="*/ 420784 w 741412"/>
                <a:gd name="connsiteY749" fmla="*/ 80771 h 991091"/>
                <a:gd name="connsiteX750" fmla="*/ 420784 w 741412"/>
                <a:gd name="connsiteY750" fmla="*/ 79996 h 991091"/>
                <a:gd name="connsiteX751" fmla="*/ 427117 w 741412"/>
                <a:gd name="connsiteY751" fmla="*/ 76506 h 991091"/>
                <a:gd name="connsiteX752" fmla="*/ 430348 w 741412"/>
                <a:gd name="connsiteY752" fmla="*/ 74051 h 991091"/>
                <a:gd name="connsiteX753" fmla="*/ 431769 w 741412"/>
                <a:gd name="connsiteY753" fmla="*/ 70691 h 991091"/>
                <a:gd name="connsiteX754" fmla="*/ 429960 w 741412"/>
                <a:gd name="connsiteY754" fmla="*/ 71337 h 991091"/>
                <a:gd name="connsiteX755" fmla="*/ 428151 w 741412"/>
                <a:gd name="connsiteY755" fmla="*/ 70949 h 991091"/>
                <a:gd name="connsiteX756" fmla="*/ 424532 w 741412"/>
                <a:gd name="connsiteY756" fmla="*/ 69269 h 991091"/>
                <a:gd name="connsiteX757" fmla="*/ 425307 w 741412"/>
                <a:gd name="connsiteY757" fmla="*/ 71725 h 991091"/>
                <a:gd name="connsiteX758" fmla="*/ 424661 w 741412"/>
                <a:gd name="connsiteY758" fmla="*/ 73146 h 991091"/>
                <a:gd name="connsiteX759" fmla="*/ 420138 w 741412"/>
                <a:gd name="connsiteY759" fmla="*/ 75731 h 991091"/>
                <a:gd name="connsiteX760" fmla="*/ 419621 w 741412"/>
                <a:gd name="connsiteY760" fmla="*/ 75214 h 991091"/>
                <a:gd name="connsiteX761" fmla="*/ 419492 w 741412"/>
                <a:gd name="connsiteY761" fmla="*/ 74955 h 991091"/>
                <a:gd name="connsiteX762" fmla="*/ 419363 w 741412"/>
                <a:gd name="connsiteY762" fmla="*/ 74438 h 991091"/>
                <a:gd name="connsiteX763" fmla="*/ 420784 w 741412"/>
                <a:gd name="connsiteY763" fmla="*/ 74051 h 991091"/>
                <a:gd name="connsiteX764" fmla="*/ 421172 w 741412"/>
                <a:gd name="connsiteY764" fmla="*/ 74180 h 991091"/>
                <a:gd name="connsiteX765" fmla="*/ 421689 w 741412"/>
                <a:gd name="connsiteY765" fmla="*/ 74568 h 991091"/>
                <a:gd name="connsiteX766" fmla="*/ 422594 w 741412"/>
                <a:gd name="connsiteY766" fmla="*/ 73663 h 991091"/>
                <a:gd name="connsiteX767" fmla="*/ 423498 w 741412"/>
                <a:gd name="connsiteY767" fmla="*/ 73146 h 991091"/>
                <a:gd name="connsiteX768" fmla="*/ 424920 w 741412"/>
                <a:gd name="connsiteY768" fmla="*/ 71725 h 991091"/>
                <a:gd name="connsiteX769" fmla="*/ 424403 w 741412"/>
                <a:gd name="connsiteY769" fmla="*/ 71337 h 991091"/>
                <a:gd name="connsiteX770" fmla="*/ 422464 w 741412"/>
                <a:gd name="connsiteY770" fmla="*/ 70174 h 991091"/>
                <a:gd name="connsiteX771" fmla="*/ 421689 w 741412"/>
                <a:gd name="connsiteY771" fmla="*/ 69528 h 991091"/>
                <a:gd name="connsiteX772" fmla="*/ 423628 w 741412"/>
                <a:gd name="connsiteY772" fmla="*/ 67460 h 991091"/>
                <a:gd name="connsiteX773" fmla="*/ 423886 w 741412"/>
                <a:gd name="connsiteY773" fmla="*/ 67331 h 991091"/>
                <a:gd name="connsiteX774" fmla="*/ 423240 w 741412"/>
                <a:gd name="connsiteY774" fmla="*/ 66297 h 991091"/>
                <a:gd name="connsiteX775" fmla="*/ 421301 w 741412"/>
                <a:gd name="connsiteY775" fmla="*/ 64875 h 991091"/>
                <a:gd name="connsiteX776" fmla="*/ 420914 w 741412"/>
                <a:gd name="connsiteY776" fmla="*/ 64100 h 991091"/>
                <a:gd name="connsiteX777" fmla="*/ 421431 w 741412"/>
                <a:gd name="connsiteY777" fmla="*/ 62807 h 991091"/>
                <a:gd name="connsiteX778" fmla="*/ 422464 w 741412"/>
                <a:gd name="connsiteY778" fmla="*/ 61774 h 991091"/>
                <a:gd name="connsiteX779" fmla="*/ 422852 w 741412"/>
                <a:gd name="connsiteY779" fmla="*/ 60481 h 991091"/>
                <a:gd name="connsiteX780" fmla="*/ 421689 w 741412"/>
                <a:gd name="connsiteY780" fmla="*/ 58672 h 991091"/>
                <a:gd name="connsiteX781" fmla="*/ 421560 w 741412"/>
                <a:gd name="connsiteY781" fmla="*/ 59577 h 991091"/>
                <a:gd name="connsiteX782" fmla="*/ 420784 w 741412"/>
                <a:gd name="connsiteY782" fmla="*/ 61515 h 991091"/>
                <a:gd name="connsiteX783" fmla="*/ 420784 w 741412"/>
                <a:gd name="connsiteY783" fmla="*/ 59577 h 991091"/>
                <a:gd name="connsiteX784" fmla="*/ 420397 w 741412"/>
                <a:gd name="connsiteY784" fmla="*/ 57638 h 991091"/>
                <a:gd name="connsiteX785" fmla="*/ 419492 w 741412"/>
                <a:gd name="connsiteY785" fmla="*/ 55958 h 991091"/>
                <a:gd name="connsiteX786" fmla="*/ 417941 w 741412"/>
                <a:gd name="connsiteY786" fmla="*/ 54924 h 991091"/>
                <a:gd name="connsiteX787" fmla="*/ 417812 w 741412"/>
                <a:gd name="connsiteY787" fmla="*/ 55700 h 991091"/>
                <a:gd name="connsiteX788" fmla="*/ 417554 w 741412"/>
                <a:gd name="connsiteY788" fmla="*/ 56217 h 991091"/>
                <a:gd name="connsiteX789" fmla="*/ 417295 w 741412"/>
                <a:gd name="connsiteY789" fmla="*/ 56604 h 991091"/>
                <a:gd name="connsiteX790" fmla="*/ 417036 w 741412"/>
                <a:gd name="connsiteY790" fmla="*/ 57121 h 991091"/>
                <a:gd name="connsiteX791" fmla="*/ 417812 w 741412"/>
                <a:gd name="connsiteY791" fmla="*/ 57121 h 991091"/>
                <a:gd name="connsiteX792" fmla="*/ 416907 w 741412"/>
                <a:gd name="connsiteY792" fmla="*/ 58672 h 991091"/>
                <a:gd name="connsiteX793" fmla="*/ 416390 w 741412"/>
                <a:gd name="connsiteY793" fmla="*/ 60352 h 991091"/>
                <a:gd name="connsiteX794" fmla="*/ 416778 w 741412"/>
                <a:gd name="connsiteY794" fmla="*/ 61774 h 991091"/>
                <a:gd name="connsiteX795" fmla="*/ 418587 w 741412"/>
                <a:gd name="connsiteY795" fmla="*/ 62420 h 991091"/>
                <a:gd name="connsiteX796" fmla="*/ 416778 w 741412"/>
                <a:gd name="connsiteY796" fmla="*/ 63066 h 991091"/>
                <a:gd name="connsiteX797" fmla="*/ 415357 w 741412"/>
                <a:gd name="connsiteY797" fmla="*/ 61903 h 991091"/>
                <a:gd name="connsiteX798" fmla="*/ 414064 w 741412"/>
                <a:gd name="connsiteY798" fmla="*/ 60094 h 991091"/>
                <a:gd name="connsiteX799" fmla="*/ 412772 w 741412"/>
                <a:gd name="connsiteY799" fmla="*/ 58801 h 991091"/>
                <a:gd name="connsiteX800" fmla="*/ 411221 w 741412"/>
                <a:gd name="connsiteY800" fmla="*/ 59706 h 991091"/>
                <a:gd name="connsiteX801" fmla="*/ 410833 w 741412"/>
                <a:gd name="connsiteY801" fmla="*/ 60481 h 991091"/>
                <a:gd name="connsiteX802" fmla="*/ 410962 w 741412"/>
                <a:gd name="connsiteY802" fmla="*/ 61257 h 991091"/>
                <a:gd name="connsiteX803" fmla="*/ 410058 w 741412"/>
                <a:gd name="connsiteY803" fmla="*/ 64358 h 991091"/>
                <a:gd name="connsiteX804" fmla="*/ 409412 w 741412"/>
                <a:gd name="connsiteY804" fmla="*/ 64746 h 991091"/>
                <a:gd name="connsiteX805" fmla="*/ 407732 w 741412"/>
                <a:gd name="connsiteY805" fmla="*/ 64487 h 991091"/>
                <a:gd name="connsiteX806" fmla="*/ 409670 w 741412"/>
                <a:gd name="connsiteY806" fmla="*/ 63583 h 991091"/>
                <a:gd name="connsiteX807" fmla="*/ 409024 w 741412"/>
                <a:gd name="connsiteY807" fmla="*/ 61644 h 991091"/>
                <a:gd name="connsiteX808" fmla="*/ 407086 w 741412"/>
                <a:gd name="connsiteY808" fmla="*/ 59706 h 991091"/>
                <a:gd name="connsiteX809" fmla="*/ 405535 w 741412"/>
                <a:gd name="connsiteY809" fmla="*/ 58672 h 991091"/>
                <a:gd name="connsiteX810" fmla="*/ 406569 w 741412"/>
                <a:gd name="connsiteY810" fmla="*/ 58284 h 991091"/>
                <a:gd name="connsiteX811" fmla="*/ 408507 w 741412"/>
                <a:gd name="connsiteY811" fmla="*/ 58672 h 991091"/>
                <a:gd name="connsiteX812" fmla="*/ 410058 w 741412"/>
                <a:gd name="connsiteY812" fmla="*/ 58672 h 991091"/>
                <a:gd name="connsiteX813" fmla="*/ 409283 w 741412"/>
                <a:gd name="connsiteY813" fmla="*/ 56475 h 991091"/>
                <a:gd name="connsiteX814" fmla="*/ 409283 w 741412"/>
                <a:gd name="connsiteY814" fmla="*/ 54666 h 991091"/>
                <a:gd name="connsiteX815" fmla="*/ 409929 w 741412"/>
                <a:gd name="connsiteY815" fmla="*/ 53115 h 991091"/>
                <a:gd name="connsiteX816" fmla="*/ 411609 w 741412"/>
                <a:gd name="connsiteY816" fmla="*/ 51047 h 991091"/>
                <a:gd name="connsiteX817" fmla="*/ 412255 w 741412"/>
                <a:gd name="connsiteY817" fmla="*/ 49367 h 991091"/>
                <a:gd name="connsiteX818" fmla="*/ 412901 w 741412"/>
                <a:gd name="connsiteY818" fmla="*/ 48592 h 991091"/>
                <a:gd name="connsiteX819" fmla="*/ 413935 w 741412"/>
                <a:gd name="connsiteY819" fmla="*/ 47946 h 991091"/>
                <a:gd name="connsiteX820" fmla="*/ 416003 w 741412"/>
                <a:gd name="connsiteY820" fmla="*/ 46912 h 991091"/>
                <a:gd name="connsiteX821" fmla="*/ 416520 w 741412"/>
                <a:gd name="connsiteY821" fmla="*/ 46395 h 991091"/>
                <a:gd name="connsiteX822" fmla="*/ 416649 w 741412"/>
                <a:gd name="connsiteY822" fmla="*/ 45619 h 991091"/>
                <a:gd name="connsiteX823" fmla="*/ 416520 w 741412"/>
                <a:gd name="connsiteY823" fmla="*/ 42389 h 991091"/>
                <a:gd name="connsiteX824" fmla="*/ 416132 w 741412"/>
                <a:gd name="connsiteY824" fmla="*/ 41355 h 991091"/>
                <a:gd name="connsiteX825" fmla="*/ 415357 w 741412"/>
                <a:gd name="connsiteY825" fmla="*/ 40321 h 991091"/>
                <a:gd name="connsiteX826" fmla="*/ 414581 w 741412"/>
                <a:gd name="connsiteY826" fmla="*/ 39675 h 991091"/>
                <a:gd name="connsiteX827" fmla="*/ 414193 w 741412"/>
                <a:gd name="connsiteY827" fmla="*/ 40062 h 991091"/>
                <a:gd name="connsiteX828" fmla="*/ 413418 w 741412"/>
                <a:gd name="connsiteY828" fmla="*/ 41742 h 991091"/>
                <a:gd name="connsiteX829" fmla="*/ 411609 w 741412"/>
                <a:gd name="connsiteY829" fmla="*/ 43293 h 991091"/>
                <a:gd name="connsiteX830" fmla="*/ 409412 w 741412"/>
                <a:gd name="connsiteY830" fmla="*/ 44586 h 991091"/>
                <a:gd name="connsiteX831" fmla="*/ 407473 w 741412"/>
                <a:gd name="connsiteY831" fmla="*/ 45490 h 991091"/>
                <a:gd name="connsiteX832" fmla="*/ 407473 w 741412"/>
                <a:gd name="connsiteY832" fmla="*/ 46266 h 991091"/>
                <a:gd name="connsiteX833" fmla="*/ 408249 w 741412"/>
                <a:gd name="connsiteY833" fmla="*/ 46266 h 991091"/>
                <a:gd name="connsiteX834" fmla="*/ 408249 w 741412"/>
                <a:gd name="connsiteY834" fmla="*/ 47041 h 991091"/>
                <a:gd name="connsiteX835" fmla="*/ 406052 w 741412"/>
                <a:gd name="connsiteY835" fmla="*/ 47170 h 991091"/>
                <a:gd name="connsiteX836" fmla="*/ 405276 w 741412"/>
                <a:gd name="connsiteY836" fmla="*/ 48075 h 991091"/>
                <a:gd name="connsiteX837" fmla="*/ 405276 w 741412"/>
                <a:gd name="connsiteY837" fmla="*/ 51306 h 991091"/>
                <a:gd name="connsiteX838" fmla="*/ 404630 w 741412"/>
                <a:gd name="connsiteY838" fmla="*/ 53115 h 991091"/>
                <a:gd name="connsiteX839" fmla="*/ 403855 w 741412"/>
                <a:gd name="connsiteY839" fmla="*/ 54795 h 991091"/>
                <a:gd name="connsiteX840" fmla="*/ 403338 w 741412"/>
                <a:gd name="connsiteY840" fmla="*/ 56346 h 991091"/>
                <a:gd name="connsiteX841" fmla="*/ 403855 w 741412"/>
                <a:gd name="connsiteY841" fmla="*/ 57897 h 991091"/>
                <a:gd name="connsiteX842" fmla="*/ 400753 w 741412"/>
                <a:gd name="connsiteY842" fmla="*/ 56604 h 991091"/>
                <a:gd name="connsiteX843" fmla="*/ 399332 w 741412"/>
                <a:gd name="connsiteY843" fmla="*/ 56734 h 991091"/>
                <a:gd name="connsiteX844" fmla="*/ 398556 w 741412"/>
                <a:gd name="connsiteY844" fmla="*/ 58672 h 991091"/>
                <a:gd name="connsiteX845" fmla="*/ 397910 w 741412"/>
                <a:gd name="connsiteY845" fmla="*/ 58672 h 991091"/>
                <a:gd name="connsiteX846" fmla="*/ 398039 w 741412"/>
                <a:gd name="connsiteY846" fmla="*/ 56346 h 991091"/>
                <a:gd name="connsiteX847" fmla="*/ 399590 w 741412"/>
                <a:gd name="connsiteY847" fmla="*/ 55183 h 991091"/>
                <a:gd name="connsiteX848" fmla="*/ 401787 w 741412"/>
                <a:gd name="connsiteY848" fmla="*/ 54537 h 991091"/>
                <a:gd name="connsiteX849" fmla="*/ 403725 w 741412"/>
                <a:gd name="connsiteY849" fmla="*/ 53632 h 991091"/>
                <a:gd name="connsiteX850" fmla="*/ 403725 w 741412"/>
                <a:gd name="connsiteY850" fmla="*/ 52986 h 991091"/>
                <a:gd name="connsiteX851" fmla="*/ 402304 w 741412"/>
                <a:gd name="connsiteY851" fmla="*/ 51952 h 991091"/>
                <a:gd name="connsiteX852" fmla="*/ 400753 w 741412"/>
                <a:gd name="connsiteY852" fmla="*/ 51823 h 991091"/>
                <a:gd name="connsiteX853" fmla="*/ 399202 w 741412"/>
                <a:gd name="connsiteY853" fmla="*/ 51564 h 991091"/>
                <a:gd name="connsiteX854" fmla="*/ 397910 w 741412"/>
                <a:gd name="connsiteY854" fmla="*/ 50013 h 991091"/>
                <a:gd name="connsiteX855" fmla="*/ 400495 w 741412"/>
                <a:gd name="connsiteY855" fmla="*/ 50660 h 991091"/>
                <a:gd name="connsiteX856" fmla="*/ 400624 w 741412"/>
                <a:gd name="connsiteY856" fmla="*/ 48980 h 991091"/>
                <a:gd name="connsiteX857" fmla="*/ 399461 w 741412"/>
                <a:gd name="connsiteY857" fmla="*/ 47041 h 991091"/>
                <a:gd name="connsiteX858" fmla="*/ 398168 w 741412"/>
                <a:gd name="connsiteY858" fmla="*/ 46653 h 991091"/>
                <a:gd name="connsiteX859" fmla="*/ 397264 w 741412"/>
                <a:gd name="connsiteY859" fmla="*/ 46912 h 991091"/>
                <a:gd name="connsiteX860" fmla="*/ 395972 w 741412"/>
                <a:gd name="connsiteY860" fmla="*/ 46653 h 991091"/>
                <a:gd name="connsiteX861" fmla="*/ 394808 w 741412"/>
                <a:gd name="connsiteY861" fmla="*/ 46136 h 991091"/>
                <a:gd name="connsiteX862" fmla="*/ 394033 w 741412"/>
                <a:gd name="connsiteY862" fmla="*/ 45619 h 991091"/>
                <a:gd name="connsiteX863" fmla="*/ 393516 w 741412"/>
                <a:gd name="connsiteY863" fmla="*/ 44456 h 991091"/>
                <a:gd name="connsiteX864" fmla="*/ 393387 w 741412"/>
                <a:gd name="connsiteY864" fmla="*/ 40450 h 991091"/>
                <a:gd name="connsiteX865" fmla="*/ 392611 w 741412"/>
                <a:gd name="connsiteY865" fmla="*/ 42776 h 991091"/>
                <a:gd name="connsiteX866" fmla="*/ 392482 w 741412"/>
                <a:gd name="connsiteY866" fmla="*/ 44973 h 991091"/>
                <a:gd name="connsiteX867" fmla="*/ 391707 w 741412"/>
                <a:gd name="connsiteY867" fmla="*/ 46395 h 991091"/>
                <a:gd name="connsiteX868" fmla="*/ 388993 w 741412"/>
                <a:gd name="connsiteY868" fmla="*/ 46395 h 991091"/>
                <a:gd name="connsiteX869" fmla="*/ 391448 w 741412"/>
                <a:gd name="connsiteY869" fmla="*/ 46136 h 991091"/>
                <a:gd name="connsiteX870" fmla="*/ 391448 w 741412"/>
                <a:gd name="connsiteY870" fmla="*/ 45102 h 991091"/>
                <a:gd name="connsiteX871" fmla="*/ 390414 w 741412"/>
                <a:gd name="connsiteY871" fmla="*/ 44327 h 991091"/>
                <a:gd name="connsiteX872" fmla="*/ 389768 w 741412"/>
                <a:gd name="connsiteY872" fmla="*/ 44586 h 991091"/>
                <a:gd name="connsiteX873" fmla="*/ 389122 w 741412"/>
                <a:gd name="connsiteY873" fmla="*/ 45232 h 991091"/>
                <a:gd name="connsiteX874" fmla="*/ 387830 w 741412"/>
                <a:gd name="connsiteY874" fmla="*/ 45749 h 991091"/>
                <a:gd name="connsiteX875" fmla="*/ 386537 w 741412"/>
                <a:gd name="connsiteY875" fmla="*/ 46783 h 991091"/>
                <a:gd name="connsiteX876" fmla="*/ 386150 w 741412"/>
                <a:gd name="connsiteY876" fmla="*/ 48592 h 991091"/>
                <a:gd name="connsiteX877" fmla="*/ 385374 w 741412"/>
                <a:gd name="connsiteY877" fmla="*/ 48592 h 991091"/>
                <a:gd name="connsiteX878" fmla="*/ 384340 w 741412"/>
                <a:gd name="connsiteY878" fmla="*/ 46136 h 991091"/>
                <a:gd name="connsiteX879" fmla="*/ 382790 w 741412"/>
                <a:gd name="connsiteY879" fmla="*/ 46266 h 991091"/>
                <a:gd name="connsiteX880" fmla="*/ 381497 w 741412"/>
                <a:gd name="connsiteY880" fmla="*/ 48075 h 991091"/>
                <a:gd name="connsiteX881" fmla="*/ 381368 w 741412"/>
                <a:gd name="connsiteY881" fmla="*/ 50401 h 991091"/>
                <a:gd name="connsiteX882" fmla="*/ 378783 w 741412"/>
                <a:gd name="connsiteY882" fmla="*/ 50401 h 991091"/>
                <a:gd name="connsiteX883" fmla="*/ 376328 w 741412"/>
                <a:gd name="connsiteY883" fmla="*/ 52727 h 991091"/>
                <a:gd name="connsiteX884" fmla="*/ 374131 w 741412"/>
                <a:gd name="connsiteY884" fmla="*/ 56087 h 991091"/>
                <a:gd name="connsiteX885" fmla="*/ 373226 w 741412"/>
                <a:gd name="connsiteY885" fmla="*/ 59060 h 991091"/>
                <a:gd name="connsiteX886" fmla="*/ 373873 w 741412"/>
                <a:gd name="connsiteY886" fmla="*/ 60869 h 991091"/>
                <a:gd name="connsiteX887" fmla="*/ 376328 w 741412"/>
                <a:gd name="connsiteY887" fmla="*/ 64229 h 991091"/>
                <a:gd name="connsiteX888" fmla="*/ 376845 w 741412"/>
                <a:gd name="connsiteY888" fmla="*/ 65909 h 991091"/>
                <a:gd name="connsiteX889" fmla="*/ 376199 w 741412"/>
                <a:gd name="connsiteY889" fmla="*/ 66943 h 991091"/>
                <a:gd name="connsiteX890" fmla="*/ 372580 w 741412"/>
                <a:gd name="connsiteY890" fmla="*/ 68365 h 991091"/>
                <a:gd name="connsiteX891" fmla="*/ 371029 w 741412"/>
                <a:gd name="connsiteY891" fmla="*/ 69269 h 991091"/>
                <a:gd name="connsiteX892" fmla="*/ 371546 w 741412"/>
                <a:gd name="connsiteY892" fmla="*/ 71208 h 991091"/>
                <a:gd name="connsiteX893" fmla="*/ 370125 w 741412"/>
                <a:gd name="connsiteY893" fmla="*/ 72371 h 991091"/>
                <a:gd name="connsiteX894" fmla="*/ 365989 w 741412"/>
                <a:gd name="connsiteY894" fmla="*/ 73663 h 991091"/>
                <a:gd name="connsiteX895" fmla="*/ 364439 w 741412"/>
                <a:gd name="connsiteY895" fmla="*/ 72888 h 991091"/>
                <a:gd name="connsiteX896" fmla="*/ 363146 w 741412"/>
                <a:gd name="connsiteY896" fmla="*/ 72112 h 991091"/>
                <a:gd name="connsiteX897" fmla="*/ 362242 w 741412"/>
                <a:gd name="connsiteY897" fmla="*/ 70949 h 991091"/>
                <a:gd name="connsiteX898" fmla="*/ 361595 w 741412"/>
                <a:gd name="connsiteY898" fmla="*/ 69269 h 991091"/>
                <a:gd name="connsiteX899" fmla="*/ 361466 w 741412"/>
                <a:gd name="connsiteY899" fmla="*/ 67201 h 991091"/>
                <a:gd name="connsiteX900" fmla="*/ 361854 w 741412"/>
                <a:gd name="connsiteY900" fmla="*/ 65392 h 991091"/>
                <a:gd name="connsiteX901" fmla="*/ 362500 w 741412"/>
                <a:gd name="connsiteY901" fmla="*/ 63841 h 991091"/>
                <a:gd name="connsiteX902" fmla="*/ 363792 w 741412"/>
                <a:gd name="connsiteY902" fmla="*/ 59318 h 991091"/>
                <a:gd name="connsiteX903" fmla="*/ 364180 w 741412"/>
                <a:gd name="connsiteY903" fmla="*/ 56346 h 991091"/>
                <a:gd name="connsiteX904" fmla="*/ 363017 w 741412"/>
                <a:gd name="connsiteY904" fmla="*/ 53890 h 991091"/>
                <a:gd name="connsiteX905" fmla="*/ 359269 w 741412"/>
                <a:gd name="connsiteY905" fmla="*/ 52469 h 991091"/>
                <a:gd name="connsiteX906" fmla="*/ 359398 w 741412"/>
                <a:gd name="connsiteY906" fmla="*/ 53503 h 991091"/>
                <a:gd name="connsiteX907" fmla="*/ 359269 w 741412"/>
                <a:gd name="connsiteY907" fmla="*/ 54407 h 991091"/>
                <a:gd name="connsiteX908" fmla="*/ 358623 w 741412"/>
                <a:gd name="connsiteY908" fmla="*/ 56087 h 991091"/>
                <a:gd name="connsiteX909" fmla="*/ 357718 w 741412"/>
                <a:gd name="connsiteY909" fmla="*/ 53890 h 991091"/>
                <a:gd name="connsiteX910" fmla="*/ 358623 w 741412"/>
                <a:gd name="connsiteY910" fmla="*/ 52598 h 991091"/>
                <a:gd name="connsiteX911" fmla="*/ 360045 w 741412"/>
                <a:gd name="connsiteY911" fmla="*/ 51823 h 991091"/>
                <a:gd name="connsiteX912" fmla="*/ 360820 w 741412"/>
                <a:gd name="connsiteY912" fmla="*/ 51306 h 991091"/>
                <a:gd name="connsiteX913" fmla="*/ 360949 w 741412"/>
                <a:gd name="connsiteY913" fmla="*/ 49626 h 991091"/>
                <a:gd name="connsiteX914" fmla="*/ 361466 w 741412"/>
                <a:gd name="connsiteY914" fmla="*/ 47946 h 991091"/>
                <a:gd name="connsiteX915" fmla="*/ 362112 w 741412"/>
                <a:gd name="connsiteY915" fmla="*/ 46395 h 991091"/>
                <a:gd name="connsiteX916" fmla="*/ 362888 w 741412"/>
                <a:gd name="connsiteY916" fmla="*/ 45102 h 991091"/>
                <a:gd name="connsiteX917" fmla="*/ 361854 w 741412"/>
                <a:gd name="connsiteY917" fmla="*/ 44586 h 991091"/>
                <a:gd name="connsiteX918" fmla="*/ 360820 w 741412"/>
                <a:gd name="connsiteY918" fmla="*/ 44715 h 991091"/>
                <a:gd name="connsiteX919" fmla="*/ 359915 w 741412"/>
                <a:gd name="connsiteY919" fmla="*/ 45361 h 991091"/>
                <a:gd name="connsiteX920" fmla="*/ 359011 w 741412"/>
                <a:gd name="connsiteY920" fmla="*/ 46653 h 991091"/>
                <a:gd name="connsiteX921" fmla="*/ 358365 w 741412"/>
                <a:gd name="connsiteY921" fmla="*/ 45878 h 991091"/>
                <a:gd name="connsiteX922" fmla="*/ 361208 w 741412"/>
                <a:gd name="connsiteY922" fmla="*/ 43939 h 991091"/>
                <a:gd name="connsiteX923" fmla="*/ 363792 w 741412"/>
                <a:gd name="connsiteY923" fmla="*/ 42518 h 991091"/>
                <a:gd name="connsiteX924" fmla="*/ 365860 w 741412"/>
                <a:gd name="connsiteY924" fmla="*/ 40838 h 991091"/>
                <a:gd name="connsiteX925" fmla="*/ 367152 w 741412"/>
                <a:gd name="connsiteY925" fmla="*/ 37865 h 991091"/>
                <a:gd name="connsiteX926" fmla="*/ 367540 w 741412"/>
                <a:gd name="connsiteY926" fmla="*/ 38124 h 991091"/>
                <a:gd name="connsiteX927" fmla="*/ 368574 w 741412"/>
                <a:gd name="connsiteY927" fmla="*/ 38641 h 991091"/>
                <a:gd name="connsiteX928" fmla="*/ 367411 w 741412"/>
                <a:gd name="connsiteY928" fmla="*/ 30111 h 991091"/>
                <a:gd name="connsiteX929" fmla="*/ 367152 w 741412"/>
                <a:gd name="connsiteY929" fmla="*/ 29078 h 991091"/>
                <a:gd name="connsiteX930" fmla="*/ 365472 w 741412"/>
                <a:gd name="connsiteY930" fmla="*/ 27656 h 991091"/>
                <a:gd name="connsiteX931" fmla="*/ 363275 w 741412"/>
                <a:gd name="connsiteY931" fmla="*/ 27527 h 991091"/>
                <a:gd name="connsiteX932" fmla="*/ 361854 w 741412"/>
                <a:gd name="connsiteY932" fmla="*/ 28431 h 991091"/>
                <a:gd name="connsiteX933" fmla="*/ 362500 w 741412"/>
                <a:gd name="connsiteY933" fmla="*/ 30111 h 991091"/>
                <a:gd name="connsiteX934" fmla="*/ 362371 w 741412"/>
                <a:gd name="connsiteY934" fmla="*/ 31533 h 991091"/>
                <a:gd name="connsiteX935" fmla="*/ 359786 w 741412"/>
                <a:gd name="connsiteY935" fmla="*/ 36185 h 991091"/>
                <a:gd name="connsiteX936" fmla="*/ 359140 w 741412"/>
                <a:gd name="connsiteY936" fmla="*/ 38124 h 991091"/>
                <a:gd name="connsiteX937" fmla="*/ 357460 w 741412"/>
                <a:gd name="connsiteY937" fmla="*/ 40838 h 991091"/>
                <a:gd name="connsiteX938" fmla="*/ 357331 w 741412"/>
                <a:gd name="connsiteY938" fmla="*/ 41355 h 991091"/>
                <a:gd name="connsiteX939" fmla="*/ 356684 w 741412"/>
                <a:gd name="connsiteY939" fmla="*/ 41613 h 991091"/>
                <a:gd name="connsiteX940" fmla="*/ 355134 w 741412"/>
                <a:gd name="connsiteY940" fmla="*/ 43035 h 991091"/>
                <a:gd name="connsiteX941" fmla="*/ 354100 w 741412"/>
                <a:gd name="connsiteY941" fmla="*/ 43552 h 991091"/>
                <a:gd name="connsiteX942" fmla="*/ 354746 w 741412"/>
                <a:gd name="connsiteY942" fmla="*/ 42776 h 991091"/>
                <a:gd name="connsiteX943" fmla="*/ 355392 w 741412"/>
                <a:gd name="connsiteY943" fmla="*/ 41484 h 991091"/>
                <a:gd name="connsiteX944" fmla="*/ 355651 w 741412"/>
                <a:gd name="connsiteY944" fmla="*/ 40321 h 991091"/>
                <a:gd name="connsiteX945" fmla="*/ 355134 w 741412"/>
                <a:gd name="connsiteY945" fmla="*/ 39804 h 991091"/>
                <a:gd name="connsiteX946" fmla="*/ 354229 w 741412"/>
                <a:gd name="connsiteY946" fmla="*/ 40321 h 991091"/>
                <a:gd name="connsiteX947" fmla="*/ 353066 w 741412"/>
                <a:gd name="connsiteY947" fmla="*/ 41355 h 991091"/>
                <a:gd name="connsiteX948" fmla="*/ 352161 w 741412"/>
                <a:gd name="connsiteY948" fmla="*/ 42518 h 991091"/>
                <a:gd name="connsiteX949" fmla="*/ 351774 w 741412"/>
                <a:gd name="connsiteY949" fmla="*/ 43164 h 991091"/>
                <a:gd name="connsiteX950" fmla="*/ 352420 w 741412"/>
                <a:gd name="connsiteY950" fmla="*/ 47946 h 991091"/>
                <a:gd name="connsiteX951" fmla="*/ 352291 w 741412"/>
                <a:gd name="connsiteY951" fmla="*/ 50401 h 991091"/>
                <a:gd name="connsiteX952" fmla="*/ 350998 w 741412"/>
                <a:gd name="connsiteY952" fmla="*/ 52340 h 991091"/>
                <a:gd name="connsiteX953" fmla="*/ 350740 w 741412"/>
                <a:gd name="connsiteY953" fmla="*/ 50918 h 991091"/>
                <a:gd name="connsiteX954" fmla="*/ 350869 w 741412"/>
                <a:gd name="connsiteY954" fmla="*/ 49109 h 991091"/>
                <a:gd name="connsiteX955" fmla="*/ 350481 w 741412"/>
                <a:gd name="connsiteY955" fmla="*/ 47429 h 991091"/>
                <a:gd name="connsiteX956" fmla="*/ 348672 w 741412"/>
                <a:gd name="connsiteY956" fmla="*/ 46395 h 991091"/>
                <a:gd name="connsiteX957" fmla="*/ 348155 w 741412"/>
                <a:gd name="connsiteY957" fmla="*/ 47170 h 991091"/>
                <a:gd name="connsiteX958" fmla="*/ 347638 w 741412"/>
                <a:gd name="connsiteY958" fmla="*/ 47687 h 991091"/>
                <a:gd name="connsiteX959" fmla="*/ 346863 w 741412"/>
                <a:gd name="connsiteY959" fmla="*/ 47816 h 991091"/>
                <a:gd name="connsiteX960" fmla="*/ 345700 w 741412"/>
                <a:gd name="connsiteY960" fmla="*/ 47816 h 991091"/>
                <a:gd name="connsiteX961" fmla="*/ 346863 w 741412"/>
                <a:gd name="connsiteY961" fmla="*/ 46653 h 991091"/>
                <a:gd name="connsiteX962" fmla="*/ 347121 w 741412"/>
                <a:gd name="connsiteY962" fmla="*/ 45361 h 991091"/>
                <a:gd name="connsiteX963" fmla="*/ 346475 w 741412"/>
                <a:gd name="connsiteY963" fmla="*/ 44198 h 991091"/>
                <a:gd name="connsiteX964" fmla="*/ 345053 w 741412"/>
                <a:gd name="connsiteY964" fmla="*/ 43552 h 991091"/>
                <a:gd name="connsiteX965" fmla="*/ 344924 w 741412"/>
                <a:gd name="connsiteY965" fmla="*/ 44844 h 991091"/>
                <a:gd name="connsiteX966" fmla="*/ 344407 w 741412"/>
                <a:gd name="connsiteY966" fmla="*/ 45749 h 991091"/>
                <a:gd name="connsiteX967" fmla="*/ 343503 w 741412"/>
                <a:gd name="connsiteY967" fmla="*/ 46395 h 991091"/>
                <a:gd name="connsiteX968" fmla="*/ 342210 w 741412"/>
                <a:gd name="connsiteY968" fmla="*/ 46524 h 991091"/>
                <a:gd name="connsiteX969" fmla="*/ 344795 w 741412"/>
                <a:gd name="connsiteY969" fmla="*/ 43681 h 991091"/>
                <a:gd name="connsiteX970" fmla="*/ 346346 w 741412"/>
                <a:gd name="connsiteY970" fmla="*/ 43035 h 991091"/>
                <a:gd name="connsiteX971" fmla="*/ 348801 w 741412"/>
                <a:gd name="connsiteY971" fmla="*/ 43552 h 991091"/>
                <a:gd name="connsiteX972" fmla="*/ 348284 w 741412"/>
                <a:gd name="connsiteY972" fmla="*/ 41742 h 991091"/>
                <a:gd name="connsiteX973" fmla="*/ 348543 w 741412"/>
                <a:gd name="connsiteY973" fmla="*/ 39933 h 991091"/>
                <a:gd name="connsiteX974" fmla="*/ 349577 w 741412"/>
                <a:gd name="connsiteY974" fmla="*/ 36961 h 991091"/>
                <a:gd name="connsiteX975" fmla="*/ 349706 w 741412"/>
                <a:gd name="connsiteY975" fmla="*/ 35927 h 991091"/>
                <a:gd name="connsiteX976" fmla="*/ 349706 w 741412"/>
                <a:gd name="connsiteY976" fmla="*/ 35022 h 991091"/>
                <a:gd name="connsiteX977" fmla="*/ 349835 w 741412"/>
                <a:gd name="connsiteY977" fmla="*/ 34118 h 991091"/>
                <a:gd name="connsiteX978" fmla="*/ 350352 w 741412"/>
                <a:gd name="connsiteY978" fmla="*/ 33213 h 991091"/>
                <a:gd name="connsiteX979" fmla="*/ 350869 w 741412"/>
                <a:gd name="connsiteY979" fmla="*/ 32955 h 991091"/>
                <a:gd name="connsiteX980" fmla="*/ 353324 w 741412"/>
                <a:gd name="connsiteY980" fmla="*/ 32179 h 991091"/>
                <a:gd name="connsiteX981" fmla="*/ 353841 w 741412"/>
                <a:gd name="connsiteY981" fmla="*/ 31791 h 991091"/>
                <a:gd name="connsiteX982" fmla="*/ 355780 w 741412"/>
                <a:gd name="connsiteY982" fmla="*/ 31921 h 991091"/>
                <a:gd name="connsiteX983" fmla="*/ 356297 w 741412"/>
                <a:gd name="connsiteY983" fmla="*/ 31533 h 991091"/>
                <a:gd name="connsiteX984" fmla="*/ 356426 w 741412"/>
                <a:gd name="connsiteY984" fmla="*/ 30758 h 991091"/>
                <a:gd name="connsiteX985" fmla="*/ 356943 w 741412"/>
                <a:gd name="connsiteY985" fmla="*/ 28948 h 991091"/>
                <a:gd name="connsiteX986" fmla="*/ 357072 w 741412"/>
                <a:gd name="connsiteY986" fmla="*/ 27914 h 991091"/>
                <a:gd name="connsiteX987" fmla="*/ 356814 w 741412"/>
                <a:gd name="connsiteY987" fmla="*/ 25847 h 991091"/>
                <a:gd name="connsiteX988" fmla="*/ 356038 w 741412"/>
                <a:gd name="connsiteY988" fmla="*/ 24813 h 991091"/>
                <a:gd name="connsiteX989" fmla="*/ 354617 w 741412"/>
                <a:gd name="connsiteY989" fmla="*/ 24684 h 991091"/>
                <a:gd name="connsiteX990" fmla="*/ 352549 w 741412"/>
                <a:gd name="connsiteY990" fmla="*/ 25330 h 991091"/>
                <a:gd name="connsiteX991" fmla="*/ 355521 w 741412"/>
                <a:gd name="connsiteY991" fmla="*/ 25330 h 991091"/>
                <a:gd name="connsiteX992" fmla="*/ 351903 w 741412"/>
                <a:gd name="connsiteY992" fmla="*/ 26881 h 991091"/>
                <a:gd name="connsiteX993" fmla="*/ 351127 w 741412"/>
                <a:gd name="connsiteY993" fmla="*/ 27397 h 991091"/>
                <a:gd name="connsiteX994" fmla="*/ 350481 w 741412"/>
                <a:gd name="connsiteY994" fmla="*/ 28561 h 991091"/>
                <a:gd name="connsiteX995" fmla="*/ 350352 w 741412"/>
                <a:gd name="connsiteY995" fmla="*/ 29724 h 991091"/>
                <a:gd name="connsiteX996" fmla="*/ 350352 w 741412"/>
                <a:gd name="connsiteY996" fmla="*/ 30758 h 991091"/>
                <a:gd name="connsiteX997" fmla="*/ 350094 w 741412"/>
                <a:gd name="connsiteY997" fmla="*/ 31533 h 991091"/>
                <a:gd name="connsiteX998" fmla="*/ 345570 w 741412"/>
                <a:gd name="connsiteY998" fmla="*/ 37219 h 991091"/>
                <a:gd name="connsiteX999" fmla="*/ 343890 w 741412"/>
                <a:gd name="connsiteY999" fmla="*/ 38512 h 991091"/>
                <a:gd name="connsiteX1000" fmla="*/ 343890 w 741412"/>
                <a:gd name="connsiteY1000" fmla="*/ 37348 h 991091"/>
                <a:gd name="connsiteX1001" fmla="*/ 344536 w 741412"/>
                <a:gd name="connsiteY1001" fmla="*/ 35410 h 991091"/>
                <a:gd name="connsiteX1002" fmla="*/ 345700 w 741412"/>
                <a:gd name="connsiteY1002" fmla="*/ 32696 h 991091"/>
                <a:gd name="connsiteX1003" fmla="*/ 345700 w 741412"/>
                <a:gd name="connsiteY1003" fmla="*/ 31921 h 991091"/>
                <a:gd name="connsiteX1004" fmla="*/ 345312 w 741412"/>
                <a:gd name="connsiteY1004" fmla="*/ 27527 h 991091"/>
                <a:gd name="connsiteX1005" fmla="*/ 344536 w 741412"/>
                <a:gd name="connsiteY1005" fmla="*/ 27527 h 991091"/>
                <a:gd name="connsiteX1006" fmla="*/ 344278 w 741412"/>
                <a:gd name="connsiteY1006" fmla="*/ 28819 h 991091"/>
                <a:gd name="connsiteX1007" fmla="*/ 343115 w 741412"/>
                <a:gd name="connsiteY1007" fmla="*/ 30111 h 991091"/>
                <a:gd name="connsiteX1008" fmla="*/ 342986 w 741412"/>
                <a:gd name="connsiteY1008" fmla="*/ 31145 h 991091"/>
                <a:gd name="connsiteX1009" fmla="*/ 341952 w 741412"/>
                <a:gd name="connsiteY1009" fmla="*/ 31662 h 991091"/>
                <a:gd name="connsiteX1010" fmla="*/ 341564 w 741412"/>
                <a:gd name="connsiteY1010" fmla="*/ 31921 h 991091"/>
                <a:gd name="connsiteX1011" fmla="*/ 341435 w 741412"/>
                <a:gd name="connsiteY1011" fmla="*/ 30241 h 991091"/>
                <a:gd name="connsiteX1012" fmla="*/ 342081 w 741412"/>
                <a:gd name="connsiteY1012" fmla="*/ 29207 h 991091"/>
                <a:gd name="connsiteX1013" fmla="*/ 342986 w 741412"/>
                <a:gd name="connsiteY1013" fmla="*/ 28302 h 991091"/>
                <a:gd name="connsiteX1014" fmla="*/ 343761 w 741412"/>
                <a:gd name="connsiteY1014" fmla="*/ 27010 h 991091"/>
                <a:gd name="connsiteX1015" fmla="*/ 343115 w 741412"/>
                <a:gd name="connsiteY1015" fmla="*/ 27268 h 991091"/>
                <a:gd name="connsiteX1016" fmla="*/ 342081 w 741412"/>
                <a:gd name="connsiteY1016" fmla="*/ 27397 h 991091"/>
                <a:gd name="connsiteX1017" fmla="*/ 341564 w 741412"/>
                <a:gd name="connsiteY1017" fmla="*/ 27656 h 991091"/>
                <a:gd name="connsiteX1018" fmla="*/ 341435 w 741412"/>
                <a:gd name="connsiteY1018" fmla="*/ 26234 h 991091"/>
                <a:gd name="connsiteX1019" fmla="*/ 341693 w 741412"/>
                <a:gd name="connsiteY1019" fmla="*/ 25201 h 991091"/>
                <a:gd name="connsiteX1020" fmla="*/ 342469 w 741412"/>
                <a:gd name="connsiteY1020" fmla="*/ 24684 h 991091"/>
                <a:gd name="connsiteX1021" fmla="*/ 343761 w 741412"/>
                <a:gd name="connsiteY1021" fmla="*/ 24684 h 991091"/>
                <a:gd name="connsiteX1022" fmla="*/ 342210 w 741412"/>
                <a:gd name="connsiteY1022" fmla="*/ 23133 h 991091"/>
                <a:gd name="connsiteX1023" fmla="*/ 340530 w 741412"/>
                <a:gd name="connsiteY1023" fmla="*/ 24554 h 991091"/>
                <a:gd name="connsiteX1024" fmla="*/ 337946 w 741412"/>
                <a:gd name="connsiteY1024" fmla="*/ 29207 h 991091"/>
                <a:gd name="connsiteX1025" fmla="*/ 337429 w 741412"/>
                <a:gd name="connsiteY1025" fmla="*/ 28561 h 991091"/>
                <a:gd name="connsiteX1026" fmla="*/ 337299 w 741412"/>
                <a:gd name="connsiteY1026" fmla="*/ 27914 h 991091"/>
                <a:gd name="connsiteX1027" fmla="*/ 337429 w 741412"/>
                <a:gd name="connsiteY1027" fmla="*/ 27139 h 991091"/>
                <a:gd name="connsiteX1028" fmla="*/ 337946 w 741412"/>
                <a:gd name="connsiteY1028" fmla="*/ 26234 h 991091"/>
                <a:gd name="connsiteX1029" fmla="*/ 337429 w 741412"/>
                <a:gd name="connsiteY1029" fmla="*/ 26105 h 991091"/>
                <a:gd name="connsiteX1030" fmla="*/ 337041 w 741412"/>
                <a:gd name="connsiteY1030" fmla="*/ 25976 h 991091"/>
                <a:gd name="connsiteX1031" fmla="*/ 336783 w 741412"/>
                <a:gd name="connsiteY1031" fmla="*/ 25717 h 991091"/>
                <a:gd name="connsiteX1032" fmla="*/ 336395 w 741412"/>
                <a:gd name="connsiteY1032" fmla="*/ 25588 h 991091"/>
                <a:gd name="connsiteX1033" fmla="*/ 337816 w 741412"/>
                <a:gd name="connsiteY1033" fmla="*/ 25201 h 991091"/>
                <a:gd name="connsiteX1034" fmla="*/ 338333 w 741412"/>
                <a:gd name="connsiteY1034" fmla="*/ 24425 h 991091"/>
                <a:gd name="connsiteX1035" fmla="*/ 337946 w 741412"/>
                <a:gd name="connsiteY1035" fmla="*/ 23650 h 991091"/>
                <a:gd name="connsiteX1036" fmla="*/ 336395 w 741412"/>
                <a:gd name="connsiteY1036" fmla="*/ 23391 h 991091"/>
                <a:gd name="connsiteX1037" fmla="*/ 335102 w 741412"/>
                <a:gd name="connsiteY1037" fmla="*/ 23779 h 991091"/>
                <a:gd name="connsiteX1038" fmla="*/ 334069 w 741412"/>
                <a:gd name="connsiteY1038" fmla="*/ 24684 h 991091"/>
                <a:gd name="connsiteX1039" fmla="*/ 333810 w 741412"/>
                <a:gd name="connsiteY1039" fmla="*/ 25976 h 991091"/>
                <a:gd name="connsiteX1040" fmla="*/ 334586 w 741412"/>
                <a:gd name="connsiteY1040" fmla="*/ 27397 h 991091"/>
                <a:gd name="connsiteX1041" fmla="*/ 335102 w 741412"/>
                <a:gd name="connsiteY1041" fmla="*/ 28561 h 991091"/>
                <a:gd name="connsiteX1042" fmla="*/ 334973 w 741412"/>
                <a:gd name="connsiteY1042" fmla="*/ 30111 h 991091"/>
                <a:gd name="connsiteX1043" fmla="*/ 334456 w 741412"/>
                <a:gd name="connsiteY1043" fmla="*/ 31533 h 991091"/>
                <a:gd name="connsiteX1044" fmla="*/ 333939 w 741412"/>
                <a:gd name="connsiteY1044" fmla="*/ 32438 h 991091"/>
                <a:gd name="connsiteX1045" fmla="*/ 332776 w 741412"/>
                <a:gd name="connsiteY1045" fmla="*/ 33471 h 991091"/>
                <a:gd name="connsiteX1046" fmla="*/ 331872 w 741412"/>
                <a:gd name="connsiteY1046" fmla="*/ 33859 h 991091"/>
                <a:gd name="connsiteX1047" fmla="*/ 328124 w 741412"/>
                <a:gd name="connsiteY1047" fmla="*/ 33471 h 991091"/>
                <a:gd name="connsiteX1048" fmla="*/ 328770 w 741412"/>
                <a:gd name="connsiteY1048" fmla="*/ 32179 h 991091"/>
                <a:gd name="connsiteX1049" fmla="*/ 329416 w 741412"/>
                <a:gd name="connsiteY1049" fmla="*/ 31404 h 991091"/>
                <a:gd name="connsiteX1050" fmla="*/ 330192 w 741412"/>
                <a:gd name="connsiteY1050" fmla="*/ 29982 h 991091"/>
                <a:gd name="connsiteX1051" fmla="*/ 330709 w 741412"/>
                <a:gd name="connsiteY1051" fmla="*/ 28302 h 991091"/>
                <a:gd name="connsiteX1052" fmla="*/ 330579 w 741412"/>
                <a:gd name="connsiteY1052" fmla="*/ 26493 h 991091"/>
                <a:gd name="connsiteX1053" fmla="*/ 329804 w 741412"/>
                <a:gd name="connsiteY1053" fmla="*/ 25717 h 991091"/>
                <a:gd name="connsiteX1054" fmla="*/ 330450 w 741412"/>
                <a:gd name="connsiteY1054" fmla="*/ 23779 h 991091"/>
                <a:gd name="connsiteX1055" fmla="*/ 329287 w 741412"/>
                <a:gd name="connsiteY1055" fmla="*/ 23133 h 991091"/>
                <a:gd name="connsiteX1056" fmla="*/ 328124 w 741412"/>
                <a:gd name="connsiteY1056" fmla="*/ 22099 h 991091"/>
                <a:gd name="connsiteX1057" fmla="*/ 328382 w 741412"/>
                <a:gd name="connsiteY1057" fmla="*/ 20548 h 991091"/>
                <a:gd name="connsiteX1058" fmla="*/ 328124 w 741412"/>
                <a:gd name="connsiteY1058" fmla="*/ 18997 h 991091"/>
                <a:gd name="connsiteX1059" fmla="*/ 327607 w 741412"/>
                <a:gd name="connsiteY1059" fmla="*/ 16930 h 991091"/>
                <a:gd name="connsiteX1060" fmla="*/ 326702 w 741412"/>
                <a:gd name="connsiteY1060" fmla="*/ 16154 h 991091"/>
                <a:gd name="connsiteX1061" fmla="*/ 325151 w 741412"/>
                <a:gd name="connsiteY1061" fmla="*/ 18351 h 991091"/>
                <a:gd name="connsiteX1062" fmla="*/ 323213 w 741412"/>
                <a:gd name="connsiteY1062" fmla="*/ 19902 h 991091"/>
                <a:gd name="connsiteX1063" fmla="*/ 322696 w 741412"/>
                <a:gd name="connsiteY1063" fmla="*/ 20936 h 991091"/>
                <a:gd name="connsiteX1064" fmla="*/ 322567 w 741412"/>
                <a:gd name="connsiteY1064" fmla="*/ 21453 h 991091"/>
                <a:gd name="connsiteX1065" fmla="*/ 321921 w 741412"/>
                <a:gd name="connsiteY1065" fmla="*/ 21453 h 991091"/>
                <a:gd name="connsiteX1066" fmla="*/ 322696 w 741412"/>
                <a:gd name="connsiteY1066" fmla="*/ 18739 h 991091"/>
                <a:gd name="connsiteX1067" fmla="*/ 326056 w 741412"/>
                <a:gd name="connsiteY1067" fmla="*/ 11760 h 991091"/>
                <a:gd name="connsiteX1068" fmla="*/ 325539 w 741412"/>
                <a:gd name="connsiteY1068" fmla="*/ 9046 h 991091"/>
                <a:gd name="connsiteX1069" fmla="*/ 323342 w 741412"/>
                <a:gd name="connsiteY1069" fmla="*/ 9046 h 991091"/>
                <a:gd name="connsiteX1070" fmla="*/ 320499 w 741412"/>
                <a:gd name="connsiteY1070" fmla="*/ 16413 h 991091"/>
                <a:gd name="connsiteX1071" fmla="*/ 318948 w 741412"/>
                <a:gd name="connsiteY1071" fmla="*/ 17059 h 991091"/>
                <a:gd name="connsiteX1072" fmla="*/ 318302 w 741412"/>
                <a:gd name="connsiteY1072" fmla="*/ 18997 h 991091"/>
                <a:gd name="connsiteX1073" fmla="*/ 317656 w 741412"/>
                <a:gd name="connsiteY1073" fmla="*/ 22745 h 991091"/>
                <a:gd name="connsiteX1074" fmla="*/ 316751 w 741412"/>
                <a:gd name="connsiteY1074" fmla="*/ 24037 h 991091"/>
                <a:gd name="connsiteX1075" fmla="*/ 315588 w 741412"/>
                <a:gd name="connsiteY1075" fmla="*/ 22874 h 991091"/>
                <a:gd name="connsiteX1076" fmla="*/ 313908 w 741412"/>
                <a:gd name="connsiteY1076" fmla="*/ 23650 h 991091"/>
                <a:gd name="connsiteX1077" fmla="*/ 312874 w 741412"/>
                <a:gd name="connsiteY1077" fmla="*/ 25847 h 991091"/>
                <a:gd name="connsiteX1078" fmla="*/ 313779 w 741412"/>
                <a:gd name="connsiteY1078" fmla="*/ 29078 h 991091"/>
                <a:gd name="connsiteX1079" fmla="*/ 312745 w 741412"/>
                <a:gd name="connsiteY1079" fmla="*/ 27914 h 991091"/>
                <a:gd name="connsiteX1080" fmla="*/ 311324 w 741412"/>
                <a:gd name="connsiteY1080" fmla="*/ 25976 h 991091"/>
                <a:gd name="connsiteX1081" fmla="*/ 310677 w 741412"/>
                <a:gd name="connsiteY1081" fmla="*/ 24167 h 991091"/>
                <a:gd name="connsiteX1082" fmla="*/ 312099 w 741412"/>
                <a:gd name="connsiteY1082" fmla="*/ 23391 h 991091"/>
                <a:gd name="connsiteX1083" fmla="*/ 312874 w 741412"/>
                <a:gd name="connsiteY1083" fmla="*/ 22357 h 991091"/>
                <a:gd name="connsiteX1084" fmla="*/ 312874 w 741412"/>
                <a:gd name="connsiteY1084" fmla="*/ 20160 h 991091"/>
                <a:gd name="connsiteX1085" fmla="*/ 312228 w 741412"/>
                <a:gd name="connsiteY1085" fmla="*/ 17705 h 991091"/>
                <a:gd name="connsiteX1086" fmla="*/ 311065 w 741412"/>
                <a:gd name="connsiteY1086" fmla="*/ 16025 h 991091"/>
                <a:gd name="connsiteX1087" fmla="*/ 311065 w 741412"/>
                <a:gd name="connsiteY1087" fmla="*/ 19385 h 991091"/>
                <a:gd name="connsiteX1088" fmla="*/ 310160 w 741412"/>
                <a:gd name="connsiteY1088" fmla="*/ 21840 h 991091"/>
                <a:gd name="connsiteX1089" fmla="*/ 308222 w 741412"/>
                <a:gd name="connsiteY1089" fmla="*/ 23520 h 991091"/>
                <a:gd name="connsiteX1090" fmla="*/ 305766 w 741412"/>
                <a:gd name="connsiteY1090" fmla="*/ 24813 h 991091"/>
                <a:gd name="connsiteX1091" fmla="*/ 306154 w 741412"/>
                <a:gd name="connsiteY1091" fmla="*/ 24037 h 991091"/>
                <a:gd name="connsiteX1092" fmla="*/ 307317 w 741412"/>
                <a:gd name="connsiteY1092" fmla="*/ 22487 h 991091"/>
                <a:gd name="connsiteX1093" fmla="*/ 307964 w 741412"/>
                <a:gd name="connsiteY1093" fmla="*/ 21840 h 991091"/>
                <a:gd name="connsiteX1094" fmla="*/ 307964 w 741412"/>
                <a:gd name="connsiteY1094" fmla="*/ 21194 h 991091"/>
                <a:gd name="connsiteX1095" fmla="*/ 307576 w 741412"/>
                <a:gd name="connsiteY1095" fmla="*/ 20419 h 991091"/>
                <a:gd name="connsiteX1096" fmla="*/ 307964 w 741412"/>
                <a:gd name="connsiteY1096" fmla="*/ 19644 h 991091"/>
                <a:gd name="connsiteX1097" fmla="*/ 307964 w 741412"/>
                <a:gd name="connsiteY1097" fmla="*/ 18997 h 991091"/>
                <a:gd name="connsiteX1098" fmla="*/ 307059 w 741412"/>
                <a:gd name="connsiteY1098" fmla="*/ 19514 h 991091"/>
                <a:gd name="connsiteX1099" fmla="*/ 304345 w 741412"/>
                <a:gd name="connsiteY1099" fmla="*/ 21840 h 991091"/>
                <a:gd name="connsiteX1100" fmla="*/ 304862 w 741412"/>
                <a:gd name="connsiteY1100" fmla="*/ 19644 h 991091"/>
                <a:gd name="connsiteX1101" fmla="*/ 306283 w 741412"/>
                <a:gd name="connsiteY1101" fmla="*/ 17705 h 991091"/>
                <a:gd name="connsiteX1102" fmla="*/ 307059 w 741412"/>
                <a:gd name="connsiteY1102" fmla="*/ 15896 h 991091"/>
                <a:gd name="connsiteX1103" fmla="*/ 305766 w 741412"/>
                <a:gd name="connsiteY1103" fmla="*/ 13828 h 991091"/>
                <a:gd name="connsiteX1104" fmla="*/ 306025 w 741412"/>
                <a:gd name="connsiteY1104" fmla="*/ 13311 h 991091"/>
                <a:gd name="connsiteX1105" fmla="*/ 306413 w 741412"/>
                <a:gd name="connsiteY1105" fmla="*/ 11631 h 991091"/>
                <a:gd name="connsiteX1106" fmla="*/ 305120 w 741412"/>
                <a:gd name="connsiteY1106" fmla="*/ 12665 h 991091"/>
                <a:gd name="connsiteX1107" fmla="*/ 304474 w 741412"/>
                <a:gd name="connsiteY1107" fmla="*/ 13828 h 991091"/>
                <a:gd name="connsiteX1108" fmla="*/ 303569 w 741412"/>
                <a:gd name="connsiteY1108" fmla="*/ 16800 h 991091"/>
                <a:gd name="connsiteX1109" fmla="*/ 303440 w 741412"/>
                <a:gd name="connsiteY1109" fmla="*/ 15379 h 991091"/>
                <a:gd name="connsiteX1110" fmla="*/ 303569 w 741412"/>
                <a:gd name="connsiteY1110" fmla="*/ 12665 h 991091"/>
                <a:gd name="connsiteX1111" fmla="*/ 304216 w 741412"/>
                <a:gd name="connsiteY1111" fmla="*/ 12148 h 991091"/>
                <a:gd name="connsiteX1112" fmla="*/ 305250 w 741412"/>
                <a:gd name="connsiteY1112" fmla="*/ 10726 h 991091"/>
                <a:gd name="connsiteX1113" fmla="*/ 305766 w 741412"/>
                <a:gd name="connsiteY1113" fmla="*/ 9305 h 991091"/>
                <a:gd name="connsiteX1114" fmla="*/ 309127 w 741412"/>
                <a:gd name="connsiteY1114" fmla="*/ 5040 h 991091"/>
                <a:gd name="connsiteX1115" fmla="*/ 309127 w 741412"/>
                <a:gd name="connsiteY1115" fmla="*/ 1551 h 991091"/>
                <a:gd name="connsiteX1116" fmla="*/ 307705 w 741412"/>
                <a:gd name="connsiteY1116" fmla="*/ 1034 h 991091"/>
                <a:gd name="connsiteX1117" fmla="*/ 305250 w 741412"/>
                <a:gd name="connsiteY1117" fmla="*/ 3877 h 991091"/>
                <a:gd name="connsiteX1118" fmla="*/ 303053 w 741412"/>
                <a:gd name="connsiteY1118" fmla="*/ 9176 h 991091"/>
                <a:gd name="connsiteX1119" fmla="*/ 301631 w 741412"/>
                <a:gd name="connsiteY1119" fmla="*/ 12536 h 991091"/>
                <a:gd name="connsiteX1120" fmla="*/ 300856 w 741412"/>
                <a:gd name="connsiteY1120" fmla="*/ 15508 h 991091"/>
                <a:gd name="connsiteX1121" fmla="*/ 301243 w 741412"/>
                <a:gd name="connsiteY1121" fmla="*/ 17188 h 991091"/>
                <a:gd name="connsiteX1122" fmla="*/ 300856 w 741412"/>
                <a:gd name="connsiteY1122" fmla="*/ 17317 h 991091"/>
                <a:gd name="connsiteX1123" fmla="*/ 300597 w 741412"/>
                <a:gd name="connsiteY1123" fmla="*/ 17576 h 991091"/>
                <a:gd name="connsiteX1124" fmla="*/ 300209 w 741412"/>
                <a:gd name="connsiteY1124" fmla="*/ 17705 h 991091"/>
                <a:gd name="connsiteX1125" fmla="*/ 299692 w 741412"/>
                <a:gd name="connsiteY1125" fmla="*/ 17834 h 991091"/>
                <a:gd name="connsiteX1126" fmla="*/ 300339 w 741412"/>
                <a:gd name="connsiteY1126" fmla="*/ 18868 h 991091"/>
                <a:gd name="connsiteX1127" fmla="*/ 300339 w 741412"/>
                <a:gd name="connsiteY1127" fmla="*/ 19644 h 991091"/>
                <a:gd name="connsiteX1128" fmla="*/ 299822 w 741412"/>
                <a:gd name="connsiteY1128" fmla="*/ 20290 h 991091"/>
                <a:gd name="connsiteX1129" fmla="*/ 298917 w 741412"/>
                <a:gd name="connsiteY1129" fmla="*/ 20807 h 991091"/>
                <a:gd name="connsiteX1130" fmla="*/ 298013 w 741412"/>
                <a:gd name="connsiteY1130" fmla="*/ 19644 h 991091"/>
                <a:gd name="connsiteX1131" fmla="*/ 298013 w 741412"/>
                <a:gd name="connsiteY1131" fmla="*/ 17447 h 991091"/>
                <a:gd name="connsiteX1132" fmla="*/ 297495 w 741412"/>
                <a:gd name="connsiteY1132" fmla="*/ 16413 h 991091"/>
                <a:gd name="connsiteX1133" fmla="*/ 296203 w 741412"/>
                <a:gd name="connsiteY1133" fmla="*/ 15896 h 991091"/>
                <a:gd name="connsiteX1134" fmla="*/ 294782 w 741412"/>
                <a:gd name="connsiteY1134" fmla="*/ 15767 h 991091"/>
                <a:gd name="connsiteX1135" fmla="*/ 293619 w 741412"/>
                <a:gd name="connsiteY1135" fmla="*/ 15508 h 991091"/>
                <a:gd name="connsiteX1136" fmla="*/ 293102 w 741412"/>
                <a:gd name="connsiteY1136" fmla="*/ 14603 h 991091"/>
                <a:gd name="connsiteX1137" fmla="*/ 293489 w 741412"/>
                <a:gd name="connsiteY1137" fmla="*/ 10209 h 991091"/>
                <a:gd name="connsiteX1138" fmla="*/ 297625 w 741412"/>
                <a:gd name="connsiteY1138" fmla="*/ 9563 h 991091"/>
                <a:gd name="connsiteX1139" fmla="*/ 299046 w 741412"/>
                <a:gd name="connsiteY1139" fmla="*/ 9046 h 991091"/>
                <a:gd name="connsiteX1140" fmla="*/ 298400 w 741412"/>
                <a:gd name="connsiteY1140" fmla="*/ 8529 h 991091"/>
                <a:gd name="connsiteX1141" fmla="*/ 297495 w 741412"/>
                <a:gd name="connsiteY1141" fmla="*/ 8400 h 991091"/>
                <a:gd name="connsiteX1142" fmla="*/ 296462 w 741412"/>
                <a:gd name="connsiteY1142" fmla="*/ 8529 h 991091"/>
                <a:gd name="connsiteX1143" fmla="*/ 295428 w 741412"/>
                <a:gd name="connsiteY1143" fmla="*/ 9046 h 991091"/>
                <a:gd name="connsiteX1144" fmla="*/ 295945 w 741412"/>
                <a:gd name="connsiteY1144" fmla="*/ 6720 h 991091"/>
                <a:gd name="connsiteX1145" fmla="*/ 296462 w 741412"/>
                <a:gd name="connsiteY1145" fmla="*/ 5816 h 991091"/>
                <a:gd name="connsiteX1146" fmla="*/ 297625 w 741412"/>
                <a:gd name="connsiteY1146" fmla="*/ 5428 h 991091"/>
                <a:gd name="connsiteX1147" fmla="*/ 296203 w 741412"/>
                <a:gd name="connsiteY1147" fmla="*/ 3748 h 991091"/>
                <a:gd name="connsiteX1148" fmla="*/ 296720 w 741412"/>
                <a:gd name="connsiteY1148" fmla="*/ 3231 h 991091"/>
                <a:gd name="connsiteX1149" fmla="*/ 297625 w 741412"/>
                <a:gd name="connsiteY1149" fmla="*/ 3231 h 991091"/>
                <a:gd name="connsiteX1150" fmla="*/ 297237 w 741412"/>
                <a:gd name="connsiteY1150" fmla="*/ 1809 h 991091"/>
                <a:gd name="connsiteX1151" fmla="*/ 297237 w 741412"/>
                <a:gd name="connsiteY1151" fmla="*/ 905 h 991091"/>
                <a:gd name="connsiteX1152" fmla="*/ 295557 w 741412"/>
                <a:gd name="connsiteY1152" fmla="*/ 0 h 991091"/>
                <a:gd name="connsiteX1153" fmla="*/ 294135 w 741412"/>
                <a:gd name="connsiteY1153" fmla="*/ 1292 h 991091"/>
                <a:gd name="connsiteX1154" fmla="*/ 294135 w 741412"/>
                <a:gd name="connsiteY1154" fmla="*/ 2455 h 991091"/>
                <a:gd name="connsiteX1155" fmla="*/ 294394 w 741412"/>
                <a:gd name="connsiteY1155" fmla="*/ 5169 h 991091"/>
                <a:gd name="connsiteX1156" fmla="*/ 293102 w 741412"/>
                <a:gd name="connsiteY1156" fmla="*/ 5557 h 991091"/>
                <a:gd name="connsiteX1157" fmla="*/ 292843 w 741412"/>
                <a:gd name="connsiteY1157" fmla="*/ 5169 h 991091"/>
                <a:gd name="connsiteX1158" fmla="*/ 292585 w 741412"/>
                <a:gd name="connsiteY1158" fmla="*/ 4911 h 991091"/>
                <a:gd name="connsiteX1159" fmla="*/ 292455 w 741412"/>
                <a:gd name="connsiteY1159" fmla="*/ 4652 h 991091"/>
                <a:gd name="connsiteX1160" fmla="*/ 292455 w 741412"/>
                <a:gd name="connsiteY1160" fmla="*/ 4135 h 991091"/>
                <a:gd name="connsiteX1161" fmla="*/ 291680 w 741412"/>
                <a:gd name="connsiteY1161" fmla="*/ 4135 h 991091"/>
                <a:gd name="connsiteX1162" fmla="*/ 291551 w 741412"/>
                <a:gd name="connsiteY1162" fmla="*/ 6203 h 991091"/>
                <a:gd name="connsiteX1163" fmla="*/ 290905 w 741412"/>
                <a:gd name="connsiteY1163" fmla="*/ 7754 h 991091"/>
                <a:gd name="connsiteX1164" fmla="*/ 290000 w 741412"/>
                <a:gd name="connsiteY1164" fmla="*/ 8917 h 991091"/>
                <a:gd name="connsiteX1165" fmla="*/ 289483 w 741412"/>
                <a:gd name="connsiteY1165" fmla="*/ 9951 h 991091"/>
                <a:gd name="connsiteX1166" fmla="*/ 289612 w 741412"/>
                <a:gd name="connsiteY1166" fmla="*/ 11760 h 991091"/>
                <a:gd name="connsiteX1167" fmla="*/ 290129 w 741412"/>
                <a:gd name="connsiteY1167" fmla="*/ 13828 h 991091"/>
                <a:gd name="connsiteX1168" fmla="*/ 289871 w 741412"/>
                <a:gd name="connsiteY1168" fmla="*/ 15508 h 991091"/>
                <a:gd name="connsiteX1169" fmla="*/ 287932 w 741412"/>
                <a:gd name="connsiteY1169" fmla="*/ 16542 h 991091"/>
                <a:gd name="connsiteX1170" fmla="*/ 288579 w 741412"/>
                <a:gd name="connsiteY1170" fmla="*/ 15250 h 991091"/>
                <a:gd name="connsiteX1171" fmla="*/ 289095 w 741412"/>
                <a:gd name="connsiteY1171" fmla="*/ 14086 h 991091"/>
                <a:gd name="connsiteX1172" fmla="*/ 288966 w 741412"/>
                <a:gd name="connsiteY1172" fmla="*/ 12794 h 991091"/>
                <a:gd name="connsiteX1173" fmla="*/ 287932 w 741412"/>
                <a:gd name="connsiteY1173" fmla="*/ 11502 h 991091"/>
                <a:gd name="connsiteX1174" fmla="*/ 286511 w 741412"/>
                <a:gd name="connsiteY1174" fmla="*/ 14345 h 991091"/>
                <a:gd name="connsiteX1175" fmla="*/ 285606 w 741412"/>
                <a:gd name="connsiteY1175" fmla="*/ 15637 h 991091"/>
                <a:gd name="connsiteX1176" fmla="*/ 284314 w 741412"/>
                <a:gd name="connsiteY1176" fmla="*/ 16542 h 991091"/>
                <a:gd name="connsiteX1177" fmla="*/ 280049 w 741412"/>
                <a:gd name="connsiteY1177" fmla="*/ 18093 h 991091"/>
                <a:gd name="connsiteX1178" fmla="*/ 279144 w 741412"/>
                <a:gd name="connsiteY1178" fmla="*/ 18610 h 991091"/>
                <a:gd name="connsiteX1179" fmla="*/ 278240 w 741412"/>
                <a:gd name="connsiteY1179" fmla="*/ 19773 h 991091"/>
                <a:gd name="connsiteX1180" fmla="*/ 277981 w 741412"/>
                <a:gd name="connsiteY1180" fmla="*/ 21065 h 991091"/>
                <a:gd name="connsiteX1181" fmla="*/ 277852 w 741412"/>
                <a:gd name="connsiteY1181" fmla="*/ 22228 h 991091"/>
                <a:gd name="connsiteX1182" fmla="*/ 277852 w 741412"/>
                <a:gd name="connsiteY1182" fmla="*/ 23650 h 991091"/>
                <a:gd name="connsiteX1183" fmla="*/ 277464 w 741412"/>
                <a:gd name="connsiteY1183" fmla="*/ 24167 h 991091"/>
                <a:gd name="connsiteX1184" fmla="*/ 276689 w 741412"/>
                <a:gd name="connsiteY1184" fmla="*/ 24684 h 991091"/>
                <a:gd name="connsiteX1185" fmla="*/ 275913 w 741412"/>
                <a:gd name="connsiteY1185" fmla="*/ 25459 h 991091"/>
                <a:gd name="connsiteX1186" fmla="*/ 275526 w 741412"/>
                <a:gd name="connsiteY1186" fmla="*/ 26622 h 991091"/>
                <a:gd name="connsiteX1187" fmla="*/ 276172 w 741412"/>
                <a:gd name="connsiteY1187" fmla="*/ 28044 h 991091"/>
                <a:gd name="connsiteX1188" fmla="*/ 279144 w 741412"/>
                <a:gd name="connsiteY1188" fmla="*/ 30111 h 991091"/>
                <a:gd name="connsiteX1189" fmla="*/ 279920 w 741412"/>
                <a:gd name="connsiteY1189" fmla="*/ 31274 h 991091"/>
                <a:gd name="connsiteX1190" fmla="*/ 279532 w 741412"/>
                <a:gd name="connsiteY1190" fmla="*/ 33471 h 991091"/>
                <a:gd name="connsiteX1191" fmla="*/ 276301 w 741412"/>
                <a:gd name="connsiteY1191" fmla="*/ 36056 h 991091"/>
                <a:gd name="connsiteX1192" fmla="*/ 275526 w 741412"/>
                <a:gd name="connsiteY1192" fmla="*/ 38253 h 991091"/>
                <a:gd name="connsiteX1193" fmla="*/ 275009 w 741412"/>
                <a:gd name="connsiteY1193" fmla="*/ 40579 h 991091"/>
                <a:gd name="connsiteX1194" fmla="*/ 272553 w 741412"/>
                <a:gd name="connsiteY1194" fmla="*/ 44069 h 991091"/>
                <a:gd name="connsiteX1195" fmla="*/ 271778 w 741412"/>
                <a:gd name="connsiteY1195" fmla="*/ 45749 h 991091"/>
                <a:gd name="connsiteX1196" fmla="*/ 273070 w 741412"/>
                <a:gd name="connsiteY1196" fmla="*/ 52469 h 991091"/>
                <a:gd name="connsiteX1197" fmla="*/ 274234 w 741412"/>
                <a:gd name="connsiteY1197" fmla="*/ 55183 h 991091"/>
                <a:gd name="connsiteX1198" fmla="*/ 273587 w 741412"/>
                <a:gd name="connsiteY1198" fmla="*/ 56217 h 991091"/>
                <a:gd name="connsiteX1199" fmla="*/ 272553 w 741412"/>
                <a:gd name="connsiteY1199" fmla="*/ 57250 h 991091"/>
                <a:gd name="connsiteX1200" fmla="*/ 271907 w 741412"/>
                <a:gd name="connsiteY1200" fmla="*/ 58155 h 991091"/>
                <a:gd name="connsiteX1201" fmla="*/ 271649 w 741412"/>
                <a:gd name="connsiteY1201" fmla="*/ 59318 h 991091"/>
                <a:gd name="connsiteX1202" fmla="*/ 271649 w 741412"/>
                <a:gd name="connsiteY1202" fmla="*/ 60352 h 991091"/>
                <a:gd name="connsiteX1203" fmla="*/ 271907 w 741412"/>
                <a:gd name="connsiteY1203" fmla="*/ 61774 h 991091"/>
                <a:gd name="connsiteX1204" fmla="*/ 271907 w 741412"/>
                <a:gd name="connsiteY1204" fmla="*/ 66555 h 991091"/>
                <a:gd name="connsiteX1205" fmla="*/ 271520 w 741412"/>
                <a:gd name="connsiteY1205" fmla="*/ 67201 h 991091"/>
                <a:gd name="connsiteX1206" fmla="*/ 270098 w 741412"/>
                <a:gd name="connsiteY1206" fmla="*/ 67848 h 991091"/>
                <a:gd name="connsiteX1207" fmla="*/ 269710 w 741412"/>
                <a:gd name="connsiteY1207" fmla="*/ 68752 h 991091"/>
                <a:gd name="connsiteX1208" fmla="*/ 269064 w 741412"/>
                <a:gd name="connsiteY1208" fmla="*/ 70432 h 991091"/>
                <a:gd name="connsiteX1209" fmla="*/ 267513 w 741412"/>
                <a:gd name="connsiteY1209" fmla="*/ 71337 h 991091"/>
                <a:gd name="connsiteX1210" fmla="*/ 263119 w 741412"/>
                <a:gd name="connsiteY1210" fmla="*/ 71983 h 991091"/>
                <a:gd name="connsiteX1211" fmla="*/ 260664 w 741412"/>
                <a:gd name="connsiteY1211" fmla="*/ 71854 h 991091"/>
                <a:gd name="connsiteX1212" fmla="*/ 259759 w 741412"/>
                <a:gd name="connsiteY1212" fmla="*/ 72112 h 991091"/>
                <a:gd name="connsiteX1213" fmla="*/ 259372 w 741412"/>
                <a:gd name="connsiteY1213" fmla="*/ 73146 h 991091"/>
                <a:gd name="connsiteX1214" fmla="*/ 260147 w 741412"/>
                <a:gd name="connsiteY1214" fmla="*/ 77540 h 991091"/>
                <a:gd name="connsiteX1215" fmla="*/ 260922 w 741412"/>
                <a:gd name="connsiteY1215" fmla="*/ 79737 h 991091"/>
                <a:gd name="connsiteX1216" fmla="*/ 262732 w 741412"/>
                <a:gd name="connsiteY1216" fmla="*/ 79866 h 991091"/>
                <a:gd name="connsiteX1217" fmla="*/ 266867 w 741412"/>
                <a:gd name="connsiteY1217" fmla="*/ 78703 h 991091"/>
                <a:gd name="connsiteX1218" fmla="*/ 269064 w 741412"/>
                <a:gd name="connsiteY1218" fmla="*/ 79091 h 991091"/>
                <a:gd name="connsiteX1219" fmla="*/ 270486 w 741412"/>
                <a:gd name="connsiteY1219" fmla="*/ 80125 h 991091"/>
                <a:gd name="connsiteX1220" fmla="*/ 271132 w 741412"/>
                <a:gd name="connsiteY1220" fmla="*/ 81805 h 991091"/>
                <a:gd name="connsiteX1221" fmla="*/ 271261 w 741412"/>
                <a:gd name="connsiteY1221" fmla="*/ 84002 h 991091"/>
                <a:gd name="connsiteX1222" fmla="*/ 271003 w 741412"/>
                <a:gd name="connsiteY1222" fmla="*/ 84648 h 991091"/>
                <a:gd name="connsiteX1223" fmla="*/ 269969 w 741412"/>
                <a:gd name="connsiteY1223" fmla="*/ 85811 h 991091"/>
                <a:gd name="connsiteX1224" fmla="*/ 269710 w 741412"/>
                <a:gd name="connsiteY1224" fmla="*/ 86586 h 991091"/>
                <a:gd name="connsiteX1225" fmla="*/ 269839 w 741412"/>
                <a:gd name="connsiteY1225" fmla="*/ 87233 h 991091"/>
                <a:gd name="connsiteX1226" fmla="*/ 270357 w 741412"/>
                <a:gd name="connsiteY1226" fmla="*/ 88266 h 991091"/>
                <a:gd name="connsiteX1227" fmla="*/ 270486 w 741412"/>
                <a:gd name="connsiteY1227" fmla="*/ 88783 h 991091"/>
                <a:gd name="connsiteX1228" fmla="*/ 270486 w 741412"/>
                <a:gd name="connsiteY1228" fmla="*/ 93177 h 991091"/>
                <a:gd name="connsiteX1229" fmla="*/ 269452 w 741412"/>
                <a:gd name="connsiteY1229" fmla="*/ 97830 h 991091"/>
                <a:gd name="connsiteX1230" fmla="*/ 265833 w 741412"/>
                <a:gd name="connsiteY1230" fmla="*/ 106618 h 991091"/>
                <a:gd name="connsiteX1231" fmla="*/ 263507 w 741412"/>
                <a:gd name="connsiteY1231" fmla="*/ 115664 h 991091"/>
                <a:gd name="connsiteX1232" fmla="*/ 261439 w 741412"/>
                <a:gd name="connsiteY1232" fmla="*/ 119541 h 991091"/>
                <a:gd name="connsiteX1233" fmla="*/ 258725 w 741412"/>
                <a:gd name="connsiteY1233" fmla="*/ 122643 h 991091"/>
                <a:gd name="connsiteX1234" fmla="*/ 255882 w 741412"/>
                <a:gd name="connsiteY1234" fmla="*/ 124581 h 991091"/>
                <a:gd name="connsiteX1235" fmla="*/ 256658 w 741412"/>
                <a:gd name="connsiteY1235" fmla="*/ 124581 h 991091"/>
                <a:gd name="connsiteX1236" fmla="*/ 255753 w 741412"/>
                <a:gd name="connsiteY1236" fmla="*/ 125357 h 991091"/>
                <a:gd name="connsiteX1237" fmla="*/ 254202 w 741412"/>
                <a:gd name="connsiteY1237" fmla="*/ 127295 h 991091"/>
                <a:gd name="connsiteX1238" fmla="*/ 253298 w 741412"/>
                <a:gd name="connsiteY1238" fmla="*/ 127683 h 991091"/>
                <a:gd name="connsiteX1239" fmla="*/ 251747 w 741412"/>
                <a:gd name="connsiteY1239" fmla="*/ 127295 h 991091"/>
                <a:gd name="connsiteX1240" fmla="*/ 250713 w 741412"/>
                <a:gd name="connsiteY1240" fmla="*/ 126649 h 991091"/>
                <a:gd name="connsiteX1241" fmla="*/ 249679 w 741412"/>
                <a:gd name="connsiteY1241" fmla="*/ 126261 h 991091"/>
                <a:gd name="connsiteX1242" fmla="*/ 247741 w 741412"/>
                <a:gd name="connsiteY1242" fmla="*/ 126907 h 991091"/>
                <a:gd name="connsiteX1243" fmla="*/ 247741 w 741412"/>
                <a:gd name="connsiteY1243" fmla="*/ 127683 h 991091"/>
                <a:gd name="connsiteX1244" fmla="*/ 249679 w 741412"/>
                <a:gd name="connsiteY1244" fmla="*/ 129104 h 991091"/>
                <a:gd name="connsiteX1245" fmla="*/ 249421 w 741412"/>
                <a:gd name="connsiteY1245" fmla="*/ 131560 h 991091"/>
                <a:gd name="connsiteX1246" fmla="*/ 248645 w 741412"/>
                <a:gd name="connsiteY1246" fmla="*/ 133886 h 991091"/>
                <a:gd name="connsiteX1247" fmla="*/ 249033 w 741412"/>
                <a:gd name="connsiteY1247" fmla="*/ 135566 h 991091"/>
                <a:gd name="connsiteX1248" fmla="*/ 245544 w 741412"/>
                <a:gd name="connsiteY1248" fmla="*/ 139314 h 991091"/>
                <a:gd name="connsiteX1249" fmla="*/ 245027 w 741412"/>
                <a:gd name="connsiteY1249" fmla="*/ 140735 h 991091"/>
                <a:gd name="connsiteX1250" fmla="*/ 245156 w 741412"/>
                <a:gd name="connsiteY1250" fmla="*/ 141123 h 991091"/>
                <a:gd name="connsiteX1251" fmla="*/ 245931 w 741412"/>
                <a:gd name="connsiteY1251" fmla="*/ 140994 h 991091"/>
                <a:gd name="connsiteX1252" fmla="*/ 247094 w 741412"/>
                <a:gd name="connsiteY1252" fmla="*/ 140865 h 991091"/>
                <a:gd name="connsiteX1253" fmla="*/ 248128 w 741412"/>
                <a:gd name="connsiteY1253" fmla="*/ 140348 h 991091"/>
                <a:gd name="connsiteX1254" fmla="*/ 249033 w 741412"/>
                <a:gd name="connsiteY1254" fmla="*/ 139572 h 991091"/>
                <a:gd name="connsiteX1255" fmla="*/ 249679 w 741412"/>
                <a:gd name="connsiteY1255" fmla="*/ 139443 h 991091"/>
                <a:gd name="connsiteX1256" fmla="*/ 249938 w 741412"/>
                <a:gd name="connsiteY1256" fmla="*/ 141123 h 991091"/>
                <a:gd name="connsiteX1257" fmla="*/ 249679 w 741412"/>
                <a:gd name="connsiteY1257" fmla="*/ 141898 h 991091"/>
                <a:gd name="connsiteX1258" fmla="*/ 249162 w 741412"/>
                <a:gd name="connsiteY1258" fmla="*/ 142803 h 991091"/>
                <a:gd name="connsiteX1259" fmla="*/ 248516 w 741412"/>
                <a:gd name="connsiteY1259" fmla="*/ 143449 h 991091"/>
                <a:gd name="connsiteX1260" fmla="*/ 247999 w 741412"/>
                <a:gd name="connsiteY1260" fmla="*/ 143708 h 991091"/>
                <a:gd name="connsiteX1261" fmla="*/ 246965 w 741412"/>
                <a:gd name="connsiteY1261" fmla="*/ 144742 h 991091"/>
                <a:gd name="connsiteX1262" fmla="*/ 246965 w 741412"/>
                <a:gd name="connsiteY1262" fmla="*/ 147068 h 991091"/>
                <a:gd name="connsiteX1263" fmla="*/ 247741 w 741412"/>
                <a:gd name="connsiteY1263" fmla="*/ 151462 h 991091"/>
                <a:gd name="connsiteX1264" fmla="*/ 247741 w 741412"/>
                <a:gd name="connsiteY1264" fmla="*/ 155339 h 991091"/>
                <a:gd name="connsiteX1265" fmla="*/ 247353 w 741412"/>
                <a:gd name="connsiteY1265" fmla="*/ 157148 h 991091"/>
                <a:gd name="connsiteX1266" fmla="*/ 246319 w 741412"/>
                <a:gd name="connsiteY1266" fmla="*/ 158440 h 991091"/>
                <a:gd name="connsiteX1267" fmla="*/ 245285 w 741412"/>
                <a:gd name="connsiteY1267" fmla="*/ 158828 h 991091"/>
                <a:gd name="connsiteX1268" fmla="*/ 243993 w 741412"/>
                <a:gd name="connsiteY1268" fmla="*/ 159086 h 991091"/>
                <a:gd name="connsiteX1269" fmla="*/ 241537 w 741412"/>
                <a:gd name="connsiteY1269" fmla="*/ 159216 h 991091"/>
                <a:gd name="connsiteX1270" fmla="*/ 241020 w 741412"/>
                <a:gd name="connsiteY1270" fmla="*/ 159603 h 991091"/>
                <a:gd name="connsiteX1271" fmla="*/ 240504 w 741412"/>
                <a:gd name="connsiteY1271" fmla="*/ 160637 h 991091"/>
                <a:gd name="connsiteX1272" fmla="*/ 240374 w 741412"/>
                <a:gd name="connsiteY1272" fmla="*/ 161671 h 991091"/>
                <a:gd name="connsiteX1273" fmla="*/ 240762 w 741412"/>
                <a:gd name="connsiteY1273" fmla="*/ 162059 h 991091"/>
                <a:gd name="connsiteX1274" fmla="*/ 240633 w 741412"/>
                <a:gd name="connsiteY1274" fmla="*/ 162705 h 991091"/>
                <a:gd name="connsiteX1275" fmla="*/ 238953 w 741412"/>
                <a:gd name="connsiteY1275" fmla="*/ 166582 h 991091"/>
                <a:gd name="connsiteX1276" fmla="*/ 238048 w 741412"/>
                <a:gd name="connsiteY1276" fmla="*/ 167616 h 991091"/>
                <a:gd name="connsiteX1277" fmla="*/ 237273 w 741412"/>
                <a:gd name="connsiteY1277" fmla="*/ 168262 h 991091"/>
                <a:gd name="connsiteX1278" fmla="*/ 235205 w 741412"/>
                <a:gd name="connsiteY1278" fmla="*/ 169425 h 991091"/>
                <a:gd name="connsiteX1279" fmla="*/ 234688 w 741412"/>
                <a:gd name="connsiteY1279" fmla="*/ 169554 h 991091"/>
                <a:gd name="connsiteX1280" fmla="*/ 233525 w 741412"/>
                <a:gd name="connsiteY1280" fmla="*/ 169425 h 991091"/>
                <a:gd name="connsiteX1281" fmla="*/ 233008 w 741412"/>
                <a:gd name="connsiteY1281" fmla="*/ 169554 h 991091"/>
                <a:gd name="connsiteX1282" fmla="*/ 230165 w 741412"/>
                <a:gd name="connsiteY1282" fmla="*/ 171364 h 991091"/>
                <a:gd name="connsiteX1283" fmla="*/ 229648 w 741412"/>
                <a:gd name="connsiteY1283" fmla="*/ 171881 h 991091"/>
                <a:gd name="connsiteX1284" fmla="*/ 229002 w 741412"/>
                <a:gd name="connsiteY1284" fmla="*/ 171881 h 991091"/>
                <a:gd name="connsiteX1285" fmla="*/ 227968 w 741412"/>
                <a:gd name="connsiteY1285" fmla="*/ 170976 h 991091"/>
                <a:gd name="connsiteX1286" fmla="*/ 227063 w 741412"/>
                <a:gd name="connsiteY1286" fmla="*/ 173690 h 991091"/>
                <a:gd name="connsiteX1287" fmla="*/ 222928 w 741412"/>
                <a:gd name="connsiteY1287" fmla="*/ 177438 h 991091"/>
                <a:gd name="connsiteX1288" fmla="*/ 222152 w 741412"/>
                <a:gd name="connsiteY1288" fmla="*/ 179893 h 991091"/>
                <a:gd name="connsiteX1289" fmla="*/ 227322 w 741412"/>
                <a:gd name="connsiteY1289" fmla="*/ 187130 h 991091"/>
                <a:gd name="connsiteX1290" fmla="*/ 228872 w 741412"/>
                <a:gd name="connsiteY1290" fmla="*/ 186484 h 991091"/>
                <a:gd name="connsiteX1291" fmla="*/ 229260 w 741412"/>
                <a:gd name="connsiteY1291" fmla="*/ 187389 h 991091"/>
                <a:gd name="connsiteX1292" fmla="*/ 229260 w 741412"/>
                <a:gd name="connsiteY1292" fmla="*/ 188810 h 991091"/>
                <a:gd name="connsiteX1293" fmla="*/ 229519 w 741412"/>
                <a:gd name="connsiteY1293" fmla="*/ 190102 h 991091"/>
                <a:gd name="connsiteX1294" fmla="*/ 230294 w 741412"/>
                <a:gd name="connsiteY1294" fmla="*/ 190619 h 991091"/>
                <a:gd name="connsiteX1295" fmla="*/ 231328 w 741412"/>
                <a:gd name="connsiteY1295" fmla="*/ 190749 h 991091"/>
                <a:gd name="connsiteX1296" fmla="*/ 232103 w 741412"/>
                <a:gd name="connsiteY1296" fmla="*/ 191007 h 991091"/>
                <a:gd name="connsiteX1297" fmla="*/ 232491 w 741412"/>
                <a:gd name="connsiteY1297" fmla="*/ 191912 h 991091"/>
                <a:gd name="connsiteX1298" fmla="*/ 231974 w 741412"/>
                <a:gd name="connsiteY1298" fmla="*/ 191653 h 991091"/>
                <a:gd name="connsiteX1299" fmla="*/ 230682 w 741412"/>
                <a:gd name="connsiteY1299" fmla="*/ 192041 h 991091"/>
                <a:gd name="connsiteX1300" fmla="*/ 229260 w 741412"/>
                <a:gd name="connsiteY1300" fmla="*/ 192687 h 991091"/>
                <a:gd name="connsiteX1301" fmla="*/ 228485 w 741412"/>
                <a:gd name="connsiteY1301" fmla="*/ 193204 h 991091"/>
                <a:gd name="connsiteX1302" fmla="*/ 227580 w 741412"/>
                <a:gd name="connsiteY1302" fmla="*/ 194109 h 991091"/>
                <a:gd name="connsiteX1303" fmla="*/ 227063 w 741412"/>
                <a:gd name="connsiteY1303" fmla="*/ 194755 h 991091"/>
                <a:gd name="connsiteX1304" fmla="*/ 226934 w 741412"/>
                <a:gd name="connsiteY1304" fmla="*/ 195660 h 991091"/>
                <a:gd name="connsiteX1305" fmla="*/ 227451 w 741412"/>
                <a:gd name="connsiteY1305" fmla="*/ 197210 h 991091"/>
                <a:gd name="connsiteX1306" fmla="*/ 224608 w 741412"/>
                <a:gd name="connsiteY1306" fmla="*/ 196047 h 991091"/>
                <a:gd name="connsiteX1307" fmla="*/ 224220 w 741412"/>
                <a:gd name="connsiteY1307" fmla="*/ 198244 h 991091"/>
                <a:gd name="connsiteX1308" fmla="*/ 225642 w 741412"/>
                <a:gd name="connsiteY1308" fmla="*/ 206127 h 991091"/>
                <a:gd name="connsiteX1309" fmla="*/ 225642 w 741412"/>
                <a:gd name="connsiteY1309" fmla="*/ 207161 h 991091"/>
                <a:gd name="connsiteX1310" fmla="*/ 225383 w 741412"/>
                <a:gd name="connsiteY1310" fmla="*/ 208066 h 991091"/>
                <a:gd name="connsiteX1311" fmla="*/ 224995 w 741412"/>
                <a:gd name="connsiteY1311" fmla="*/ 208583 h 991091"/>
                <a:gd name="connsiteX1312" fmla="*/ 224220 w 741412"/>
                <a:gd name="connsiteY1312" fmla="*/ 208841 h 991091"/>
                <a:gd name="connsiteX1313" fmla="*/ 223574 w 741412"/>
                <a:gd name="connsiteY1313" fmla="*/ 210134 h 991091"/>
                <a:gd name="connsiteX1314" fmla="*/ 222411 w 741412"/>
                <a:gd name="connsiteY1314" fmla="*/ 217629 h 991091"/>
                <a:gd name="connsiteX1315" fmla="*/ 219568 w 741412"/>
                <a:gd name="connsiteY1315" fmla="*/ 221765 h 991091"/>
                <a:gd name="connsiteX1316" fmla="*/ 218792 w 741412"/>
                <a:gd name="connsiteY1316" fmla="*/ 223574 h 991091"/>
                <a:gd name="connsiteX1317" fmla="*/ 218275 w 741412"/>
                <a:gd name="connsiteY1317" fmla="*/ 222669 h 991091"/>
                <a:gd name="connsiteX1318" fmla="*/ 217629 w 741412"/>
                <a:gd name="connsiteY1318" fmla="*/ 222282 h 991091"/>
                <a:gd name="connsiteX1319" fmla="*/ 216854 w 741412"/>
                <a:gd name="connsiteY1319" fmla="*/ 222282 h 991091"/>
                <a:gd name="connsiteX1320" fmla="*/ 215949 w 741412"/>
                <a:gd name="connsiteY1320" fmla="*/ 222799 h 991091"/>
                <a:gd name="connsiteX1321" fmla="*/ 216724 w 741412"/>
                <a:gd name="connsiteY1321" fmla="*/ 222799 h 991091"/>
                <a:gd name="connsiteX1322" fmla="*/ 215174 w 741412"/>
                <a:gd name="connsiteY1322" fmla="*/ 223574 h 991091"/>
                <a:gd name="connsiteX1323" fmla="*/ 215174 w 741412"/>
                <a:gd name="connsiteY1323" fmla="*/ 224349 h 991091"/>
                <a:gd name="connsiteX1324" fmla="*/ 217112 w 741412"/>
                <a:gd name="connsiteY1324" fmla="*/ 224608 h 991091"/>
                <a:gd name="connsiteX1325" fmla="*/ 216466 w 741412"/>
                <a:gd name="connsiteY1325" fmla="*/ 226417 h 991091"/>
                <a:gd name="connsiteX1326" fmla="*/ 214398 w 741412"/>
                <a:gd name="connsiteY1326" fmla="*/ 228226 h 991091"/>
                <a:gd name="connsiteX1327" fmla="*/ 212201 w 741412"/>
                <a:gd name="connsiteY1327" fmla="*/ 228614 h 991091"/>
                <a:gd name="connsiteX1328" fmla="*/ 211684 w 741412"/>
                <a:gd name="connsiteY1328" fmla="*/ 229648 h 991091"/>
                <a:gd name="connsiteX1329" fmla="*/ 211038 w 741412"/>
                <a:gd name="connsiteY1329" fmla="*/ 230294 h 991091"/>
                <a:gd name="connsiteX1330" fmla="*/ 211426 w 741412"/>
                <a:gd name="connsiteY1330" fmla="*/ 230940 h 991091"/>
                <a:gd name="connsiteX1331" fmla="*/ 212589 w 741412"/>
                <a:gd name="connsiteY1331" fmla="*/ 231199 h 991091"/>
                <a:gd name="connsiteX1332" fmla="*/ 212201 w 741412"/>
                <a:gd name="connsiteY1332" fmla="*/ 231716 h 991091"/>
                <a:gd name="connsiteX1333" fmla="*/ 211943 w 741412"/>
                <a:gd name="connsiteY1333" fmla="*/ 232233 h 991091"/>
                <a:gd name="connsiteX1334" fmla="*/ 211555 w 741412"/>
                <a:gd name="connsiteY1334" fmla="*/ 232491 h 991091"/>
                <a:gd name="connsiteX1335" fmla="*/ 210651 w 741412"/>
                <a:gd name="connsiteY1335" fmla="*/ 232620 h 991091"/>
                <a:gd name="connsiteX1336" fmla="*/ 210263 w 741412"/>
                <a:gd name="connsiteY1336" fmla="*/ 232879 h 991091"/>
                <a:gd name="connsiteX1337" fmla="*/ 210263 w 741412"/>
                <a:gd name="connsiteY1337" fmla="*/ 233525 h 991091"/>
                <a:gd name="connsiteX1338" fmla="*/ 210392 w 741412"/>
                <a:gd name="connsiteY1338" fmla="*/ 234300 h 991091"/>
                <a:gd name="connsiteX1339" fmla="*/ 210263 w 741412"/>
                <a:gd name="connsiteY1339" fmla="*/ 234817 h 991091"/>
                <a:gd name="connsiteX1340" fmla="*/ 209229 w 741412"/>
                <a:gd name="connsiteY1340" fmla="*/ 235593 h 991091"/>
                <a:gd name="connsiteX1341" fmla="*/ 207291 w 741412"/>
                <a:gd name="connsiteY1341" fmla="*/ 236756 h 991091"/>
                <a:gd name="connsiteX1342" fmla="*/ 206515 w 741412"/>
                <a:gd name="connsiteY1342" fmla="*/ 237660 h 991091"/>
                <a:gd name="connsiteX1343" fmla="*/ 206127 w 741412"/>
                <a:gd name="connsiteY1343" fmla="*/ 238953 h 991091"/>
                <a:gd name="connsiteX1344" fmla="*/ 205740 w 741412"/>
                <a:gd name="connsiteY1344" fmla="*/ 241279 h 991091"/>
                <a:gd name="connsiteX1345" fmla="*/ 205094 w 741412"/>
                <a:gd name="connsiteY1345" fmla="*/ 242184 h 991091"/>
                <a:gd name="connsiteX1346" fmla="*/ 204318 w 741412"/>
                <a:gd name="connsiteY1346" fmla="*/ 242442 h 991091"/>
                <a:gd name="connsiteX1347" fmla="*/ 203026 w 741412"/>
                <a:gd name="connsiteY1347" fmla="*/ 242701 h 991091"/>
                <a:gd name="connsiteX1348" fmla="*/ 201863 w 741412"/>
                <a:gd name="connsiteY1348" fmla="*/ 242701 h 991091"/>
                <a:gd name="connsiteX1349" fmla="*/ 201087 w 741412"/>
                <a:gd name="connsiteY1349" fmla="*/ 242442 h 991091"/>
                <a:gd name="connsiteX1350" fmla="*/ 200441 w 741412"/>
                <a:gd name="connsiteY1350" fmla="*/ 242571 h 991091"/>
                <a:gd name="connsiteX1351" fmla="*/ 199278 w 741412"/>
                <a:gd name="connsiteY1351" fmla="*/ 243217 h 991091"/>
                <a:gd name="connsiteX1352" fmla="*/ 197339 w 741412"/>
                <a:gd name="connsiteY1352" fmla="*/ 244639 h 991091"/>
                <a:gd name="connsiteX1353" fmla="*/ 195660 w 741412"/>
                <a:gd name="connsiteY1353" fmla="*/ 246578 h 991091"/>
                <a:gd name="connsiteX1354" fmla="*/ 194496 w 741412"/>
                <a:gd name="connsiteY1354" fmla="*/ 247611 h 991091"/>
                <a:gd name="connsiteX1355" fmla="*/ 193979 w 741412"/>
                <a:gd name="connsiteY1355" fmla="*/ 247482 h 991091"/>
                <a:gd name="connsiteX1356" fmla="*/ 193592 w 741412"/>
                <a:gd name="connsiteY1356" fmla="*/ 248258 h 991091"/>
                <a:gd name="connsiteX1357" fmla="*/ 192041 w 741412"/>
                <a:gd name="connsiteY1357" fmla="*/ 249421 h 991091"/>
                <a:gd name="connsiteX1358" fmla="*/ 191653 w 741412"/>
                <a:gd name="connsiteY1358" fmla="*/ 250325 h 991091"/>
                <a:gd name="connsiteX1359" fmla="*/ 191653 w 741412"/>
                <a:gd name="connsiteY1359" fmla="*/ 252522 h 991091"/>
                <a:gd name="connsiteX1360" fmla="*/ 191912 w 741412"/>
                <a:gd name="connsiteY1360" fmla="*/ 253556 h 991091"/>
                <a:gd name="connsiteX1361" fmla="*/ 192429 w 741412"/>
                <a:gd name="connsiteY1361" fmla="*/ 254332 h 991091"/>
                <a:gd name="connsiteX1362" fmla="*/ 191007 w 741412"/>
                <a:gd name="connsiteY1362" fmla="*/ 257045 h 991091"/>
                <a:gd name="connsiteX1363" fmla="*/ 190619 w 741412"/>
                <a:gd name="connsiteY1363" fmla="*/ 258338 h 991091"/>
                <a:gd name="connsiteX1364" fmla="*/ 190878 w 741412"/>
                <a:gd name="connsiteY1364" fmla="*/ 259372 h 991091"/>
                <a:gd name="connsiteX1365" fmla="*/ 189586 w 741412"/>
                <a:gd name="connsiteY1365" fmla="*/ 259759 h 991091"/>
                <a:gd name="connsiteX1366" fmla="*/ 189456 w 741412"/>
                <a:gd name="connsiteY1366" fmla="*/ 260664 h 991091"/>
                <a:gd name="connsiteX1367" fmla="*/ 189715 w 741412"/>
                <a:gd name="connsiteY1367" fmla="*/ 261827 h 991091"/>
                <a:gd name="connsiteX1368" fmla="*/ 189456 w 741412"/>
                <a:gd name="connsiteY1368" fmla="*/ 263119 h 991091"/>
                <a:gd name="connsiteX1369" fmla="*/ 188552 w 741412"/>
                <a:gd name="connsiteY1369" fmla="*/ 263636 h 991091"/>
                <a:gd name="connsiteX1370" fmla="*/ 187259 w 741412"/>
                <a:gd name="connsiteY1370" fmla="*/ 264024 h 991091"/>
                <a:gd name="connsiteX1371" fmla="*/ 186355 w 741412"/>
                <a:gd name="connsiteY1371" fmla="*/ 264670 h 991091"/>
                <a:gd name="connsiteX1372" fmla="*/ 186484 w 741412"/>
                <a:gd name="connsiteY1372" fmla="*/ 265963 h 991091"/>
                <a:gd name="connsiteX1373" fmla="*/ 185967 w 741412"/>
                <a:gd name="connsiteY1373" fmla="*/ 266092 h 991091"/>
                <a:gd name="connsiteX1374" fmla="*/ 184158 w 741412"/>
                <a:gd name="connsiteY1374" fmla="*/ 266350 h 991091"/>
                <a:gd name="connsiteX1375" fmla="*/ 183641 w 741412"/>
                <a:gd name="connsiteY1375" fmla="*/ 266609 h 991091"/>
                <a:gd name="connsiteX1376" fmla="*/ 182865 w 741412"/>
                <a:gd name="connsiteY1376" fmla="*/ 267643 h 991091"/>
                <a:gd name="connsiteX1377" fmla="*/ 182865 w 741412"/>
                <a:gd name="connsiteY1377" fmla="*/ 268030 h 991091"/>
                <a:gd name="connsiteX1378" fmla="*/ 182995 w 741412"/>
                <a:gd name="connsiteY1378" fmla="*/ 268547 h 991091"/>
                <a:gd name="connsiteX1379" fmla="*/ 182865 w 741412"/>
                <a:gd name="connsiteY1379" fmla="*/ 269710 h 991091"/>
                <a:gd name="connsiteX1380" fmla="*/ 182995 w 741412"/>
                <a:gd name="connsiteY1380" fmla="*/ 270098 h 991091"/>
                <a:gd name="connsiteX1381" fmla="*/ 183382 w 741412"/>
                <a:gd name="connsiteY1381" fmla="*/ 270486 h 991091"/>
                <a:gd name="connsiteX1382" fmla="*/ 183641 w 741412"/>
                <a:gd name="connsiteY1382" fmla="*/ 270873 h 991091"/>
                <a:gd name="connsiteX1383" fmla="*/ 183253 w 741412"/>
                <a:gd name="connsiteY1383" fmla="*/ 271520 h 991091"/>
                <a:gd name="connsiteX1384" fmla="*/ 182736 w 741412"/>
                <a:gd name="connsiteY1384" fmla="*/ 272295 h 991091"/>
                <a:gd name="connsiteX1385" fmla="*/ 182349 w 741412"/>
                <a:gd name="connsiteY1385" fmla="*/ 272683 h 991091"/>
                <a:gd name="connsiteX1386" fmla="*/ 182219 w 741412"/>
                <a:gd name="connsiteY1386" fmla="*/ 272553 h 991091"/>
                <a:gd name="connsiteX1387" fmla="*/ 182090 w 741412"/>
                <a:gd name="connsiteY1387" fmla="*/ 273329 h 991091"/>
                <a:gd name="connsiteX1388" fmla="*/ 182219 w 741412"/>
                <a:gd name="connsiteY1388" fmla="*/ 275784 h 991091"/>
                <a:gd name="connsiteX1389" fmla="*/ 181961 w 741412"/>
                <a:gd name="connsiteY1389" fmla="*/ 276689 h 991091"/>
                <a:gd name="connsiteX1390" fmla="*/ 180927 w 741412"/>
                <a:gd name="connsiteY1390" fmla="*/ 277852 h 991091"/>
                <a:gd name="connsiteX1391" fmla="*/ 180668 w 741412"/>
                <a:gd name="connsiteY1391" fmla="*/ 278627 h 991091"/>
                <a:gd name="connsiteX1392" fmla="*/ 180798 w 741412"/>
                <a:gd name="connsiteY1392" fmla="*/ 279403 h 991091"/>
                <a:gd name="connsiteX1393" fmla="*/ 181315 w 741412"/>
                <a:gd name="connsiteY1393" fmla="*/ 281083 h 991091"/>
                <a:gd name="connsiteX1394" fmla="*/ 181444 w 741412"/>
                <a:gd name="connsiteY1394" fmla="*/ 281988 h 991091"/>
                <a:gd name="connsiteX1395" fmla="*/ 181185 w 741412"/>
                <a:gd name="connsiteY1395" fmla="*/ 283797 h 991091"/>
                <a:gd name="connsiteX1396" fmla="*/ 180281 w 741412"/>
                <a:gd name="connsiteY1396" fmla="*/ 287028 h 991091"/>
                <a:gd name="connsiteX1397" fmla="*/ 179118 w 741412"/>
                <a:gd name="connsiteY1397" fmla="*/ 296591 h 991091"/>
                <a:gd name="connsiteX1398" fmla="*/ 177696 w 741412"/>
                <a:gd name="connsiteY1398" fmla="*/ 300339 h 991091"/>
                <a:gd name="connsiteX1399" fmla="*/ 175499 w 741412"/>
                <a:gd name="connsiteY1399" fmla="*/ 303182 h 991091"/>
                <a:gd name="connsiteX1400" fmla="*/ 173948 w 741412"/>
                <a:gd name="connsiteY1400" fmla="*/ 304345 h 991091"/>
                <a:gd name="connsiteX1401" fmla="*/ 170847 w 741412"/>
                <a:gd name="connsiteY1401" fmla="*/ 306025 h 991091"/>
                <a:gd name="connsiteX1402" fmla="*/ 169296 w 741412"/>
                <a:gd name="connsiteY1402" fmla="*/ 307317 h 991091"/>
                <a:gd name="connsiteX1403" fmla="*/ 166711 w 741412"/>
                <a:gd name="connsiteY1403" fmla="*/ 310160 h 991091"/>
                <a:gd name="connsiteX1404" fmla="*/ 164643 w 741412"/>
                <a:gd name="connsiteY1404" fmla="*/ 313521 h 991091"/>
                <a:gd name="connsiteX1405" fmla="*/ 158053 w 741412"/>
                <a:gd name="connsiteY1405" fmla="*/ 319336 h 991091"/>
                <a:gd name="connsiteX1406" fmla="*/ 156890 w 741412"/>
                <a:gd name="connsiteY1406" fmla="*/ 318819 h 991091"/>
                <a:gd name="connsiteX1407" fmla="*/ 155985 w 741412"/>
                <a:gd name="connsiteY1407" fmla="*/ 319465 h 991091"/>
                <a:gd name="connsiteX1408" fmla="*/ 155339 w 741412"/>
                <a:gd name="connsiteY1408" fmla="*/ 320758 h 991091"/>
                <a:gd name="connsiteX1409" fmla="*/ 155080 w 741412"/>
                <a:gd name="connsiteY1409" fmla="*/ 322308 h 991091"/>
                <a:gd name="connsiteX1410" fmla="*/ 153400 w 741412"/>
                <a:gd name="connsiteY1410" fmla="*/ 321275 h 991091"/>
                <a:gd name="connsiteX1411" fmla="*/ 152883 w 741412"/>
                <a:gd name="connsiteY1411" fmla="*/ 320758 h 991091"/>
                <a:gd name="connsiteX1412" fmla="*/ 151720 w 741412"/>
                <a:gd name="connsiteY1412" fmla="*/ 322438 h 991091"/>
                <a:gd name="connsiteX1413" fmla="*/ 150945 w 741412"/>
                <a:gd name="connsiteY1413" fmla="*/ 324893 h 991091"/>
                <a:gd name="connsiteX1414" fmla="*/ 150557 w 741412"/>
                <a:gd name="connsiteY1414" fmla="*/ 327349 h 991091"/>
                <a:gd name="connsiteX1415" fmla="*/ 150686 w 741412"/>
                <a:gd name="connsiteY1415" fmla="*/ 329029 h 991091"/>
                <a:gd name="connsiteX1416" fmla="*/ 149265 w 741412"/>
                <a:gd name="connsiteY1416" fmla="*/ 329029 h 991091"/>
                <a:gd name="connsiteX1417" fmla="*/ 150428 w 741412"/>
                <a:gd name="connsiteY1417" fmla="*/ 331355 h 991091"/>
                <a:gd name="connsiteX1418" fmla="*/ 149782 w 741412"/>
                <a:gd name="connsiteY1418" fmla="*/ 333293 h 991091"/>
                <a:gd name="connsiteX1419" fmla="*/ 148231 w 741412"/>
                <a:gd name="connsiteY1419" fmla="*/ 335232 h 991091"/>
                <a:gd name="connsiteX1420" fmla="*/ 147068 w 741412"/>
                <a:gd name="connsiteY1420" fmla="*/ 337687 h 991091"/>
                <a:gd name="connsiteX1421" fmla="*/ 146938 w 741412"/>
                <a:gd name="connsiteY1421" fmla="*/ 339109 h 991091"/>
                <a:gd name="connsiteX1422" fmla="*/ 147197 w 741412"/>
                <a:gd name="connsiteY1422" fmla="*/ 339884 h 991091"/>
                <a:gd name="connsiteX1423" fmla="*/ 147197 w 741412"/>
                <a:gd name="connsiteY1423" fmla="*/ 340660 h 991091"/>
                <a:gd name="connsiteX1424" fmla="*/ 146422 w 741412"/>
                <a:gd name="connsiteY1424" fmla="*/ 341952 h 991091"/>
                <a:gd name="connsiteX1425" fmla="*/ 145517 w 741412"/>
                <a:gd name="connsiteY1425" fmla="*/ 342857 h 991091"/>
                <a:gd name="connsiteX1426" fmla="*/ 142028 w 741412"/>
                <a:gd name="connsiteY1426" fmla="*/ 344924 h 991091"/>
                <a:gd name="connsiteX1427" fmla="*/ 140348 w 741412"/>
                <a:gd name="connsiteY1427" fmla="*/ 346346 h 991091"/>
                <a:gd name="connsiteX1428" fmla="*/ 137892 w 741412"/>
                <a:gd name="connsiteY1428" fmla="*/ 349060 h 991091"/>
                <a:gd name="connsiteX1429" fmla="*/ 137504 w 741412"/>
                <a:gd name="connsiteY1429" fmla="*/ 349706 h 991091"/>
                <a:gd name="connsiteX1430" fmla="*/ 137246 w 741412"/>
                <a:gd name="connsiteY1430" fmla="*/ 350869 h 991091"/>
                <a:gd name="connsiteX1431" fmla="*/ 137117 w 741412"/>
                <a:gd name="connsiteY1431" fmla="*/ 352161 h 991091"/>
                <a:gd name="connsiteX1432" fmla="*/ 136987 w 741412"/>
                <a:gd name="connsiteY1432" fmla="*/ 352808 h 991091"/>
                <a:gd name="connsiteX1433" fmla="*/ 136729 w 741412"/>
                <a:gd name="connsiteY1433" fmla="*/ 353324 h 991091"/>
                <a:gd name="connsiteX1434" fmla="*/ 135049 w 741412"/>
                <a:gd name="connsiteY1434" fmla="*/ 356038 h 991091"/>
                <a:gd name="connsiteX1435" fmla="*/ 134532 w 741412"/>
                <a:gd name="connsiteY1435" fmla="*/ 357718 h 991091"/>
                <a:gd name="connsiteX1436" fmla="*/ 134274 w 741412"/>
                <a:gd name="connsiteY1436" fmla="*/ 358235 h 991091"/>
                <a:gd name="connsiteX1437" fmla="*/ 134015 w 741412"/>
                <a:gd name="connsiteY1437" fmla="*/ 358623 h 991091"/>
                <a:gd name="connsiteX1438" fmla="*/ 131430 w 741412"/>
                <a:gd name="connsiteY1438" fmla="*/ 361337 h 991091"/>
                <a:gd name="connsiteX1439" fmla="*/ 130913 w 741412"/>
                <a:gd name="connsiteY1439" fmla="*/ 362112 h 991091"/>
                <a:gd name="connsiteX1440" fmla="*/ 130138 w 741412"/>
                <a:gd name="connsiteY1440" fmla="*/ 363663 h 991091"/>
                <a:gd name="connsiteX1441" fmla="*/ 129880 w 741412"/>
                <a:gd name="connsiteY1441" fmla="*/ 364051 h 991091"/>
                <a:gd name="connsiteX1442" fmla="*/ 128200 w 741412"/>
                <a:gd name="connsiteY1442" fmla="*/ 365860 h 991091"/>
                <a:gd name="connsiteX1443" fmla="*/ 127941 w 741412"/>
                <a:gd name="connsiteY1443" fmla="*/ 366248 h 991091"/>
                <a:gd name="connsiteX1444" fmla="*/ 127812 w 741412"/>
                <a:gd name="connsiteY1444" fmla="*/ 366636 h 991091"/>
                <a:gd name="connsiteX1445" fmla="*/ 127683 w 741412"/>
                <a:gd name="connsiteY1445" fmla="*/ 366894 h 991091"/>
                <a:gd name="connsiteX1446" fmla="*/ 126907 w 741412"/>
                <a:gd name="connsiteY1446" fmla="*/ 368574 h 991091"/>
                <a:gd name="connsiteX1447" fmla="*/ 126649 w 741412"/>
                <a:gd name="connsiteY1447" fmla="*/ 368962 h 991091"/>
                <a:gd name="connsiteX1448" fmla="*/ 124323 w 741412"/>
                <a:gd name="connsiteY1448" fmla="*/ 371805 h 991091"/>
                <a:gd name="connsiteX1449" fmla="*/ 116439 w 741412"/>
                <a:gd name="connsiteY1449" fmla="*/ 378008 h 991091"/>
                <a:gd name="connsiteX1450" fmla="*/ 115793 w 741412"/>
                <a:gd name="connsiteY1450" fmla="*/ 378266 h 991091"/>
                <a:gd name="connsiteX1451" fmla="*/ 114630 w 741412"/>
                <a:gd name="connsiteY1451" fmla="*/ 378396 h 991091"/>
                <a:gd name="connsiteX1452" fmla="*/ 111658 w 741412"/>
                <a:gd name="connsiteY1452" fmla="*/ 378525 h 991091"/>
                <a:gd name="connsiteX1453" fmla="*/ 111141 w 741412"/>
                <a:gd name="connsiteY1453" fmla="*/ 378396 h 991091"/>
                <a:gd name="connsiteX1454" fmla="*/ 109590 w 741412"/>
                <a:gd name="connsiteY1454" fmla="*/ 377750 h 991091"/>
                <a:gd name="connsiteX1455" fmla="*/ 109073 w 741412"/>
                <a:gd name="connsiteY1455" fmla="*/ 377491 h 991091"/>
                <a:gd name="connsiteX1456" fmla="*/ 108685 w 741412"/>
                <a:gd name="connsiteY1456" fmla="*/ 377103 h 991091"/>
                <a:gd name="connsiteX1457" fmla="*/ 108427 w 741412"/>
                <a:gd name="connsiteY1457" fmla="*/ 376716 h 991091"/>
                <a:gd name="connsiteX1458" fmla="*/ 108039 w 741412"/>
                <a:gd name="connsiteY1458" fmla="*/ 376457 h 991091"/>
                <a:gd name="connsiteX1459" fmla="*/ 107393 w 741412"/>
                <a:gd name="connsiteY1459" fmla="*/ 376457 h 991091"/>
                <a:gd name="connsiteX1460" fmla="*/ 106488 w 741412"/>
                <a:gd name="connsiteY1460" fmla="*/ 376586 h 991091"/>
                <a:gd name="connsiteX1461" fmla="*/ 105067 w 741412"/>
                <a:gd name="connsiteY1461" fmla="*/ 377233 h 991091"/>
                <a:gd name="connsiteX1462" fmla="*/ 103516 w 741412"/>
                <a:gd name="connsiteY1462" fmla="*/ 377620 h 991091"/>
                <a:gd name="connsiteX1463" fmla="*/ 102999 w 741412"/>
                <a:gd name="connsiteY1463" fmla="*/ 377620 h 991091"/>
                <a:gd name="connsiteX1464" fmla="*/ 102482 w 741412"/>
                <a:gd name="connsiteY1464" fmla="*/ 377620 h 991091"/>
                <a:gd name="connsiteX1465" fmla="*/ 100931 w 741412"/>
                <a:gd name="connsiteY1465" fmla="*/ 377103 h 991091"/>
                <a:gd name="connsiteX1466" fmla="*/ 52469 w 741412"/>
                <a:gd name="connsiteY1466" fmla="*/ 415227 h 991091"/>
                <a:gd name="connsiteX1467" fmla="*/ 1163 w 741412"/>
                <a:gd name="connsiteY1467" fmla="*/ 456453 h 991091"/>
                <a:gd name="connsiteX1468" fmla="*/ 258 w 741412"/>
                <a:gd name="connsiteY1468" fmla="*/ 457487 h 991091"/>
                <a:gd name="connsiteX1469" fmla="*/ 0 w 741412"/>
                <a:gd name="connsiteY1469" fmla="*/ 457874 h 991091"/>
                <a:gd name="connsiteX1470" fmla="*/ 2197 w 741412"/>
                <a:gd name="connsiteY1470" fmla="*/ 458133 h 991091"/>
                <a:gd name="connsiteX1471" fmla="*/ 5945 w 741412"/>
                <a:gd name="connsiteY1471" fmla="*/ 453739 h 991091"/>
                <a:gd name="connsiteX1472" fmla="*/ 6979 w 741412"/>
                <a:gd name="connsiteY1472" fmla="*/ 453093 h 991091"/>
                <a:gd name="connsiteX1473" fmla="*/ 10985 w 741412"/>
                <a:gd name="connsiteY1473" fmla="*/ 452705 h 991091"/>
                <a:gd name="connsiteX1474" fmla="*/ 13053 w 741412"/>
                <a:gd name="connsiteY1474" fmla="*/ 453222 h 991091"/>
                <a:gd name="connsiteX1475" fmla="*/ 13957 w 741412"/>
                <a:gd name="connsiteY1475" fmla="*/ 455031 h 991091"/>
                <a:gd name="connsiteX1476" fmla="*/ 14474 w 741412"/>
                <a:gd name="connsiteY1476" fmla="*/ 455419 h 991091"/>
                <a:gd name="connsiteX1477" fmla="*/ 15508 w 741412"/>
                <a:gd name="connsiteY1477" fmla="*/ 454644 h 991091"/>
                <a:gd name="connsiteX1478" fmla="*/ 16930 w 741412"/>
                <a:gd name="connsiteY1478" fmla="*/ 453093 h 991091"/>
                <a:gd name="connsiteX1479" fmla="*/ 17317 w 741412"/>
                <a:gd name="connsiteY1479" fmla="*/ 452317 h 991091"/>
                <a:gd name="connsiteX1480" fmla="*/ 20290 w 741412"/>
                <a:gd name="connsiteY1480" fmla="*/ 445209 h 991091"/>
                <a:gd name="connsiteX1481" fmla="*/ 21453 w 741412"/>
                <a:gd name="connsiteY1481" fmla="*/ 443400 h 991091"/>
                <a:gd name="connsiteX1482" fmla="*/ 22745 w 741412"/>
                <a:gd name="connsiteY1482" fmla="*/ 442108 h 991091"/>
                <a:gd name="connsiteX1483" fmla="*/ 26234 w 741412"/>
                <a:gd name="connsiteY1483" fmla="*/ 440169 h 991091"/>
                <a:gd name="connsiteX1484" fmla="*/ 30499 w 741412"/>
                <a:gd name="connsiteY1484" fmla="*/ 438748 h 991091"/>
                <a:gd name="connsiteX1485" fmla="*/ 35022 w 741412"/>
                <a:gd name="connsiteY1485" fmla="*/ 437972 h 991091"/>
                <a:gd name="connsiteX1486" fmla="*/ 43422 w 741412"/>
                <a:gd name="connsiteY1486" fmla="*/ 437714 h 991091"/>
                <a:gd name="connsiteX1487" fmla="*/ 43939 w 741412"/>
                <a:gd name="connsiteY1487" fmla="*/ 438102 h 991091"/>
                <a:gd name="connsiteX1488" fmla="*/ 44327 w 741412"/>
                <a:gd name="connsiteY1488" fmla="*/ 438489 h 991091"/>
                <a:gd name="connsiteX1489" fmla="*/ 46136 w 741412"/>
                <a:gd name="connsiteY1489" fmla="*/ 439652 h 991091"/>
                <a:gd name="connsiteX1490" fmla="*/ 63195 w 741412"/>
                <a:gd name="connsiteY1490" fmla="*/ 447665 h 991091"/>
                <a:gd name="connsiteX1491" fmla="*/ 67589 w 741412"/>
                <a:gd name="connsiteY1491" fmla="*/ 448570 h 991091"/>
                <a:gd name="connsiteX1492" fmla="*/ 72758 w 741412"/>
                <a:gd name="connsiteY1492" fmla="*/ 448570 h 991091"/>
                <a:gd name="connsiteX1493" fmla="*/ 74955 w 741412"/>
                <a:gd name="connsiteY1493" fmla="*/ 447794 h 991091"/>
                <a:gd name="connsiteX1494" fmla="*/ 77669 w 741412"/>
                <a:gd name="connsiteY1494" fmla="*/ 445339 h 991091"/>
                <a:gd name="connsiteX1495" fmla="*/ 79737 w 741412"/>
                <a:gd name="connsiteY1495" fmla="*/ 444822 h 991091"/>
                <a:gd name="connsiteX1496" fmla="*/ 82063 w 741412"/>
                <a:gd name="connsiteY1496" fmla="*/ 444951 h 991091"/>
                <a:gd name="connsiteX1497" fmla="*/ 86199 w 741412"/>
                <a:gd name="connsiteY1497" fmla="*/ 445726 h 991091"/>
                <a:gd name="connsiteX1498" fmla="*/ 90463 w 741412"/>
                <a:gd name="connsiteY1498" fmla="*/ 447019 h 991091"/>
                <a:gd name="connsiteX1499" fmla="*/ 92660 w 741412"/>
                <a:gd name="connsiteY1499" fmla="*/ 448182 h 991091"/>
                <a:gd name="connsiteX1500" fmla="*/ 94211 w 741412"/>
                <a:gd name="connsiteY1500" fmla="*/ 449991 h 991091"/>
                <a:gd name="connsiteX1501" fmla="*/ 94857 w 741412"/>
                <a:gd name="connsiteY1501" fmla="*/ 452447 h 991091"/>
                <a:gd name="connsiteX1502" fmla="*/ 94987 w 741412"/>
                <a:gd name="connsiteY1502" fmla="*/ 457228 h 991091"/>
                <a:gd name="connsiteX1503" fmla="*/ 95633 w 741412"/>
                <a:gd name="connsiteY1503" fmla="*/ 459296 h 991091"/>
                <a:gd name="connsiteX1504" fmla="*/ 97054 w 741412"/>
                <a:gd name="connsiteY1504" fmla="*/ 460847 h 991091"/>
                <a:gd name="connsiteX1505" fmla="*/ 99251 w 741412"/>
                <a:gd name="connsiteY1505" fmla="*/ 461493 h 991091"/>
                <a:gd name="connsiteX1506" fmla="*/ 101578 w 741412"/>
                <a:gd name="connsiteY1506" fmla="*/ 461364 h 991091"/>
                <a:gd name="connsiteX1507" fmla="*/ 105454 w 741412"/>
                <a:gd name="connsiteY1507" fmla="*/ 460717 h 991091"/>
                <a:gd name="connsiteX1508" fmla="*/ 107522 w 741412"/>
                <a:gd name="connsiteY1508" fmla="*/ 460976 h 991091"/>
                <a:gd name="connsiteX1509" fmla="*/ 109331 w 741412"/>
                <a:gd name="connsiteY1509" fmla="*/ 461622 h 991091"/>
                <a:gd name="connsiteX1510" fmla="*/ 119541 w 741412"/>
                <a:gd name="connsiteY1510" fmla="*/ 467438 h 991091"/>
                <a:gd name="connsiteX1511" fmla="*/ 121479 w 741412"/>
                <a:gd name="connsiteY1511" fmla="*/ 469118 h 991091"/>
                <a:gd name="connsiteX1512" fmla="*/ 122901 w 741412"/>
                <a:gd name="connsiteY1512" fmla="*/ 470668 h 991091"/>
                <a:gd name="connsiteX1513" fmla="*/ 127166 w 741412"/>
                <a:gd name="connsiteY1513" fmla="*/ 471185 h 991091"/>
                <a:gd name="connsiteX1514" fmla="*/ 128975 w 741412"/>
                <a:gd name="connsiteY1514" fmla="*/ 471702 h 991091"/>
                <a:gd name="connsiteX1515" fmla="*/ 131301 w 741412"/>
                <a:gd name="connsiteY1515" fmla="*/ 473770 h 991091"/>
                <a:gd name="connsiteX1516" fmla="*/ 133240 w 741412"/>
                <a:gd name="connsiteY1516" fmla="*/ 476872 h 991091"/>
                <a:gd name="connsiteX1517" fmla="*/ 136341 w 741412"/>
                <a:gd name="connsiteY1517" fmla="*/ 483463 h 991091"/>
                <a:gd name="connsiteX1518" fmla="*/ 134790 w 741412"/>
                <a:gd name="connsiteY1518" fmla="*/ 500004 h 991091"/>
                <a:gd name="connsiteX1519" fmla="*/ 135178 w 741412"/>
                <a:gd name="connsiteY1519" fmla="*/ 500651 h 991091"/>
                <a:gd name="connsiteX1520" fmla="*/ 137763 w 741412"/>
                <a:gd name="connsiteY1520" fmla="*/ 502589 h 991091"/>
                <a:gd name="connsiteX1521" fmla="*/ 138409 w 741412"/>
                <a:gd name="connsiteY1521" fmla="*/ 503623 h 991091"/>
                <a:gd name="connsiteX1522" fmla="*/ 138797 w 741412"/>
                <a:gd name="connsiteY1522" fmla="*/ 504528 h 991091"/>
                <a:gd name="connsiteX1523" fmla="*/ 139055 w 741412"/>
                <a:gd name="connsiteY1523" fmla="*/ 505562 h 991091"/>
                <a:gd name="connsiteX1524" fmla="*/ 139184 w 741412"/>
                <a:gd name="connsiteY1524" fmla="*/ 506725 h 991091"/>
                <a:gd name="connsiteX1525" fmla="*/ 139443 w 741412"/>
                <a:gd name="connsiteY1525" fmla="*/ 507888 h 991091"/>
                <a:gd name="connsiteX1526" fmla="*/ 140477 w 741412"/>
                <a:gd name="connsiteY1526" fmla="*/ 509309 h 991091"/>
                <a:gd name="connsiteX1527" fmla="*/ 140864 w 741412"/>
                <a:gd name="connsiteY1527" fmla="*/ 511248 h 991091"/>
                <a:gd name="connsiteX1528" fmla="*/ 141769 w 741412"/>
                <a:gd name="connsiteY1528" fmla="*/ 512540 h 991091"/>
                <a:gd name="connsiteX1529" fmla="*/ 142157 w 741412"/>
                <a:gd name="connsiteY1529" fmla="*/ 513574 h 991091"/>
                <a:gd name="connsiteX1530" fmla="*/ 142157 w 741412"/>
                <a:gd name="connsiteY1530" fmla="*/ 517968 h 991091"/>
                <a:gd name="connsiteX1531" fmla="*/ 140864 w 741412"/>
                <a:gd name="connsiteY1531" fmla="*/ 524817 h 991091"/>
                <a:gd name="connsiteX1532" fmla="*/ 140864 w 741412"/>
                <a:gd name="connsiteY1532" fmla="*/ 538645 h 991091"/>
                <a:gd name="connsiteX1533" fmla="*/ 141898 w 741412"/>
                <a:gd name="connsiteY1533" fmla="*/ 542522 h 991091"/>
                <a:gd name="connsiteX1534" fmla="*/ 142157 w 741412"/>
                <a:gd name="connsiteY1534" fmla="*/ 544719 h 991091"/>
                <a:gd name="connsiteX1535" fmla="*/ 142803 w 741412"/>
                <a:gd name="connsiteY1535" fmla="*/ 546916 h 991091"/>
                <a:gd name="connsiteX1536" fmla="*/ 145646 w 741412"/>
                <a:gd name="connsiteY1536" fmla="*/ 550406 h 991091"/>
                <a:gd name="connsiteX1537" fmla="*/ 146551 w 741412"/>
                <a:gd name="connsiteY1537" fmla="*/ 552473 h 991091"/>
                <a:gd name="connsiteX1538" fmla="*/ 146163 w 741412"/>
                <a:gd name="connsiteY1538" fmla="*/ 557126 h 991091"/>
                <a:gd name="connsiteX1539" fmla="*/ 142545 w 741412"/>
                <a:gd name="connsiteY1539" fmla="*/ 565009 h 991091"/>
                <a:gd name="connsiteX1540" fmla="*/ 143708 w 741412"/>
                <a:gd name="connsiteY1540" fmla="*/ 568627 h 991091"/>
                <a:gd name="connsiteX1541" fmla="*/ 141511 w 741412"/>
                <a:gd name="connsiteY1541" fmla="*/ 573926 h 991091"/>
                <a:gd name="connsiteX1542" fmla="*/ 141511 w 741412"/>
                <a:gd name="connsiteY1542" fmla="*/ 576381 h 991091"/>
                <a:gd name="connsiteX1543" fmla="*/ 142932 w 741412"/>
                <a:gd name="connsiteY1543" fmla="*/ 578837 h 991091"/>
                <a:gd name="connsiteX1544" fmla="*/ 142028 w 741412"/>
                <a:gd name="connsiteY1544" fmla="*/ 580517 h 991091"/>
                <a:gd name="connsiteX1545" fmla="*/ 139184 w 741412"/>
                <a:gd name="connsiteY1545" fmla="*/ 584006 h 991091"/>
                <a:gd name="connsiteX1546" fmla="*/ 138409 w 741412"/>
                <a:gd name="connsiteY1546" fmla="*/ 585686 h 991091"/>
                <a:gd name="connsiteX1547" fmla="*/ 138150 w 741412"/>
                <a:gd name="connsiteY1547" fmla="*/ 587366 h 991091"/>
                <a:gd name="connsiteX1548" fmla="*/ 137892 w 741412"/>
                <a:gd name="connsiteY1548" fmla="*/ 591373 h 991091"/>
                <a:gd name="connsiteX1549" fmla="*/ 135178 w 741412"/>
                <a:gd name="connsiteY1549" fmla="*/ 598351 h 991091"/>
                <a:gd name="connsiteX1550" fmla="*/ 134403 w 741412"/>
                <a:gd name="connsiteY1550" fmla="*/ 602228 h 991091"/>
                <a:gd name="connsiteX1551" fmla="*/ 135695 w 741412"/>
                <a:gd name="connsiteY1551" fmla="*/ 605976 h 991091"/>
                <a:gd name="connsiteX1552" fmla="*/ 134274 w 741412"/>
                <a:gd name="connsiteY1552" fmla="*/ 609207 h 991091"/>
                <a:gd name="connsiteX1553" fmla="*/ 133627 w 741412"/>
                <a:gd name="connsiteY1553" fmla="*/ 612050 h 991091"/>
                <a:gd name="connsiteX1554" fmla="*/ 133498 w 741412"/>
                <a:gd name="connsiteY1554" fmla="*/ 618770 h 991091"/>
                <a:gd name="connsiteX1555" fmla="*/ 133627 w 741412"/>
                <a:gd name="connsiteY1555" fmla="*/ 619416 h 991091"/>
                <a:gd name="connsiteX1556" fmla="*/ 133886 w 741412"/>
                <a:gd name="connsiteY1556" fmla="*/ 620192 h 991091"/>
                <a:gd name="connsiteX1557" fmla="*/ 134274 w 741412"/>
                <a:gd name="connsiteY1557" fmla="*/ 620967 h 991091"/>
                <a:gd name="connsiteX1558" fmla="*/ 134661 w 741412"/>
                <a:gd name="connsiteY1558" fmla="*/ 621613 h 991091"/>
                <a:gd name="connsiteX1559" fmla="*/ 135049 w 741412"/>
                <a:gd name="connsiteY1559" fmla="*/ 622518 h 991091"/>
                <a:gd name="connsiteX1560" fmla="*/ 134920 w 741412"/>
                <a:gd name="connsiteY1560" fmla="*/ 623422 h 991091"/>
                <a:gd name="connsiteX1561" fmla="*/ 134532 w 741412"/>
                <a:gd name="connsiteY1561" fmla="*/ 624327 h 991091"/>
                <a:gd name="connsiteX1562" fmla="*/ 133110 w 741412"/>
                <a:gd name="connsiteY1562" fmla="*/ 630660 h 991091"/>
                <a:gd name="connsiteX1563" fmla="*/ 132852 w 741412"/>
                <a:gd name="connsiteY1563" fmla="*/ 632727 h 991091"/>
                <a:gd name="connsiteX1564" fmla="*/ 131689 w 741412"/>
                <a:gd name="connsiteY1564" fmla="*/ 635441 h 991091"/>
                <a:gd name="connsiteX1565" fmla="*/ 124064 w 741412"/>
                <a:gd name="connsiteY1565" fmla="*/ 641903 h 991091"/>
                <a:gd name="connsiteX1566" fmla="*/ 118249 w 741412"/>
                <a:gd name="connsiteY1566" fmla="*/ 651466 h 991091"/>
                <a:gd name="connsiteX1567" fmla="*/ 113338 w 741412"/>
                <a:gd name="connsiteY1567" fmla="*/ 650174 h 991091"/>
                <a:gd name="connsiteX1568" fmla="*/ 109073 w 741412"/>
                <a:gd name="connsiteY1568" fmla="*/ 651854 h 991091"/>
                <a:gd name="connsiteX1569" fmla="*/ 107393 w 741412"/>
                <a:gd name="connsiteY1569" fmla="*/ 655214 h 991091"/>
                <a:gd name="connsiteX1570" fmla="*/ 110107 w 741412"/>
                <a:gd name="connsiteY1570" fmla="*/ 658833 h 991091"/>
                <a:gd name="connsiteX1571" fmla="*/ 114113 w 741412"/>
                <a:gd name="connsiteY1571" fmla="*/ 661029 h 991091"/>
                <a:gd name="connsiteX1572" fmla="*/ 116052 w 741412"/>
                <a:gd name="connsiteY1572" fmla="*/ 662839 h 991091"/>
                <a:gd name="connsiteX1573" fmla="*/ 117732 w 741412"/>
                <a:gd name="connsiteY1573" fmla="*/ 667620 h 991091"/>
                <a:gd name="connsiteX1574" fmla="*/ 119799 w 741412"/>
                <a:gd name="connsiteY1574" fmla="*/ 666716 h 991091"/>
                <a:gd name="connsiteX1575" fmla="*/ 122126 w 741412"/>
                <a:gd name="connsiteY1575" fmla="*/ 664519 h 991091"/>
                <a:gd name="connsiteX1576" fmla="*/ 123806 w 741412"/>
                <a:gd name="connsiteY1576" fmla="*/ 663356 h 991091"/>
                <a:gd name="connsiteX1577" fmla="*/ 128070 w 741412"/>
                <a:gd name="connsiteY1577" fmla="*/ 663614 h 991091"/>
                <a:gd name="connsiteX1578" fmla="*/ 131947 w 741412"/>
                <a:gd name="connsiteY1578" fmla="*/ 664648 h 991091"/>
                <a:gd name="connsiteX1579" fmla="*/ 134790 w 741412"/>
                <a:gd name="connsiteY1579" fmla="*/ 666974 h 991091"/>
                <a:gd name="connsiteX1580" fmla="*/ 135954 w 741412"/>
                <a:gd name="connsiteY1580" fmla="*/ 670980 h 991091"/>
                <a:gd name="connsiteX1581" fmla="*/ 134532 w 741412"/>
                <a:gd name="connsiteY1581" fmla="*/ 675374 h 991091"/>
                <a:gd name="connsiteX1582" fmla="*/ 131043 w 741412"/>
                <a:gd name="connsiteY1582" fmla="*/ 677701 h 991091"/>
                <a:gd name="connsiteX1583" fmla="*/ 126907 w 741412"/>
                <a:gd name="connsiteY1583" fmla="*/ 679510 h 991091"/>
                <a:gd name="connsiteX1584" fmla="*/ 123547 w 741412"/>
                <a:gd name="connsiteY1584" fmla="*/ 682353 h 991091"/>
                <a:gd name="connsiteX1585" fmla="*/ 125227 w 741412"/>
                <a:gd name="connsiteY1585" fmla="*/ 683128 h 991091"/>
                <a:gd name="connsiteX1586" fmla="*/ 126261 w 741412"/>
                <a:gd name="connsiteY1586" fmla="*/ 682999 h 991091"/>
                <a:gd name="connsiteX1587" fmla="*/ 126778 w 741412"/>
                <a:gd name="connsiteY1587" fmla="*/ 682870 h 991091"/>
                <a:gd name="connsiteX1588" fmla="*/ 129234 w 741412"/>
                <a:gd name="connsiteY1588" fmla="*/ 682482 h 991091"/>
                <a:gd name="connsiteX1589" fmla="*/ 131689 w 741412"/>
                <a:gd name="connsiteY1589" fmla="*/ 682224 h 991091"/>
                <a:gd name="connsiteX1590" fmla="*/ 132335 w 741412"/>
                <a:gd name="connsiteY1590" fmla="*/ 682353 h 991091"/>
                <a:gd name="connsiteX1591" fmla="*/ 132852 w 741412"/>
                <a:gd name="connsiteY1591" fmla="*/ 682482 h 991091"/>
                <a:gd name="connsiteX1592" fmla="*/ 133240 w 741412"/>
                <a:gd name="connsiteY1592" fmla="*/ 682741 h 991091"/>
                <a:gd name="connsiteX1593" fmla="*/ 133498 w 741412"/>
                <a:gd name="connsiteY1593" fmla="*/ 682999 h 991091"/>
                <a:gd name="connsiteX1594" fmla="*/ 133757 w 741412"/>
                <a:gd name="connsiteY1594" fmla="*/ 683516 h 991091"/>
                <a:gd name="connsiteX1595" fmla="*/ 134015 w 741412"/>
                <a:gd name="connsiteY1595" fmla="*/ 684162 h 991091"/>
                <a:gd name="connsiteX1596" fmla="*/ 134403 w 741412"/>
                <a:gd name="connsiteY1596" fmla="*/ 686876 h 991091"/>
                <a:gd name="connsiteX1597" fmla="*/ 134532 w 741412"/>
                <a:gd name="connsiteY1597" fmla="*/ 687393 h 991091"/>
                <a:gd name="connsiteX1598" fmla="*/ 134661 w 741412"/>
                <a:gd name="connsiteY1598" fmla="*/ 687781 h 991091"/>
                <a:gd name="connsiteX1599" fmla="*/ 136212 w 741412"/>
                <a:gd name="connsiteY1599" fmla="*/ 690624 h 991091"/>
                <a:gd name="connsiteX1600" fmla="*/ 136858 w 741412"/>
                <a:gd name="connsiteY1600" fmla="*/ 691529 h 991091"/>
                <a:gd name="connsiteX1601" fmla="*/ 137892 w 741412"/>
                <a:gd name="connsiteY1601" fmla="*/ 692175 h 991091"/>
                <a:gd name="connsiteX1602" fmla="*/ 138538 w 741412"/>
                <a:gd name="connsiteY1602" fmla="*/ 692175 h 991091"/>
                <a:gd name="connsiteX1603" fmla="*/ 139055 w 741412"/>
                <a:gd name="connsiteY1603" fmla="*/ 692046 h 991091"/>
                <a:gd name="connsiteX1604" fmla="*/ 139443 w 741412"/>
                <a:gd name="connsiteY1604" fmla="*/ 691787 h 991091"/>
                <a:gd name="connsiteX1605" fmla="*/ 139960 w 741412"/>
                <a:gd name="connsiteY1605" fmla="*/ 691658 h 991091"/>
                <a:gd name="connsiteX1606" fmla="*/ 140477 w 741412"/>
                <a:gd name="connsiteY1606" fmla="*/ 691529 h 991091"/>
                <a:gd name="connsiteX1607" fmla="*/ 142415 w 741412"/>
                <a:gd name="connsiteY1607" fmla="*/ 691529 h 991091"/>
                <a:gd name="connsiteX1608" fmla="*/ 143061 w 741412"/>
                <a:gd name="connsiteY1608" fmla="*/ 691787 h 991091"/>
                <a:gd name="connsiteX1609" fmla="*/ 143578 w 741412"/>
                <a:gd name="connsiteY1609" fmla="*/ 692433 h 991091"/>
                <a:gd name="connsiteX1610" fmla="*/ 143837 w 741412"/>
                <a:gd name="connsiteY1610" fmla="*/ 693726 h 991091"/>
                <a:gd name="connsiteX1611" fmla="*/ 143837 w 741412"/>
                <a:gd name="connsiteY1611" fmla="*/ 694630 h 991091"/>
                <a:gd name="connsiteX1612" fmla="*/ 143578 w 741412"/>
                <a:gd name="connsiteY1612" fmla="*/ 695922 h 991091"/>
                <a:gd name="connsiteX1613" fmla="*/ 143708 w 741412"/>
                <a:gd name="connsiteY1613" fmla="*/ 696439 h 991091"/>
                <a:gd name="connsiteX1614" fmla="*/ 144483 w 741412"/>
                <a:gd name="connsiteY1614" fmla="*/ 696827 h 991091"/>
                <a:gd name="connsiteX1615" fmla="*/ 145129 w 741412"/>
                <a:gd name="connsiteY1615" fmla="*/ 696956 h 991091"/>
                <a:gd name="connsiteX1616" fmla="*/ 146422 w 741412"/>
                <a:gd name="connsiteY1616" fmla="*/ 696956 h 991091"/>
                <a:gd name="connsiteX1617" fmla="*/ 147068 w 741412"/>
                <a:gd name="connsiteY1617" fmla="*/ 697086 h 991091"/>
                <a:gd name="connsiteX1618" fmla="*/ 147714 w 741412"/>
                <a:gd name="connsiteY1618" fmla="*/ 697732 h 991091"/>
                <a:gd name="connsiteX1619" fmla="*/ 148231 w 741412"/>
                <a:gd name="connsiteY1619" fmla="*/ 698766 h 991091"/>
                <a:gd name="connsiteX1620" fmla="*/ 149523 w 741412"/>
                <a:gd name="connsiteY1620" fmla="*/ 702384 h 991091"/>
                <a:gd name="connsiteX1621" fmla="*/ 149782 w 741412"/>
                <a:gd name="connsiteY1621" fmla="*/ 703547 h 991091"/>
                <a:gd name="connsiteX1622" fmla="*/ 149652 w 741412"/>
                <a:gd name="connsiteY1622" fmla="*/ 704193 h 991091"/>
                <a:gd name="connsiteX1623" fmla="*/ 149652 w 741412"/>
                <a:gd name="connsiteY1623" fmla="*/ 704840 h 991091"/>
                <a:gd name="connsiteX1624" fmla="*/ 149911 w 741412"/>
                <a:gd name="connsiteY1624" fmla="*/ 705357 h 991091"/>
                <a:gd name="connsiteX1625" fmla="*/ 150428 w 741412"/>
                <a:gd name="connsiteY1625" fmla="*/ 705874 h 991091"/>
                <a:gd name="connsiteX1626" fmla="*/ 150945 w 741412"/>
                <a:gd name="connsiteY1626" fmla="*/ 706132 h 991091"/>
                <a:gd name="connsiteX1627" fmla="*/ 151462 w 741412"/>
                <a:gd name="connsiteY1627" fmla="*/ 706132 h 991091"/>
                <a:gd name="connsiteX1628" fmla="*/ 151849 w 741412"/>
                <a:gd name="connsiteY1628" fmla="*/ 705874 h 991091"/>
                <a:gd name="connsiteX1629" fmla="*/ 151979 w 741412"/>
                <a:gd name="connsiteY1629" fmla="*/ 705227 h 991091"/>
                <a:gd name="connsiteX1630" fmla="*/ 151979 w 741412"/>
                <a:gd name="connsiteY1630" fmla="*/ 704581 h 991091"/>
                <a:gd name="connsiteX1631" fmla="*/ 151849 w 741412"/>
                <a:gd name="connsiteY1631" fmla="*/ 703806 h 991091"/>
                <a:gd name="connsiteX1632" fmla="*/ 152108 w 741412"/>
                <a:gd name="connsiteY1632" fmla="*/ 703418 h 991091"/>
                <a:gd name="connsiteX1633" fmla="*/ 152495 w 741412"/>
                <a:gd name="connsiteY1633" fmla="*/ 703160 h 991091"/>
                <a:gd name="connsiteX1634" fmla="*/ 153012 w 741412"/>
                <a:gd name="connsiteY1634" fmla="*/ 703289 h 991091"/>
                <a:gd name="connsiteX1635" fmla="*/ 153400 w 741412"/>
                <a:gd name="connsiteY1635" fmla="*/ 703676 h 991091"/>
                <a:gd name="connsiteX1636" fmla="*/ 155339 w 741412"/>
                <a:gd name="connsiteY1636" fmla="*/ 706132 h 991091"/>
                <a:gd name="connsiteX1637" fmla="*/ 155597 w 741412"/>
                <a:gd name="connsiteY1637" fmla="*/ 706520 h 991091"/>
                <a:gd name="connsiteX1638" fmla="*/ 155468 w 741412"/>
                <a:gd name="connsiteY1638" fmla="*/ 707166 h 991091"/>
                <a:gd name="connsiteX1639" fmla="*/ 155209 w 741412"/>
                <a:gd name="connsiteY1639" fmla="*/ 707424 h 991091"/>
                <a:gd name="connsiteX1640" fmla="*/ 154951 w 741412"/>
                <a:gd name="connsiteY1640" fmla="*/ 707812 h 991091"/>
                <a:gd name="connsiteX1641" fmla="*/ 154951 w 741412"/>
                <a:gd name="connsiteY1641" fmla="*/ 708329 h 991091"/>
                <a:gd name="connsiteX1642" fmla="*/ 155209 w 741412"/>
                <a:gd name="connsiteY1642" fmla="*/ 708846 h 991091"/>
                <a:gd name="connsiteX1643" fmla="*/ 156372 w 741412"/>
                <a:gd name="connsiteY1643" fmla="*/ 709492 h 991091"/>
                <a:gd name="connsiteX1644" fmla="*/ 156890 w 741412"/>
                <a:gd name="connsiteY1644" fmla="*/ 709880 h 991091"/>
                <a:gd name="connsiteX1645" fmla="*/ 157148 w 741412"/>
                <a:gd name="connsiteY1645" fmla="*/ 710397 h 991091"/>
                <a:gd name="connsiteX1646" fmla="*/ 157148 w 741412"/>
                <a:gd name="connsiteY1646" fmla="*/ 711301 h 991091"/>
                <a:gd name="connsiteX1647" fmla="*/ 157019 w 741412"/>
                <a:gd name="connsiteY1647" fmla="*/ 711947 h 991091"/>
                <a:gd name="connsiteX1648" fmla="*/ 156890 w 741412"/>
                <a:gd name="connsiteY1648" fmla="*/ 712594 h 991091"/>
                <a:gd name="connsiteX1649" fmla="*/ 156890 w 741412"/>
                <a:gd name="connsiteY1649" fmla="*/ 713111 h 991091"/>
                <a:gd name="connsiteX1650" fmla="*/ 157148 w 741412"/>
                <a:gd name="connsiteY1650" fmla="*/ 713627 h 991091"/>
                <a:gd name="connsiteX1651" fmla="*/ 157794 w 741412"/>
                <a:gd name="connsiteY1651" fmla="*/ 714015 h 991091"/>
                <a:gd name="connsiteX1652" fmla="*/ 158440 w 741412"/>
                <a:gd name="connsiteY1652" fmla="*/ 714274 h 991091"/>
                <a:gd name="connsiteX1653" fmla="*/ 159086 w 741412"/>
                <a:gd name="connsiteY1653" fmla="*/ 714403 h 991091"/>
                <a:gd name="connsiteX1654" fmla="*/ 159733 w 741412"/>
                <a:gd name="connsiteY1654" fmla="*/ 714532 h 991091"/>
                <a:gd name="connsiteX1655" fmla="*/ 160379 w 741412"/>
                <a:gd name="connsiteY1655" fmla="*/ 714661 h 991091"/>
                <a:gd name="connsiteX1656" fmla="*/ 160896 w 741412"/>
                <a:gd name="connsiteY1656" fmla="*/ 714920 h 991091"/>
                <a:gd name="connsiteX1657" fmla="*/ 161413 w 741412"/>
                <a:gd name="connsiteY1657" fmla="*/ 715437 h 991091"/>
                <a:gd name="connsiteX1658" fmla="*/ 161930 w 741412"/>
                <a:gd name="connsiteY1658" fmla="*/ 716212 h 991091"/>
                <a:gd name="connsiteX1659" fmla="*/ 162834 w 741412"/>
                <a:gd name="connsiteY1659" fmla="*/ 717763 h 991091"/>
                <a:gd name="connsiteX1660" fmla="*/ 164643 w 741412"/>
                <a:gd name="connsiteY1660" fmla="*/ 722157 h 991091"/>
                <a:gd name="connsiteX1661" fmla="*/ 166323 w 741412"/>
                <a:gd name="connsiteY1661" fmla="*/ 724095 h 991091"/>
                <a:gd name="connsiteX1662" fmla="*/ 167616 w 741412"/>
                <a:gd name="connsiteY1662" fmla="*/ 724871 h 991091"/>
                <a:gd name="connsiteX1663" fmla="*/ 169813 w 741412"/>
                <a:gd name="connsiteY1663" fmla="*/ 725646 h 991091"/>
                <a:gd name="connsiteX1664" fmla="*/ 170201 w 741412"/>
                <a:gd name="connsiteY1664" fmla="*/ 725905 h 991091"/>
                <a:gd name="connsiteX1665" fmla="*/ 170717 w 741412"/>
                <a:gd name="connsiteY1665" fmla="*/ 726422 h 991091"/>
                <a:gd name="connsiteX1666" fmla="*/ 176275 w 741412"/>
                <a:gd name="connsiteY1666" fmla="*/ 734693 h 991091"/>
                <a:gd name="connsiteX1667" fmla="*/ 176921 w 741412"/>
                <a:gd name="connsiteY1667" fmla="*/ 735985 h 991091"/>
                <a:gd name="connsiteX1668" fmla="*/ 177825 w 741412"/>
                <a:gd name="connsiteY1668" fmla="*/ 738311 h 991091"/>
                <a:gd name="connsiteX1669" fmla="*/ 178471 w 741412"/>
                <a:gd name="connsiteY1669" fmla="*/ 739474 h 991091"/>
                <a:gd name="connsiteX1670" fmla="*/ 179247 w 741412"/>
                <a:gd name="connsiteY1670" fmla="*/ 740120 h 991091"/>
                <a:gd name="connsiteX1671" fmla="*/ 180668 w 741412"/>
                <a:gd name="connsiteY1671" fmla="*/ 740379 h 991091"/>
                <a:gd name="connsiteX1672" fmla="*/ 181315 w 741412"/>
                <a:gd name="connsiteY1672" fmla="*/ 740637 h 991091"/>
                <a:gd name="connsiteX1673" fmla="*/ 181831 w 741412"/>
                <a:gd name="connsiteY1673" fmla="*/ 741025 h 991091"/>
                <a:gd name="connsiteX1674" fmla="*/ 182349 w 741412"/>
                <a:gd name="connsiteY1674" fmla="*/ 741671 h 991091"/>
                <a:gd name="connsiteX1675" fmla="*/ 182736 w 741412"/>
                <a:gd name="connsiteY1675" fmla="*/ 742705 h 991091"/>
                <a:gd name="connsiteX1676" fmla="*/ 182995 w 741412"/>
                <a:gd name="connsiteY1676" fmla="*/ 743739 h 991091"/>
                <a:gd name="connsiteX1677" fmla="*/ 183253 w 741412"/>
                <a:gd name="connsiteY1677" fmla="*/ 744514 h 991091"/>
                <a:gd name="connsiteX1678" fmla="*/ 183770 w 741412"/>
                <a:gd name="connsiteY1678" fmla="*/ 745290 h 991091"/>
                <a:gd name="connsiteX1679" fmla="*/ 184675 w 741412"/>
                <a:gd name="connsiteY1679" fmla="*/ 746194 h 991091"/>
                <a:gd name="connsiteX1680" fmla="*/ 185450 w 741412"/>
                <a:gd name="connsiteY1680" fmla="*/ 746582 h 991091"/>
                <a:gd name="connsiteX1681" fmla="*/ 186096 w 741412"/>
                <a:gd name="connsiteY1681" fmla="*/ 746840 h 991091"/>
                <a:gd name="connsiteX1682" fmla="*/ 186613 w 741412"/>
                <a:gd name="connsiteY1682" fmla="*/ 746840 h 991091"/>
                <a:gd name="connsiteX1683" fmla="*/ 188810 w 741412"/>
                <a:gd name="connsiteY1683" fmla="*/ 746324 h 991091"/>
                <a:gd name="connsiteX1684" fmla="*/ 190878 w 741412"/>
                <a:gd name="connsiteY1684" fmla="*/ 745419 h 991091"/>
                <a:gd name="connsiteX1685" fmla="*/ 191265 w 741412"/>
                <a:gd name="connsiteY1685" fmla="*/ 745160 h 991091"/>
                <a:gd name="connsiteX1686" fmla="*/ 191653 w 741412"/>
                <a:gd name="connsiteY1686" fmla="*/ 744773 h 991091"/>
                <a:gd name="connsiteX1687" fmla="*/ 192946 w 741412"/>
                <a:gd name="connsiteY1687" fmla="*/ 743093 h 991091"/>
                <a:gd name="connsiteX1688" fmla="*/ 193333 w 741412"/>
                <a:gd name="connsiteY1688" fmla="*/ 742317 h 991091"/>
                <a:gd name="connsiteX1689" fmla="*/ 193463 w 741412"/>
                <a:gd name="connsiteY1689" fmla="*/ 742188 h 991091"/>
                <a:gd name="connsiteX1690" fmla="*/ 193592 w 741412"/>
                <a:gd name="connsiteY1690" fmla="*/ 742059 h 991091"/>
                <a:gd name="connsiteX1691" fmla="*/ 194367 w 741412"/>
                <a:gd name="connsiteY1691" fmla="*/ 741671 h 991091"/>
                <a:gd name="connsiteX1692" fmla="*/ 195272 w 741412"/>
                <a:gd name="connsiteY1692" fmla="*/ 741025 h 991091"/>
                <a:gd name="connsiteX1693" fmla="*/ 196823 w 741412"/>
                <a:gd name="connsiteY1693" fmla="*/ 739603 h 991091"/>
                <a:gd name="connsiteX1694" fmla="*/ 197210 w 741412"/>
                <a:gd name="connsiteY1694" fmla="*/ 739474 h 991091"/>
                <a:gd name="connsiteX1695" fmla="*/ 198244 w 741412"/>
                <a:gd name="connsiteY1695" fmla="*/ 739474 h 991091"/>
                <a:gd name="connsiteX1696" fmla="*/ 198761 w 741412"/>
                <a:gd name="connsiteY1696" fmla="*/ 739345 h 991091"/>
                <a:gd name="connsiteX1697" fmla="*/ 199149 w 741412"/>
                <a:gd name="connsiteY1697" fmla="*/ 738957 h 991091"/>
                <a:gd name="connsiteX1698" fmla="*/ 199924 w 741412"/>
                <a:gd name="connsiteY1698" fmla="*/ 738182 h 991091"/>
                <a:gd name="connsiteX1699" fmla="*/ 200312 w 741412"/>
                <a:gd name="connsiteY1699" fmla="*/ 737923 h 991091"/>
                <a:gd name="connsiteX1700" fmla="*/ 200829 w 741412"/>
                <a:gd name="connsiteY1700" fmla="*/ 737665 h 991091"/>
                <a:gd name="connsiteX1701" fmla="*/ 203801 w 741412"/>
                <a:gd name="connsiteY1701" fmla="*/ 737148 h 991091"/>
                <a:gd name="connsiteX1702" fmla="*/ 204318 w 741412"/>
                <a:gd name="connsiteY1702" fmla="*/ 737148 h 991091"/>
                <a:gd name="connsiteX1703" fmla="*/ 204835 w 741412"/>
                <a:gd name="connsiteY1703" fmla="*/ 737277 h 991091"/>
                <a:gd name="connsiteX1704" fmla="*/ 205352 w 741412"/>
                <a:gd name="connsiteY1704" fmla="*/ 737277 h 991091"/>
                <a:gd name="connsiteX1705" fmla="*/ 210651 w 741412"/>
                <a:gd name="connsiteY1705" fmla="*/ 736373 h 991091"/>
                <a:gd name="connsiteX1706" fmla="*/ 211684 w 741412"/>
                <a:gd name="connsiteY1706" fmla="*/ 735985 h 991091"/>
                <a:gd name="connsiteX1707" fmla="*/ 212201 w 741412"/>
                <a:gd name="connsiteY1707" fmla="*/ 735726 h 991091"/>
                <a:gd name="connsiteX1708" fmla="*/ 212589 w 741412"/>
                <a:gd name="connsiteY1708" fmla="*/ 735339 h 991091"/>
                <a:gd name="connsiteX1709" fmla="*/ 213235 w 741412"/>
                <a:gd name="connsiteY1709" fmla="*/ 734563 h 991091"/>
                <a:gd name="connsiteX1710" fmla="*/ 214140 w 741412"/>
                <a:gd name="connsiteY1710" fmla="*/ 733917 h 991091"/>
                <a:gd name="connsiteX1711" fmla="*/ 217758 w 741412"/>
                <a:gd name="connsiteY1711" fmla="*/ 733142 h 991091"/>
                <a:gd name="connsiteX1712" fmla="*/ 224866 w 741412"/>
                <a:gd name="connsiteY1712" fmla="*/ 732754 h 991091"/>
                <a:gd name="connsiteX1713" fmla="*/ 226029 w 741412"/>
                <a:gd name="connsiteY1713" fmla="*/ 732496 h 991091"/>
                <a:gd name="connsiteX1714" fmla="*/ 227193 w 741412"/>
                <a:gd name="connsiteY1714" fmla="*/ 732108 h 991091"/>
                <a:gd name="connsiteX1715" fmla="*/ 227709 w 741412"/>
                <a:gd name="connsiteY1715" fmla="*/ 731849 h 991091"/>
                <a:gd name="connsiteX1716" fmla="*/ 228097 w 741412"/>
                <a:gd name="connsiteY1716" fmla="*/ 731591 h 991091"/>
                <a:gd name="connsiteX1717" fmla="*/ 228614 w 741412"/>
                <a:gd name="connsiteY1717" fmla="*/ 731332 h 991091"/>
                <a:gd name="connsiteX1718" fmla="*/ 229131 w 741412"/>
                <a:gd name="connsiteY1718" fmla="*/ 731203 h 991091"/>
                <a:gd name="connsiteX1719" fmla="*/ 229777 w 741412"/>
                <a:gd name="connsiteY1719" fmla="*/ 731203 h 991091"/>
                <a:gd name="connsiteX1720" fmla="*/ 230423 w 741412"/>
                <a:gd name="connsiteY1720" fmla="*/ 731203 h 991091"/>
                <a:gd name="connsiteX1721" fmla="*/ 231069 w 741412"/>
                <a:gd name="connsiteY1721" fmla="*/ 731332 h 991091"/>
                <a:gd name="connsiteX1722" fmla="*/ 231716 w 741412"/>
                <a:gd name="connsiteY1722" fmla="*/ 731462 h 991091"/>
                <a:gd name="connsiteX1723" fmla="*/ 232233 w 741412"/>
                <a:gd name="connsiteY1723" fmla="*/ 731720 h 991091"/>
                <a:gd name="connsiteX1724" fmla="*/ 232620 w 741412"/>
                <a:gd name="connsiteY1724" fmla="*/ 731979 h 991091"/>
                <a:gd name="connsiteX1725" fmla="*/ 233137 w 741412"/>
                <a:gd name="connsiteY1725" fmla="*/ 732496 h 991091"/>
                <a:gd name="connsiteX1726" fmla="*/ 234430 w 741412"/>
                <a:gd name="connsiteY1726" fmla="*/ 734563 h 991091"/>
                <a:gd name="connsiteX1727" fmla="*/ 235076 w 741412"/>
                <a:gd name="connsiteY1727" fmla="*/ 735209 h 991091"/>
                <a:gd name="connsiteX1728" fmla="*/ 235593 w 741412"/>
                <a:gd name="connsiteY1728" fmla="*/ 735726 h 991091"/>
                <a:gd name="connsiteX1729" fmla="*/ 241408 w 741412"/>
                <a:gd name="connsiteY1729" fmla="*/ 738182 h 991091"/>
                <a:gd name="connsiteX1730" fmla="*/ 241925 w 741412"/>
                <a:gd name="connsiteY1730" fmla="*/ 738957 h 991091"/>
                <a:gd name="connsiteX1731" fmla="*/ 242313 w 741412"/>
                <a:gd name="connsiteY1731" fmla="*/ 740250 h 991091"/>
                <a:gd name="connsiteX1732" fmla="*/ 242959 w 741412"/>
                <a:gd name="connsiteY1732" fmla="*/ 744902 h 991091"/>
                <a:gd name="connsiteX1733" fmla="*/ 243347 w 741412"/>
                <a:gd name="connsiteY1733" fmla="*/ 746453 h 991091"/>
                <a:gd name="connsiteX1734" fmla="*/ 243993 w 741412"/>
                <a:gd name="connsiteY1734" fmla="*/ 748262 h 991091"/>
                <a:gd name="connsiteX1735" fmla="*/ 244251 w 741412"/>
                <a:gd name="connsiteY1735" fmla="*/ 749425 h 991091"/>
                <a:gd name="connsiteX1736" fmla="*/ 244122 w 741412"/>
                <a:gd name="connsiteY1736" fmla="*/ 750717 h 991091"/>
                <a:gd name="connsiteX1737" fmla="*/ 243734 w 741412"/>
                <a:gd name="connsiteY1737" fmla="*/ 751234 h 991091"/>
                <a:gd name="connsiteX1738" fmla="*/ 242959 w 741412"/>
                <a:gd name="connsiteY1738" fmla="*/ 752010 h 991091"/>
                <a:gd name="connsiteX1739" fmla="*/ 242701 w 741412"/>
                <a:gd name="connsiteY1739" fmla="*/ 752527 h 991091"/>
                <a:gd name="connsiteX1740" fmla="*/ 242571 w 741412"/>
                <a:gd name="connsiteY1740" fmla="*/ 753044 h 991091"/>
                <a:gd name="connsiteX1741" fmla="*/ 242184 w 741412"/>
                <a:gd name="connsiteY1741" fmla="*/ 754982 h 991091"/>
                <a:gd name="connsiteX1742" fmla="*/ 241279 w 741412"/>
                <a:gd name="connsiteY1742" fmla="*/ 757825 h 991091"/>
                <a:gd name="connsiteX1743" fmla="*/ 241020 w 741412"/>
                <a:gd name="connsiteY1743" fmla="*/ 758342 h 991091"/>
                <a:gd name="connsiteX1744" fmla="*/ 240374 w 741412"/>
                <a:gd name="connsiteY1744" fmla="*/ 759376 h 991091"/>
                <a:gd name="connsiteX1745" fmla="*/ 240245 w 741412"/>
                <a:gd name="connsiteY1745" fmla="*/ 759893 h 991091"/>
                <a:gd name="connsiteX1746" fmla="*/ 240374 w 741412"/>
                <a:gd name="connsiteY1746" fmla="*/ 760539 h 991091"/>
                <a:gd name="connsiteX1747" fmla="*/ 240891 w 741412"/>
                <a:gd name="connsiteY1747" fmla="*/ 761444 h 991091"/>
                <a:gd name="connsiteX1748" fmla="*/ 241667 w 741412"/>
                <a:gd name="connsiteY1748" fmla="*/ 762478 h 991091"/>
                <a:gd name="connsiteX1749" fmla="*/ 241925 w 741412"/>
                <a:gd name="connsiteY1749" fmla="*/ 762995 h 991091"/>
                <a:gd name="connsiteX1750" fmla="*/ 242054 w 741412"/>
                <a:gd name="connsiteY1750" fmla="*/ 763641 h 991091"/>
                <a:gd name="connsiteX1751" fmla="*/ 241925 w 741412"/>
                <a:gd name="connsiteY1751" fmla="*/ 764416 h 991091"/>
                <a:gd name="connsiteX1752" fmla="*/ 240633 w 741412"/>
                <a:gd name="connsiteY1752" fmla="*/ 767130 h 991091"/>
                <a:gd name="connsiteX1753" fmla="*/ 240374 w 741412"/>
                <a:gd name="connsiteY1753" fmla="*/ 768293 h 991091"/>
                <a:gd name="connsiteX1754" fmla="*/ 239987 w 741412"/>
                <a:gd name="connsiteY1754" fmla="*/ 771783 h 991091"/>
                <a:gd name="connsiteX1755" fmla="*/ 239857 w 741412"/>
                <a:gd name="connsiteY1755" fmla="*/ 772429 h 991091"/>
                <a:gd name="connsiteX1756" fmla="*/ 239599 w 741412"/>
                <a:gd name="connsiteY1756" fmla="*/ 772946 h 991091"/>
                <a:gd name="connsiteX1757" fmla="*/ 239340 w 741412"/>
                <a:gd name="connsiteY1757" fmla="*/ 773333 h 991091"/>
                <a:gd name="connsiteX1758" fmla="*/ 238953 w 741412"/>
                <a:gd name="connsiteY1758" fmla="*/ 773721 h 991091"/>
                <a:gd name="connsiteX1759" fmla="*/ 238565 w 741412"/>
                <a:gd name="connsiteY1759" fmla="*/ 773980 h 991091"/>
                <a:gd name="connsiteX1760" fmla="*/ 237014 w 741412"/>
                <a:gd name="connsiteY1760" fmla="*/ 774626 h 991091"/>
                <a:gd name="connsiteX1761" fmla="*/ 236627 w 741412"/>
                <a:gd name="connsiteY1761" fmla="*/ 774884 h 991091"/>
                <a:gd name="connsiteX1762" fmla="*/ 236368 w 741412"/>
                <a:gd name="connsiteY1762" fmla="*/ 775401 h 991091"/>
                <a:gd name="connsiteX1763" fmla="*/ 236368 w 741412"/>
                <a:gd name="connsiteY1763" fmla="*/ 776047 h 991091"/>
                <a:gd name="connsiteX1764" fmla="*/ 236885 w 741412"/>
                <a:gd name="connsiteY1764" fmla="*/ 777081 h 991091"/>
                <a:gd name="connsiteX1765" fmla="*/ 238048 w 741412"/>
                <a:gd name="connsiteY1765" fmla="*/ 778761 h 991091"/>
                <a:gd name="connsiteX1766" fmla="*/ 239082 w 741412"/>
                <a:gd name="connsiteY1766" fmla="*/ 780829 h 991091"/>
                <a:gd name="connsiteX1767" fmla="*/ 239470 w 741412"/>
                <a:gd name="connsiteY1767" fmla="*/ 781475 h 991091"/>
                <a:gd name="connsiteX1768" fmla="*/ 239728 w 741412"/>
                <a:gd name="connsiteY1768" fmla="*/ 781734 h 991091"/>
                <a:gd name="connsiteX1769" fmla="*/ 239987 w 741412"/>
                <a:gd name="connsiteY1769" fmla="*/ 781992 h 991091"/>
                <a:gd name="connsiteX1770" fmla="*/ 240374 w 741412"/>
                <a:gd name="connsiteY1770" fmla="*/ 782121 h 991091"/>
                <a:gd name="connsiteX1771" fmla="*/ 241667 w 741412"/>
                <a:gd name="connsiteY1771" fmla="*/ 783026 h 991091"/>
                <a:gd name="connsiteX1772" fmla="*/ 241925 w 741412"/>
                <a:gd name="connsiteY1772" fmla="*/ 783414 h 991091"/>
                <a:gd name="connsiteX1773" fmla="*/ 242054 w 741412"/>
                <a:gd name="connsiteY1773" fmla="*/ 783801 h 991091"/>
                <a:gd name="connsiteX1774" fmla="*/ 241667 w 741412"/>
                <a:gd name="connsiteY1774" fmla="*/ 784318 h 991091"/>
                <a:gd name="connsiteX1775" fmla="*/ 241150 w 741412"/>
                <a:gd name="connsiteY1775" fmla="*/ 784447 h 991091"/>
                <a:gd name="connsiteX1776" fmla="*/ 240762 w 741412"/>
                <a:gd name="connsiteY1776" fmla="*/ 784447 h 991091"/>
                <a:gd name="connsiteX1777" fmla="*/ 230423 w 741412"/>
                <a:gd name="connsiteY1777" fmla="*/ 784447 h 991091"/>
                <a:gd name="connsiteX1778" fmla="*/ 227839 w 741412"/>
                <a:gd name="connsiteY1778" fmla="*/ 784706 h 991091"/>
                <a:gd name="connsiteX1779" fmla="*/ 227193 w 741412"/>
                <a:gd name="connsiteY1779" fmla="*/ 784706 h 991091"/>
                <a:gd name="connsiteX1780" fmla="*/ 224608 w 741412"/>
                <a:gd name="connsiteY1780" fmla="*/ 784447 h 991091"/>
                <a:gd name="connsiteX1781" fmla="*/ 223962 w 741412"/>
                <a:gd name="connsiteY1781" fmla="*/ 784447 h 991091"/>
                <a:gd name="connsiteX1782" fmla="*/ 217758 w 741412"/>
                <a:gd name="connsiteY1782" fmla="*/ 785481 h 991091"/>
                <a:gd name="connsiteX1783" fmla="*/ 210004 w 741412"/>
                <a:gd name="connsiteY1783" fmla="*/ 788712 h 991091"/>
                <a:gd name="connsiteX1784" fmla="*/ 209617 w 741412"/>
                <a:gd name="connsiteY1784" fmla="*/ 788971 h 991091"/>
                <a:gd name="connsiteX1785" fmla="*/ 206257 w 741412"/>
                <a:gd name="connsiteY1785" fmla="*/ 792072 h 991091"/>
                <a:gd name="connsiteX1786" fmla="*/ 205610 w 741412"/>
                <a:gd name="connsiteY1786" fmla="*/ 792977 h 991091"/>
                <a:gd name="connsiteX1787" fmla="*/ 205094 w 741412"/>
                <a:gd name="connsiteY1787" fmla="*/ 793881 h 991091"/>
                <a:gd name="connsiteX1788" fmla="*/ 204706 w 741412"/>
                <a:gd name="connsiteY1788" fmla="*/ 794915 h 991091"/>
                <a:gd name="connsiteX1789" fmla="*/ 204318 w 741412"/>
                <a:gd name="connsiteY1789" fmla="*/ 796208 h 991091"/>
                <a:gd name="connsiteX1790" fmla="*/ 202897 w 741412"/>
                <a:gd name="connsiteY1790" fmla="*/ 799180 h 991091"/>
                <a:gd name="connsiteX1791" fmla="*/ 201992 w 741412"/>
                <a:gd name="connsiteY1791" fmla="*/ 800472 h 991091"/>
                <a:gd name="connsiteX1792" fmla="*/ 200570 w 741412"/>
                <a:gd name="connsiteY1792" fmla="*/ 804349 h 991091"/>
                <a:gd name="connsiteX1793" fmla="*/ 199536 w 741412"/>
                <a:gd name="connsiteY1793" fmla="*/ 809389 h 991091"/>
                <a:gd name="connsiteX1794" fmla="*/ 199407 w 741412"/>
                <a:gd name="connsiteY1794" fmla="*/ 811974 h 991091"/>
                <a:gd name="connsiteX1795" fmla="*/ 199278 w 741412"/>
                <a:gd name="connsiteY1795" fmla="*/ 812491 h 991091"/>
                <a:gd name="connsiteX1796" fmla="*/ 198890 w 741412"/>
                <a:gd name="connsiteY1796" fmla="*/ 813654 h 991091"/>
                <a:gd name="connsiteX1797" fmla="*/ 198503 w 741412"/>
                <a:gd name="connsiteY1797" fmla="*/ 816110 h 991091"/>
                <a:gd name="connsiteX1798" fmla="*/ 198115 w 741412"/>
                <a:gd name="connsiteY1798" fmla="*/ 817144 h 991091"/>
                <a:gd name="connsiteX1799" fmla="*/ 196306 w 741412"/>
                <a:gd name="connsiteY1799" fmla="*/ 820633 h 991091"/>
                <a:gd name="connsiteX1800" fmla="*/ 196176 w 741412"/>
                <a:gd name="connsiteY1800" fmla="*/ 821150 h 991091"/>
                <a:gd name="connsiteX1801" fmla="*/ 196176 w 741412"/>
                <a:gd name="connsiteY1801" fmla="*/ 821796 h 991091"/>
                <a:gd name="connsiteX1802" fmla="*/ 198503 w 741412"/>
                <a:gd name="connsiteY1802" fmla="*/ 829162 h 991091"/>
                <a:gd name="connsiteX1803" fmla="*/ 198632 w 741412"/>
                <a:gd name="connsiteY1803" fmla="*/ 829679 h 991091"/>
                <a:gd name="connsiteX1804" fmla="*/ 198503 w 741412"/>
                <a:gd name="connsiteY1804" fmla="*/ 830325 h 991091"/>
                <a:gd name="connsiteX1805" fmla="*/ 198244 w 741412"/>
                <a:gd name="connsiteY1805" fmla="*/ 830842 h 991091"/>
                <a:gd name="connsiteX1806" fmla="*/ 197986 w 741412"/>
                <a:gd name="connsiteY1806" fmla="*/ 831230 h 991091"/>
                <a:gd name="connsiteX1807" fmla="*/ 196823 w 741412"/>
                <a:gd name="connsiteY1807" fmla="*/ 832393 h 991091"/>
                <a:gd name="connsiteX1808" fmla="*/ 194755 w 741412"/>
                <a:gd name="connsiteY1808" fmla="*/ 834073 h 991091"/>
                <a:gd name="connsiteX1809" fmla="*/ 193333 w 741412"/>
                <a:gd name="connsiteY1809" fmla="*/ 834848 h 991091"/>
                <a:gd name="connsiteX1810" fmla="*/ 192429 w 741412"/>
                <a:gd name="connsiteY1810" fmla="*/ 835495 h 991091"/>
                <a:gd name="connsiteX1811" fmla="*/ 192041 w 741412"/>
                <a:gd name="connsiteY1811" fmla="*/ 835882 h 991091"/>
                <a:gd name="connsiteX1812" fmla="*/ 189973 w 741412"/>
                <a:gd name="connsiteY1812" fmla="*/ 837433 h 991091"/>
                <a:gd name="connsiteX1813" fmla="*/ 189198 w 741412"/>
                <a:gd name="connsiteY1813" fmla="*/ 838209 h 991091"/>
                <a:gd name="connsiteX1814" fmla="*/ 188164 w 741412"/>
                <a:gd name="connsiteY1814" fmla="*/ 839501 h 991091"/>
                <a:gd name="connsiteX1815" fmla="*/ 187389 w 741412"/>
                <a:gd name="connsiteY1815" fmla="*/ 840276 h 991091"/>
                <a:gd name="connsiteX1816" fmla="*/ 186096 w 741412"/>
                <a:gd name="connsiteY1816" fmla="*/ 841956 h 991091"/>
                <a:gd name="connsiteX1817" fmla="*/ 184545 w 741412"/>
                <a:gd name="connsiteY1817" fmla="*/ 843378 h 991091"/>
                <a:gd name="connsiteX1818" fmla="*/ 183124 w 741412"/>
                <a:gd name="connsiteY1818" fmla="*/ 844929 h 991091"/>
                <a:gd name="connsiteX1819" fmla="*/ 180798 w 741412"/>
                <a:gd name="connsiteY1819" fmla="*/ 846996 h 991091"/>
                <a:gd name="connsiteX1820" fmla="*/ 180410 w 741412"/>
                <a:gd name="connsiteY1820" fmla="*/ 847384 h 991091"/>
                <a:gd name="connsiteX1821" fmla="*/ 180151 w 741412"/>
                <a:gd name="connsiteY1821" fmla="*/ 847772 h 991091"/>
                <a:gd name="connsiteX1822" fmla="*/ 179893 w 741412"/>
                <a:gd name="connsiteY1822" fmla="*/ 848289 h 991091"/>
                <a:gd name="connsiteX1823" fmla="*/ 179505 w 741412"/>
                <a:gd name="connsiteY1823" fmla="*/ 849452 h 991091"/>
                <a:gd name="connsiteX1824" fmla="*/ 178988 w 741412"/>
                <a:gd name="connsiteY1824" fmla="*/ 850486 h 991091"/>
                <a:gd name="connsiteX1825" fmla="*/ 178601 w 741412"/>
                <a:gd name="connsiteY1825" fmla="*/ 851649 h 991091"/>
                <a:gd name="connsiteX1826" fmla="*/ 178471 w 741412"/>
                <a:gd name="connsiteY1826" fmla="*/ 852295 h 991091"/>
                <a:gd name="connsiteX1827" fmla="*/ 178730 w 741412"/>
                <a:gd name="connsiteY1827" fmla="*/ 853200 h 991091"/>
                <a:gd name="connsiteX1828" fmla="*/ 179376 w 741412"/>
                <a:gd name="connsiteY1828" fmla="*/ 854104 h 991091"/>
                <a:gd name="connsiteX1829" fmla="*/ 181185 w 741412"/>
                <a:gd name="connsiteY1829" fmla="*/ 855526 h 991091"/>
                <a:gd name="connsiteX1830" fmla="*/ 182219 w 741412"/>
                <a:gd name="connsiteY1830" fmla="*/ 856172 h 991091"/>
                <a:gd name="connsiteX1831" fmla="*/ 183124 w 741412"/>
                <a:gd name="connsiteY1831" fmla="*/ 856560 h 991091"/>
                <a:gd name="connsiteX1832" fmla="*/ 184416 w 741412"/>
                <a:gd name="connsiteY1832" fmla="*/ 856818 h 991091"/>
                <a:gd name="connsiteX1833" fmla="*/ 185838 w 741412"/>
                <a:gd name="connsiteY1833" fmla="*/ 856947 h 991091"/>
                <a:gd name="connsiteX1834" fmla="*/ 190490 w 741412"/>
                <a:gd name="connsiteY1834" fmla="*/ 856560 h 991091"/>
                <a:gd name="connsiteX1835" fmla="*/ 191912 w 741412"/>
                <a:gd name="connsiteY1835" fmla="*/ 856560 h 991091"/>
                <a:gd name="connsiteX1836" fmla="*/ 193204 w 741412"/>
                <a:gd name="connsiteY1836" fmla="*/ 856818 h 991091"/>
                <a:gd name="connsiteX1837" fmla="*/ 193721 w 741412"/>
                <a:gd name="connsiteY1837" fmla="*/ 857077 h 991091"/>
                <a:gd name="connsiteX1838" fmla="*/ 199149 w 741412"/>
                <a:gd name="connsiteY1838" fmla="*/ 860695 h 991091"/>
                <a:gd name="connsiteX1839" fmla="*/ 199924 w 741412"/>
                <a:gd name="connsiteY1839" fmla="*/ 861471 h 991091"/>
                <a:gd name="connsiteX1840" fmla="*/ 203931 w 741412"/>
                <a:gd name="connsiteY1840" fmla="*/ 867545 h 991091"/>
                <a:gd name="connsiteX1841" fmla="*/ 204318 w 741412"/>
                <a:gd name="connsiteY1841" fmla="*/ 868578 h 991091"/>
                <a:gd name="connsiteX1842" fmla="*/ 205869 w 741412"/>
                <a:gd name="connsiteY1842" fmla="*/ 874394 h 991091"/>
                <a:gd name="connsiteX1843" fmla="*/ 205998 w 741412"/>
                <a:gd name="connsiteY1843" fmla="*/ 875686 h 991091"/>
                <a:gd name="connsiteX1844" fmla="*/ 205740 w 741412"/>
                <a:gd name="connsiteY1844" fmla="*/ 879951 h 991091"/>
                <a:gd name="connsiteX1845" fmla="*/ 205740 w 741412"/>
                <a:gd name="connsiteY1845" fmla="*/ 882794 h 991091"/>
                <a:gd name="connsiteX1846" fmla="*/ 205998 w 741412"/>
                <a:gd name="connsiteY1846" fmla="*/ 884086 h 991091"/>
                <a:gd name="connsiteX1847" fmla="*/ 206127 w 741412"/>
                <a:gd name="connsiteY1847" fmla="*/ 884603 h 991091"/>
                <a:gd name="connsiteX1848" fmla="*/ 208066 w 741412"/>
                <a:gd name="connsiteY1848" fmla="*/ 888610 h 991091"/>
                <a:gd name="connsiteX1849" fmla="*/ 209746 w 741412"/>
                <a:gd name="connsiteY1849" fmla="*/ 890548 h 991091"/>
                <a:gd name="connsiteX1850" fmla="*/ 213881 w 741412"/>
                <a:gd name="connsiteY1850" fmla="*/ 893908 h 991091"/>
                <a:gd name="connsiteX1851" fmla="*/ 223186 w 741412"/>
                <a:gd name="connsiteY1851" fmla="*/ 898948 h 991091"/>
                <a:gd name="connsiteX1852" fmla="*/ 231845 w 741412"/>
                <a:gd name="connsiteY1852" fmla="*/ 902308 h 991091"/>
                <a:gd name="connsiteX1853" fmla="*/ 233654 w 741412"/>
                <a:gd name="connsiteY1853" fmla="*/ 902825 h 991091"/>
                <a:gd name="connsiteX1854" fmla="*/ 234559 w 741412"/>
                <a:gd name="connsiteY1854" fmla="*/ 903213 h 991091"/>
                <a:gd name="connsiteX1855" fmla="*/ 235980 w 741412"/>
                <a:gd name="connsiteY1855" fmla="*/ 904118 h 991091"/>
                <a:gd name="connsiteX1856" fmla="*/ 236497 w 741412"/>
                <a:gd name="connsiteY1856" fmla="*/ 904635 h 991091"/>
                <a:gd name="connsiteX1857" fmla="*/ 236885 w 741412"/>
                <a:gd name="connsiteY1857" fmla="*/ 905281 h 991091"/>
                <a:gd name="connsiteX1858" fmla="*/ 237273 w 741412"/>
                <a:gd name="connsiteY1858" fmla="*/ 906573 h 991091"/>
                <a:gd name="connsiteX1859" fmla="*/ 237402 w 741412"/>
                <a:gd name="connsiteY1859" fmla="*/ 907478 h 991091"/>
                <a:gd name="connsiteX1860" fmla="*/ 237402 w 741412"/>
                <a:gd name="connsiteY1860" fmla="*/ 908253 h 991091"/>
                <a:gd name="connsiteX1861" fmla="*/ 237273 w 741412"/>
                <a:gd name="connsiteY1861" fmla="*/ 908899 h 991091"/>
                <a:gd name="connsiteX1862" fmla="*/ 237014 w 741412"/>
                <a:gd name="connsiteY1862" fmla="*/ 909416 h 991091"/>
                <a:gd name="connsiteX1863" fmla="*/ 236627 w 741412"/>
                <a:gd name="connsiteY1863" fmla="*/ 909804 h 991091"/>
                <a:gd name="connsiteX1864" fmla="*/ 236239 w 741412"/>
                <a:gd name="connsiteY1864" fmla="*/ 910192 h 991091"/>
                <a:gd name="connsiteX1865" fmla="*/ 234946 w 741412"/>
                <a:gd name="connsiteY1865" fmla="*/ 911096 h 991091"/>
                <a:gd name="connsiteX1866" fmla="*/ 232750 w 741412"/>
                <a:gd name="connsiteY1866" fmla="*/ 913293 h 991091"/>
                <a:gd name="connsiteX1867" fmla="*/ 232103 w 741412"/>
                <a:gd name="connsiteY1867" fmla="*/ 914069 h 991091"/>
                <a:gd name="connsiteX1868" fmla="*/ 231586 w 741412"/>
                <a:gd name="connsiteY1868" fmla="*/ 914973 h 991091"/>
                <a:gd name="connsiteX1869" fmla="*/ 231457 w 741412"/>
                <a:gd name="connsiteY1869" fmla="*/ 915490 h 991091"/>
                <a:gd name="connsiteX1870" fmla="*/ 230682 w 741412"/>
                <a:gd name="connsiteY1870" fmla="*/ 918721 h 991091"/>
                <a:gd name="connsiteX1871" fmla="*/ 230294 w 741412"/>
                <a:gd name="connsiteY1871" fmla="*/ 919755 h 991091"/>
                <a:gd name="connsiteX1872" fmla="*/ 229906 w 741412"/>
                <a:gd name="connsiteY1872" fmla="*/ 920143 h 991091"/>
                <a:gd name="connsiteX1873" fmla="*/ 229519 w 741412"/>
                <a:gd name="connsiteY1873" fmla="*/ 920401 h 991091"/>
                <a:gd name="connsiteX1874" fmla="*/ 229002 w 741412"/>
                <a:gd name="connsiteY1874" fmla="*/ 920660 h 991091"/>
                <a:gd name="connsiteX1875" fmla="*/ 228485 w 741412"/>
                <a:gd name="connsiteY1875" fmla="*/ 920789 h 991091"/>
                <a:gd name="connsiteX1876" fmla="*/ 227968 w 741412"/>
                <a:gd name="connsiteY1876" fmla="*/ 920918 h 991091"/>
                <a:gd name="connsiteX1877" fmla="*/ 227451 w 741412"/>
                <a:gd name="connsiteY1877" fmla="*/ 920918 h 991091"/>
                <a:gd name="connsiteX1878" fmla="*/ 226288 w 741412"/>
                <a:gd name="connsiteY1878" fmla="*/ 920789 h 991091"/>
                <a:gd name="connsiteX1879" fmla="*/ 225642 w 741412"/>
                <a:gd name="connsiteY1879" fmla="*/ 920789 h 991091"/>
                <a:gd name="connsiteX1880" fmla="*/ 225125 w 741412"/>
                <a:gd name="connsiteY1880" fmla="*/ 920918 h 991091"/>
                <a:gd name="connsiteX1881" fmla="*/ 224737 w 741412"/>
                <a:gd name="connsiteY1881" fmla="*/ 921176 h 991091"/>
                <a:gd name="connsiteX1882" fmla="*/ 224349 w 741412"/>
                <a:gd name="connsiteY1882" fmla="*/ 921564 h 991091"/>
                <a:gd name="connsiteX1883" fmla="*/ 223962 w 741412"/>
                <a:gd name="connsiteY1883" fmla="*/ 921952 h 991091"/>
                <a:gd name="connsiteX1884" fmla="*/ 223445 w 741412"/>
                <a:gd name="connsiteY1884" fmla="*/ 922856 h 991091"/>
                <a:gd name="connsiteX1885" fmla="*/ 222928 w 741412"/>
                <a:gd name="connsiteY1885" fmla="*/ 924537 h 991091"/>
                <a:gd name="connsiteX1886" fmla="*/ 222669 w 741412"/>
                <a:gd name="connsiteY1886" fmla="*/ 925700 h 991091"/>
                <a:gd name="connsiteX1887" fmla="*/ 222669 w 741412"/>
                <a:gd name="connsiteY1887" fmla="*/ 926992 h 991091"/>
                <a:gd name="connsiteX1888" fmla="*/ 223057 w 741412"/>
                <a:gd name="connsiteY1888" fmla="*/ 929577 h 991091"/>
                <a:gd name="connsiteX1889" fmla="*/ 223445 w 741412"/>
                <a:gd name="connsiteY1889" fmla="*/ 930223 h 991091"/>
                <a:gd name="connsiteX1890" fmla="*/ 224091 w 741412"/>
                <a:gd name="connsiteY1890" fmla="*/ 930869 h 991091"/>
                <a:gd name="connsiteX1891" fmla="*/ 225512 w 741412"/>
                <a:gd name="connsiteY1891" fmla="*/ 931515 h 991091"/>
                <a:gd name="connsiteX1892" fmla="*/ 226417 w 741412"/>
                <a:gd name="connsiteY1892" fmla="*/ 931644 h 991091"/>
                <a:gd name="connsiteX1893" fmla="*/ 227451 w 741412"/>
                <a:gd name="connsiteY1893" fmla="*/ 932032 h 991091"/>
                <a:gd name="connsiteX1894" fmla="*/ 228485 w 741412"/>
                <a:gd name="connsiteY1894" fmla="*/ 932678 h 991091"/>
                <a:gd name="connsiteX1895" fmla="*/ 232750 w 741412"/>
                <a:gd name="connsiteY1895" fmla="*/ 936685 h 991091"/>
                <a:gd name="connsiteX1896" fmla="*/ 240374 w 741412"/>
                <a:gd name="connsiteY1896" fmla="*/ 941466 h 991091"/>
                <a:gd name="connsiteX1897" fmla="*/ 241667 w 741412"/>
                <a:gd name="connsiteY1897" fmla="*/ 942629 h 991091"/>
                <a:gd name="connsiteX1898" fmla="*/ 242959 w 741412"/>
                <a:gd name="connsiteY1898" fmla="*/ 944439 h 991091"/>
                <a:gd name="connsiteX1899" fmla="*/ 244639 w 741412"/>
                <a:gd name="connsiteY1899" fmla="*/ 948057 h 991091"/>
                <a:gd name="connsiteX1900" fmla="*/ 244898 w 741412"/>
                <a:gd name="connsiteY1900" fmla="*/ 949220 h 991091"/>
                <a:gd name="connsiteX1901" fmla="*/ 244898 w 741412"/>
                <a:gd name="connsiteY1901" fmla="*/ 951159 h 991091"/>
                <a:gd name="connsiteX1902" fmla="*/ 244639 w 741412"/>
                <a:gd name="connsiteY1902" fmla="*/ 954002 h 991091"/>
                <a:gd name="connsiteX1903" fmla="*/ 244122 w 741412"/>
                <a:gd name="connsiteY1903" fmla="*/ 956328 h 991091"/>
                <a:gd name="connsiteX1904" fmla="*/ 244122 w 741412"/>
                <a:gd name="connsiteY1904" fmla="*/ 956716 h 991091"/>
                <a:gd name="connsiteX1905" fmla="*/ 244122 w 741412"/>
                <a:gd name="connsiteY1905" fmla="*/ 956974 h 991091"/>
                <a:gd name="connsiteX1906" fmla="*/ 244122 w 741412"/>
                <a:gd name="connsiteY1906" fmla="*/ 957362 h 991091"/>
                <a:gd name="connsiteX1907" fmla="*/ 244251 w 741412"/>
                <a:gd name="connsiteY1907" fmla="*/ 957879 h 991091"/>
                <a:gd name="connsiteX1908" fmla="*/ 244510 w 741412"/>
                <a:gd name="connsiteY1908" fmla="*/ 958396 h 991091"/>
                <a:gd name="connsiteX1909" fmla="*/ 244898 w 741412"/>
                <a:gd name="connsiteY1909" fmla="*/ 959042 h 991091"/>
                <a:gd name="connsiteX1910" fmla="*/ 247870 w 741412"/>
                <a:gd name="connsiteY1910" fmla="*/ 961756 h 991091"/>
                <a:gd name="connsiteX1911" fmla="*/ 248516 w 741412"/>
                <a:gd name="connsiteY1911" fmla="*/ 962531 h 991091"/>
                <a:gd name="connsiteX1912" fmla="*/ 249033 w 741412"/>
                <a:gd name="connsiteY1912" fmla="*/ 963436 h 991091"/>
                <a:gd name="connsiteX1913" fmla="*/ 250584 w 741412"/>
                <a:gd name="connsiteY1913" fmla="*/ 967054 h 991091"/>
                <a:gd name="connsiteX1914" fmla="*/ 252005 w 741412"/>
                <a:gd name="connsiteY1914" fmla="*/ 968476 h 991091"/>
                <a:gd name="connsiteX1915" fmla="*/ 253815 w 741412"/>
                <a:gd name="connsiteY1915" fmla="*/ 969898 h 991091"/>
                <a:gd name="connsiteX1916" fmla="*/ 255236 w 741412"/>
                <a:gd name="connsiteY1916" fmla="*/ 971319 h 991091"/>
                <a:gd name="connsiteX1917" fmla="*/ 257175 w 741412"/>
                <a:gd name="connsiteY1917" fmla="*/ 975196 h 991091"/>
                <a:gd name="connsiteX1918" fmla="*/ 257950 w 741412"/>
                <a:gd name="connsiteY1918" fmla="*/ 975713 h 991091"/>
                <a:gd name="connsiteX1919" fmla="*/ 259113 w 741412"/>
                <a:gd name="connsiteY1919" fmla="*/ 976230 h 991091"/>
                <a:gd name="connsiteX1920" fmla="*/ 261827 w 741412"/>
                <a:gd name="connsiteY1920" fmla="*/ 976876 h 991091"/>
                <a:gd name="connsiteX1921" fmla="*/ 263249 w 741412"/>
                <a:gd name="connsiteY1921" fmla="*/ 977005 h 991091"/>
                <a:gd name="connsiteX1922" fmla="*/ 264283 w 741412"/>
                <a:gd name="connsiteY1922" fmla="*/ 977005 h 991091"/>
                <a:gd name="connsiteX1923" fmla="*/ 270873 w 741412"/>
                <a:gd name="connsiteY1923" fmla="*/ 975455 h 991091"/>
                <a:gd name="connsiteX1924" fmla="*/ 271520 w 741412"/>
                <a:gd name="connsiteY1924" fmla="*/ 975455 h 991091"/>
                <a:gd name="connsiteX1925" fmla="*/ 274234 w 741412"/>
                <a:gd name="connsiteY1925" fmla="*/ 975713 h 991091"/>
                <a:gd name="connsiteX1926" fmla="*/ 285089 w 741412"/>
                <a:gd name="connsiteY1926" fmla="*/ 979202 h 991091"/>
                <a:gd name="connsiteX1927" fmla="*/ 286898 w 741412"/>
                <a:gd name="connsiteY1927" fmla="*/ 980624 h 991091"/>
                <a:gd name="connsiteX1928" fmla="*/ 290775 w 741412"/>
                <a:gd name="connsiteY1928" fmla="*/ 985793 h 991091"/>
                <a:gd name="connsiteX1929" fmla="*/ 291551 w 741412"/>
                <a:gd name="connsiteY1929" fmla="*/ 986569 h 991091"/>
                <a:gd name="connsiteX1930" fmla="*/ 291939 w 741412"/>
                <a:gd name="connsiteY1930" fmla="*/ 986956 h 991091"/>
                <a:gd name="connsiteX1931" fmla="*/ 293877 w 741412"/>
                <a:gd name="connsiteY1931" fmla="*/ 988119 h 991091"/>
                <a:gd name="connsiteX1932" fmla="*/ 300209 w 741412"/>
                <a:gd name="connsiteY1932" fmla="*/ 991092 h 991091"/>
                <a:gd name="connsiteX1933" fmla="*/ 299951 w 741412"/>
                <a:gd name="connsiteY1933" fmla="*/ 987215 h 991091"/>
                <a:gd name="connsiteX1934" fmla="*/ 300209 w 741412"/>
                <a:gd name="connsiteY1934" fmla="*/ 985276 h 991091"/>
                <a:gd name="connsiteX1935" fmla="*/ 300985 w 741412"/>
                <a:gd name="connsiteY1935" fmla="*/ 982045 h 991091"/>
                <a:gd name="connsiteX1936" fmla="*/ 301114 w 741412"/>
                <a:gd name="connsiteY1936" fmla="*/ 980624 h 991091"/>
                <a:gd name="connsiteX1937" fmla="*/ 301114 w 741412"/>
                <a:gd name="connsiteY1937" fmla="*/ 979590 h 991091"/>
                <a:gd name="connsiteX1938" fmla="*/ 300985 w 741412"/>
                <a:gd name="connsiteY1938" fmla="*/ 978944 h 991091"/>
                <a:gd name="connsiteX1939" fmla="*/ 300080 w 741412"/>
                <a:gd name="connsiteY1939" fmla="*/ 977005 h 991091"/>
                <a:gd name="connsiteX1940" fmla="*/ 299305 w 741412"/>
                <a:gd name="connsiteY1940" fmla="*/ 976230 h 991091"/>
                <a:gd name="connsiteX1941" fmla="*/ 299822 w 741412"/>
                <a:gd name="connsiteY1941" fmla="*/ 974421 h 991091"/>
                <a:gd name="connsiteX1942" fmla="*/ 305120 w 741412"/>
                <a:gd name="connsiteY1942" fmla="*/ 965891 h 991091"/>
                <a:gd name="connsiteX1943" fmla="*/ 305120 w 741412"/>
                <a:gd name="connsiteY1943" fmla="*/ 963953 h 991091"/>
                <a:gd name="connsiteX1944" fmla="*/ 304862 w 741412"/>
                <a:gd name="connsiteY1944" fmla="*/ 961497 h 991091"/>
                <a:gd name="connsiteX1945" fmla="*/ 304991 w 741412"/>
                <a:gd name="connsiteY1945" fmla="*/ 959300 h 991091"/>
                <a:gd name="connsiteX1946" fmla="*/ 306154 w 741412"/>
                <a:gd name="connsiteY1946" fmla="*/ 958396 h 991091"/>
                <a:gd name="connsiteX1947" fmla="*/ 309256 w 741412"/>
                <a:gd name="connsiteY1947" fmla="*/ 956845 h 991091"/>
                <a:gd name="connsiteX1948" fmla="*/ 309902 w 741412"/>
                <a:gd name="connsiteY1948" fmla="*/ 953226 h 991091"/>
                <a:gd name="connsiteX1949" fmla="*/ 308868 w 741412"/>
                <a:gd name="connsiteY1949" fmla="*/ 945602 h 991091"/>
                <a:gd name="connsiteX1950" fmla="*/ 309643 w 741412"/>
                <a:gd name="connsiteY1950" fmla="*/ 938623 h 991091"/>
                <a:gd name="connsiteX1951" fmla="*/ 310677 w 741412"/>
                <a:gd name="connsiteY1951" fmla="*/ 935134 h 991091"/>
                <a:gd name="connsiteX1952" fmla="*/ 312487 w 741412"/>
                <a:gd name="connsiteY1952" fmla="*/ 932549 h 991091"/>
                <a:gd name="connsiteX1953" fmla="*/ 311065 w 741412"/>
                <a:gd name="connsiteY1953" fmla="*/ 928543 h 991091"/>
                <a:gd name="connsiteX1954" fmla="*/ 310936 w 741412"/>
                <a:gd name="connsiteY1954" fmla="*/ 923632 h 991091"/>
                <a:gd name="connsiteX1955" fmla="*/ 311711 w 741412"/>
                <a:gd name="connsiteY1955" fmla="*/ 914198 h 991091"/>
                <a:gd name="connsiteX1956" fmla="*/ 311582 w 741412"/>
                <a:gd name="connsiteY1956" fmla="*/ 909287 h 991091"/>
                <a:gd name="connsiteX1957" fmla="*/ 311840 w 741412"/>
                <a:gd name="connsiteY1957" fmla="*/ 906444 h 991091"/>
                <a:gd name="connsiteX1958" fmla="*/ 312874 w 741412"/>
                <a:gd name="connsiteY1958" fmla="*/ 905152 h 991091"/>
                <a:gd name="connsiteX1959" fmla="*/ 314037 w 741412"/>
                <a:gd name="connsiteY1959" fmla="*/ 904376 h 991091"/>
                <a:gd name="connsiteX1960" fmla="*/ 315071 w 741412"/>
                <a:gd name="connsiteY1960" fmla="*/ 902567 h 991091"/>
                <a:gd name="connsiteX1961" fmla="*/ 315847 w 741412"/>
                <a:gd name="connsiteY1961" fmla="*/ 900370 h 991091"/>
                <a:gd name="connsiteX1962" fmla="*/ 316234 w 741412"/>
                <a:gd name="connsiteY1962" fmla="*/ 898561 h 991091"/>
                <a:gd name="connsiteX1963" fmla="*/ 315847 w 741412"/>
                <a:gd name="connsiteY1963" fmla="*/ 895071 h 991091"/>
                <a:gd name="connsiteX1964" fmla="*/ 315330 w 741412"/>
                <a:gd name="connsiteY1964" fmla="*/ 892874 h 991091"/>
                <a:gd name="connsiteX1965" fmla="*/ 314167 w 741412"/>
                <a:gd name="connsiteY1965" fmla="*/ 891453 h 991091"/>
                <a:gd name="connsiteX1966" fmla="*/ 313004 w 741412"/>
                <a:gd name="connsiteY1966" fmla="*/ 889385 h 991091"/>
                <a:gd name="connsiteX1967" fmla="*/ 312228 w 741412"/>
                <a:gd name="connsiteY1967" fmla="*/ 888868 h 991091"/>
                <a:gd name="connsiteX1968" fmla="*/ 308997 w 741412"/>
                <a:gd name="connsiteY1968" fmla="*/ 887317 h 991091"/>
                <a:gd name="connsiteX1969" fmla="*/ 305637 w 741412"/>
                <a:gd name="connsiteY1969" fmla="*/ 884216 h 991091"/>
                <a:gd name="connsiteX1970" fmla="*/ 304474 w 741412"/>
                <a:gd name="connsiteY1970" fmla="*/ 880597 h 991091"/>
                <a:gd name="connsiteX1971" fmla="*/ 304603 w 741412"/>
                <a:gd name="connsiteY1971" fmla="*/ 871163 h 991091"/>
                <a:gd name="connsiteX1972" fmla="*/ 304345 w 741412"/>
                <a:gd name="connsiteY1972" fmla="*/ 870388 h 991091"/>
                <a:gd name="connsiteX1973" fmla="*/ 303957 w 741412"/>
                <a:gd name="connsiteY1973" fmla="*/ 869871 h 991091"/>
                <a:gd name="connsiteX1974" fmla="*/ 303828 w 741412"/>
                <a:gd name="connsiteY1974" fmla="*/ 869483 h 991091"/>
                <a:gd name="connsiteX1975" fmla="*/ 304603 w 741412"/>
                <a:gd name="connsiteY1975" fmla="*/ 868837 h 991091"/>
                <a:gd name="connsiteX1976" fmla="*/ 304603 w 741412"/>
                <a:gd name="connsiteY1976" fmla="*/ 868061 h 991091"/>
                <a:gd name="connsiteX1977" fmla="*/ 303311 w 741412"/>
                <a:gd name="connsiteY1977" fmla="*/ 866769 h 991091"/>
                <a:gd name="connsiteX1978" fmla="*/ 302406 w 741412"/>
                <a:gd name="connsiteY1978" fmla="*/ 865477 h 991091"/>
                <a:gd name="connsiteX1979" fmla="*/ 301890 w 741412"/>
                <a:gd name="connsiteY1979" fmla="*/ 863797 h 991091"/>
                <a:gd name="connsiteX1980" fmla="*/ 301502 w 741412"/>
                <a:gd name="connsiteY1980" fmla="*/ 861341 h 991091"/>
                <a:gd name="connsiteX1981" fmla="*/ 301502 w 741412"/>
                <a:gd name="connsiteY1981" fmla="*/ 853846 h 991091"/>
                <a:gd name="connsiteX1982" fmla="*/ 300726 w 741412"/>
                <a:gd name="connsiteY1982" fmla="*/ 851778 h 991091"/>
                <a:gd name="connsiteX1983" fmla="*/ 300597 w 741412"/>
                <a:gd name="connsiteY1983" fmla="*/ 850098 h 991091"/>
                <a:gd name="connsiteX1984" fmla="*/ 297237 w 741412"/>
                <a:gd name="connsiteY1984" fmla="*/ 843766 h 991091"/>
                <a:gd name="connsiteX1985" fmla="*/ 296332 w 741412"/>
                <a:gd name="connsiteY1985" fmla="*/ 841052 h 991091"/>
                <a:gd name="connsiteX1986" fmla="*/ 296720 w 741412"/>
                <a:gd name="connsiteY1986" fmla="*/ 838467 h 991091"/>
                <a:gd name="connsiteX1987" fmla="*/ 297754 w 741412"/>
                <a:gd name="connsiteY1987" fmla="*/ 835495 h 991091"/>
                <a:gd name="connsiteX1988" fmla="*/ 299176 w 741412"/>
                <a:gd name="connsiteY1988" fmla="*/ 833039 h 991091"/>
                <a:gd name="connsiteX1989" fmla="*/ 300726 w 741412"/>
                <a:gd name="connsiteY1989" fmla="*/ 831876 h 991091"/>
                <a:gd name="connsiteX1990" fmla="*/ 300468 w 741412"/>
                <a:gd name="connsiteY1990" fmla="*/ 829033 h 991091"/>
                <a:gd name="connsiteX1991" fmla="*/ 302019 w 741412"/>
                <a:gd name="connsiteY1991" fmla="*/ 825931 h 991091"/>
                <a:gd name="connsiteX1992" fmla="*/ 304216 w 741412"/>
                <a:gd name="connsiteY1992" fmla="*/ 823864 h 991091"/>
                <a:gd name="connsiteX1993" fmla="*/ 305766 w 741412"/>
                <a:gd name="connsiteY1993" fmla="*/ 823734 h 991091"/>
                <a:gd name="connsiteX1994" fmla="*/ 306413 w 741412"/>
                <a:gd name="connsiteY1994" fmla="*/ 822959 h 991091"/>
                <a:gd name="connsiteX1995" fmla="*/ 306671 w 741412"/>
                <a:gd name="connsiteY1995" fmla="*/ 822184 h 991091"/>
                <a:gd name="connsiteX1996" fmla="*/ 306800 w 741412"/>
                <a:gd name="connsiteY1996" fmla="*/ 821408 h 991091"/>
                <a:gd name="connsiteX1997" fmla="*/ 307188 w 741412"/>
                <a:gd name="connsiteY1997" fmla="*/ 820633 h 991091"/>
                <a:gd name="connsiteX1998" fmla="*/ 309256 w 741412"/>
                <a:gd name="connsiteY1998" fmla="*/ 818694 h 991091"/>
                <a:gd name="connsiteX1999" fmla="*/ 309385 w 741412"/>
                <a:gd name="connsiteY1999" fmla="*/ 818436 h 991091"/>
                <a:gd name="connsiteX2000" fmla="*/ 312099 w 741412"/>
                <a:gd name="connsiteY2000" fmla="*/ 817144 h 991091"/>
                <a:gd name="connsiteX2001" fmla="*/ 313262 w 741412"/>
                <a:gd name="connsiteY2001" fmla="*/ 816110 h 991091"/>
                <a:gd name="connsiteX2002" fmla="*/ 314425 w 741412"/>
                <a:gd name="connsiteY2002" fmla="*/ 813913 h 991091"/>
                <a:gd name="connsiteX2003" fmla="*/ 315717 w 741412"/>
                <a:gd name="connsiteY2003" fmla="*/ 809389 h 991091"/>
                <a:gd name="connsiteX2004" fmla="*/ 316622 w 741412"/>
                <a:gd name="connsiteY2004" fmla="*/ 807968 h 991091"/>
                <a:gd name="connsiteX2005" fmla="*/ 319077 w 741412"/>
                <a:gd name="connsiteY2005" fmla="*/ 806029 h 991091"/>
                <a:gd name="connsiteX2006" fmla="*/ 319336 w 741412"/>
                <a:gd name="connsiteY2006" fmla="*/ 804996 h 991091"/>
                <a:gd name="connsiteX2007" fmla="*/ 317268 w 741412"/>
                <a:gd name="connsiteY2007" fmla="*/ 804349 h 991091"/>
                <a:gd name="connsiteX2008" fmla="*/ 317268 w 741412"/>
                <a:gd name="connsiteY2008" fmla="*/ 803574 h 991091"/>
                <a:gd name="connsiteX2009" fmla="*/ 320758 w 741412"/>
                <a:gd name="connsiteY2009" fmla="*/ 801119 h 991091"/>
                <a:gd name="connsiteX2010" fmla="*/ 321921 w 741412"/>
                <a:gd name="connsiteY2010" fmla="*/ 796466 h 991091"/>
                <a:gd name="connsiteX2011" fmla="*/ 322438 w 741412"/>
                <a:gd name="connsiteY2011" fmla="*/ 787420 h 991091"/>
                <a:gd name="connsiteX2012" fmla="*/ 324635 w 741412"/>
                <a:gd name="connsiteY2012" fmla="*/ 783672 h 991091"/>
                <a:gd name="connsiteX2013" fmla="*/ 326185 w 741412"/>
                <a:gd name="connsiteY2013" fmla="*/ 781604 h 991091"/>
                <a:gd name="connsiteX2014" fmla="*/ 327349 w 741412"/>
                <a:gd name="connsiteY2014" fmla="*/ 780700 h 991091"/>
                <a:gd name="connsiteX2015" fmla="*/ 327736 w 741412"/>
                <a:gd name="connsiteY2015" fmla="*/ 779666 h 991091"/>
                <a:gd name="connsiteX2016" fmla="*/ 330709 w 741412"/>
                <a:gd name="connsiteY2016" fmla="*/ 774109 h 991091"/>
                <a:gd name="connsiteX2017" fmla="*/ 330838 w 741412"/>
                <a:gd name="connsiteY2017" fmla="*/ 773075 h 991091"/>
                <a:gd name="connsiteX2018" fmla="*/ 330579 w 741412"/>
                <a:gd name="connsiteY2018" fmla="*/ 770878 h 991091"/>
                <a:gd name="connsiteX2019" fmla="*/ 330709 w 741412"/>
                <a:gd name="connsiteY2019" fmla="*/ 769844 h 991091"/>
                <a:gd name="connsiteX2020" fmla="*/ 331096 w 741412"/>
                <a:gd name="connsiteY2020" fmla="*/ 768422 h 991091"/>
                <a:gd name="connsiteX2021" fmla="*/ 331484 w 741412"/>
                <a:gd name="connsiteY2021" fmla="*/ 767906 h 991091"/>
                <a:gd name="connsiteX2022" fmla="*/ 332130 w 741412"/>
                <a:gd name="connsiteY2022" fmla="*/ 767518 h 991091"/>
                <a:gd name="connsiteX2023" fmla="*/ 333939 w 741412"/>
                <a:gd name="connsiteY2023" fmla="*/ 765967 h 991091"/>
                <a:gd name="connsiteX2024" fmla="*/ 335490 w 741412"/>
                <a:gd name="connsiteY2024" fmla="*/ 764933 h 991091"/>
                <a:gd name="connsiteX2025" fmla="*/ 335749 w 741412"/>
                <a:gd name="connsiteY2025" fmla="*/ 764287 h 991091"/>
                <a:gd name="connsiteX2026" fmla="*/ 337170 w 741412"/>
                <a:gd name="connsiteY2026" fmla="*/ 760152 h 991091"/>
                <a:gd name="connsiteX2027" fmla="*/ 337687 w 741412"/>
                <a:gd name="connsiteY2027" fmla="*/ 759505 h 991091"/>
                <a:gd name="connsiteX2028" fmla="*/ 338850 w 741412"/>
                <a:gd name="connsiteY2028" fmla="*/ 758213 h 991091"/>
                <a:gd name="connsiteX2029" fmla="*/ 339496 w 741412"/>
                <a:gd name="connsiteY2029" fmla="*/ 757308 h 991091"/>
                <a:gd name="connsiteX2030" fmla="*/ 340789 w 741412"/>
                <a:gd name="connsiteY2030" fmla="*/ 749167 h 991091"/>
                <a:gd name="connsiteX2031" fmla="*/ 340918 w 741412"/>
                <a:gd name="connsiteY2031" fmla="*/ 743997 h 991091"/>
                <a:gd name="connsiteX2032" fmla="*/ 341435 w 741412"/>
                <a:gd name="connsiteY2032" fmla="*/ 743093 h 991091"/>
                <a:gd name="connsiteX2033" fmla="*/ 342727 w 741412"/>
                <a:gd name="connsiteY2033" fmla="*/ 742447 h 991091"/>
                <a:gd name="connsiteX2034" fmla="*/ 343115 w 741412"/>
                <a:gd name="connsiteY2034" fmla="*/ 741800 h 991091"/>
                <a:gd name="connsiteX2035" fmla="*/ 342857 w 741412"/>
                <a:gd name="connsiteY2035" fmla="*/ 740896 h 991091"/>
                <a:gd name="connsiteX2036" fmla="*/ 342081 w 741412"/>
                <a:gd name="connsiteY2036" fmla="*/ 740250 h 991091"/>
                <a:gd name="connsiteX2037" fmla="*/ 341693 w 741412"/>
                <a:gd name="connsiteY2037" fmla="*/ 739603 h 991091"/>
                <a:gd name="connsiteX2038" fmla="*/ 342469 w 741412"/>
                <a:gd name="connsiteY2038" fmla="*/ 738699 h 991091"/>
                <a:gd name="connsiteX2039" fmla="*/ 342469 w 741412"/>
                <a:gd name="connsiteY2039" fmla="*/ 738053 h 991091"/>
                <a:gd name="connsiteX2040" fmla="*/ 341693 w 741412"/>
                <a:gd name="connsiteY2040" fmla="*/ 736760 h 991091"/>
                <a:gd name="connsiteX2041" fmla="*/ 341952 w 741412"/>
                <a:gd name="connsiteY2041" fmla="*/ 735209 h 991091"/>
                <a:gd name="connsiteX2042" fmla="*/ 342469 w 741412"/>
                <a:gd name="connsiteY2042" fmla="*/ 733400 h 991091"/>
                <a:gd name="connsiteX2043" fmla="*/ 342469 w 741412"/>
                <a:gd name="connsiteY2043" fmla="*/ 731462 h 991091"/>
                <a:gd name="connsiteX2044" fmla="*/ 343244 w 741412"/>
                <a:gd name="connsiteY2044" fmla="*/ 732237 h 991091"/>
                <a:gd name="connsiteX2045" fmla="*/ 344020 w 741412"/>
                <a:gd name="connsiteY2045" fmla="*/ 728489 h 991091"/>
                <a:gd name="connsiteX2046" fmla="*/ 343890 w 741412"/>
                <a:gd name="connsiteY2046" fmla="*/ 727843 h 991091"/>
                <a:gd name="connsiteX2047" fmla="*/ 343244 w 741412"/>
                <a:gd name="connsiteY2047" fmla="*/ 726939 h 991091"/>
                <a:gd name="connsiteX2048" fmla="*/ 343244 w 741412"/>
                <a:gd name="connsiteY2048" fmla="*/ 726292 h 991091"/>
                <a:gd name="connsiteX2049" fmla="*/ 343503 w 741412"/>
                <a:gd name="connsiteY2049" fmla="*/ 726034 h 991091"/>
                <a:gd name="connsiteX2050" fmla="*/ 344278 w 741412"/>
                <a:gd name="connsiteY2050" fmla="*/ 725646 h 991091"/>
                <a:gd name="connsiteX2051" fmla="*/ 344536 w 741412"/>
                <a:gd name="connsiteY2051" fmla="*/ 725517 h 991091"/>
                <a:gd name="connsiteX2052" fmla="*/ 344795 w 741412"/>
                <a:gd name="connsiteY2052" fmla="*/ 725000 h 991091"/>
                <a:gd name="connsiteX2053" fmla="*/ 345053 w 741412"/>
                <a:gd name="connsiteY2053" fmla="*/ 723061 h 991091"/>
                <a:gd name="connsiteX2054" fmla="*/ 346992 w 741412"/>
                <a:gd name="connsiteY2054" fmla="*/ 718021 h 991091"/>
                <a:gd name="connsiteX2055" fmla="*/ 348414 w 741412"/>
                <a:gd name="connsiteY2055" fmla="*/ 710267 h 991091"/>
                <a:gd name="connsiteX2056" fmla="*/ 350869 w 741412"/>
                <a:gd name="connsiteY2056" fmla="*/ 706003 h 991091"/>
                <a:gd name="connsiteX2057" fmla="*/ 354746 w 741412"/>
                <a:gd name="connsiteY2057" fmla="*/ 703030 h 991091"/>
                <a:gd name="connsiteX2058" fmla="*/ 363534 w 741412"/>
                <a:gd name="connsiteY2058" fmla="*/ 698249 h 991091"/>
                <a:gd name="connsiteX2059" fmla="*/ 369479 w 741412"/>
                <a:gd name="connsiteY2059" fmla="*/ 693467 h 991091"/>
                <a:gd name="connsiteX2060" fmla="*/ 371676 w 741412"/>
                <a:gd name="connsiteY2060" fmla="*/ 692562 h 991091"/>
                <a:gd name="connsiteX2061" fmla="*/ 378396 w 741412"/>
                <a:gd name="connsiteY2061" fmla="*/ 692046 h 991091"/>
                <a:gd name="connsiteX2062" fmla="*/ 382790 w 741412"/>
                <a:gd name="connsiteY2062" fmla="*/ 691012 h 991091"/>
                <a:gd name="connsiteX2063" fmla="*/ 390673 w 741412"/>
                <a:gd name="connsiteY2063" fmla="*/ 687910 h 991091"/>
                <a:gd name="connsiteX2064" fmla="*/ 398815 w 741412"/>
                <a:gd name="connsiteY2064" fmla="*/ 686359 h 991091"/>
                <a:gd name="connsiteX2065" fmla="*/ 400495 w 741412"/>
                <a:gd name="connsiteY2065" fmla="*/ 685842 h 991091"/>
                <a:gd name="connsiteX2066" fmla="*/ 407215 w 741412"/>
                <a:gd name="connsiteY2066" fmla="*/ 682611 h 991091"/>
                <a:gd name="connsiteX2067" fmla="*/ 411350 w 741412"/>
                <a:gd name="connsiteY2067" fmla="*/ 681190 h 991091"/>
                <a:gd name="connsiteX2068" fmla="*/ 412126 w 741412"/>
                <a:gd name="connsiteY2068" fmla="*/ 680414 h 991091"/>
                <a:gd name="connsiteX2069" fmla="*/ 412384 w 741412"/>
                <a:gd name="connsiteY2069" fmla="*/ 678864 h 991091"/>
                <a:gd name="connsiteX2070" fmla="*/ 412901 w 741412"/>
                <a:gd name="connsiteY2070" fmla="*/ 678088 h 991091"/>
                <a:gd name="connsiteX2071" fmla="*/ 414193 w 741412"/>
                <a:gd name="connsiteY2071" fmla="*/ 678218 h 991091"/>
                <a:gd name="connsiteX2072" fmla="*/ 415486 w 741412"/>
                <a:gd name="connsiteY2072" fmla="*/ 678218 h 991091"/>
                <a:gd name="connsiteX2073" fmla="*/ 416003 w 741412"/>
                <a:gd name="connsiteY2073" fmla="*/ 676796 h 991091"/>
                <a:gd name="connsiteX2074" fmla="*/ 416649 w 741412"/>
                <a:gd name="connsiteY2074" fmla="*/ 675891 h 991091"/>
                <a:gd name="connsiteX2075" fmla="*/ 421172 w 741412"/>
                <a:gd name="connsiteY2075" fmla="*/ 672790 h 991091"/>
                <a:gd name="connsiteX2076" fmla="*/ 422594 w 741412"/>
                <a:gd name="connsiteY2076" fmla="*/ 673824 h 991091"/>
                <a:gd name="connsiteX2077" fmla="*/ 424015 w 741412"/>
                <a:gd name="connsiteY2077" fmla="*/ 674211 h 991091"/>
                <a:gd name="connsiteX2078" fmla="*/ 425437 w 741412"/>
                <a:gd name="connsiteY2078" fmla="*/ 673953 h 991091"/>
                <a:gd name="connsiteX2079" fmla="*/ 426600 w 741412"/>
                <a:gd name="connsiteY2079" fmla="*/ 673177 h 991091"/>
                <a:gd name="connsiteX2080" fmla="*/ 427892 w 741412"/>
                <a:gd name="connsiteY2080" fmla="*/ 673048 h 991091"/>
                <a:gd name="connsiteX2081" fmla="*/ 429314 w 741412"/>
                <a:gd name="connsiteY2081" fmla="*/ 674082 h 991091"/>
                <a:gd name="connsiteX2082" fmla="*/ 432028 w 741412"/>
                <a:gd name="connsiteY2082" fmla="*/ 676537 h 991091"/>
                <a:gd name="connsiteX2083" fmla="*/ 433837 w 741412"/>
                <a:gd name="connsiteY2083" fmla="*/ 675762 h 991091"/>
                <a:gd name="connsiteX2084" fmla="*/ 434612 w 741412"/>
                <a:gd name="connsiteY2084" fmla="*/ 674728 h 991091"/>
                <a:gd name="connsiteX2085" fmla="*/ 435646 w 741412"/>
                <a:gd name="connsiteY2085" fmla="*/ 671368 h 991091"/>
                <a:gd name="connsiteX2086" fmla="*/ 436809 w 741412"/>
                <a:gd name="connsiteY2086" fmla="*/ 669559 h 991091"/>
                <a:gd name="connsiteX2087" fmla="*/ 438231 w 741412"/>
                <a:gd name="connsiteY2087" fmla="*/ 668137 h 991091"/>
                <a:gd name="connsiteX2088" fmla="*/ 441591 w 741412"/>
                <a:gd name="connsiteY2088" fmla="*/ 666199 h 991091"/>
                <a:gd name="connsiteX2089" fmla="*/ 442366 w 741412"/>
                <a:gd name="connsiteY2089" fmla="*/ 666974 h 991091"/>
                <a:gd name="connsiteX2090" fmla="*/ 443917 w 741412"/>
                <a:gd name="connsiteY2090" fmla="*/ 665165 h 991091"/>
                <a:gd name="connsiteX2091" fmla="*/ 446760 w 741412"/>
                <a:gd name="connsiteY2091" fmla="*/ 660254 h 991091"/>
                <a:gd name="connsiteX2092" fmla="*/ 451800 w 741412"/>
                <a:gd name="connsiteY2092" fmla="*/ 657152 h 991091"/>
                <a:gd name="connsiteX2093" fmla="*/ 452576 w 741412"/>
                <a:gd name="connsiteY2093" fmla="*/ 656248 h 991091"/>
                <a:gd name="connsiteX2094" fmla="*/ 454902 w 741412"/>
                <a:gd name="connsiteY2094" fmla="*/ 652888 h 991091"/>
                <a:gd name="connsiteX2095" fmla="*/ 460201 w 741412"/>
                <a:gd name="connsiteY2095" fmla="*/ 649528 h 991091"/>
                <a:gd name="connsiteX2096" fmla="*/ 465628 w 741412"/>
                <a:gd name="connsiteY2096" fmla="*/ 647201 h 991091"/>
                <a:gd name="connsiteX2097" fmla="*/ 468601 w 741412"/>
                <a:gd name="connsiteY2097" fmla="*/ 646943 h 991091"/>
                <a:gd name="connsiteX2098" fmla="*/ 470151 w 741412"/>
                <a:gd name="connsiteY2098" fmla="*/ 645780 h 991091"/>
                <a:gd name="connsiteX2099" fmla="*/ 472090 w 741412"/>
                <a:gd name="connsiteY2099" fmla="*/ 645392 h 991091"/>
                <a:gd name="connsiteX2100" fmla="*/ 475579 w 741412"/>
                <a:gd name="connsiteY2100" fmla="*/ 645392 h 991091"/>
                <a:gd name="connsiteX2101" fmla="*/ 476484 w 741412"/>
                <a:gd name="connsiteY2101" fmla="*/ 644617 h 991091"/>
                <a:gd name="connsiteX2102" fmla="*/ 477389 w 741412"/>
                <a:gd name="connsiteY2102" fmla="*/ 642937 h 991091"/>
                <a:gd name="connsiteX2103" fmla="*/ 480619 w 741412"/>
                <a:gd name="connsiteY2103" fmla="*/ 634149 h 991091"/>
                <a:gd name="connsiteX2104" fmla="*/ 481524 w 741412"/>
                <a:gd name="connsiteY2104" fmla="*/ 633761 h 991091"/>
                <a:gd name="connsiteX2105" fmla="*/ 482558 w 741412"/>
                <a:gd name="connsiteY2105" fmla="*/ 633632 h 991091"/>
                <a:gd name="connsiteX2106" fmla="*/ 483462 w 741412"/>
                <a:gd name="connsiteY2106" fmla="*/ 633115 h 991091"/>
                <a:gd name="connsiteX2107" fmla="*/ 486047 w 741412"/>
                <a:gd name="connsiteY2107" fmla="*/ 630789 h 991091"/>
                <a:gd name="connsiteX2108" fmla="*/ 486823 w 741412"/>
                <a:gd name="connsiteY2108" fmla="*/ 629755 h 991091"/>
                <a:gd name="connsiteX2109" fmla="*/ 488373 w 741412"/>
                <a:gd name="connsiteY2109" fmla="*/ 626783 h 991091"/>
                <a:gd name="connsiteX2110" fmla="*/ 489020 w 741412"/>
                <a:gd name="connsiteY2110" fmla="*/ 626266 h 991091"/>
                <a:gd name="connsiteX2111" fmla="*/ 489666 w 741412"/>
                <a:gd name="connsiteY2111" fmla="*/ 625878 h 991091"/>
                <a:gd name="connsiteX2112" fmla="*/ 490312 w 741412"/>
                <a:gd name="connsiteY2112" fmla="*/ 625232 h 991091"/>
                <a:gd name="connsiteX2113" fmla="*/ 490570 w 741412"/>
                <a:gd name="connsiteY2113" fmla="*/ 624198 h 991091"/>
                <a:gd name="connsiteX2114" fmla="*/ 490700 w 741412"/>
                <a:gd name="connsiteY2114" fmla="*/ 622001 h 991091"/>
                <a:gd name="connsiteX2115" fmla="*/ 491087 w 741412"/>
                <a:gd name="connsiteY2115" fmla="*/ 621226 h 991091"/>
                <a:gd name="connsiteX2116" fmla="*/ 491733 w 741412"/>
                <a:gd name="connsiteY2116" fmla="*/ 620838 h 991091"/>
                <a:gd name="connsiteX2117" fmla="*/ 493026 w 741412"/>
                <a:gd name="connsiteY2117" fmla="*/ 620321 h 991091"/>
                <a:gd name="connsiteX2118" fmla="*/ 495223 w 741412"/>
                <a:gd name="connsiteY2118" fmla="*/ 617995 h 991091"/>
                <a:gd name="connsiteX2119" fmla="*/ 496515 w 741412"/>
                <a:gd name="connsiteY2119" fmla="*/ 617090 h 991091"/>
                <a:gd name="connsiteX2120" fmla="*/ 495998 w 741412"/>
                <a:gd name="connsiteY2120" fmla="*/ 617478 h 991091"/>
                <a:gd name="connsiteX2121" fmla="*/ 496903 w 741412"/>
                <a:gd name="connsiteY2121" fmla="*/ 617736 h 991091"/>
                <a:gd name="connsiteX2122" fmla="*/ 498324 w 741412"/>
                <a:gd name="connsiteY2122" fmla="*/ 617865 h 991091"/>
                <a:gd name="connsiteX2123" fmla="*/ 498583 w 741412"/>
                <a:gd name="connsiteY2123" fmla="*/ 617478 h 991091"/>
                <a:gd name="connsiteX2124" fmla="*/ 498195 w 741412"/>
                <a:gd name="connsiteY2124" fmla="*/ 616444 h 991091"/>
                <a:gd name="connsiteX2125" fmla="*/ 497549 w 741412"/>
                <a:gd name="connsiteY2125" fmla="*/ 615410 h 991091"/>
                <a:gd name="connsiteX2126" fmla="*/ 496515 w 741412"/>
                <a:gd name="connsiteY2126" fmla="*/ 614635 h 991091"/>
                <a:gd name="connsiteX2127" fmla="*/ 496903 w 741412"/>
                <a:gd name="connsiteY2127" fmla="*/ 613859 h 991091"/>
                <a:gd name="connsiteX2128" fmla="*/ 497807 w 741412"/>
                <a:gd name="connsiteY2128" fmla="*/ 613084 h 991091"/>
                <a:gd name="connsiteX2129" fmla="*/ 498841 w 741412"/>
                <a:gd name="connsiteY2129" fmla="*/ 612696 h 991091"/>
                <a:gd name="connsiteX2130" fmla="*/ 499100 w 741412"/>
                <a:gd name="connsiteY2130" fmla="*/ 612955 h 991091"/>
                <a:gd name="connsiteX2131" fmla="*/ 501814 w 741412"/>
                <a:gd name="connsiteY2131" fmla="*/ 614893 h 991091"/>
                <a:gd name="connsiteX2132" fmla="*/ 502331 w 741412"/>
                <a:gd name="connsiteY2132" fmla="*/ 613601 h 991091"/>
                <a:gd name="connsiteX2133" fmla="*/ 502718 w 741412"/>
                <a:gd name="connsiteY2133" fmla="*/ 610370 h 991091"/>
                <a:gd name="connsiteX2134" fmla="*/ 503235 w 741412"/>
                <a:gd name="connsiteY2134" fmla="*/ 609078 h 991091"/>
                <a:gd name="connsiteX2135" fmla="*/ 504398 w 741412"/>
                <a:gd name="connsiteY2135" fmla="*/ 608302 h 991091"/>
                <a:gd name="connsiteX2136" fmla="*/ 507500 w 741412"/>
                <a:gd name="connsiteY2136" fmla="*/ 608044 h 991091"/>
                <a:gd name="connsiteX2137" fmla="*/ 509180 w 741412"/>
                <a:gd name="connsiteY2137" fmla="*/ 607656 h 991091"/>
                <a:gd name="connsiteX2138" fmla="*/ 509826 w 741412"/>
                <a:gd name="connsiteY2138" fmla="*/ 607139 h 991091"/>
                <a:gd name="connsiteX2139" fmla="*/ 511377 w 741412"/>
                <a:gd name="connsiteY2139" fmla="*/ 605330 h 991091"/>
                <a:gd name="connsiteX2140" fmla="*/ 512540 w 741412"/>
                <a:gd name="connsiteY2140" fmla="*/ 605718 h 991091"/>
                <a:gd name="connsiteX2141" fmla="*/ 513186 w 741412"/>
                <a:gd name="connsiteY2141" fmla="*/ 606493 h 991091"/>
                <a:gd name="connsiteX2142" fmla="*/ 513445 w 741412"/>
                <a:gd name="connsiteY2142" fmla="*/ 607268 h 991091"/>
                <a:gd name="connsiteX2143" fmla="*/ 513574 w 741412"/>
                <a:gd name="connsiteY2143" fmla="*/ 607656 h 991091"/>
                <a:gd name="connsiteX2144" fmla="*/ 515125 w 741412"/>
                <a:gd name="connsiteY2144" fmla="*/ 607656 h 991091"/>
                <a:gd name="connsiteX2145" fmla="*/ 519002 w 741412"/>
                <a:gd name="connsiteY2145" fmla="*/ 606751 h 991091"/>
                <a:gd name="connsiteX2146" fmla="*/ 521716 w 741412"/>
                <a:gd name="connsiteY2146" fmla="*/ 605718 h 991091"/>
                <a:gd name="connsiteX2147" fmla="*/ 523783 w 741412"/>
                <a:gd name="connsiteY2147" fmla="*/ 604684 h 991091"/>
                <a:gd name="connsiteX2148" fmla="*/ 526110 w 741412"/>
                <a:gd name="connsiteY2148" fmla="*/ 604296 h 991091"/>
                <a:gd name="connsiteX2149" fmla="*/ 526756 w 741412"/>
                <a:gd name="connsiteY2149" fmla="*/ 604037 h 991091"/>
                <a:gd name="connsiteX2150" fmla="*/ 528307 w 741412"/>
                <a:gd name="connsiteY2150" fmla="*/ 602228 h 991091"/>
                <a:gd name="connsiteX2151" fmla="*/ 528953 w 741412"/>
                <a:gd name="connsiteY2151" fmla="*/ 601840 h 991091"/>
                <a:gd name="connsiteX2152" fmla="*/ 529858 w 741412"/>
                <a:gd name="connsiteY2152" fmla="*/ 601582 h 991091"/>
                <a:gd name="connsiteX2153" fmla="*/ 530504 w 741412"/>
                <a:gd name="connsiteY2153" fmla="*/ 601711 h 991091"/>
                <a:gd name="connsiteX2154" fmla="*/ 531150 w 741412"/>
                <a:gd name="connsiteY2154" fmla="*/ 601840 h 991091"/>
                <a:gd name="connsiteX2155" fmla="*/ 539550 w 741412"/>
                <a:gd name="connsiteY2155" fmla="*/ 601065 h 991091"/>
                <a:gd name="connsiteX2156" fmla="*/ 543556 w 741412"/>
                <a:gd name="connsiteY2156" fmla="*/ 601324 h 991091"/>
                <a:gd name="connsiteX2157" fmla="*/ 546787 w 741412"/>
                <a:gd name="connsiteY2157" fmla="*/ 602616 h 991091"/>
                <a:gd name="connsiteX2158" fmla="*/ 546012 w 741412"/>
                <a:gd name="connsiteY2158" fmla="*/ 602616 h 991091"/>
                <a:gd name="connsiteX2159" fmla="*/ 551827 w 741412"/>
                <a:gd name="connsiteY2159" fmla="*/ 605847 h 991091"/>
                <a:gd name="connsiteX2160" fmla="*/ 552215 w 741412"/>
                <a:gd name="connsiteY2160" fmla="*/ 606622 h 991091"/>
                <a:gd name="connsiteX2161" fmla="*/ 553119 w 741412"/>
                <a:gd name="connsiteY2161" fmla="*/ 606622 h 991091"/>
                <a:gd name="connsiteX2162" fmla="*/ 555187 w 741412"/>
                <a:gd name="connsiteY2162" fmla="*/ 606105 h 991091"/>
                <a:gd name="connsiteX2163" fmla="*/ 555963 w 741412"/>
                <a:gd name="connsiteY2163" fmla="*/ 606622 h 991091"/>
                <a:gd name="connsiteX2164" fmla="*/ 556480 w 741412"/>
                <a:gd name="connsiteY2164" fmla="*/ 607785 h 991091"/>
                <a:gd name="connsiteX2165" fmla="*/ 556738 w 741412"/>
                <a:gd name="connsiteY2165" fmla="*/ 609078 h 991091"/>
                <a:gd name="connsiteX2166" fmla="*/ 556996 w 741412"/>
                <a:gd name="connsiteY2166" fmla="*/ 609853 h 991091"/>
                <a:gd name="connsiteX2167" fmla="*/ 557643 w 741412"/>
                <a:gd name="connsiteY2167" fmla="*/ 610241 h 991091"/>
                <a:gd name="connsiteX2168" fmla="*/ 559710 w 741412"/>
                <a:gd name="connsiteY2168" fmla="*/ 610758 h 991091"/>
                <a:gd name="connsiteX2169" fmla="*/ 560615 w 741412"/>
                <a:gd name="connsiteY2169" fmla="*/ 611275 h 991091"/>
                <a:gd name="connsiteX2170" fmla="*/ 561390 w 741412"/>
                <a:gd name="connsiteY2170" fmla="*/ 612050 h 991091"/>
                <a:gd name="connsiteX2171" fmla="*/ 563200 w 741412"/>
                <a:gd name="connsiteY2171" fmla="*/ 614635 h 991091"/>
                <a:gd name="connsiteX2172" fmla="*/ 564233 w 741412"/>
                <a:gd name="connsiteY2172" fmla="*/ 615410 h 991091"/>
                <a:gd name="connsiteX2173" fmla="*/ 565267 w 741412"/>
                <a:gd name="connsiteY2173" fmla="*/ 615927 h 991091"/>
                <a:gd name="connsiteX2174" fmla="*/ 566431 w 741412"/>
                <a:gd name="connsiteY2174" fmla="*/ 616185 h 991091"/>
                <a:gd name="connsiteX2175" fmla="*/ 570695 w 741412"/>
                <a:gd name="connsiteY2175" fmla="*/ 616444 h 991091"/>
                <a:gd name="connsiteX2176" fmla="*/ 571729 w 741412"/>
                <a:gd name="connsiteY2176" fmla="*/ 616315 h 991091"/>
                <a:gd name="connsiteX2177" fmla="*/ 573409 w 741412"/>
                <a:gd name="connsiteY2177" fmla="*/ 615152 h 991091"/>
                <a:gd name="connsiteX2178" fmla="*/ 574702 w 741412"/>
                <a:gd name="connsiteY2178" fmla="*/ 613730 h 991091"/>
                <a:gd name="connsiteX2179" fmla="*/ 576252 w 741412"/>
                <a:gd name="connsiteY2179" fmla="*/ 612438 h 991091"/>
                <a:gd name="connsiteX2180" fmla="*/ 578708 w 741412"/>
                <a:gd name="connsiteY2180" fmla="*/ 611921 h 991091"/>
                <a:gd name="connsiteX2181" fmla="*/ 583489 w 741412"/>
                <a:gd name="connsiteY2181" fmla="*/ 611791 h 991091"/>
                <a:gd name="connsiteX2182" fmla="*/ 585686 w 741412"/>
                <a:gd name="connsiteY2182" fmla="*/ 611404 h 991091"/>
                <a:gd name="connsiteX2183" fmla="*/ 587754 w 741412"/>
                <a:gd name="connsiteY2183" fmla="*/ 610370 h 991091"/>
                <a:gd name="connsiteX2184" fmla="*/ 591889 w 741412"/>
                <a:gd name="connsiteY2184" fmla="*/ 607527 h 991091"/>
                <a:gd name="connsiteX2185" fmla="*/ 594474 w 741412"/>
                <a:gd name="connsiteY2185" fmla="*/ 606751 h 991091"/>
                <a:gd name="connsiteX2186" fmla="*/ 596930 w 741412"/>
                <a:gd name="connsiteY2186" fmla="*/ 607785 h 991091"/>
                <a:gd name="connsiteX2187" fmla="*/ 599127 w 741412"/>
                <a:gd name="connsiteY2187" fmla="*/ 609207 h 991091"/>
                <a:gd name="connsiteX2188" fmla="*/ 601323 w 741412"/>
                <a:gd name="connsiteY2188" fmla="*/ 609465 h 991091"/>
                <a:gd name="connsiteX2189" fmla="*/ 603391 w 741412"/>
                <a:gd name="connsiteY2189" fmla="*/ 608948 h 991091"/>
                <a:gd name="connsiteX2190" fmla="*/ 605330 w 741412"/>
                <a:gd name="connsiteY2190" fmla="*/ 608044 h 991091"/>
                <a:gd name="connsiteX2191" fmla="*/ 607785 w 741412"/>
                <a:gd name="connsiteY2191" fmla="*/ 607268 h 991091"/>
                <a:gd name="connsiteX2192" fmla="*/ 609595 w 741412"/>
                <a:gd name="connsiteY2192" fmla="*/ 607398 h 991091"/>
                <a:gd name="connsiteX2193" fmla="*/ 611404 w 741412"/>
                <a:gd name="connsiteY2193" fmla="*/ 607785 h 991091"/>
                <a:gd name="connsiteX2194" fmla="*/ 613859 w 741412"/>
                <a:gd name="connsiteY2194" fmla="*/ 608044 h 991091"/>
                <a:gd name="connsiteX2195" fmla="*/ 616056 w 741412"/>
                <a:gd name="connsiteY2195" fmla="*/ 607398 h 991091"/>
                <a:gd name="connsiteX2196" fmla="*/ 617995 w 741412"/>
                <a:gd name="connsiteY2196" fmla="*/ 605718 h 991091"/>
                <a:gd name="connsiteX2197" fmla="*/ 623681 w 741412"/>
                <a:gd name="connsiteY2197" fmla="*/ 599385 h 991091"/>
                <a:gd name="connsiteX2198" fmla="*/ 624844 w 741412"/>
                <a:gd name="connsiteY2198" fmla="*/ 597576 h 991091"/>
                <a:gd name="connsiteX2199" fmla="*/ 625361 w 741412"/>
                <a:gd name="connsiteY2199" fmla="*/ 595250 h 991091"/>
                <a:gd name="connsiteX2200" fmla="*/ 625232 w 741412"/>
                <a:gd name="connsiteY2200" fmla="*/ 592923 h 991091"/>
                <a:gd name="connsiteX2201" fmla="*/ 625361 w 741412"/>
                <a:gd name="connsiteY2201" fmla="*/ 591760 h 991091"/>
                <a:gd name="connsiteX2202" fmla="*/ 625749 w 741412"/>
                <a:gd name="connsiteY2202" fmla="*/ 590856 h 991091"/>
                <a:gd name="connsiteX2203" fmla="*/ 627946 w 741412"/>
                <a:gd name="connsiteY2203" fmla="*/ 589176 h 991091"/>
                <a:gd name="connsiteX2204" fmla="*/ 628333 w 741412"/>
                <a:gd name="connsiteY2204" fmla="*/ 588400 h 991091"/>
                <a:gd name="connsiteX2205" fmla="*/ 628850 w 741412"/>
                <a:gd name="connsiteY2205" fmla="*/ 586074 h 991091"/>
                <a:gd name="connsiteX2206" fmla="*/ 628980 w 741412"/>
                <a:gd name="connsiteY2206" fmla="*/ 579871 h 991091"/>
                <a:gd name="connsiteX2207" fmla="*/ 629367 w 741412"/>
                <a:gd name="connsiteY2207" fmla="*/ 579483 h 991091"/>
                <a:gd name="connsiteX2208" fmla="*/ 630143 w 741412"/>
                <a:gd name="connsiteY2208" fmla="*/ 579225 h 991091"/>
                <a:gd name="connsiteX2209" fmla="*/ 630918 w 741412"/>
                <a:gd name="connsiteY2209" fmla="*/ 578708 h 991091"/>
                <a:gd name="connsiteX2210" fmla="*/ 631306 w 741412"/>
                <a:gd name="connsiteY2210" fmla="*/ 577674 h 991091"/>
                <a:gd name="connsiteX2211" fmla="*/ 631047 w 741412"/>
                <a:gd name="connsiteY2211" fmla="*/ 576511 h 991091"/>
                <a:gd name="connsiteX2212" fmla="*/ 630013 w 741412"/>
                <a:gd name="connsiteY2212" fmla="*/ 574055 h 991091"/>
                <a:gd name="connsiteX2213" fmla="*/ 629755 w 741412"/>
                <a:gd name="connsiteY2213" fmla="*/ 572892 h 991091"/>
                <a:gd name="connsiteX2214" fmla="*/ 631176 w 741412"/>
                <a:gd name="connsiteY2214" fmla="*/ 566560 h 991091"/>
                <a:gd name="connsiteX2215" fmla="*/ 631564 w 741412"/>
                <a:gd name="connsiteY2215" fmla="*/ 565526 h 991091"/>
                <a:gd name="connsiteX2216" fmla="*/ 634149 w 741412"/>
                <a:gd name="connsiteY2216" fmla="*/ 563717 h 991091"/>
                <a:gd name="connsiteX2217" fmla="*/ 633891 w 741412"/>
                <a:gd name="connsiteY2217" fmla="*/ 562295 h 991091"/>
                <a:gd name="connsiteX2218" fmla="*/ 633244 w 741412"/>
                <a:gd name="connsiteY2218" fmla="*/ 562037 h 991091"/>
                <a:gd name="connsiteX2219" fmla="*/ 632469 w 741412"/>
                <a:gd name="connsiteY2219" fmla="*/ 561907 h 991091"/>
                <a:gd name="connsiteX2220" fmla="*/ 631823 w 741412"/>
                <a:gd name="connsiteY2220" fmla="*/ 561132 h 991091"/>
                <a:gd name="connsiteX2221" fmla="*/ 631823 w 741412"/>
                <a:gd name="connsiteY2221" fmla="*/ 553119 h 991091"/>
                <a:gd name="connsiteX2222" fmla="*/ 630401 w 741412"/>
                <a:gd name="connsiteY2222" fmla="*/ 551439 h 991091"/>
                <a:gd name="connsiteX2223" fmla="*/ 626007 w 741412"/>
                <a:gd name="connsiteY2223" fmla="*/ 550018 h 991091"/>
                <a:gd name="connsiteX2224" fmla="*/ 624198 w 741412"/>
                <a:gd name="connsiteY2224" fmla="*/ 548984 h 991091"/>
                <a:gd name="connsiteX2225" fmla="*/ 622647 w 741412"/>
                <a:gd name="connsiteY2225" fmla="*/ 547175 h 991091"/>
                <a:gd name="connsiteX2226" fmla="*/ 621743 w 741412"/>
                <a:gd name="connsiteY2226" fmla="*/ 546658 h 991091"/>
                <a:gd name="connsiteX2227" fmla="*/ 620450 w 741412"/>
                <a:gd name="connsiteY2227" fmla="*/ 546399 h 991091"/>
                <a:gd name="connsiteX2228" fmla="*/ 619545 w 741412"/>
                <a:gd name="connsiteY2228" fmla="*/ 545882 h 991091"/>
                <a:gd name="connsiteX2229" fmla="*/ 618770 w 741412"/>
                <a:gd name="connsiteY2229" fmla="*/ 544719 h 991091"/>
                <a:gd name="connsiteX2230" fmla="*/ 618124 w 741412"/>
                <a:gd name="connsiteY2230" fmla="*/ 543427 h 991091"/>
                <a:gd name="connsiteX2231" fmla="*/ 616832 w 741412"/>
                <a:gd name="connsiteY2231" fmla="*/ 541618 h 991091"/>
                <a:gd name="connsiteX2232" fmla="*/ 616056 w 741412"/>
                <a:gd name="connsiteY2232" fmla="*/ 539808 h 991091"/>
                <a:gd name="connsiteX2233" fmla="*/ 614506 w 741412"/>
                <a:gd name="connsiteY2233" fmla="*/ 540455 h 991091"/>
                <a:gd name="connsiteX2234" fmla="*/ 613471 w 741412"/>
                <a:gd name="connsiteY2234" fmla="*/ 539938 h 991091"/>
                <a:gd name="connsiteX2235" fmla="*/ 611145 w 741412"/>
                <a:gd name="connsiteY2235" fmla="*/ 539550 h 991091"/>
                <a:gd name="connsiteX2236" fmla="*/ 610112 w 741412"/>
                <a:gd name="connsiteY2236" fmla="*/ 539033 h 991091"/>
                <a:gd name="connsiteX2237" fmla="*/ 608948 w 741412"/>
                <a:gd name="connsiteY2237" fmla="*/ 537741 h 991091"/>
                <a:gd name="connsiteX2238" fmla="*/ 607268 w 741412"/>
                <a:gd name="connsiteY2238" fmla="*/ 534510 h 991091"/>
                <a:gd name="connsiteX2239" fmla="*/ 606364 w 741412"/>
                <a:gd name="connsiteY2239" fmla="*/ 533218 h 991091"/>
                <a:gd name="connsiteX2240" fmla="*/ 607527 w 741412"/>
                <a:gd name="connsiteY2240" fmla="*/ 531150 h 991091"/>
                <a:gd name="connsiteX2241" fmla="*/ 608044 w 741412"/>
                <a:gd name="connsiteY2241" fmla="*/ 529340 h 991091"/>
                <a:gd name="connsiteX2242" fmla="*/ 607656 w 741412"/>
                <a:gd name="connsiteY2242" fmla="*/ 527531 h 991091"/>
                <a:gd name="connsiteX2243" fmla="*/ 604684 w 741412"/>
                <a:gd name="connsiteY2243" fmla="*/ 523783 h 991091"/>
                <a:gd name="connsiteX2244" fmla="*/ 603779 w 741412"/>
                <a:gd name="connsiteY2244" fmla="*/ 521586 h 991091"/>
                <a:gd name="connsiteX2245" fmla="*/ 603391 w 741412"/>
                <a:gd name="connsiteY2245" fmla="*/ 519260 h 991091"/>
                <a:gd name="connsiteX2246" fmla="*/ 603391 w 741412"/>
                <a:gd name="connsiteY2246" fmla="*/ 517192 h 991091"/>
                <a:gd name="connsiteX2247" fmla="*/ 603650 w 741412"/>
                <a:gd name="connsiteY2247" fmla="*/ 516288 h 991091"/>
                <a:gd name="connsiteX2248" fmla="*/ 604813 w 741412"/>
                <a:gd name="connsiteY2248" fmla="*/ 514220 h 991091"/>
                <a:gd name="connsiteX2249" fmla="*/ 604554 w 741412"/>
                <a:gd name="connsiteY2249" fmla="*/ 512928 h 991091"/>
                <a:gd name="connsiteX2250" fmla="*/ 603521 w 741412"/>
                <a:gd name="connsiteY2250" fmla="*/ 510731 h 991091"/>
                <a:gd name="connsiteX2251" fmla="*/ 602745 w 741412"/>
                <a:gd name="connsiteY2251" fmla="*/ 502977 h 991091"/>
                <a:gd name="connsiteX2252" fmla="*/ 603262 w 741412"/>
                <a:gd name="connsiteY2252" fmla="*/ 501038 h 991091"/>
                <a:gd name="connsiteX2253" fmla="*/ 604038 w 741412"/>
                <a:gd name="connsiteY2253" fmla="*/ 499875 h 991091"/>
                <a:gd name="connsiteX2254" fmla="*/ 604684 w 741412"/>
                <a:gd name="connsiteY2254" fmla="*/ 499100 h 991091"/>
                <a:gd name="connsiteX2255" fmla="*/ 605201 w 741412"/>
                <a:gd name="connsiteY2255" fmla="*/ 498195 h 991091"/>
                <a:gd name="connsiteX2256" fmla="*/ 605459 w 741412"/>
                <a:gd name="connsiteY2256" fmla="*/ 496774 h 991091"/>
                <a:gd name="connsiteX2257" fmla="*/ 605201 w 741412"/>
                <a:gd name="connsiteY2257" fmla="*/ 496257 h 991091"/>
                <a:gd name="connsiteX2258" fmla="*/ 604167 w 741412"/>
                <a:gd name="connsiteY2258" fmla="*/ 495094 h 991091"/>
                <a:gd name="connsiteX2259" fmla="*/ 603908 w 741412"/>
                <a:gd name="connsiteY2259" fmla="*/ 494577 h 991091"/>
                <a:gd name="connsiteX2260" fmla="*/ 603908 w 741412"/>
                <a:gd name="connsiteY2260" fmla="*/ 493801 h 991091"/>
                <a:gd name="connsiteX2261" fmla="*/ 604425 w 741412"/>
                <a:gd name="connsiteY2261" fmla="*/ 492638 h 991091"/>
                <a:gd name="connsiteX2262" fmla="*/ 604554 w 741412"/>
                <a:gd name="connsiteY2262" fmla="*/ 491992 h 991091"/>
                <a:gd name="connsiteX2263" fmla="*/ 604167 w 741412"/>
                <a:gd name="connsiteY2263" fmla="*/ 490183 h 991091"/>
                <a:gd name="connsiteX2264" fmla="*/ 603391 w 741412"/>
                <a:gd name="connsiteY2264" fmla="*/ 488632 h 991091"/>
                <a:gd name="connsiteX2265" fmla="*/ 603262 w 741412"/>
                <a:gd name="connsiteY2265" fmla="*/ 487210 h 991091"/>
                <a:gd name="connsiteX2266" fmla="*/ 604554 w 741412"/>
                <a:gd name="connsiteY2266" fmla="*/ 485660 h 991091"/>
                <a:gd name="connsiteX2267" fmla="*/ 605459 w 741412"/>
                <a:gd name="connsiteY2267" fmla="*/ 485401 h 991091"/>
                <a:gd name="connsiteX2268" fmla="*/ 607268 w 741412"/>
                <a:gd name="connsiteY2268" fmla="*/ 485401 h 991091"/>
                <a:gd name="connsiteX2269" fmla="*/ 608173 w 741412"/>
                <a:gd name="connsiteY2269" fmla="*/ 485143 h 991091"/>
                <a:gd name="connsiteX2270" fmla="*/ 608948 w 741412"/>
                <a:gd name="connsiteY2270" fmla="*/ 484367 h 991091"/>
                <a:gd name="connsiteX2271" fmla="*/ 610241 w 741412"/>
                <a:gd name="connsiteY2271" fmla="*/ 482429 h 991091"/>
                <a:gd name="connsiteX2272" fmla="*/ 610758 w 741412"/>
                <a:gd name="connsiteY2272" fmla="*/ 482041 h 991091"/>
                <a:gd name="connsiteX2273" fmla="*/ 611662 w 741412"/>
                <a:gd name="connsiteY2273" fmla="*/ 481136 h 991091"/>
                <a:gd name="connsiteX2274" fmla="*/ 616315 w 741412"/>
                <a:gd name="connsiteY2274" fmla="*/ 471961 h 991091"/>
                <a:gd name="connsiteX2275" fmla="*/ 616961 w 741412"/>
                <a:gd name="connsiteY2275" fmla="*/ 471185 h 991091"/>
                <a:gd name="connsiteX2276" fmla="*/ 619933 w 741412"/>
                <a:gd name="connsiteY2276" fmla="*/ 468601 h 991091"/>
                <a:gd name="connsiteX2277" fmla="*/ 620450 w 741412"/>
                <a:gd name="connsiteY2277" fmla="*/ 467179 h 991091"/>
                <a:gd name="connsiteX2278" fmla="*/ 622776 w 741412"/>
                <a:gd name="connsiteY2278" fmla="*/ 463431 h 991091"/>
                <a:gd name="connsiteX2279" fmla="*/ 623681 w 741412"/>
                <a:gd name="connsiteY2279" fmla="*/ 462268 h 991091"/>
                <a:gd name="connsiteX2280" fmla="*/ 630401 w 741412"/>
                <a:gd name="connsiteY2280" fmla="*/ 456970 h 991091"/>
                <a:gd name="connsiteX2281" fmla="*/ 632210 w 741412"/>
                <a:gd name="connsiteY2281" fmla="*/ 454127 h 991091"/>
                <a:gd name="connsiteX2282" fmla="*/ 632469 w 741412"/>
                <a:gd name="connsiteY2282" fmla="*/ 449086 h 991091"/>
                <a:gd name="connsiteX2283" fmla="*/ 632210 w 741412"/>
                <a:gd name="connsiteY2283" fmla="*/ 446760 h 991091"/>
                <a:gd name="connsiteX2284" fmla="*/ 632210 w 741412"/>
                <a:gd name="connsiteY2284" fmla="*/ 445856 h 991091"/>
                <a:gd name="connsiteX2285" fmla="*/ 632469 w 741412"/>
                <a:gd name="connsiteY2285" fmla="*/ 444692 h 991091"/>
                <a:gd name="connsiteX2286" fmla="*/ 633115 w 741412"/>
                <a:gd name="connsiteY2286" fmla="*/ 443529 h 991091"/>
                <a:gd name="connsiteX2287" fmla="*/ 635054 w 741412"/>
                <a:gd name="connsiteY2287" fmla="*/ 441203 h 991091"/>
                <a:gd name="connsiteX2288" fmla="*/ 635441 w 741412"/>
                <a:gd name="connsiteY2288" fmla="*/ 439911 h 991091"/>
                <a:gd name="connsiteX2289" fmla="*/ 635054 w 741412"/>
                <a:gd name="connsiteY2289" fmla="*/ 437714 h 991091"/>
                <a:gd name="connsiteX2290" fmla="*/ 632469 w 741412"/>
                <a:gd name="connsiteY2290" fmla="*/ 432932 h 991091"/>
                <a:gd name="connsiteX2291" fmla="*/ 631952 w 741412"/>
                <a:gd name="connsiteY2291" fmla="*/ 430994 h 991091"/>
                <a:gd name="connsiteX2292" fmla="*/ 631693 w 741412"/>
                <a:gd name="connsiteY2292" fmla="*/ 424532 h 991091"/>
                <a:gd name="connsiteX2293" fmla="*/ 631306 w 741412"/>
                <a:gd name="connsiteY2293" fmla="*/ 422335 h 991091"/>
                <a:gd name="connsiteX2294" fmla="*/ 629755 w 741412"/>
                <a:gd name="connsiteY2294" fmla="*/ 418717 h 991091"/>
                <a:gd name="connsiteX2295" fmla="*/ 629367 w 741412"/>
                <a:gd name="connsiteY2295" fmla="*/ 416778 h 991091"/>
                <a:gd name="connsiteX2296" fmla="*/ 629497 w 741412"/>
                <a:gd name="connsiteY2296" fmla="*/ 415486 h 991091"/>
                <a:gd name="connsiteX2297" fmla="*/ 629755 w 741412"/>
                <a:gd name="connsiteY2297" fmla="*/ 414581 h 991091"/>
                <a:gd name="connsiteX2298" fmla="*/ 629884 w 741412"/>
                <a:gd name="connsiteY2298" fmla="*/ 413677 h 991091"/>
                <a:gd name="connsiteX2299" fmla="*/ 629497 w 741412"/>
                <a:gd name="connsiteY2299" fmla="*/ 412384 h 991091"/>
                <a:gd name="connsiteX2300" fmla="*/ 628850 w 741412"/>
                <a:gd name="connsiteY2300" fmla="*/ 411609 h 991091"/>
                <a:gd name="connsiteX2301" fmla="*/ 627041 w 741412"/>
                <a:gd name="connsiteY2301" fmla="*/ 410575 h 991091"/>
                <a:gd name="connsiteX2302" fmla="*/ 626653 w 741412"/>
                <a:gd name="connsiteY2302" fmla="*/ 409929 h 991091"/>
                <a:gd name="connsiteX2303" fmla="*/ 625878 w 741412"/>
                <a:gd name="connsiteY2303" fmla="*/ 406310 h 991091"/>
                <a:gd name="connsiteX2304" fmla="*/ 624456 w 741412"/>
                <a:gd name="connsiteY2304" fmla="*/ 402175 h 991091"/>
                <a:gd name="connsiteX2305" fmla="*/ 623164 w 741412"/>
                <a:gd name="connsiteY2305" fmla="*/ 400882 h 991091"/>
                <a:gd name="connsiteX2306" fmla="*/ 621484 w 741412"/>
                <a:gd name="connsiteY2306" fmla="*/ 399849 h 991091"/>
                <a:gd name="connsiteX2307" fmla="*/ 620062 w 741412"/>
                <a:gd name="connsiteY2307" fmla="*/ 398685 h 991091"/>
                <a:gd name="connsiteX2308" fmla="*/ 619416 w 741412"/>
                <a:gd name="connsiteY2308" fmla="*/ 396747 h 991091"/>
                <a:gd name="connsiteX2309" fmla="*/ 619933 w 741412"/>
                <a:gd name="connsiteY2309" fmla="*/ 394808 h 991091"/>
                <a:gd name="connsiteX2310" fmla="*/ 621096 w 741412"/>
                <a:gd name="connsiteY2310" fmla="*/ 393387 h 991091"/>
                <a:gd name="connsiteX2311" fmla="*/ 621872 w 741412"/>
                <a:gd name="connsiteY2311" fmla="*/ 391965 h 991091"/>
                <a:gd name="connsiteX2312" fmla="*/ 621613 w 741412"/>
                <a:gd name="connsiteY2312" fmla="*/ 389768 h 991091"/>
                <a:gd name="connsiteX2313" fmla="*/ 619804 w 741412"/>
                <a:gd name="connsiteY2313" fmla="*/ 386279 h 991091"/>
                <a:gd name="connsiteX2314" fmla="*/ 619804 w 741412"/>
                <a:gd name="connsiteY2314" fmla="*/ 384211 h 991091"/>
                <a:gd name="connsiteX2315" fmla="*/ 622001 w 741412"/>
                <a:gd name="connsiteY2315" fmla="*/ 383307 h 991091"/>
                <a:gd name="connsiteX2316" fmla="*/ 623681 w 741412"/>
                <a:gd name="connsiteY2316" fmla="*/ 382144 h 991091"/>
                <a:gd name="connsiteX2317" fmla="*/ 625102 w 741412"/>
                <a:gd name="connsiteY2317" fmla="*/ 379947 h 991091"/>
                <a:gd name="connsiteX2318" fmla="*/ 625361 w 741412"/>
                <a:gd name="connsiteY2318" fmla="*/ 379559 h 991091"/>
                <a:gd name="connsiteX2319" fmla="*/ 627558 w 741412"/>
                <a:gd name="connsiteY2319" fmla="*/ 374648 h 991091"/>
                <a:gd name="connsiteX2320" fmla="*/ 628721 w 741412"/>
                <a:gd name="connsiteY2320" fmla="*/ 369866 h 991091"/>
                <a:gd name="connsiteX2321" fmla="*/ 629109 w 741412"/>
                <a:gd name="connsiteY2321" fmla="*/ 367152 h 991091"/>
                <a:gd name="connsiteX2322" fmla="*/ 628721 w 741412"/>
                <a:gd name="connsiteY2322" fmla="*/ 365343 h 991091"/>
                <a:gd name="connsiteX2323" fmla="*/ 627299 w 741412"/>
                <a:gd name="connsiteY2323" fmla="*/ 363275 h 991091"/>
                <a:gd name="connsiteX2324" fmla="*/ 626395 w 741412"/>
                <a:gd name="connsiteY2324" fmla="*/ 358881 h 991091"/>
                <a:gd name="connsiteX2325" fmla="*/ 625361 w 741412"/>
                <a:gd name="connsiteY2325" fmla="*/ 356943 h 991091"/>
                <a:gd name="connsiteX2326" fmla="*/ 624069 w 741412"/>
                <a:gd name="connsiteY2326" fmla="*/ 355780 h 991091"/>
                <a:gd name="connsiteX2327" fmla="*/ 622518 w 741412"/>
                <a:gd name="connsiteY2327" fmla="*/ 354875 h 991091"/>
                <a:gd name="connsiteX2328" fmla="*/ 620967 w 741412"/>
                <a:gd name="connsiteY2328" fmla="*/ 354617 h 991091"/>
                <a:gd name="connsiteX2329" fmla="*/ 619416 w 741412"/>
                <a:gd name="connsiteY2329" fmla="*/ 355392 h 991091"/>
                <a:gd name="connsiteX2330" fmla="*/ 617995 w 741412"/>
                <a:gd name="connsiteY2330" fmla="*/ 353454 h 991091"/>
                <a:gd name="connsiteX2331" fmla="*/ 616961 w 741412"/>
                <a:gd name="connsiteY2331" fmla="*/ 348543 h 991091"/>
                <a:gd name="connsiteX2332" fmla="*/ 615798 w 741412"/>
                <a:gd name="connsiteY2332" fmla="*/ 346475 h 991091"/>
                <a:gd name="connsiteX2333" fmla="*/ 616056 w 741412"/>
                <a:gd name="connsiteY2333" fmla="*/ 344666 h 991091"/>
                <a:gd name="connsiteX2334" fmla="*/ 615410 w 741412"/>
                <a:gd name="connsiteY2334" fmla="*/ 339367 h 991091"/>
                <a:gd name="connsiteX2335" fmla="*/ 616186 w 741412"/>
                <a:gd name="connsiteY2335" fmla="*/ 337429 h 991091"/>
                <a:gd name="connsiteX2336" fmla="*/ 620321 w 741412"/>
                <a:gd name="connsiteY2336" fmla="*/ 332647 h 991091"/>
                <a:gd name="connsiteX2337" fmla="*/ 622389 w 741412"/>
                <a:gd name="connsiteY2337" fmla="*/ 331225 h 991091"/>
                <a:gd name="connsiteX2338" fmla="*/ 624327 w 741412"/>
                <a:gd name="connsiteY2338" fmla="*/ 330450 h 991091"/>
                <a:gd name="connsiteX2339" fmla="*/ 625102 w 741412"/>
                <a:gd name="connsiteY2339" fmla="*/ 330062 h 991091"/>
                <a:gd name="connsiteX2340" fmla="*/ 626007 w 741412"/>
                <a:gd name="connsiteY2340" fmla="*/ 329158 h 991091"/>
                <a:gd name="connsiteX2341" fmla="*/ 627429 w 741412"/>
                <a:gd name="connsiteY2341" fmla="*/ 325927 h 991091"/>
                <a:gd name="connsiteX2342" fmla="*/ 627817 w 741412"/>
                <a:gd name="connsiteY2342" fmla="*/ 325281 h 991091"/>
                <a:gd name="connsiteX2343" fmla="*/ 629367 w 741412"/>
                <a:gd name="connsiteY2343" fmla="*/ 323601 h 991091"/>
                <a:gd name="connsiteX2344" fmla="*/ 629755 w 741412"/>
                <a:gd name="connsiteY2344" fmla="*/ 322955 h 991091"/>
                <a:gd name="connsiteX2345" fmla="*/ 630272 w 741412"/>
                <a:gd name="connsiteY2345" fmla="*/ 319207 h 991091"/>
                <a:gd name="connsiteX2346" fmla="*/ 630530 w 741412"/>
                <a:gd name="connsiteY2346" fmla="*/ 318302 h 991091"/>
                <a:gd name="connsiteX2347" fmla="*/ 631823 w 741412"/>
                <a:gd name="connsiteY2347" fmla="*/ 316234 h 991091"/>
                <a:gd name="connsiteX2348" fmla="*/ 636863 w 741412"/>
                <a:gd name="connsiteY2348" fmla="*/ 311323 h 991091"/>
                <a:gd name="connsiteX2349" fmla="*/ 637509 w 741412"/>
                <a:gd name="connsiteY2349" fmla="*/ 310419 h 991091"/>
                <a:gd name="connsiteX2350" fmla="*/ 638026 w 741412"/>
                <a:gd name="connsiteY2350" fmla="*/ 309385 h 991091"/>
                <a:gd name="connsiteX2351" fmla="*/ 638672 w 741412"/>
                <a:gd name="connsiteY2351" fmla="*/ 308480 h 991091"/>
                <a:gd name="connsiteX2352" fmla="*/ 639835 w 741412"/>
                <a:gd name="connsiteY2352" fmla="*/ 307834 h 991091"/>
                <a:gd name="connsiteX2353" fmla="*/ 643195 w 741412"/>
                <a:gd name="connsiteY2353" fmla="*/ 305637 h 991091"/>
                <a:gd name="connsiteX2354" fmla="*/ 644100 w 741412"/>
                <a:gd name="connsiteY2354" fmla="*/ 304345 h 991091"/>
                <a:gd name="connsiteX2355" fmla="*/ 645004 w 741412"/>
                <a:gd name="connsiteY2355" fmla="*/ 302406 h 991091"/>
                <a:gd name="connsiteX2356" fmla="*/ 645780 w 741412"/>
                <a:gd name="connsiteY2356" fmla="*/ 300210 h 991091"/>
                <a:gd name="connsiteX2357" fmla="*/ 646039 w 741412"/>
                <a:gd name="connsiteY2357" fmla="*/ 298142 h 991091"/>
                <a:gd name="connsiteX2358" fmla="*/ 646555 w 741412"/>
                <a:gd name="connsiteY2358" fmla="*/ 296203 h 991091"/>
                <a:gd name="connsiteX2359" fmla="*/ 649398 w 741412"/>
                <a:gd name="connsiteY2359" fmla="*/ 292843 h 991091"/>
                <a:gd name="connsiteX2360" fmla="*/ 650432 w 741412"/>
                <a:gd name="connsiteY2360" fmla="*/ 291292 h 991091"/>
                <a:gd name="connsiteX2361" fmla="*/ 650045 w 741412"/>
                <a:gd name="connsiteY2361" fmla="*/ 283280 h 991091"/>
                <a:gd name="connsiteX2362" fmla="*/ 649269 w 741412"/>
                <a:gd name="connsiteY2362" fmla="*/ 281988 h 991091"/>
                <a:gd name="connsiteX2363" fmla="*/ 650561 w 741412"/>
                <a:gd name="connsiteY2363" fmla="*/ 279144 h 991091"/>
                <a:gd name="connsiteX2364" fmla="*/ 654180 w 741412"/>
                <a:gd name="connsiteY2364" fmla="*/ 273329 h 991091"/>
                <a:gd name="connsiteX2365" fmla="*/ 660254 w 741412"/>
                <a:gd name="connsiteY2365" fmla="*/ 268418 h 991091"/>
                <a:gd name="connsiteX2366" fmla="*/ 661934 w 741412"/>
                <a:gd name="connsiteY2366" fmla="*/ 266221 h 991091"/>
                <a:gd name="connsiteX2367" fmla="*/ 664519 w 741412"/>
                <a:gd name="connsiteY2367" fmla="*/ 261569 h 991091"/>
                <a:gd name="connsiteX2368" fmla="*/ 666070 w 741412"/>
                <a:gd name="connsiteY2368" fmla="*/ 259630 h 991091"/>
                <a:gd name="connsiteX2369" fmla="*/ 666587 w 741412"/>
                <a:gd name="connsiteY2369" fmla="*/ 258855 h 991091"/>
                <a:gd name="connsiteX2370" fmla="*/ 667491 w 741412"/>
                <a:gd name="connsiteY2370" fmla="*/ 256270 h 991091"/>
                <a:gd name="connsiteX2371" fmla="*/ 667879 w 741412"/>
                <a:gd name="connsiteY2371" fmla="*/ 255624 h 991091"/>
                <a:gd name="connsiteX2372" fmla="*/ 669300 w 741412"/>
                <a:gd name="connsiteY2372" fmla="*/ 255624 h 991091"/>
                <a:gd name="connsiteX2373" fmla="*/ 670076 w 741412"/>
                <a:gd name="connsiteY2373" fmla="*/ 256529 h 991091"/>
                <a:gd name="connsiteX2374" fmla="*/ 670593 w 741412"/>
                <a:gd name="connsiteY2374" fmla="*/ 257692 h 991091"/>
                <a:gd name="connsiteX2375" fmla="*/ 671627 w 741412"/>
                <a:gd name="connsiteY2375" fmla="*/ 258467 h 991091"/>
                <a:gd name="connsiteX2376" fmla="*/ 672790 w 741412"/>
                <a:gd name="connsiteY2376" fmla="*/ 258467 h 991091"/>
                <a:gd name="connsiteX2377" fmla="*/ 673824 w 741412"/>
                <a:gd name="connsiteY2377" fmla="*/ 257950 h 991091"/>
                <a:gd name="connsiteX2378" fmla="*/ 674857 w 741412"/>
                <a:gd name="connsiteY2378" fmla="*/ 257304 h 991091"/>
                <a:gd name="connsiteX2379" fmla="*/ 675891 w 741412"/>
                <a:gd name="connsiteY2379" fmla="*/ 256916 h 991091"/>
                <a:gd name="connsiteX2380" fmla="*/ 676925 w 741412"/>
                <a:gd name="connsiteY2380" fmla="*/ 256916 h 991091"/>
                <a:gd name="connsiteX2381" fmla="*/ 679122 w 741412"/>
                <a:gd name="connsiteY2381" fmla="*/ 257045 h 991091"/>
                <a:gd name="connsiteX2382" fmla="*/ 680285 w 741412"/>
                <a:gd name="connsiteY2382" fmla="*/ 256916 h 991091"/>
                <a:gd name="connsiteX2383" fmla="*/ 680285 w 741412"/>
                <a:gd name="connsiteY2383" fmla="*/ 256787 h 991091"/>
                <a:gd name="connsiteX2384" fmla="*/ 681190 w 741412"/>
                <a:gd name="connsiteY2384" fmla="*/ 255753 h 991091"/>
                <a:gd name="connsiteX2385" fmla="*/ 681578 w 741412"/>
                <a:gd name="connsiteY2385" fmla="*/ 255495 h 991091"/>
                <a:gd name="connsiteX2386" fmla="*/ 682094 w 741412"/>
                <a:gd name="connsiteY2386" fmla="*/ 255365 h 991091"/>
                <a:gd name="connsiteX2387" fmla="*/ 683257 w 741412"/>
                <a:gd name="connsiteY2387" fmla="*/ 255495 h 991091"/>
                <a:gd name="connsiteX2388" fmla="*/ 683774 w 741412"/>
                <a:gd name="connsiteY2388" fmla="*/ 255495 h 991091"/>
                <a:gd name="connsiteX2389" fmla="*/ 686230 w 741412"/>
                <a:gd name="connsiteY2389" fmla="*/ 254849 h 991091"/>
                <a:gd name="connsiteX2390" fmla="*/ 691399 w 741412"/>
                <a:gd name="connsiteY2390" fmla="*/ 254849 h 991091"/>
                <a:gd name="connsiteX2391" fmla="*/ 693079 w 741412"/>
                <a:gd name="connsiteY2391" fmla="*/ 254719 h 991091"/>
                <a:gd name="connsiteX2392" fmla="*/ 694889 w 741412"/>
                <a:gd name="connsiteY2392" fmla="*/ 254073 h 991091"/>
                <a:gd name="connsiteX2393" fmla="*/ 698120 w 741412"/>
                <a:gd name="connsiteY2393" fmla="*/ 253685 h 991091"/>
                <a:gd name="connsiteX2394" fmla="*/ 702255 w 741412"/>
                <a:gd name="connsiteY2394" fmla="*/ 250196 h 991091"/>
                <a:gd name="connsiteX2395" fmla="*/ 710655 w 741412"/>
                <a:gd name="connsiteY2395" fmla="*/ 239728 h 991091"/>
                <a:gd name="connsiteX2396" fmla="*/ 711043 w 741412"/>
                <a:gd name="connsiteY2396" fmla="*/ 238694 h 991091"/>
                <a:gd name="connsiteX2397" fmla="*/ 710784 w 741412"/>
                <a:gd name="connsiteY2397" fmla="*/ 237919 h 991091"/>
                <a:gd name="connsiteX2398" fmla="*/ 709234 w 741412"/>
                <a:gd name="connsiteY2398" fmla="*/ 236756 h 991091"/>
                <a:gd name="connsiteX2399" fmla="*/ 708846 w 741412"/>
                <a:gd name="connsiteY2399" fmla="*/ 236110 h 991091"/>
                <a:gd name="connsiteX2400" fmla="*/ 710009 w 741412"/>
                <a:gd name="connsiteY2400" fmla="*/ 235334 h 991091"/>
                <a:gd name="connsiteX2401" fmla="*/ 720864 w 741412"/>
                <a:gd name="connsiteY2401" fmla="*/ 232233 h 991091"/>
                <a:gd name="connsiteX2402" fmla="*/ 722286 w 741412"/>
                <a:gd name="connsiteY2402" fmla="*/ 231199 h 991091"/>
                <a:gd name="connsiteX2403" fmla="*/ 722803 w 741412"/>
                <a:gd name="connsiteY2403" fmla="*/ 229519 h 991091"/>
                <a:gd name="connsiteX2404" fmla="*/ 722932 w 741412"/>
                <a:gd name="connsiteY2404" fmla="*/ 228873 h 991091"/>
                <a:gd name="connsiteX2405" fmla="*/ 723320 w 741412"/>
                <a:gd name="connsiteY2405" fmla="*/ 227968 h 991091"/>
                <a:gd name="connsiteX2406" fmla="*/ 723837 w 741412"/>
                <a:gd name="connsiteY2406" fmla="*/ 227193 h 991091"/>
                <a:gd name="connsiteX2407" fmla="*/ 724612 w 741412"/>
                <a:gd name="connsiteY2407" fmla="*/ 226934 h 991091"/>
                <a:gd name="connsiteX2408" fmla="*/ 726163 w 741412"/>
                <a:gd name="connsiteY2408" fmla="*/ 226676 h 991091"/>
                <a:gd name="connsiteX2409" fmla="*/ 726680 w 741412"/>
                <a:gd name="connsiteY2409" fmla="*/ 226159 h 991091"/>
                <a:gd name="connsiteX2410" fmla="*/ 726809 w 741412"/>
                <a:gd name="connsiteY2410" fmla="*/ 225254 h 991091"/>
                <a:gd name="connsiteX2411" fmla="*/ 728489 w 741412"/>
                <a:gd name="connsiteY2411" fmla="*/ 220602 h 991091"/>
                <a:gd name="connsiteX2412" fmla="*/ 729523 w 741412"/>
                <a:gd name="connsiteY2412" fmla="*/ 218922 h 991091"/>
                <a:gd name="connsiteX2413" fmla="*/ 732625 w 741412"/>
                <a:gd name="connsiteY2413" fmla="*/ 217500 h 991091"/>
                <a:gd name="connsiteX2414" fmla="*/ 733917 w 741412"/>
                <a:gd name="connsiteY2414" fmla="*/ 215949 h 991091"/>
                <a:gd name="connsiteX2415" fmla="*/ 735856 w 741412"/>
                <a:gd name="connsiteY2415" fmla="*/ 212977 h 991091"/>
                <a:gd name="connsiteX2416" fmla="*/ 738053 w 741412"/>
                <a:gd name="connsiteY2416" fmla="*/ 210909 h 991091"/>
                <a:gd name="connsiteX2417" fmla="*/ 738570 w 741412"/>
                <a:gd name="connsiteY2417" fmla="*/ 209617 h 991091"/>
                <a:gd name="connsiteX2418" fmla="*/ 738699 w 741412"/>
                <a:gd name="connsiteY2418" fmla="*/ 207420 h 991091"/>
                <a:gd name="connsiteX2419" fmla="*/ 739216 w 741412"/>
                <a:gd name="connsiteY2419" fmla="*/ 205481 h 991091"/>
                <a:gd name="connsiteX2420" fmla="*/ 740379 w 741412"/>
                <a:gd name="connsiteY2420" fmla="*/ 203930 h 991091"/>
                <a:gd name="connsiteX2421" fmla="*/ 741154 w 741412"/>
                <a:gd name="connsiteY2421" fmla="*/ 202380 h 991091"/>
                <a:gd name="connsiteX2422" fmla="*/ 741413 w 741412"/>
                <a:gd name="connsiteY2422" fmla="*/ 200441 h 991091"/>
                <a:gd name="connsiteX2423" fmla="*/ 525334 w 741412"/>
                <a:gd name="connsiteY2423" fmla="*/ 147843 h 991091"/>
                <a:gd name="connsiteX2424" fmla="*/ 525463 w 741412"/>
                <a:gd name="connsiteY2424" fmla="*/ 149135 h 991091"/>
                <a:gd name="connsiteX2425" fmla="*/ 524947 w 741412"/>
                <a:gd name="connsiteY2425" fmla="*/ 150169 h 991091"/>
                <a:gd name="connsiteX2426" fmla="*/ 524300 w 741412"/>
                <a:gd name="connsiteY2426" fmla="*/ 151979 h 991091"/>
                <a:gd name="connsiteX2427" fmla="*/ 524430 w 741412"/>
                <a:gd name="connsiteY2427" fmla="*/ 153271 h 991091"/>
                <a:gd name="connsiteX2428" fmla="*/ 524430 w 741412"/>
                <a:gd name="connsiteY2428" fmla="*/ 153400 h 991091"/>
                <a:gd name="connsiteX2429" fmla="*/ 524947 w 741412"/>
                <a:gd name="connsiteY2429" fmla="*/ 154822 h 991091"/>
                <a:gd name="connsiteX2430" fmla="*/ 526239 w 741412"/>
                <a:gd name="connsiteY2430" fmla="*/ 155468 h 991091"/>
                <a:gd name="connsiteX2431" fmla="*/ 528048 w 741412"/>
                <a:gd name="connsiteY2431" fmla="*/ 155339 h 991091"/>
                <a:gd name="connsiteX2432" fmla="*/ 531021 w 741412"/>
                <a:gd name="connsiteY2432" fmla="*/ 154563 h 991091"/>
                <a:gd name="connsiteX2433" fmla="*/ 532184 w 741412"/>
                <a:gd name="connsiteY2433" fmla="*/ 153529 h 991091"/>
                <a:gd name="connsiteX2434" fmla="*/ 532571 w 741412"/>
                <a:gd name="connsiteY2434" fmla="*/ 151462 h 991091"/>
                <a:gd name="connsiteX2435" fmla="*/ 533218 w 741412"/>
                <a:gd name="connsiteY2435" fmla="*/ 149782 h 991091"/>
                <a:gd name="connsiteX2436" fmla="*/ 533734 w 741412"/>
                <a:gd name="connsiteY2436" fmla="*/ 148360 h 991091"/>
                <a:gd name="connsiteX2437" fmla="*/ 532959 w 741412"/>
                <a:gd name="connsiteY2437" fmla="*/ 146422 h 991091"/>
                <a:gd name="connsiteX2438" fmla="*/ 531796 w 741412"/>
                <a:gd name="connsiteY2438" fmla="*/ 146422 h 991091"/>
                <a:gd name="connsiteX2439" fmla="*/ 530245 w 741412"/>
                <a:gd name="connsiteY2439" fmla="*/ 147585 h 991091"/>
                <a:gd name="connsiteX2440" fmla="*/ 530116 w 741412"/>
                <a:gd name="connsiteY2440" fmla="*/ 147843 h 991091"/>
                <a:gd name="connsiteX2441" fmla="*/ 529082 w 741412"/>
                <a:gd name="connsiteY2441" fmla="*/ 149265 h 991091"/>
                <a:gd name="connsiteX2442" fmla="*/ 528824 w 741412"/>
                <a:gd name="connsiteY2442" fmla="*/ 149394 h 991091"/>
                <a:gd name="connsiteX2443" fmla="*/ 527661 w 741412"/>
                <a:gd name="connsiteY2443" fmla="*/ 149135 h 991091"/>
                <a:gd name="connsiteX2444" fmla="*/ 527661 w 741412"/>
                <a:gd name="connsiteY2444" fmla="*/ 149135 h 991091"/>
                <a:gd name="connsiteX2445" fmla="*/ 527790 w 741412"/>
                <a:gd name="connsiteY2445" fmla="*/ 147197 h 991091"/>
                <a:gd name="connsiteX2446" fmla="*/ 528177 w 741412"/>
                <a:gd name="connsiteY2446" fmla="*/ 145646 h 991091"/>
                <a:gd name="connsiteX2447" fmla="*/ 527661 w 741412"/>
                <a:gd name="connsiteY2447" fmla="*/ 144354 h 991091"/>
                <a:gd name="connsiteX2448" fmla="*/ 526497 w 741412"/>
                <a:gd name="connsiteY2448" fmla="*/ 144225 h 991091"/>
                <a:gd name="connsiteX2449" fmla="*/ 524688 w 741412"/>
                <a:gd name="connsiteY2449" fmla="*/ 145000 h 991091"/>
                <a:gd name="connsiteX2450" fmla="*/ 524559 w 741412"/>
                <a:gd name="connsiteY2450" fmla="*/ 145129 h 991091"/>
                <a:gd name="connsiteX2451" fmla="*/ 523783 w 741412"/>
                <a:gd name="connsiteY2451" fmla="*/ 145905 h 991091"/>
                <a:gd name="connsiteX2452" fmla="*/ 524688 w 741412"/>
                <a:gd name="connsiteY2452" fmla="*/ 146809 h 991091"/>
                <a:gd name="connsiteX2453" fmla="*/ 525334 w 741412"/>
                <a:gd name="connsiteY2453" fmla="*/ 147843 h 991091"/>
                <a:gd name="connsiteX2454" fmla="*/ 453222 w 741412"/>
                <a:gd name="connsiteY2454" fmla="*/ 186872 h 991091"/>
                <a:gd name="connsiteX2455" fmla="*/ 454256 w 741412"/>
                <a:gd name="connsiteY2455" fmla="*/ 186613 h 991091"/>
                <a:gd name="connsiteX2456" fmla="*/ 455677 w 741412"/>
                <a:gd name="connsiteY2456" fmla="*/ 181702 h 991091"/>
                <a:gd name="connsiteX2457" fmla="*/ 456065 w 741412"/>
                <a:gd name="connsiteY2457" fmla="*/ 175628 h 991091"/>
                <a:gd name="connsiteX2458" fmla="*/ 451154 w 741412"/>
                <a:gd name="connsiteY2458" fmla="*/ 178084 h 991091"/>
                <a:gd name="connsiteX2459" fmla="*/ 448957 w 741412"/>
                <a:gd name="connsiteY2459" fmla="*/ 179764 h 991091"/>
                <a:gd name="connsiteX2460" fmla="*/ 445856 w 741412"/>
                <a:gd name="connsiteY2460" fmla="*/ 185709 h 991091"/>
                <a:gd name="connsiteX2461" fmla="*/ 445080 w 741412"/>
                <a:gd name="connsiteY2461" fmla="*/ 188810 h 991091"/>
                <a:gd name="connsiteX2462" fmla="*/ 444951 w 741412"/>
                <a:gd name="connsiteY2462" fmla="*/ 190490 h 991091"/>
                <a:gd name="connsiteX2463" fmla="*/ 445209 w 741412"/>
                <a:gd name="connsiteY2463" fmla="*/ 192170 h 991091"/>
                <a:gd name="connsiteX2464" fmla="*/ 447148 w 741412"/>
                <a:gd name="connsiteY2464" fmla="*/ 196435 h 991091"/>
                <a:gd name="connsiteX2465" fmla="*/ 447406 w 741412"/>
                <a:gd name="connsiteY2465" fmla="*/ 198244 h 991091"/>
                <a:gd name="connsiteX2466" fmla="*/ 447148 w 741412"/>
                <a:gd name="connsiteY2466" fmla="*/ 199537 h 991091"/>
                <a:gd name="connsiteX2467" fmla="*/ 446243 w 741412"/>
                <a:gd name="connsiteY2467" fmla="*/ 202121 h 991091"/>
                <a:gd name="connsiteX2468" fmla="*/ 445856 w 741412"/>
                <a:gd name="connsiteY2468" fmla="*/ 204706 h 991091"/>
                <a:gd name="connsiteX2469" fmla="*/ 445339 w 741412"/>
                <a:gd name="connsiteY2469" fmla="*/ 205740 h 991091"/>
                <a:gd name="connsiteX2470" fmla="*/ 444563 w 741412"/>
                <a:gd name="connsiteY2470" fmla="*/ 206774 h 991091"/>
                <a:gd name="connsiteX2471" fmla="*/ 443271 w 741412"/>
                <a:gd name="connsiteY2471" fmla="*/ 209229 h 991091"/>
                <a:gd name="connsiteX2472" fmla="*/ 443142 w 741412"/>
                <a:gd name="connsiteY2472" fmla="*/ 209617 h 991091"/>
                <a:gd name="connsiteX2473" fmla="*/ 443142 w 741412"/>
                <a:gd name="connsiteY2473" fmla="*/ 210651 h 991091"/>
                <a:gd name="connsiteX2474" fmla="*/ 443271 w 741412"/>
                <a:gd name="connsiteY2474" fmla="*/ 211038 h 991091"/>
                <a:gd name="connsiteX2475" fmla="*/ 443529 w 741412"/>
                <a:gd name="connsiteY2475" fmla="*/ 211555 h 991091"/>
                <a:gd name="connsiteX2476" fmla="*/ 443788 w 741412"/>
                <a:gd name="connsiteY2476" fmla="*/ 212331 h 991091"/>
                <a:gd name="connsiteX2477" fmla="*/ 443788 w 741412"/>
                <a:gd name="connsiteY2477" fmla="*/ 213235 h 991091"/>
                <a:gd name="connsiteX2478" fmla="*/ 444563 w 741412"/>
                <a:gd name="connsiteY2478" fmla="*/ 213235 h 991091"/>
                <a:gd name="connsiteX2479" fmla="*/ 444692 w 741412"/>
                <a:gd name="connsiteY2479" fmla="*/ 212718 h 991091"/>
                <a:gd name="connsiteX2480" fmla="*/ 444822 w 741412"/>
                <a:gd name="connsiteY2480" fmla="*/ 212460 h 991091"/>
                <a:gd name="connsiteX2481" fmla="*/ 445339 w 741412"/>
                <a:gd name="connsiteY2481" fmla="*/ 211814 h 991091"/>
                <a:gd name="connsiteX2482" fmla="*/ 445209 w 741412"/>
                <a:gd name="connsiteY2482" fmla="*/ 210651 h 991091"/>
                <a:gd name="connsiteX2483" fmla="*/ 448182 w 741412"/>
                <a:gd name="connsiteY2483" fmla="*/ 207161 h 991091"/>
                <a:gd name="connsiteX2484" fmla="*/ 450250 w 741412"/>
                <a:gd name="connsiteY2484" fmla="*/ 203672 h 991091"/>
                <a:gd name="connsiteX2485" fmla="*/ 452705 w 741412"/>
                <a:gd name="connsiteY2485" fmla="*/ 202638 h 991091"/>
                <a:gd name="connsiteX2486" fmla="*/ 454643 w 741412"/>
                <a:gd name="connsiteY2486" fmla="*/ 201475 h 991091"/>
                <a:gd name="connsiteX2487" fmla="*/ 453739 w 741412"/>
                <a:gd name="connsiteY2487" fmla="*/ 197856 h 991091"/>
                <a:gd name="connsiteX2488" fmla="*/ 454256 w 741412"/>
                <a:gd name="connsiteY2488" fmla="*/ 196564 h 991091"/>
                <a:gd name="connsiteX2489" fmla="*/ 455161 w 741412"/>
                <a:gd name="connsiteY2489" fmla="*/ 195143 h 991091"/>
                <a:gd name="connsiteX2490" fmla="*/ 455548 w 741412"/>
                <a:gd name="connsiteY2490" fmla="*/ 193204 h 991091"/>
                <a:gd name="connsiteX2491" fmla="*/ 456324 w 741412"/>
                <a:gd name="connsiteY2491" fmla="*/ 184804 h 991091"/>
                <a:gd name="connsiteX2492" fmla="*/ 453480 w 741412"/>
                <a:gd name="connsiteY2492" fmla="*/ 187906 h 991091"/>
                <a:gd name="connsiteX2493" fmla="*/ 452705 w 741412"/>
                <a:gd name="connsiteY2493" fmla="*/ 189198 h 991091"/>
                <a:gd name="connsiteX2494" fmla="*/ 452576 w 741412"/>
                <a:gd name="connsiteY2494" fmla="*/ 188035 h 991091"/>
                <a:gd name="connsiteX2495" fmla="*/ 452834 w 741412"/>
                <a:gd name="connsiteY2495" fmla="*/ 187130 h 991091"/>
                <a:gd name="connsiteX2496" fmla="*/ 453222 w 741412"/>
                <a:gd name="connsiteY2496" fmla="*/ 186872 h 991091"/>
                <a:gd name="connsiteX2497" fmla="*/ 400365 w 741412"/>
                <a:gd name="connsiteY2497" fmla="*/ 35927 h 991091"/>
                <a:gd name="connsiteX2498" fmla="*/ 402692 w 741412"/>
                <a:gd name="connsiteY2498" fmla="*/ 36573 h 991091"/>
                <a:gd name="connsiteX2499" fmla="*/ 404501 w 741412"/>
                <a:gd name="connsiteY2499" fmla="*/ 35927 h 991091"/>
                <a:gd name="connsiteX2500" fmla="*/ 404759 w 741412"/>
                <a:gd name="connsiteY2500" fmla="*/ 33471 h 991091"/>
                <a:gd name="connsiteX2501" fmla="*/ 405793 w 741412"/>
                <a:gd name="connsiteY2501" fmla="*/ 33859 h 991091"/>
                <a:gd name="connsiteX2502" fmla="*/ 406698 w 741412"/>
                <a:gd name="connsiteY2502" fmla="*/ 33730 h 991091"/>
                <a:gd name="connsiteX2503" fmla="*/ 407602 w 741412"/>
                <a:gd name="connsiteY2503" fmla="*/ 33342 h 991091"/>
                <a:gd name="connsiteX2504" fmla="*/ 408507 w 741412"/>
                <a:gd name="connsiteY2504" fmla="*/ 32696 h 991091"/>
                <a:gd name="connsiteX2505" fmla="*/ 409024 w 741412"/>
                <a:gd name="connsiteY2505" fmla="*/ 31921 h 991091"/>
                <a:gd name="connsiteX2506" fmla="*/ 409670 w 741412"/>
                <a:gd name="connsiteY2506" fmla="*/ 31016 h 991091"/>
                <a:gd name="connsiteX2507" fmla="*/ 410446 w 741412"/>
                <a:gd name="connsiteY2507" fmla="*/ 30241 h 991091"/>
                <a:gd name="connsiteX2508" fmla="*/ 411350 w 741412"/>
                <a:gd name="connsiteY2508" fmla="*/ 29724 h 991091"/>
                <a:gd name="connsiteX2509" fmla="*/ 410446 w 741412"/>
                <a:gd name="connsiteY2509" fmla="*/ 29207 h 991091"/>
                <a:gd name="connsiteX2510" fmla="*/ 409799 w 741412"/>
                <a:gd name="connsiteY2510" fmla="*/ 28561 h 991091"/>
                <a:gd name="connsiteX2511" fmla="*/ 409412 w 741412"/>
                <a:gd name="connsiteY2511" fmla="*/ 27785 h 991091"/>
                <a:gd name="connsiteX2512" fmla="*/ 409283 w 741412"/>
                <a:gd name="connsiteY2512" fmla="*/ 26881 h 991091"/>
                <a:gd name="connsiteX2513" fmla="*/ 410187 w 741412"/>
                <a:gd name="connsiteY2513" fmla="*/ 27268 h 991091"/>
                <a:gd name="connsiteX2514" fmla="*/ 411092 w 741412"/>
                <a:gd name="connsiteY2514" fmla="*/ 27785 h 991091"/>
                <a:gd name="connsiteX2515" fmla="*/ 411738 w 741412"/>
                <a:gd name="connsiteY2515" fmla="*/ 28431 h 991091"/>
                <a:gd name="connsiteX2516" fmla="*/ 412126 w 741412"/>
                <a:gd name="connsiteY2516" fmla="*/ 29078 h 991091"/>
                <a:gd name="connsiteX2517" fmla="*/ 412901 w 741412"/>
                <a:gd name="connsiteY2517" fmla="*/ 29078 h 991091"/>
                <a:gd name="connsiteX2518" fmla="*/ 413806 w 741412"/>
                <a:gd name="connsiteY2518" fmla="*/ 25847 h 991091"/>
                <a:gd name="connsiteX2519" fmla="*/ 413547 w 741412"/>
                <a:gd name="connsiteY2519" fmla="*/ 24684 h 991091"/>
                <a:gd name="connsiteX2520" fmla="*/ 412126 w 741412"/>
                <a:gd name="connsiteY2520" fmla="*/ 23262 h 991091"/>
                <a:gd name="connsiteX2521" fmla="*/ 410446 w 741412"/>
                <a:gd name="connsiteY2521" fmla="*/ 22228 h 991091"/>
                <a:gd name="connsiteX2522" fmla="*/ 409541 w 741412"/>
                <a:gd name="connsiteY2522" fmla="*/ 21840 h 991091"/>
                <a:gd name="connsiteX2523" fmla="*/ 408766 w 741412"/>
                <a:gd name="connsiteY2523" fmla="*/ 21711 h 991091"/>
                <a:gd name="connsiteX2524" fmla="*/ 407861 w 741412"/>
                <a:gd name="connsiteY2524" fmla="*/ 22099 h 991091"/>
                <a:gd name="connsiteX2525" fmla="*/ 407086 w 741412"/>
                <a:gd name="connsiteY2525" fmla="*/ 22874 h 991091"/>
                <a:gd name="connsiteX2526" fmla="*/ 406181 w 741412"/>
                <a:gd name="connsiteY2526" fmla="*/ 23520 h 991091"/>
                <a:gd name="connsiteX2527" fmla="*/ 403338 w 741412"/>
                <a:gd name="connsiteY2527" fmla="*/ 22228 h 991091"/>
                <a:gd name="connsiteX2528" fmla="*/ 402304 w 741412"/>
                <a:gd name="connsiteY2528" fmla="*/ 23262 h 991091"/>
                <a:gd name="connsiteX2529" fmla="*/ 401787 w 741412"/>
                <a:gd name="connsiteY2529" fmla="*/ 24813 h 991091"/>
                <a:gd name="connsiteX2530" fmla="*/ 401528 w 741412"/>
                <a:gd name="connsiteY2530" fmla="*/ 25588 h 991091"/>
                <a:gd name="connsiteX2531" fmla="*/ 403079 w 741412"/>
                <a:gd name="connsiteY2531" fmla="*/ 26493 h 991091"/>
                <a:gd name="connsiteX2532" fmla="*/ 402821 w 741412"/>
                <a:gd name="connsiteY2532" fmla="*/ 28561 h 991091"/>
                <a:gd name="connsiteX2533" fmla="*/ 401270 w 741412"/>
                <a:gd name="connsiteY2533" fmla="*/ 32050 h 991091"/>
                <a:gd name="connsiteX2534" fmla="*/ 401399 w 741412"/>
                <a:gd name="connsiteY2534" fmla="*/ 30370 h 991091"/>
                <a:gd name="connsiteX2535" fmla="*/ 401141 w 741412"/>
                <a:gd name="connsiteY2535" fmla="*/ 29078 h 991091"/>
                <a:gd name="connsiteX2536" fmla="*/ 400365 w 741412"/>
                <a:gd name="connsiteY2536" fmla="*/ 28173 h 991091"/>
                <a:gd name="connsiteX2537" fmla="*/ 399073 w 741412"/>
                <a:gd name="connsiteY2537" fmla="*/ 27656 h 991091"/>
                <a:gd name="connsiteX2538" fmla="*/ 398427 w 741412"/>
                <a:gd name="connsiteY2538" fmla="*/ 28819 h 991091"/>
                <a:gd name="connsiteX2539" fmla="*/ 397910 w 741412"/>
                <a:gd name="connsiteY2539" fmla="*/ 30628 h 991091"/>
                <a:gd name="connsiteX2540" fmla="*/ 397910 w 741412"/>
                <a:gd name="connsiteY2540" fmla="*/ 32696 h 991091"/>
                <a:gd name="connsiteX2541" fmla="*/ 398815 w 741412"/>
                <a:gd name="connsiteY2541" fmla="*/ 34505 h 991091"/>
                <a:gd name="connsiteX2542" fmla="*/ 400365 w 741412"/>
                <a:gd name="connsiteY2542" fmla="*/ 35927 h 99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Lst>
              <a:rect l="l" t="t" r="r" b="b"/>
              <a:pathLst>
                <a:path w="741412" h="991091">
                  <a:moveTo>
                    <a:pt x="535027" y="143708"/>
                  </a:moveTo>
                  <a:lnTo>
                    <a:pt x="535156" y="144612"/>
                  </a:lnTo>
                  <a:lnTo>
                    <a:pt x="536190" y="145517"/>
                  </a:lnTo>
                  <a:lnTo>
                    <a:pt x="537095" y="145775"/>
                  </a:lnTo>
                  <a:lnTo>
                    <a:pt x="538387" y="146292"/>
                  </a:lnTo>
                  <a:lnTo>
                    <a:pt x="538904" y="146163"/>
                  </a:lnTo>
                  <a:lnTo>
                    <a:pt x="539291" y="145129"/>
                  </a:lnTo>
                  <a:lnTo>
                    <a:pt x="539679" y="144742"/>
                  </a:lnTo>
                  <a:lnTo>
                    <a:pt x="540584" y="144483"/>
                  </a:lnTo>
                  <a:lnTo>
                    <a:pt x="541230" y="143708"/>
                  </a:lnTo>
                  <a:lnTo>
                    <a:pt x="542393" y="143578"/>
                  </a:lnTo>
                  <a:lnTo>
                    <a:pt x="544461" y="143578"/>
                  </a:lnTo>
                  <a:lnTo>
                    <a:pt x="546270" y="143966"/>
                  </a:lnTo>
                  <a:lnTo>
                    <a:pt x="546787" y="143449"/>
                  </a:lnTo>
                  <a:lnTo>
                    <a:pt x="546658" y="142674"/>
                  </a:lnTo>
                  <a:lnTo>
                    <a:pt x="546141" y="141640"/>
                  </a:lnTo>
                  <a:lnTo>
                    <a:pt x="547046" y="140994"/>
                  </a:lnTo>
                  <a:lnTo>
                    <a:pt x="547304" y="139185"/>
                  </a:lnTo>
                  <a:lnTo>
                    <a:pt x="547433" y="136341"/>
                  </a:lnTo>
                  <a:lnTo>
                    <a:pt x="547821" y="134532"/>
                  </a:lnTo>
                  <a:lnTo>
                    <a:pt x="549630" y="132981"/>
                  </a:lnTo>
                  <a:lnTo>
                    <a:pt x="550664" y="131043"/>
                  </a:lnTo>
                  <a:lnTo>
                    <a:pt x="550276" y="129104"/>
                  </a:lnTo>
                  <a:lnTo>
                    <a:pt x="550018" y="128070"/>
                  </a:lnTo>
                  <a:lnTo>
                    <a:pt x="547821" y="127553"/>
                  </a:lnTo>
                  <a:lnTo>
                    <a:pt x="546529" y="127683"/>
                  </a:lnTo>
                  <a:lnTo>
                    <a:pt x="544719" y="128200"/>
                  </a:lnTo>
                  <a:lnTo>
                    <a:pt x="543298" y="128329"/>
                  </a:lnTo>
                  <a:lnTo>
                    <a:pt x="541618" y="128846"/>
                  </a:lnTo>
                  <a:lnTo>
                    <a:pt x="539808" y="130009"/>
                  </a:lnTo>
                  <a:lnTo>
                    <a:pt x="538387" y="131560"/>
                  </a:lnTo>
                  <a:lnTo>
                    <a:pt x="537095" y="134661"/>
                  </a:lnTo>
                  <a:lnTo>
                    <a:pt x="536061" y="136341"/>
                  </a:lnTo>
                  <a:lnTo>
                    <a:pt x="536319" y="138538"/>
                  </a:lnTo>
                  <a:lnTo>
                    <a:pt x="536707" y="140735"/>
                  </a:lnTo>
                  <a:lnTo>
                    <a:pt x="536061" y="142932"/>
                  </a:lnTo>
                  <a:lnTo>
                    <a:pt x="535027" y="143708"/>
                  </a:lnTo>
                  <a:close/>
                  <a:moveTo>
                    <a:pt x="549113" y="141769"/>
                  </a:moveTo>
                  <a:lnTo>
                    <a:pt x="549630" y="143061"/>
                  </a:lnTo>
                  <a:lnTo>
                    <a:pt x="550276" y="144612"/>
                  </a:lnTo>
                  <a:lnTo>
                    <a:pt x="551956" y="145000"/>
                  </a:lnTo>
                  <a:lnTo>
                    <a:pt x="553249" y="145905"/>
                  </a:lnTo>
                  <a:lnTo>
                    <a:pt x="554670" y="145388"/>
                  </a:lnTo>
                  <a:lnTo>
                    <a:pt x="554670" y="145258"/>
                  </a:lnTo>
                  <a:lnTo>
                    <a:pt x="555187" y="143837"/>
                  </a:lnTo>
                  <a:lnTo>
                    <a:pt x="556350" y="142415"/>
                  </a:lnTo>
                  <a:lnTo>
                    <a:pt x="556609" y="140477"/>
                  </a:lnTo>
                  <a:lnTo>
                    <a:pt x="556221" y="139314"/>
                  </a:lnTo>
                  <a:lnTo>
                    <a:pt x="554153" y="139443"/>
                  </a:lnTo>
                  <a:lnTo>
                    <a:pt x="552603" y="139831"/>
                  </a:lnTo>
                  <a:lnTo>
                    <a:pt x="551310" y="140218"/>
                  </a:lnTo>
                  <a:lnTo>
                    <a:pt x="549630" y="140735"/>
                  </a:lnTo>
                  <a:lnTo>
                    <a:pt x="549113" y="141769"/>
                  </a:lnTo>
                  <a:close/>
                  <a:moveTo>
                    <a:pt x="694889" y="179247"/>
                  </a:moveTo>
                  <a:lnTo>
                    <a:pt x="698636" y="180022"/>
                  </a:lnTo>
                  <a:lnTo>
                    <a:pt x="701350" y="181185"/>
                  </a:lnTo>
                  <a:lnTo>
                    <a:pt x="703418" y="182607"/>
                  </a:lnTo>
                  <a:lnTo>
                    <a:pt x="707553" y="183253"/>
                  </a:lnTo>
                  <a:lnTo>
                    <a:pt x="710268" y="183124"/>
                  </a:lnTo>
                  <a:lnTo>
                    <a:pt x="709880" y="182090"/>
                  </a:lnTo>
                  <a:lnTo>
                    <a:pt x="708070" y="181185"/>
                  </a:lnTo>
                  <a:lnTo>
                    <a:pt x="705744" y="179118"/>
                  </a:lnTo>
                  <a:lnTo>
                    <a:pt x="703935" y="178084"/>
                  </a:lnTo>
                  <a:lnTo>
                    <a:pt x="700446" y="177438"/>
                  </a:lnTo>
                  <a:lnTo>
                    <a:pt x="698507" y="175499"/>
                  </a:lnTo>
                  <a:lnTo>
                    <a:pt x="697215" y="174595"/>
                  </a:lnTo>
                  <a:lnTo>
                    <a:pt x="696052" y="173302"/>
                  </a:lnTo>
                  <a:lnTo>
                    <a:pt x="694759" y="173431"/>
                  </a:lnTo>
                  <a:lnTo>
                    <a:pt x="693984" y="174982"/>
                  </a:lnTo>
                  <a:lnTo>
                    <a:pt x="693984" y="177567"/>
                  </a:lnTo>
                  <a:lnTo>
                    <a:pt x="694889" y="179247"/>
                  </a:lnTo>
                  <a:close/>
                  <a:moveTo>
                    <a:pt x="708458" y="176145"/>
                  </a:moveTo>
                  <a:lnTo>
                    <a:pt x="710655" y="175887"/>
                  </a:lnTo>
                  <a:lnTo>
                    <a:pt x="710009" y="177179"/>
                  </a:lnTo>
                  <a:lnTo>
                    <a:pt x="710397" y="178084"/>
                  </a:lnTo>
                  <a:lnTo>
                    <a:pt x="711431" y="178601"/>
                  </a:lnTo>
                  <a:lnTo>
                    <a:pt x="712852" y="178859"/>
                  </a:lnTo>
                  <a:lnTo>
                    <a:pt x="712852" y="179635"/>
                  </a:lnTo>
                  <a:lnTo>
                    <a:pt x="712206" y="179635"/>
                  </a:lnTo>
                  <a:lnTo>
                    <a:pt x="710655" y="180281"/>
                  </a:lnTo>
                  <a:lnTo>
                    <a:pt x="711560" y="181185"/>
                  </a:lnTo>
                  <a:lnTo>
                    <a:pt x="712594" y="181702"/>
                  </a:lnTo>
                  <a:lnTo>
                    <a:pt x="713757" y="181832"/>
                  </a:lnTo>
                  <a:lnTo>
                    <a:pt x="716083" y="181444"/>
                  </a:lnTo>
                  <a:lnTo>
                    <a:pt x="716988" y="181056"/>
                  </a:lnTo>
                  <a:lnTo>
                    <a:pt x="717892" y="180668"/>
                  </a:lnTo>
                  <a:lnTo>
                    <a:pt x="718668" y="180152"/>
                  </a:lnTo>
                  <a:lnTo>
                    <a:pt x="718280" y="179247"/>
                  </a:lnTo>
                  <a:lnTo>
                    <a:pt x="718021" y="178213"/>
                  </a:lnTo>
                  <a:lnTo>
                    <a:pt x="717892" y="177050"/>
                  </a:lnTo>
                  <a:lnTo>
                    <a:pt x="718021" y="175887"/>
                  </a:lnTo>
                  <a:lnTo>
                    <a:pt x="717375" y="175887"/>
                  </a:lnTo>
                  <a:lnTo>
                    <a:pt x="717117" y="176145"/>
                  </a:lnTo>
                  <a:lnTo>
                    <a:pt x="716988" y="176275"/>
                  </a:lnTo>
                  <a:lnTo>
                    <a:pt x="716600" y="176533"/>
                  </a:lnTo>
                  <a:lnTo>
                    <a:pt x="715437" y="174853"/>
                  </a:lnTo>
                  <a:lnTo>
                    <a:pt x="713886" y="173690"/>
                  </a:lnTo>
                  <a:lnTo>
                    <a:pt x="711947" y="173044"/>
                  </a:lnTo>
                  <a:lnTo>
                    <a:pt x="703418" y="172527"/>
                  </a:lnTo>
                  <a:lnTo>
                    <a:pt x="701738" y="172914"/>
                  </a:lnTo>
                  <a:lnTo>
                    <a:pt x="706261" y="175499"/>
                  </a:lnTo>
                  <a:lnTo>
                    <a:pt x="708458" y="176145"/>
                  </a:lnTo>
                  <a:close/>
                  <a:moveTo>
                    <a:pt x="741413" y="200441"/>
                  </a:moveTo>
                  <a:lnTo>
                    <a:pt x="740508" y="199407"/>
                  </a:lnTo>
                  <a:lnTo>
                    <a:pt x="737665" y="197340"/>
                  </a:lnTo>
                  <a:lnTo>
                    <a:pt x="737019" y="196435"/>
                  </a:lnTo>
                  <a:lnTo>
                    <a:pt x="736760" y="194755"/>
                  </a:lnTo>
                  <a:lnTo>
                    <a:pt x="735727" y="191524"/>
                  </a:lnTo>
                  <a:lnTo>
                    <a:pt x="735468" y="189456"/>
                  </a:lnTo>
                  <a:lnTo>
                    <a:pt x="736502" y="189973"/>
                  </a:lnTo>
                  <a:lnTo>
                    <a:pt x="736890" y="190232"/>
                  </a:lnTo>
                  <a:lnTo>
                    <a:pt x="737794" y="184028"/>
                  </a:lnTo>
                  <a:lnTo>
                    <a:pt x="738311" y="182090"/>
                  </a:lnTo>
                  <a:lnTo>
                    <a:pt x="740637" y="178730"/>
                  </a:lnTo>
                  <a:lnTo>
                    <a:pt x="738828" y="178342"/>
                  </a:lnTo>
                  <a:lnTo>
                    <a:pt x="732237" y="177955"/>
                  </a:lnTo>
                  <a:lnTo>
                    <a:pt x="722027" y="177567"/>
                  </a:lnTo>
                  <a:lnTo>
                    <a:pt x="720477" y="178213"/>
                  </a:lnTo>
                  <a:lnTo>
                    <a:pt x="719960" y="179635"/>
                  </a:lnTo>
                  <a:lnTo>
                    <a:pt x="721381" y="180539"/>
                  </a:lnTo>
                  <a:lnTo>
                    <a:pt x="724742" y="182478"/>
                  </a:lnTo>
                  <a:lnTo>
                    <a:pt x="726034" y="183641"/>
                  </a:lnTo>
                  <a:lnTo>
                    <a:pt x="726680" y="183641"/>
                  </a:lnTo>
                  <a:lnTo>
                    <a:pt x="727973" y="183124"/>
                  </a:lnTo>
                  <a:lnTo>
                    <a:pt x="728360" y="184675"/>
                  </a:lnTo>
                  <a:lnTo>
                    <a:pt x="728101" y="188552"/>
                  </a:lnTo>
                  <a:lnTo>
                    <a:pt x="727585" y="189973"/>
                  </a:lnTo>
                  <a:lnTo>
                    <a:pt x="726292" y="190102"/>
                  </a:lnTo>
                  <a:lnTo>
                    <a:pt x="724871" y="189586"/>
                  </a:lnTo>
                  <a:lnTo>
                    <a:pt x="721123" y="187389"/>
                  </a:lnTo>
                  <a:lnTo>
                    <a:pt x="719831" y="187259"/>
                  </a:lnTo>
                  <a:lnTo>
                    <a:pt x="719314" y="188552"/>
                  </a:lnTo>
                  <a:lnTo>
                    <a:pt x="718409" y="188681"/>
                  </a:lnTo>
                  <a:lnTo>
                    <a:pt x="716471" y="188293"/>
                  </a:lnTo>
                  <a:lnTo>
                    <a:pt x="714274" y="188164"/>
                  </a:lnTo>
                  <a:lnTo>
                    <a:pt x="712723" y="188939"/>
                  </a:lnTo>
                  <a:lnTo>
                    <a:pt x="712594" y="188293"/>
                  </a:lnTo>
                  <a:lnTo>
                    <a:pt x="711947" y="186742"/>
                  </a:lnTo>
                  <a:lnTo>
                    <a:pt x="712206" y="186484"/>
                  </a:lnTo>
                  <a:lnTo>
                    <a:pt x="712335" y="186484"/>
                  </a:lnTo>
                  <a:lnTo>
                    <a:pt x="712464" y="186355"/>
                  </a:lnTo>
                  <a:lnTo>
                    <a:pt x="712723" y="185967"/>
                  </a:lnTo>
                  <a:lnTo>
                    <a:pt x="705744" y="186355"/>
                  </a:lnTo>
                  <a:lnTo>
                    <a:pt x="704452" y="187001"/>
                  </a:lnTo>
                  <a:lnTo>
                    <a:pt x="702642" y="187259"/>
                  </a:lnTo>
                  <a:lnTo>
                    <a:pt x="700833" y="187001"/>
                  </a:lnTo>
                  <a:lnTo>
                    <a:pt x="699412" y="185967"/>
                  </a:lnTo>
                  <a:lnTo>
                    <a:pt x="698636" y="186484"/>
                  </a:lnTo>
                  <a:lnTo>
                    <a:pt x="697732" y="187259"/>
                  </a:lnTo>
                  <a:lnTo>
                    <a:pt x="696957" y="188293"/>
                  </a:lnTo>
                  <a:lnTo>
                    <a:pt x="696569" y="189586"/>
                  </a:lnTo>
                  <a:lnTo>
                    <a:pt x="695922" y="189586"/>
                  </a:lnTo>
                  <a:lnTo>
                    <a:pt x="696440" y="187130"/>
                  </a:lnTo>
                  <a:lnTo>
                    <a:pt x="695922" y="186484"/>
                  </a:lnTo>
                  <a:lnTo>
                    <a:pt x="692821" y="187518"/>
                  </a:lnTo>
                  <a:lnTo>
                    <a:pt x="693726" y="186225"/>
                  </a:lnTo>
                  <a:lnTo>
                    <a:pt x="694242" y="184287"/>
                  </a:lnTo>
                  <a:lnTo>
                    <a:pt x="694242" y="182478"/>
                  </a:lnTo>
                  <a:lnTo>
                    <a:pt x="693209" y="181702"/>
                  </a:lnTo>
                  <a:lnTo>
                    <a:pt x="680931" y="181444"/>
                  </a:lnTo>
                  <a:lnTo>
                    <a:pt x="677830" y="180798"/>
                  </a:lnTo>
                  <a:lnTo>
                    <a:pt x="677313" y="179505"/>
                  </a:lnTo>
                  <a:lnTo>
                    <a:pt x="676925" y="178601"/>
                  </a:lnTo>
                  <a:lnTo>
                    <a:pt x="675891" y="179376"/>
                  </a:lnTo>
                  <a:lnTo>
                    <a:pt x="673953" y="180281"/>
                  </a:lnTo>
                  <a:lnTo>
                    <a:pt x="673177" y="180798"/>
                  </a:lnTo>
                  <a:lnTo>
                    <a:pt x="670851" y="179247"/>
                  </a:lnTo>
                  <a:lnTo>
                    <a:pt x="668783" y="178601"/>
                  </a:lnTo>
                  <a:lnTo>
                    <a:pt x="667233" y="177567"/>
                  </a:lnTo>
                  <a:lnTo>
                    <a:pt x="666457" y="174853"/>
                  </a:lnTo>
                  <a:lnTo>
                    <a:pt x="668137" y="175628"/>
                  </a:lnTo>
                  <a:lnTo>
                    <a:pt x="669042" y="175111"/>
                  </a:lnTo>
                  <a:lnTo>
                    <a:pt x="669430" y="173690"/>
                  </a:lnTo>
                  <a:lnTo>
                    <a:pt x="669300" y="171751"/>
                  </a:lnTo>
                  <a:lnTo>
                    <a:pt x="666199" y="173044"/>
                  </a:lnTo>
                  <a:lnTo>
                    <a:pt x="665036" y="173302"/>
                  </a:lnTo>
                  <a:lnTo>
                    <a:pt x="663743" y="173302"/>
                  </a:lnTo>
                  <a:lnTo>
                    <a:pt x="662063" y="172785"/>
                  </a:lnTo>
                  <a:lnTo>
                    <a:pt x="661030" y="172656"/>
                  </a:lnTo>
                  <a:lnTo>
                    <a:pt x="659350" y="172139"/>
                  </a:lnTo>
                  <a:lnTo>
                    <a:pt x="654051" y="169037"/>
                  </a:lnTo>
                  <a:lnTo>
                    <a:pt x="649528" y="163351"/>
                  </a:lnTo>
                  <a:lnTo>
                    <a:pt x="648494" y="162447"/>
                  </a:lnTo>
                  <a:lnTo>
                    <a:pt x="647848" y="162188"/>
                  </a:lnTo>
                  <a:lnTo>
                    <a:pt x="647331" y="161413"/>
                  </a:lnTo>
                  <a:lnTo>
                    <a:pt x="646555" y="160637"/>
                  </a:lnTo>
                  <a:lnTo>
                    <a:pt x="645521" y="160250"/>
                  </a:lnTo>
                  <a:lnTo>
                    <a:pt x="639577" y="160379"/>
                  </a:lnTo>
                  <a:lnTo>
                    <a:pt x="638543" y="160250"/>
                  </a:lnTo>
                  <a:lnTo>
                    <a:pt x="634795" y="158957"/>
                  </a:lnTo>
                  <a:lnTo>
                    <a:pt x="633891" y="158699"/>
                  </a:lnTo>
                  <a:lnTo>
                    <a:pt x="633373" y="158440"/>
                  </a:lnTo>
                  <a:lnTo>
                    <a:pt x="629755" y="156243"/>
                  </a:lnTo>
                  <a:lnTo>
                    <a:pt x="627041" y="154951"/>
                  </a:lnTo>
                  <a:lnTo>
                    <a:pt x="623423" y="153012"/>
                  </a:lnTo>
                  <a:lnTo>
                    <a:pt x="620579" y="151849"/>
                  </a:lnTo>
                  <a:lnTo>
                    <a:pt x="612955" y="149265"/>
                  </a:lnTo>
                  <a:lnTo>
                    <a:pt x="601711" y="145000"/>
                  </a:lnTo>
                  <a:lnTo>
                    <a:pt x="593053" y="140994"/>
                  </a:lnTo>
                  <a:lnTo>
                    <a:pt x="587496" y="139701"/>
                  </a:lnTo>
                  <a:lnTo>
                    <a:pt x="581034" y="137504"/>
                  </a:lnTo>
                  <a:lnTo>
                    <a:pt x="577932" y="137375"/>
                  </a:lnTo>
                  <a:lnTo>
                    <a:pt x="575477" y="137117"/>
                  </a:lnTo>
                  <a:lnTo>
                    <a:pt x="573151" y="136858"/>
                  </a:lnTo>
                  <a:lnTo>
                    <a:pt x="570825" y="136600"/>
                  </a:lnTo>
                  <a:lnTo>
                    <a:pt x="568757" y="136729"/>
                  </a:lnTo>
                  <a:lnTo>
                    <a:pt x="567077" y="136858"/>
                  </a:lnTo>
                  <a:lnTo>
                    <a:pt x="565655" y="137117"/>
                  </a:lnTo>
                  <a:lnTo>
                    <a:pt x="564233" y="137634"/>
                  </a:lnTo>
                  <a:lnTo>
                    <a:pt x="564233" y="138538"/>
                  </a:lnTo>
                  <a:lnTo>
                    <a:pt x="563329" y="139831"/>
                  </a:lnTo>
                  <a:lnTo>
                    <a:pt x="562554" y="141252"/>
                  </a:lnTo>
                  <a:lnTo>
                    <a:pt x="562037" y="142932"/>
                  </a:lnTo>
                  <a:lnTo>
                    <a:pt x="563458" y="145258"/>
                  </a:lnTo>
                  <a:lnTo>
                    <a:pt x="568369" y="147843"/>
                  </a:lnTo>
                  <a:lnTo>
                    <a:pt x="570049" y="149394"/>
                  </a:lnTo>
                  <a:lnTo>
                    <a:pt x="568498" y="149523"/>
                  </a:lnTo>
                  <a:lnTo>
                    <a:pt x="567206" y="149394"/>
                  </a:lnTo>
                  <a:lnTo>
                    <a:pt x="566172" y="148877"/>
                  </a:lnTo>
                  <a:lnTo>
                    <a:pt x="565655" y="147972"/>
                  </a:lnTo>
                  <a:lnTo>
                    <a:pt x="564880" y="147972"/>
                  </a:lnTo>
                  <a:lnTo>
                    <a:pt x="565397" y="149394"/>
                  </a:lnTo>
                  <a:lnTo>
                    <a:pt x="566301" y="150945"/>
                  </a:lnTo>
                  <a:lnTo>
                    <a:pt x="567594" y="152108"/>
                  </a:lnTo>
                  <a:lnTo>
                    <a:pt x="569274" y="152366"/>
                  </a:lnTo>
                  <a:lnTo>
                    <a:pt x="569274" y="153142"/>
                  </a:lnTo>
                  <a:lnTo>
                    <a:pt x="565655" y="152366"/>
                  </a:lnTo>
                  <a:lnTo>
                    <a:pt x="564233" y="152625"/>
                  </a:lnTo>
                  <a:lnTo>
                    <a:pt x="566043" y="155726"/>
                  </a:lnTo>
                  <a:lnTo>
                    <a:pt x="566431" y="157406"/>
                  </a:lnTo>
                  <a:lnTo>
                    <a:pt x="566301" y="158957"/>
                  </a:lnTo>
                  <a:lnTo>
                    <a:pt x="565526" y="159862"/>
                  </a:lnTo>
                  <a:lnTo>
                    <a:pt x="564880" y="157923"/>
                  </a:lnTo>
                  <a:lnTo>
                    <a:pt x="563975" y="156114"/>
                  </a:lnTo>
                  <a:lnTo>
                    <a:pt x="563458" y="157277"/>
                  </a:lnTo>
                  <a:lnTo>
                    <a:pt x="562941" y="158182"/>
                  </a:lnTo>
                  <a:lnTo>
                    <a:pt x="562166" y="158828"/>
                  </a:lnTo>
                  <a:lnTo>
                    <a:pt x="561003" y="159086"/>
                  </a:lnTo>
                  <a:lnTo>
                    <a:pt x="561778" y="157665"/>
                  </a:lnTo>
                  <a:lnTo>
                    <a:pt x="560357" y="156889"/>
                  </a:lnTo>
                  <a:lnTo>
                    <a:pt x="559452" y="153400"/>
                  </a:lnTo>
                  <a:lnTo>
                    <a:pt x="558030" y="153400"/>
                  </a:lnTo>
                  <a:lnTo>
                    <a:pt x="558547" y="150557"/>
                  </a:lnTo>
                  <a:lnTo>
                    <a:pt x="557901" y="148231"/>
                  </a:lnTo>
                  <a:lnTo>
                    <a:pt x="556480" y="147455"/>
                  </a:lnTo>
                  <a:lnTo>
                    <a:pt x="554541" y="149652"/>
                  </a:lnTo>
                  <a:lnTo>
                    <a:pt x="555963" y="150686"/>
                  </a:lnTo>
                  <a:lnTo>
                    <a:pt x="556480" y="151979"/>
                  </a:lnTo>
                  <a:lnTo>
                    <a:pt x="556221" y="153400"/>
                  </a:lnTo>
                  <a:lnTo>
                    <a:pt x="555187" y="154951"/>
                  </a:lnTo>
                  <a:lnTo>
                    <a:pt x="555187" y="152754"/>
                  </a:lnTo>
                  <a:lnTo>
                    <a:pt x="554153" y="153917"/>
                  </a:lnTo>
                  <a:lnTo>
                    <a:pt x="553636" y="155339"/>
                  </a:lnTo>
                  <a:lnTo>
                    <a:pt x="553895" y="156373"/>
                  </a:lnTo>
                  <a:lnTo>
                    <a:pt x="555187" y="156243"/>
                  </a:lnTo>
                  <a:lnTo>
                    <a:pt x="555833" y="157019"/>
                  </a:lnTo>
                  <a:lnTo>
                    <a:pt x="554153" y="157665"/>
                  </a:lnTo>
                  <a:lnTo>
                    <a:pt x="549889" y="156114"/>
                  </a:lnTo>
                  <a:lnTo>
                    <a:pt x="547821" y="157019"/>
                  </a:lnTo>
                  <a:lnTo>
                    <a:pt x="547304" y="154951"/>
                  </a:lnTo>
                  <a:lnTo>
                    <a:pt x="545882" y="154176"/>
                  </a:lnTo>
                  <a:lnTo>
                    <a:pt x="544073" y="154563"/>
                  </a:lnTo>
                  <a:lnTo>
                    <a:pt x="542651" y="155726"/>
                  </a:lnTo>
                  <a:lnTo>
                    <a:pt x="543556" y="153788"/>
                  </a:lnTo>
                  <a:lnTo>
                    <a:pt x="544073" y="152883"/>
                  </a:lnTo>
                  <a:lnTo>
                    <a:pt x="544848" y="151979"/>
                  </a:lnTo>
                  <a:lnTo>
                    <a:pt x="542264" y="152625"/>
                  </a:lnTo>
                  <a:lnTo>
                    <a:pt x="540713" y="154951"/>
                  </a:lnTo>
                  <a:lnTo>
                    <a:pt x="540842" y="157665"/>
                  </a:lnTo>
                  <a:lnTo>
                    <a:pt x="543298" y="159474"/>
                  </a:lnTo>
                  <a:lnTo>
                    <a:pt x="541359" y="159474"/>
                  </a:lnTo>
                  <a:lnTo>
                    <a:pt x="540455" y="159216"/>
                  </a:lnTo>
                  <a:lnTo>
                    <a:pt x="539550" y="158828"/>
                  </a:lnTo>
                  <a:lnTo>
                    <a:pt x="539033" y="159862"/>
                  </a:lnTo>
                  <a:lnTo>
                    <a:pt x="538904" y="160379"/>
                  </a:lnTo>
                  <a:lnTo>
                    <a:pt x="538904" y="161025"/>
                  </a:lnTo>
                  <a:lnTo>
                    <a:pt x="538128" y="161025"/>
                  </a:lnTo>
                  <a:lnTo>
                    <a:pt x="538128" y="160250"/>
                  </a:lnTo>
                  <a:lnTo>
                    <a:pt x="537353" y="160250"/>
                  </a:lnTo>
                  <a:lnTo>
                    <a:pt x="537353" y="161025"/>
                  </a:lnTo>
                  <a:lnTo>
                    <a:pt x="536578" y="161025"/>
                  </a:lnTo>
                  <a:lnTo>
                    <a:pt x="536578" y="160250"/>
                  </a:lnTo>
                  <a:lnTo>
                    <a:pt x="537870" y="158828"/>
                  </a:lnTo>
                  <a:lnTo>
                    <a:pt x="538128" y="156114"/>
                  </a:lnTo>
                  <a:lnTo>
                    <a:pt x="538387" y="152754"/>
                  </a:lnTo>
                  <a:lnTo>
                    <a:pt x="537095" y="151591"/>
                  </a:lnTo>
                  <a:lnTo>
                    <a:pt x="535414" y="152625"/>
                  </a:lnTo>
                  <a:lnTo>
                    <a:pt x="535544" y="155856"/>
                  </a:lnTo>
                  <a:lnTo>
                    <a:pt x="534768" y="157148"/>
                  </a:lnTo>
                  <a:lnTo>
                    <a:pt x="534122" y="156631"/>
                  </a:lnTo>
                  <a:lnTo>
                    <a:pt x="532571" y="156889"/>
                  </a:lnTo>
                  <a:lnTo>
                    <a:pt x="531021" y="157536"/>
                  </a:lnTo>
                  <a:lnTo>
                    <a:pt x="528565" y="159345"/>
                  </a:lnTo>
                  <a:lnTo>
                    <a:pt x="527402" y="159603"/>
                  </a:lnTo>
                  <a:lnTo>
                    <a:pt x="526756" y="159603"/>
                  </a:lnTo>
                  <a:lnTo>
                    <a:pt x="526110" y="159603"/>
                  </a:lnTo>
                  <a:lnTo>
                    <a:pt x="525463" y="159991"/>
                  </a:lnTo>
                  <a:lnTo>
                    <a:pt x="524947" y="160120"/>
                  </a:lnTo>
                  <a:lnTo>
                    <a:pt x="524171" y="160120"/>
                  </a:lnTo>
                  <a:lnTo>
                    <a:pt x="523396" y="160379"/>
                  </a:lnTo>
                  <a:lnTo>
                    <a:pt x="520553" y="161671"/>
                  </a:lnTo>
                  <a:lnTo>
                    <a:pt x="520036" y="162963"/>
                  </a:lnTo>
                  <a:lnTo>
                    <a:pt x="520294" y="164514"/>
                  </a:lnTo>
                  <a:lnTo>
                    <a:pt x="520811" y="165807"/>
                  </a:lnTo>
                  <a:lnTo>
                    <a:pt x="521070" y="167099"/>
                  </a:lnTo>
                  <a:lnTo>
                    <a:pt x="520682" y="168391"/>
                  </a:lnTo>
                  <a:lnTo>
                    <a:pt x="519260" y="164773"/>
                  </a:lnTo>
                  <a:lnTo>
                    <a:pt x="516288" y="159345"/>
                  </a:lnTo>
                  <a:lnTo>
                    <a:pt x="515900" y="159086"/>
                  </a:lnTo>
                  <a:lnTo>
                    <a:pt x="514866" y="159991"/>
                  </a:lnTo>
                  <a:lnTo>
                    <a:pt x="513445" y="161930"/>
                  </a:lnTo>
                  <a:lnTo>
                    <a:pt x="512152" y="164773"/>
                  </a:lnTo>
                  <a:lnTo>
                    <a:pt x="512282" y="166065"/>
                  </a:lnTo>
                  <a:lnTo>
                    <a:pt x="513445" y="166970"/>
                  </a:lnTo>
                  <a:lnTo>
                    <a:pt x="513445" y="167745"/>
                  </a:lnTo>
                  <a:lnTo>
                    <a:pt x="510343" y="165807"/>
                  </a:lnTo>
                  <a:lnTo>
                    <a:pt x="509826" y="165936"/>
                  </a:lnTo>
                  <a:lnTo>
                    <a:pt x="509439" y="166324"/>
                  </a:lnTo>
                  <a:lnTo>
                    <a:pt x="506208" y="168391"/>
                  </a:lnTo>
                  <a:lnTo>
                    <a:pt x="505303" y="169942"/>
                  </a:lnTo>
                  <a:lnTo>
                    <a:pt x="503881" y="172914"/>
                  </a:lnTo>
                  <a:lnTo>
                    <a:pt x="502072" y="175628"/>
                  </a:lnTo>
                  <a:lnTo>
                    <a:pt x="501168" y="177308"/>
                  </a:lnTo>
                  <a:lnTo>
                    <a:pt x="500780" y="179118"/>
                  </a:lnTo>
                  <a:lnTo>
                    <a:pt x="500909" y="183641"/>
                  </a:lnTo>
                  <a:lnTo>
                    <a:pt x="500392" y="185579"/>
                  </a:lnTo>
                  <a:lnTo>
                    <a:pt x="498841" y="186872"/>
                  </a:lnTo>
                  <a:lnTo>
                    <a:pt x="500004" y="185062"/>
                  </a:lnTo>
                  <a:lnTo>
                    <a:pt x="500392" y="183899"/>
                  </a:lnTo>
                  <a:lnTo>
                    <a:pt x="500263" y="182478"/>
                  </a:lnTo>
                  <a:lnTo>
                    <a:pt x="500004" y="182865"/>
                  </a:lnTo>
                  <a:lnTo>
                    <a:pt x="499875" y="183253"/>
                  </a:lnTo>
                  <a:lnTo>
                    <a:pt x="499617" y="184028"/>
                  </a:lnTo>
                  <a:lnTo>
                    <a:pt x="499488" y="183253"/>
                  </a:lnTo>
                  <a:lnTo>
                    <a:pt x="499358" y="182995"/>
                  </a:lnTo>
                  <a:lnTo>
                    <a:pt x="499358" y="182736"/>
                  </a:lnTo>
                  <a:lnTo>
                    <a:pt x="499617" y="181961"/>
                  </a:lnTo>
                  <a:lnTo>
                    <a:pt x="498971" y="181185"/>
                  </a:lnTo>
                  <a:lnTo>
                    <a:pt x="498324" y="181961"/>
                  </a:lnTo>
                  <a:lnTo>
                    <a:pt x="497678" y="181832"/>
                  </a:lnTo>
                  <a:lnTo>
                    <a:pt x="496386" y="182219"/>
                  </a:lnTo>
                  <a:lnTo>
                    <a:pt x="496386" y="181573"/>
                  </a:lnTo>
                  <a:lnTo>
                    <a:pt x="497032" y="180410"/>
                  </a:lnTo>
                  <a:lnTo>
                    <a:pt x="496128" y="180539"/>
                  </a:lnTo>
                  <a:lnTo>
                    <a:pt x="494835" y="181444"/>
                  </a:lnTo>
                  <a:lnTo>
                    <a:pt x="494189" y="182607"/>
                  </a:lnTo>
                  <a:lnTo>
                    <a:pt x="493931" y="184416"/>
                  </a:lnTo>
                  <a:lnTo>
                    <a:pt x="493284" y="186355"/>
                  </a:lnTo>
                  <a:lnTo>
                    <a:pt x="492380" y="188164"/>
                  </a:lnTo>
                  <a:lnTo>
                    <a:pt x="491217" y="189586"/>
                  </a:lnTo>
                  <a:lnTo>
                    <a:pt x="490958" y="189198"/>
                  </a:lnTo>
                  <a:lnTo>
                    <a:pt x="490829" y="189069"/>
                  </a:lnTo>
                  <a:lnTo>
                    <a:pt x="490700" y="189069"/>
                  </a:lnTo>
                  <a:lnTo>
                    <a:pt x="490312" y="188810"/>
                  </a:lnTo>
                  <a:lnTo>
                    <a:pt x="489536" y="189973"/>
                  </a:lnTo>
                  <a:lnTo>
                    <a:pt x="485918" y="193204"/>
                  </a:lnTo>
                  <a:lnTo>
                    <a:pt x="485918" y="192429"/>
                  </a:lnTo>
                  <a:lnTo>
                    <a:pt x="485660" y="191912"/>
                  </a:lnTo>
                  <a:lnTo>
                    <a:pt x="485401" y="191524"/>
                  </a:lnTo>
                  <a:lnTo>
                    <a:pt x="485143" y="191007"/>
                  </a:lnTo>
                  <a:lnTo>
                    <a:pt x="484626" y="191524"/>
                  </a:lnTo>
                  <a:lnTo>
                    <a:pt x="484109" y="191524"/>
                  </a:lnTo>
                  <a:lnTo>
                    <a:pt x="484109" y="191136"/>
                  </a:lnTo>
                  <a:lnTo>
                    <a:pt x="484626" y="190361"/>
                  </a:lnTo>
                  <a:lnTo>
                    <a:pt x="485401" y="189844"/>
                  </a:lnTo>
                  <a:lnTo>
                    <a:pt x="487081" y="189198"/>
                  </a:lnTo>
                  <a:lnTo>
                    <a:pt x="487986" y="188552"/>
                  </a:lnTo>
                  <a:lnTo>
                    <a:pt x="488890" y="186742"/>
                  </a:lnTo>
                  <a:lnTo>
                    <a:pt x="487469" y="183641"/>
                  </a:lnTo>
                  <a:lnTo>
                    <a:pt x="487727" y="181573"/>
                  </a:lnTo>
                  <a:lnTo>
                    <a:pt x="484367" y="182478"/>
                  </a:lnTo>
                  <a:lnTo>
                    <a:pt x="483592" y="183512"/>
                  </a:lnTo>
                  <a:lnTo>
                    <a:pt x="484238" y="185192"/>
                  </a:lnTo>
                  <a:lnTo>
                    <a:pt x="481395" y="183124"/>
                  </a:lnTo>
                  <a:lnTo>
                    <a:pt x="480361" y="182219"/>
                  </a:lnTo>
                  <a:lnTo>
                    <a:pt x="479715" y="182995"/>
                  </a:lnTo>
                  <a:lnTo>
                    <a:pt x="479327" y="183770"/>
                  </a:lnTo>
                  <a:lnTo>
                    <a:pt x="479069" y="184804"/>
                  </a:lnTo>
                  <a:lnTo>
                    <a:pt x="478939" y="186225"/>
                  </a:lnTo>
                  <a:lnTo>
                    <a:pt x="478681" y="186613"/>
                  </a:lnTo>
                  <a:lnTo>
                    <a:pt x="478035" y="186613"/>
                  </a:lnTo>
                  <a:lnTo>
                    <a:pt x="477259" y="186484"/>
                  </a:lnTo>
                  <a:lnTo>
                    <a:pt x="476742" y="186613"/>
                  </a:lnTo>
                  <a:lnTo>
                    <a:pt x="475967" y="189586"/>
                  </a:lnTo>
                  <a:lnTo>
                    <a:pt x="474546" y="188164"/>
                  </a:lnTo>
                  <a:lnTo>
                    <a:pt x="474546" y="187518"/>
                  </a:lnTo>
                  <a:lnTo>
                    <a:pt x="475062" y="187130"/>
                  </a:lnTo>
                  <a:lnTo>
                    <a:pt x="476096" y="185321"/>
                  </a:lnTo>
                  <a:lnTo>
                    <a:pt x="474416" y="183770"/>
                  </a:lnTo>
                  <a:lnTo>
                    <a:pt x="473382" y="184416"/>
                  </a:lnTo>
                  <a:lnTo>
                    <a:pt x="472736" y="186484"/>
                  </a:lnTo>
                  <a:lnTo>
                    <a:pt x="472607" y="188939"/>
                  </a:lnTo>
                  <a:lnTo>
                    <a:pt x="470669" y="187130"/>
                  </a:lnTo>
                  <a:lnTo>
                    <a:pt x="471702" y="184416"/>
                  </a:lnTo>
                  <a:lnTo>
                    <a:pt x="474416" y="181961"/>
                  </a:lnTo>
                  <a:lnTo>
                    <a:pt x="477389" y="180927"/>
                  </a:lnTo>
                  <a:lnTo>
                    <a:pt x="478035" y="180539"/>
                  </a:lnTo>
                  <a:lnTo>
                    <a:pt x="481007" y="177696"/>
                  </a:lnTo>
                  <a:lnTo>
                    <a:pt x="482299" y="177050"/>
                  </a:lnTo>
                  <a:lnTo>
                    <a:pt x="485272" y="176275"/>
                  </a:lnTo>
                  <a:lnTo>
                    <a:pt x="486564" y="175111"/>
                  </a:lnTo>
                  <a:lnTo>
                    <a:pt x="485918" y="174595"/>
                  </a:lnTo>
                  <a:lnTo>
                    <a:pt x="485530" y="173948"/>
                  </a:lnTo>
                  <a:lnTo>
                    <a:pt x="484755" y="172010"/>
                  </a:lnTo>
                  <a:lnTo>
                    <a:pt x="486435" y="173690"/>
                  </a:lnTo>
                  <a:lnTo>
                    <a:pt x="487210" y="174078"/>
                  </a:lnTo>
                  <a:lnTo>
                    <a:pt x="488373" y="174207"/>
                  </a:lnTo>
                  <a:lnTo>
                    <a:pt x="489666" y="173948"/>
                  </a:lnTo>
                  <a:lnTo>
                    <a:pt x="491346" y="173173"/>
                  </a:lnTo>
                  <a:lnTo>
                    <a:pt x="492767" y="172139"/>
                  </a:lnTo>
                  <a:lnTo>
                    <a:pt x="495610" y="166970"/>
                  </a:lnTo>
                  <a:lnTo>
                    <a:pt x="496128" y="164902"/>
                  </a:lnTo>
                  <a:lnTo>
                    <a:pt x="494189" y="164127"/>
                  </a:lnTo>
                  <a:lnTo>
                    <a:pt x="494964" y="163351"/>
                  </a:lnTo>
                  <a:lnTo>
                    <a:pt x="495740" y="163093"/>
                  </a:lnTo>
                  <a:lnTo>
                    <a:pt x="496515" y="162963"/>
                  </a:lnTo>
                  <a:lnTo>
                    <a:pt x="497161" y="162576"/>
                  </a:lnTo>
                  <a:lnTo>
                    <a:pt x="498712" y="160508"/>
                  </a:lnTo>
                  <a:lnTo>
                    <a:pt x="500521" y="159603"/>
                  </a:lnTo>
                  <a:lnTo>
                    <a:pt x="502202" y="159733"/>
                  </a:lnTo>
                  <a:lnTo>
                    <a:pt x="503494" y="157536"/>
                  </a:lnTo>
                  <a:lnTo>
                    <a:pt x="504011" y="155468"/>
                  </a:lnTo>
                  <a:lnTo>
                    <a:pt x="503881" y="153400"/>
                  </a:lnTo>
                  <a:lnTo>
                    <a:pt x="503106" y="150945"/>
                  </a:lnTo>
                  <a:lnTo>
                    <a:pt x="502331" y="150945"/>
                  </a:lnTo>
                  <a:lnTo>
                    <a:pt x="501814" y="152625"/>
                  </a:lnTo>
                  <a:lnTo>
                    <a:pt x="501684" y="153400"/>
                  </a:lnTo>
                  <a:lnTo>
                    <a:pt x="501684" y="154563"/>
                  </a:lnTo>
                  <a:lnTo>
                    <a:pt x="501297" y="153529"/>
                  </a:lnTo>
                  <a:lnTo>
                    <a:pt x="501297" y="151074"/>
                  </a:lnTo>
                  <a:lnTo>
                    <a:pt x="501038" y="150169"/>
                  </a:lnTo>
                  <a:lnTo>
                    <a:pt x="500392" y="149911"/>
                  </a:lnTo>
                  <a:lnTo>
                    <a:pt x="497420" y="149523"/>
                  </a:lnTo>
                  <a:lnTo>
                    <a:pt x="497937" y="148102"/>
                  </a:lnTo>
                  <a:lnTo>
                    <a:pt x="500134" y="147585"/>
                  </a:lnTo>
                  <a:lnTo>
                    <a:pt x="502848" y="147585"/>
                  </a:lnTo>
                  <a:lnTo>
                    <a:pt x="504657" y="148102"/>
                  </a:lnTo>
                  <a:lnTo>
                    <a:pt x="504011" y="145129"/>
                  </a:lnTo>
                  <a:lnTo>
                    <a:pt x="502072" y="143449"/>
                  </a:lnTo>
                  <a:lnTo>
                    <a:pt x="499875" y="143449"/>
                  </a:lnTo>
                  <a:lnTo>
                    <a:pt x="498841" y="145258"/>
                  </a:lnTo>
                  <a:lnTo>
                    <a:pt x="495740" y="145129"/>
                  </a:lnTo>
                  <a:lnTo>
                    <a:pt x="484109" y="150945"/>
                  </a:lnTo>
                  <a:lnTo>
                    <a:pt x="477776" y="151462"/>
                  </a:lnTo>
                  <a:lnTo>
                    <a:pt x="476355" y="152108"/>
                  </a:lnTo>
                  <a:lnTo>
                    <a:pt x="475450" y="153529"/>
                  </a:lnTo>
                  <a:lnTo>
                    <a:pt x="475450" y="154951"/>
                  </a:lnTo>
                  <a:lnTo>
                    <a:pt x="475579" y="156373"/>
                  </a:lnTo>
                  <a:lnTo>
                    <a:pt x="475321" y="157536"/>
                  </a:lnTo>
                  <a:lnTo>
                    <a:pt x="476484" y="158311"/>
                  </a:lnTo>
                  <a:lnTo>
                    <a:pt x="476872" y="159603"/>
                  </a:lnTo>
                  <a:lnTo>
                    <a:pt x="476742" y="162705"/>
                  </a:lnTo>
                  <a:lnTo>
                    <a:pt x="475321" y="159216"/>
                  </a:lnTo>
                  <a:lnTo>
                    <a:pt x="474158" y="157536"/>
                  </a:lnTo>
                  <a:lnTo>
                    <a:pt x="472607" y="156760"/>
                  </a:lnTo>
                  <a:lnTo>
                    <a:pt x="470669" y="156889"/>
                  </a:lnTo>
                  <a:lnTo>
                    <a:pt x="469893" y="157277"/>
                  </a:lnTo>
                  <a:lnTo>
                    <a:pt x="469376" y="158053"/>
                  </a:lnTo>
                  <a:lnTo>
                    <a:pt x="468213" y="159474"/>
                  </a:lnTo>
                  <a:lnTo>
                    <a:pt x="470022" y="171493"/>
                  </a:lnTo>
                  <a:lnTo>
                    <a:pt x="469247" y="171493"/>
                  </a:lnTo>
                  <a:lnTo>
                    <a:pt x="469247" y="170459"/>
                  </a:lnTo>
                  <a:lnTo>
                    <a:pt x="469118" y="169554"/>
                  </a:lnTo>
                  <a:lnTo>
                    <a:pt x="468859" y="168779"/>
                  </a:lnTo>
                  <a:lnTo>
                    <a:pt x="468472" y="167874"/>
                  </a:lnTo>
                  <a:lnTo>
                    <a:pt x="467825" y="172010"/>
                  </a:lnTo>
                  <a:lnTo>
                    <a:pt x="464077" y="183899"/>
                  </a:lnTo>
                  <a:lnTo>
                    <a:pt x="464724" y="184158"/>
                  </a:lnTo>
                  <a:lnTo>
                    <a:pt x="464982" y="184545"/>
                  </a:lnTo>
                  <a:lnTo>
                    <a:pt x="465111" y="184933"/>
                  </a:lnTo>
                  <a:lnTo>
                    <a:pt x="465499" y="185321"/>
                  </a:lnTo>
                  <a:lnTo>
                    <a:pt x="464207" y="186613"/>
                  </a:lnTo>
                  <a:lnTo>
                    <a:pt x="463819" y="188939"/>
                  </a:lnTo>
                  <a:lnTo>
                    <a:pt x="464077" y="193850"/>
                  </a:lnTo>
                  <a:lnTo>
                    <a:pt x="463819" y="196047"/>
                  </a:lnTo>
                  <a:lnTo>
                    <a:pt x="463173" y="198373"/>
                  </a:lnTo>
                  <a:lnTo>
                    <a:pt x="462268" y="200570"/>
                  </a:lnTo>
                  <a:lnTo>
                    <a:pt x="461364" y="202250"/>
                  </a:lnTo>
                  <a:lnTo>
                    <a:pt x="457487" y="206127"/>
                  </a:lnTo>
                  <a:lnTo>
                    <a:pt x="456970" y="207678"/>
                  </a:lnTo>
                  <a:lnTo>
                    <a:pt x="456065" y="208324"/>
                  </a:lnTo>
                  <a:lnTo>
                    <a:pt x="451025" y="210909"/>
                  </a:lnTo>
                  <a:lnTo>
                    <a:pt x="446243" y="218275"/>
                  </a:lnTo>
                  <a:lnTo>
                    <a:pt x="443400" y="218534"/>
                  </a:lnTo>
                  <a:lnTo>
                    <a:pt x="441979" y="219439"/>
                  </a:lnTo>
                  <a:lnTo>
                    <a:pt x="440040" y="223445"/>
                  </a:lnTo>
                  <a:lnTo>
                    <a:pt x="438618" y="225642"/>
                  </a:lnTo>
                  <a:lnTo>
                    <a:pt x="436939" y="227193"/>
                  </a:lnTo>
                  <a:lnTo>
                    <a:pt x="434871" y="228226"/>
                  </a:lnTo>
                  <a:lnTo>
                    <a:pt x="429960" y="228873"/>
                  </a:lnTo>
                  <a:lnTo>
                    <a:pt x="428151" y="229648"/>
                  </a:lnTo>
                  <a:lnTo>
                    <a:pt x="426858" y="230940"/>
                  </a:lnTo>
                  <a:lnTo>
                    <a:pt x="426212" y="232879"/>
                  </a:lnTo>
                  <a:lnTo>
                    <a:pt x="426988" y="238436"/>
                  </a:lnTo>
                  <a:lnTo>
                    <a:pt x="426083" y="240116"/>
                  </a:lnTo>
                  <a:lnTo>
                    <a:pt x="422335" y="239599"/>
                  </a:lnTo>
                  <a:lnTo>
                    <a:pt x="426083" y="238048"/>
                  </a:lnTo>
                  <a:lnTo>
                    <a:pt x="424920" y="236239"/>
                  </a:lnTo>
                  <a:lnTo>
                    <a:pt x="424015" y="234300"/>
                  </a:lnTo>
                  <a:lnTo>
                    <a:pt x="423369" y="232362"/>
                  </a:lnTo>
                  <a:lnTo>
                    <a:pt x="423110" y="230423"/>
                  </a:lnTo>
                  <a:lnTo>
                    <a:pt x="423886" y="228485"/>
                  </a:lnTo>
                  <a:lnTo>
                    <a:pt x="425824" y="227839"/>
                  </a:lnTo>
                  <a:lnTo>
                    <a:pt x="428280" y="227451"/>
                  </a:lnTo>
                  <a:lnTo>
                    <a:pt x="430348" y="226417"/>
                  </a:lnTo>
                  <a:lnTo>
                    <a:pt x="430735" y="225512"/>
                  </a:lnTo>
                  <a:lnTo>
                    <a:pt x="431252" y="222928"/>
                  </a:lnTo>
                  <a:lnTo>
                    <a:pt x="431640" y="221894"/>
                  </a:lnTo>
                  <a:lnTo>
                    <a:pt x="432674" y="220989"/>
                  </a:lnTo>
                  <a:lnTo>
                    <a:pt x="433966" y="220214"/>
                  </a:lnTo>
                  <a:lnTo>
                    <a:pt x="435000" y="219309"/>
                  </a:lnTo>
                  <a:lnTo>
                    <a:pt x="435517" y="217888"/>
                  </a:lnTo>
                  <a:lnTo>
                    <a:pt x="436680" y="216337"/>
                  </a:lnTo>
                  <a:lnTo>
                    <a:pt x="439006" y="214786"/>
                  </a:lnTo>
                  <a:lnTo>
                    <a:pt x="440945" y="212848"/>
                  </a:lnTo>
                  <a:lnTo>
                    <a:pt x="440686" y="210134"/>
                  </a:lnTo>
                  <a:lnTo>
                    <a:pt x="439135" y="209358"/>
                  </a:lnTo>
                  <a:lnTo>
                    <a:pt x="436680" y="209229"/>
                  </a:lnTo>
                  <a:lnTo>
                    <a:pt x="434354" y="208712"/>
                  </a:lnTo>
                  <a:lnTo>
                    <a:pt x="433320" y="206774"/>
                  </a:lnTo>
                  <a:lnTo>
                    <a:pt x="433449" y="205740"/>
                  </a:lnTo>
                  <a:lnTo>
                    <a:pt x="433966" y="203672"/>
                  </a:lnTo>
                  <a:lnTo>
                    <a:pt x="434095" y="202380"/>
                  </a:lnTo>
                  <a:lnTo>
                    <a:pt x="433966" y="199278"/>
                  </a:lnTo>
                  <a:lnTo>
                    <a:pt x="434095" y="198503"/>
                  </a:lnTo>
                  <a:lnTo>
                    <a:pt x="437972" y="191912"/>
                  </a:lnTo>
                  <a:lnTo>
                    <a:pt x="438489" y="189327"/>
                  </a:lnTo>
                  <a:lnTo>
                    <a:pt x="438231" y="184675"/>
                  </a:lnTo>
                  <a:lnTo>
                    <a:pt x="438360" y="182607"/>
                  </a:lnTo>
                  <a:lnTo>
                    <a:pt x="439135" y="180152"/>
                  </a:lnTo>
                  <a:lnTo>
                    <a:pt x="440428" y="177438"/>
                  </a:lnTo>
                  <a:lnTo>
                    <a:pt x="440557" y="176145"/>
                  </a:lnTo>
                  <a:lnTo>
                    <a:pt x="439911" y="175111"/>
                  </a:lnTo>
                  <a:lnTo>
                    <a:pt x="442495" y="172268"/>
                  </a:lnTo>
                  <a:lnTo>
                    <a:pt x="447923" y="161283"/>
                  </a:lnTo>
                  <a:lnTo>
                    <a:pt x="448311" y="160896"/>
                  </a:lnTo>
                  <a:lnTo>
                    <a:pt x="449087" y="159603"/>
                  </a:lnTo>
                  <a:lnTo>
                    <a:pt x="449603" y="158311"/>
                  </a:lnTo>
                  <a:lnTo>
                    <a:pt x="448957" y="157665"/>
                  </a:lnTo>
                  <a:lnTo>
                    <a:pt x="447277" y="157923"/>
                  </a:lnTo>
                  <a:lnTo>
                    <a:pt x="446631" y="158699"/>
                  </a:lnTo>
                  <a:lnTo>
                    <a:pt x="446243" y="159733"/>
                  </a:lnTo>
                  <a:lnTo>
                    <a:pt x="445339" y="160896"/>
                  </a:lnTo>
                  <a:lnTo>
                    <a:pt x="443271" y="162059"/>
                  </a:lnTo>
                  <a:lnTo>
                    <a:pt x="438360" y="164127"/>
                  </a:lnTo>
                  <a:lnTo>
                    <a:pt x="436809" y="165677"/>
                  </a:lnTo>
                  <a:lnTo>
                    <a:pt x="437197" y="164127"/>
                  </a:lnTo>
                  <a:lnTo>
                    <a:pt x="439265" y="162705"/>
                  </a:lnTo>
                  <a:lnTo>
                    <a:pt x="441849" y="161671"/>
                  </a:lnTo>
                  <a:lnTo>
                    <a:pt x="443788" y="161283"/>
                  </a:lnTo>
                  <a:lnTo>
                    <a:pt x="444434" y="160767"/>
                  </a:lnTo>
                  <a:lnTo>
                    <a:pt x="445726" y="157665"/>
                  </a:lnTo>
                  <a:lnTo>
                    <a:pt x="446890" y="156502"/>
                  </a:lnTo>
                  <a:lnTo>
                    <a:pt x="447794" y="156373"/>
                  </a:lnTo>
                  <a:lnTo>
                    <a:pt x="448828" y="156502"/>
                  </a:lnTo>
                  <a:lnTo>
                    <a:pt x="450120" y="156114"/>
                  </a:lnTo>
                  <a:lnTo>
                    <a:pt x="451542" y="154176"/>
                  </a:lnTo>
                  <a:lnTo>
                    <a:pt x="452705" y="150945"/>
                  </a:lnTo>
                  <a:lnTo>
                    <a:pt x="453739" y="145517"/>
                  </a:lnTo>
                  <a:lnTo>
                    <a:pt x="453093" y="142415"/>
                  </a:lnTo>
                  <a:lnTo>
                    <a:pt x="451413" y="142157"/>
                  </a:lnTo>
                  <a:lnTo>
                    <a:pt x="446373" y="145258"/>
                  </a:lnTo>
                  <a:lnTo>
                    <a:pt x="447148" y="143966"/>
                  </a:lnTo>
                  <a:lnTo>
                    <a:pt x="448440" y="142545"/>
                  </a:lnTo>
                  <a:lnTo>
                    <a:pt x="449862" y="141381"/>
                  </a:lnTo>
                  <a:lnTo>
                    <a:pt x="451671" y="140606"/>
                  </a:lnTo>
                  <a:lnTo>
                    <a:pt x="452317" y="140218"/>
                  </a:lnTo>
                  <a:lnTo>
                    <a:pt x="452834" y="140089"/>
                  </a:lnTo>
                  <a:lnTo>
                    <a:pt x="453093" y="140477"/>
                  </a:lnTo>
                  <a:lnTo>
                    <a:pt x="453222" y="140735"/>
                  </a:lnTo>
                  <a:lnTo>
                    <a:pt x="453610" y="141123"/>
                  </a:lnTo>
                  <a:lnTo>
                    <a:pt x="453997" y="141381"/>
                  </a:lnTo>
                  <a:lnTo>
                    <a:pt x="454256" y="141511"/>
                  </a:lnTo>
                  <a:lnTo>
                    <a:pt x="455031" y="141769"/>
                  </a:lnTo>
                  <a:lnTo>
                    <a:pt x="456194" y="143191"/>
                  </a:lnTo>
                  <a:lnTo>
                    <a:pt x="456840" y="143837"/>
                  </a:lnTo>
                  <a:lnTo>
                    <a:pt x="459037" y="144354"/>
                  </a:lnTo>
                  <a:lnTo>
                    <a:pt x="461493" y="144354"/>
                  </a:lnTo>
                  <a:lnTo>
                    <a:pt x="465241" y="143837"/>
                  </a:lnTo>
                  <a:lnTo>
                    <a:pt x="466662" y="143061"/>
                  </a:lnTo>
                  <a:lnTo>
                    <a:pt x="467567" y="141252"/>
                  </a:lnTo>
                  <a:lnTo>
                    <a:pt x="468601" y="136600"/>
                  </a:lnTo>
                  <a:lnTo>
                    <a:pt x="468730" y="134144"/>
                  </a:lnTo>
                  <a:lnTo>
                    <a:pt x="468472" y="132981"/>
                  </a:lnTo>
                  <a:lnTo>
                    <a:pt x="467955" y="132206"/>
                  </a:lnTo>
                  <a:lnTo>
                    <a:pt x="466533" y="130655"/>
                  </a:lnTo>
                  <a:lnTo>
                    <a:pt x="466275" y="130397"/>
                  </a:lnTo>
                  <a:lnTo>
                    <a:pt x="466145" y="126390"/>
                  </a:lnTo>
                  <a:lnTo>
                    <a:pt x="465758" y="124323"/>
                  </a:lnTo>
                  <a:lnTo>
                    <a:pt x="464853" y="122126"/>
                  </a:lnTo>
                  <a:lnTo>
                    <a:pt x="461881" y="118378"/>
                  </a:lnTo>
                  <a:lnTo>
                    <a:pt x="458133" y="116439"/>
                  </a:lnTo>
                  <a:lnTo>
                    <a:pt x="454256" y="116827"/>
                  </a:lnTo>
                  <a:lnTo>
                    <a:pt x="450896" y="119799"/>
                  </a:lnTo>
                  <a:lnTo>
                    <a:pt x="450508" y="120316"/>
                  </a:lnTo>
                  <a:lnTo>
                    <a:pt x="449862" y="120833"/>
                  </a:lnTo>
                  <a:lnTo>
                    <a:pt x="449474" y="121221"/>
                  </a:lnTo>
                  <a:lnTo>
                    <a:pt x="449216" y="122772"/>
                  </a:lnTo>
                  <a:lnTo>
                    <a:pt x="449474" y="122772"/>
                  </a:lnTo>
                  <a:lnTo>
                    <a:pt x="448311" y="124193"/>
                  </a:lnTo>
                  <a:lnTo>
                    <a:pt x="447406" y="124710"/>
                  </a:lnTo>
                  <a:lnTo>
                    <a:pt x="446243" y="124969"/>
                  </a:lnTo>
                  <a:lnTo>
                    <a:pt x="444951" y="125615"/>
                  </a:lnTo>
                  <a:lnTo>
                    <a:pt x="439911" y="130009"/>
                  </a:lnTo>
                  <a:lnTo>
                    <a:pt x="438618" y="132077"/>
                  </a:lnTo>
                  <a:lnTo>
                    <a:pt x="437972" y="134015"/>
                  </a:lnTo>
                  <a:lnTo>
                    <a:pt x="437714" y="136083"/>
                  </a:lnTo>
                  <a:lnTo>
                    <a:pt x="437714" y="138538"/>
                  </a:lnTo>
                  <a:lnTo>
                    <a:pt x="437972" y="139314"/>
                  </a:lnTo>
                  <a:lnTo>
                    <a:pt x="438489" y="140089"/>
                  </a:lnTo>
                  <a:lnTo>
                    <a:pt x="438748" y="140994"/>
                  </a:lnTo>
                  <a:lnTo>
                    <a:pt x="437714" y="143061"/>
                  </a:lnTo>
                  <a:lnTo>
                    <a:pt x="437455" y="144483"/>
                  </a:lnTo>
                  <a:lnTo>
                    <a:pt x="437585" y="145775"/>
                  </a:lnTo>
                  <a:lnTo>
                    <a:pt x="437843" y="146809"/>
                  </a:lnTo>
                  <a:lnTo>
                    <a:pt x="436680" y="145905"/>
                  </a:lnTo>
                  <a:lnTo>
                    <a:pt x="436551" y="144095"/>
                  </a:lnTo>
                  <a:lnTo>
                    <a:pt x="437068" y="139831"/>
                  </a:lnTo>
                  <a:lnTo>
                    <a:pt x="436551" y="139055"/>
                  </a:lnTo>
                  <a:lnTo>
                    <a:pt x="435388" y="139443"/>
                  </a:lnTo>
                  <a:lnTo>
                    <a:pt x="432545" y="141769"/>
                  </a:lnTo>
                  <a:lnTo>
                    <a:pt x="431898" y="142415"/>
                  </a:lnTo>
                  <a:lnTo>
                    <a:pt x="431511" y="143320"/>
                  </a:lnTo>
                  <a:lnTo>
                    <a:pt x="431252" y="144612"/>
                  </a:lnTo>
                  <a:lnTo>
                    <a:pt x="430477" y="143837"/>
                  </a:lnTo>
                  <a:lnTo>
                    <a:pt x="431123" y="142803"/>
                  </a:lnTo>
                  <a:lnTo>
                    <a:pt x="431640" y="140218"/>
                  </a:lnTo>
                  <a:lnTo>
                    <a:pt x="432286" y="139185"/>
                  </a:lnTo>
                  <a:lnTo>
                    <a:pt x="433578" y="138151"/>
                  </a:lnTo>
                  <a:lnTo>
                    <a:pt x="433966" y="137634"/>
                  </a:lnTo>
                  <a:lnTo>
                    <a:pt x="434871" y="135178"/>
                  </a:lnTo>
                  <a:lnTo>
                    <a:pt x="435517" y="134274"/>
                  </a:lnTo>
                  <a:lnTo>
                    <a:pt x="436292" y="133498"/>
                  </a:lnTo>
                  <a:lnTo>
                    <a:pt x="436939" y="132594"/>
                  </a:lnTo>
                  <a:lnTo>
                    <a:pt x="437197" y="131172"/>
                  </a:lnTo>
                  <a:lnTo>
                    <a:pt x="436551" y="129880"/>
                  </a:lnTo>
                  <a:lnTo>
                    <a:pt x="435129" y="130138"/>
                  </a:lnTo>
                  <a:lnTo>
                    <a:pt x="433578" y="131430"/>
                  </a:lnTo>
                  <a:lnTo>
                    <a:pt x="432803" y="132981"/>
                  </a:lnTo>
                  <a:lnTo>
                    <a:pt x="432028" y="132981"/>
                  </a:lnTo>
                  <a:lnTo>
                    <a:pt x="430994" y="129363"/>
                  </a:lnTo>
                  <a:lnTo>
                    <a:pt x="426600" y="130397"/>
                  </a:lnTo>
                  <a:lnTo>
                    <a:pt x="421818" y="132206"/>
                  </a:lnTo>
                  <a:lnTo>
                    <a:pt x="419750" y="130914"/>
                  </a:lnTo>
                  <a:lnTo>
                    <a:pt x="422206" y="131560"/>
                  </a:lnTo>
                  <a:lnTo>
                    <a:pt x="424015" y="130397"/>
                  </a:lnTo>
                  <a:lnTo>
                    <a:pt x="425566" y="128717"/>
                  </a:lnTo>
                  <a:lnTo>
                    <a:pt x="427505" y="127941"/>
                  </a:lnTo>
                  <a:lnTo>
                    <a:pt x="429443" y="128070"/>
                  </a:lnTo>
                  <a:lnTo>
                    <a:pt x="433708" y="129363"/>
                  </a:lnTo>
                  <a:lnTo>
                    <a:pt x="433320" y="127812"/>
                  </a:lnTo>
                  <a:lnTo>
                    <a:pt x="432932" y="127166"/>
                  </a:lnTo>
                  <a:lnTo>
                    <a:pt x="432157" y="126390"/>
                  </a:lnTo>
                  <a:lnTo>
                    <a:pt x="435517" y="126649"/>
                  </a:lnTo>
                  <a:lnTo>
                    <a:pt x="437714" y="125744"/>
                  </a:lnTo>
                  <a:lnTo>
                    <a:pt x="441849" y="121350"/>
                  </a:lnTo>
                  <a:lnTo>
                    <a:pt x="444305" y="119670"/>
                  </a:lnTo>
                  <a:lnTo>
                    <a:pt x="444951" y="118766"/>
                  </a:lnTo>
                  <a:lnTo>
                    <a:pt x="443917" y="117732"/>
                  </a:lnTo>
                  <a:lnTo>
                    <a:pt x="443400" y="117861"/>
                  </a:lnTo>
                  <a:lnTo>
                    <a:pt x="441979" y="118119"/>
                  </a:lnTo>
                  <a:lnTo>
                    <a:pt x="440299" y="118119"/>
                  </a:lnTo>
                  <a:lnTo>
                    <a:pt x="438877" y="117732"/>
                  </a:lnTo>
                  <a:lnTo>
                    <a:pt x="439523" y="116956"/>
                  </a:lnTo>
                  <a:lnTo>
                    <a:pt x="442883" y="117473"/>
                  </a:lnTo>
                  <a:lnTo>
                    <a:pt x="445985" y="114113"/>
                  </a:lnTo>
                  <a:lnTo>
                    <a:pt x="448699" y="110365"/>
                  </a:lnTo>
                  <a:lnTo>
                    <a:pt x="450637" y="109590"/>
                  </a:lnTo>
                  <a:lnTo>
                    <a:pt x="454385" y="106876"/>
                  </a:lnTo>
                  <a:lnTo>
                    <a:pt x="455031" y="105971"/>
                  </a:lnTo>
                  <a:lnTo>
                    <a:pt x="454773" y="104938"/>
                  </a:lnTo>
                  <a:lnTo>
                    <a:pt x="453868" y="104550"/>
                  </a:lnTo>
                  <a:lnTo>
                    <a:pt x="452059" y="104550"/>
                  </a:lnTo>
                  <a:lnTo>
                    <a:pt x="449991" y="104162"/>
                  </a:lnTo>
                  <a:lnTo>
                    <a:pt x="447794" y="104162"/>
                  </a:lnTo>
                  <a:lnTo>
                    <a:pt x="445726" y="104679"/>
                  </a:lnTo>
                  <a:lnTo>
                    <a:pt x="443917" y="105842"/>
                  </a:lnTo>
                  <a:lnTo>
                    <a:pt x="443400" y="105325"/>
                  </a:lnTo>
                  <a:lnTo>
                    <a:pt x="443013" y="105196"/>
                  </a:lnTo>
                  <a:lnTo>
                    <a:pt x="442495" y="105196"/>
                  </a:lnTo>
                  <a:lnTo>
                    <a:pt x="441849" y="105067"/>
                  </a:lnTo>
                  <a:lnTo>
                    <a:pt x="444951" y="104162"/>
                  </a:lnTo>
                  <a:lnTo>
                    <a:pt x="446373" y="103387"/>
                  </a:lnTo>
                  <a:lnTo>
                    <a:pt x="447536" y="102094"/>
                  </a:lnTo>
                  <a:lnTo>
                    <a:pt x="449087" y="102611"/>
                  </a:lnTo>
                  <a:lnTo>
                    <a:pt x="451283" y="102741"/>
                  </a:lnTo>
                  <a:lnTo>
                    <a:pt x="453351" y="102482"/>
                  </a:lnTo>
                  <a:lnTo>
                    <a:pt x="454256" y="101707"/>
                  </a:lnTo>
                  <a:lnTo>
                    <a:pt x="454514" y="101190"/>
                  </a:lnTo>
                  <a:lnTo>
                    <a:pt x="455031" y="100802"/>
                  </a:lnTo>
                  <a:lnTo>
                    <a:pt x="455548" y="100285"/>
                  </a:lnTo>
                  <a:lnTo>
                    <a:pt x="455807" y="99381"/>
                  </a:lnTo>
                  <a:lnTo>
                    <a:pt x="455548" y="98347"/>
                  </a:lnTo>
                  <a:lnTo>
                    <a:pt x="454643" y="96537"/>
                  </a:lnTo>
                  <a:lnTo>
                    <a:pt x="454385" y="95633"/>
                  </a:lnTo>
                  <a:lnTo>
                    <a:pt x="454256" y="93953"/>
                  </a:lnTo>
                  <a:lnTo>
                    <a:pt x="453868" y="92144"/>
                  </a:lnTo>
                  <a:lnTo>
                    <a:pt x="453222" y="90463"/>
                  </a:lnTo>
                  <a:lnTo>
                    <a:pt x="452317" y="89430"/>
                  </a:lnTo>
                  <a:lnTo>
                    <a:pt x="450766" y="89042"/>
                  </a:lnTo>
                  <a:lnTo>
                    <a:pt x="447019" y="89947"/>
                  </a:lnTo>
                  <a:lnTo>
                    <a:pt x="444951" y="90076"/>
                  </a:lnTo>
                  <a:lnTo>
                    <a:pt x="446243" y="88525"/>
                  </a:lnTo>
                  <a:lnTo>
                    <a:pt x="450637" y="86199"/>
                  </a:lnTo>
                  <a:lnTo>
                    <a:pt x="452317" y="84260"/>
                  </a:lnTo>
                  <a:lnTo>
                    <a:pt x="451930" y="83485"/>
                  </a:lnTo>
                  <a:lnTo>
                    <a:pt x="451413" y="82839"/>
                  </a:lnTo>
                  <a:lnTo>
                    <a:pt x="450766" y="82322"/>
                  </a:lnTo>
                  <a:lnTo>
                    <a:pt x="449991" y="81934"/>
                  </a:lnTo>
                  <a:lnTo>
                    <a:pt x="449603" y="83226"/>
                  </a:lnTo>
                  <a:lnTo>
                    <a:pt x="448828" y="83873"/>
                  </a:lnTo>
                  <a:lnTo>
                    <a:pt x="447923" y="84519"/>
                  </a:lnTo>
                  <a:lnTo>
                    <a:pt x="447148" y="85553"/>
                  </a:lnTo>
                  <a:lnTo>
                    <a:pt x="446502" y="84777"/>
                  </a:lnTo>
                  <a:lnTo>
                    <a:pt x="447277" y="83743"/>
                  </a:lnTo>
                  <a:lnTo>
                    <a:pt x="447794" y="82322"/>
                  </a:lnTo>
                  <a:lnTo>
                    <a:pt x="447794" y="81029"/>
                  </a:lnTo>
                  <a:lnTo>
                    <a:pt x="446890" y="80512"/>
                  </a:lnTo>
                  <a:lnTo>
                    <a:pt x="445597" y="81029"/>
                  </a:lnTo>
                  <a:lnTo>
                    <a:pt x="445080" y="82193"/>
                  </a:lnTo>
                  <a:lnTo>
                    <a:pt x="444822" y="83485"/>
                  </a:lnTo>
                  <a:lnTo>
                    <a:pt x="444176" y="84260"/>
                  </a:lnTo>
                  <a:lnTo>
                    <a:pt x="443659" y="84002"/>
                  </a:lnTo>
                  <a:lnTo>
                    <a:pt x="443271" y="83226"/>
                  </a:lnTo>
                  <a:lnTo>
                    <a:pt x="442625" y="82451"/>
                  </a:lnTo>
                  <a:lnTo>
                    <a:pt x="441720" y="82063"/>
                  </a:lnTo>
                  <a:lnTo>
                    <a:pt x="440428" y="82322"/>
                  </a:lnTo>
                  <a:lnTo>
                    <a:pt x="438618" y="83226"/>
                  </a:lnTo>
                  <a:lnTo>
                    <a:pt x="437455" y="83485"/>
                  </a:lnTo>
                  <a:lnTo>
                    <a:pt x="437455" y="82839"/>
                  </a:lnTo>
                  <a:lnTo>
                    <a:pt x="439006" y="82580"/>
                  </a:lnTo>
                  <a:lnTo>
                    <a:pt x="439394" y="81546"/>
                  </a:lnTo>
                  <a:lnTo>
                    <a:pt x="439394" y="80125"/>
                  </a:lnTo>
                  <a:lnTo>
                    <a:pt x="439523" y="78445"/>
                  </a:lnTo>
                  <a:lnTo>
                    <a:pt x="440169" y="76635"/>
                  </a:lnTo>
                  <a:lnTo>
                    <a:pt x="440945" y="75343"/>
                  </a:lnTo>
                  <a:lnTo>
                    <a:pt x="442108" y="74309"/>
                  </a:lnTo>
                  <a:lnTo>
                    <a:pt x="443788" y="73405"/>
                  </a:lnTo>
                  <a:lnTo>
                    <a:pt x="437972" y="70432"/>
                  </a:lnTo>
                  <a:lnTo>
                    <a:pt x="437714" y="73922"/>
                  </a:lnTo>
                  <a:lnTo>
                    <a:pt x="436809" y="77669"/>
                  </a:lnTo>
                  <a:lnTo>
                    <a:pt x="435000" y="80383"/>
                  </a:lnTo>
                  <a:lnTo>
                    <a:pt x="431898" y="80642"/>
                  </a:lnTo>
                  <a:lnTo>
                    <a:pt x="430865" y="79608"/>
                  </a:lnTo>
                  <a:lnTo>
                    <a:pt x="430218" y="78316"/>
                  </a:lnTo>
                  <a:lnTo>
                    <a:pt x="429443" y="77799"/>
                  </a:lnTo>
                  <a:lnTo>
                    <a:pt x="427892" y="78832"/>
                  </a:lnTo>
                  <a:lnTo>
                    <a:pt x="426600" y="79479"/>
                  </a:lnTo>
                  <a:lnTo>
                    <a:pt x="422464" y="80125"/>
                  </a:lnTo>
                  <a:lnTo>
                    <a:pt x="420784" y="80771"/>
                  </a:lnTo>
                  <a:lnTo>
                    <a:pt x="420784" y="79996"/>
                  </a:lnTo>
                  <a:lnTo>
                    <a:pt x="427117" y="76506"/>
                  </a:lnTo>
                  <a:lnTo>
                    <a:pt x="430348" y="74051"/>
                  </a:lnTo>
                  <a:lnTo>
                    <a:pt x="431769" y="70691"/>
                  </a:lnTo>
                  <a:lnTo>
                    <a:pt x="429960" y="71337"/>
                  </a:lnTo>
                  <a:lnTo>
                    <a:pt x="428151" y="70949"/>
                  </a:lnTo>
                  <a:lnTo>
                    <a:pt x="424532" y="69269"/>
                  </a:lnTo>
                  <a:lnTo>
                    <a:pt x="425307" y="71725"/>
                  </a:lnTo>
                  <a:lnTo>
                    <a:pt x="424661" y="73146"/>
                  </a:lnTo>
                  <a:lnTo>
                    <a:pt x="420138" y="75731"/>
                  </a:lnTo>
                  <a:lnTo>
                    <a:pt x="419621" y="75214"/>
                  </a:lnTo>
                  <a:lnTo>
                    <a:pt x="419492" y="74955"/>
                  </a:lnTo>
                  <a:lnTo>
                    <a:pt x="419363" y="74438"/>
                  </a:lnTo>
                  <a:lnTo>
                    <a:pt x="420784" y="74051"/>
                  </a:lnTo>
                  <a:lnTo>
                    <a:pt x="421172" y="74180"/>
                  </a:lnTo>
                  <a:lnTo>
                    <a:pt x="421689" y="74568"/>
                  </a:lnTo>
                  <a:lnTo>
                    <a:pt x="422594" y="73663"/>
                  </a:lnTo>
                  <a:lnTo>
                    <a:pt x="423498" y="73146"/>
                  </a:lnTo>
                  <a:lnTo>
                    <a:pt x="424920" y="71725"/>
                  </a:lnTo>
                  <a:lnTo>
                    <a:pt x="424403" y="71337"/>
                  </a:lnTo>
                  <a:lnTo>
                    <a:pt x="422464" y="70174"/>
                  </a:lnTo>
                  <a:lnTo>
                    <a:pt x="421689" y="69528"/>
                  </a:lnTo>
                  <a:lnTo>
                    <a:pt x="423628" y="67460"/>
                  </a:lnTo>
                  <a:lnTo>
                    <a:pt x="423886" y="67331"/>
                  </a:lnTo>
                  <a:lnTo>
                    <a:pt x="423240" y="66297"/>
                  </a:lnTo>
                  <a:lnTo>
                    <a:pt x="421301" y="64875"/>
                  </a:lnTo>
                  <a:lnTo>
                    <a:pt x="420914" y="64100"/>
                  </a:lnTo>
                  <a:lnTo>
                    <a:pt x="421431" y="62807"/>
                  </a:lnTo>
                  <a:lnTo>
                    <a:pt x="422464" y="61774"/>
                  </a:lnTo>
                  <a:lnTo>
                    <a:pt x="422852" y="60481"/>
                  </a:lnTo>
                  <a:lnTo>
                    <a:pt x="421689" y="58672"/>
                  </a:lnTo>
                  <a:lnTo>
                    <a:pt x="421560" y="59577"/>
                  </a:lnTo>
                  <a:lnTo>
                    <a:pt x="420784" y="61515"/>
                  </a:lnTo>
                  <a:lnTo>
                    <a:pt x="420784" y="59577"/>
                  </a:lnTo>
                  <a:lnTo>
                    <a:pt x="420397" y="57638"/>
                  </a:lnTo>
                  <a:lnTo>
                    <a:pt x="419492" y="55958"/>
                  </a:lnTo>
                  <a:lnTo>
                    <a:pt x="417941" y="54924"/>
                  </a:lnTo>
                  <a:lnTo>
                    <a:pt x="417812" y="55700"/>
                  </a:lnTo>
                  <a:lnTo>
                    <a:pt x="417554" y="56217"/>
                  </a:lnTo>
                  <a:lnTo>
                    <a:pt x="417295" y="56604"/>
                  </a:lnTo>
                  <a:lnTo>
                    <a:pt x="417036" y="57121"/>
                  </a:lnTo>
                  <a:lnTo>
                    <a:pt x="417812" y="57121"/>
                  </a:lnTo>
                  <a:lnTo>
                    <a:pt x="416907" y="58672"/>
                  </a:lnTo>
                  <a:lnTo>
                    <a:pt x="416390" y="60352"/>
                  </a:lnTo>
                  <a:lnTo>
                    <a:pt x="416778" y="61774"/>
                  </a:lnTo>
                  <a:lnTo>
                    <a:pt x="418587" y="62420"/>
                  </a:lnTo>
                  <a:lnTo>
                    <a:pt x="416778" y="63066"/>
                  </a:lnTo>
                  <a:lnTo>
                    <a:pt x="415357" y="61903"/>
                  </a:lnTo>
                  <a:lnTo>
                    <a:pt x="414064" y="60094"/>
                  </a:lnTo>
                  <a:lnTo>
                    <a:pt x="412772" y="58801"/>
                  </a:lnTo>
                  <a:lnTo>
                    <a:pt x="411221" y="59706"/>
                  </a:lnTo>
                  <a:lnTo>
                    <a:pt x="410833" y="60481"/>
                  </a:lnTo>
                  <a:lnTo>
                    <a:pt x="410962" y="61257"/>
                  </a:lnTo>
                  <a:lnTo>
                    <a:pt x="410058" y="64358"/>
                  </a:lnTo>
                  <a:lnTo>
                    <a:pt x="409412" y="64746"/>
                  </a:lnTo>
                  <a:lnTo>
                    <a:pt x="407732" y="64487"/>
                  </a:lnTo>
                  <a:lnTo>
                    <a:pt x="409670" y="63583"/>
                  </a:lnTo>
                  <a:lnTo>
                    <a:pt x="409024" y="61644"/>
                  </a:lnTo>
                  <a:lnTo>
                    <a:pt x="407086" y="59706"/>
                  </a:lnTo>
                  <a:lnTo>
                    <a:pt x="405535" y="58672"/>
                  </a:lnTo>
                  <a:lnTo>
                    <a:pt x="406569" y="58284"/>
                  </a:lnTo>
                  <a:lnTo>
                    <a:pt x="408507" y="58672"/>
                  </a:lnTo>
                  <a:lnTo>
                    <a:pt x="410058" y="58672"/>
                  </a:lnTo>
                  <a:lnTo>
                    <a:pt x="409283" y="56475"/>
                  </a:lnTo>
                  <a:lnTo>
                    <a:pt x="409283" y="54666"/>
                  </a:lnTo>
                  <a:lnTo>
                    <a:pt x="409929" y="53115"/>
                  </a:lnTo>
                  <a:lnTo>
                    <a:pt x="411609" y="51047"/>
                  </a:lnTo>
                  <a:lnTo>
                    <a:pt x="412255" y="49367"/>
                  </a:lnTo>
                  <a:lnTo>
                    <a:pt x="412901" y="48592"/>
                  </a:lnTo>
                  <a:lnTo>
                    <a:pt x="413935" y="47946"/>
                  </a:lnTo>
                  <a:lnTo>
                    <a:pt x="416003" y="46912"/>
                  </a:lnTo>
                  <a:lnTo>
                    <a:pt x="416520" y="46395"/>
                  </a:lnTo>
                  <a:lnTo>
                    <a:pt x="416649" y="45619"/>
                  </a:lnTo>
                  <a:lnTo>
                    <a:pt x="416520" y="42389"/>
                  </a:lnTo>
                  <a:lnTo>
                    <a:pt x="416132" y="41355"/>
                  </a:lnTo>
                  <a:lnTo>
                    <a:pt x="415357" y="40321"/>
                  </a:lnTo>
                  <a:lnTo>
                    <a:pt x="414581" y="39675"/>
                  </a:lnTo>
                  <a:lnTo>
                    <a:pt x="414193" y="40062"/>
                  </a:lnTo>
                  <a:lnTo>
                    <a:pt x="413418" y="41742"/>
                  </a:lnTo>
                  <a:lnTo>
                    <a:pt x="411609" y="43293"/>
                  </a:lnTo>
                  <a:lnTo>
                    <a:pt x="409412" y="44586"/>
                  </a:lnTo>
                  <a:lnTo>
                    <a:pt x="407473" y="45490"/>
                  </a:lnTo>
                  <a:lnTo>
                    <a:pt x="407473" y="46266"/>
                  </a:lnTo>
                  <a:lnTo>
                    <a:pt x="408249" y="46266"/>
                  </a:lnTo>
                  <a:lnTo>
                    <a:pt x="408249" y="47041"/>
                  </a:lnTo>
                  <a:lnTo>
                    <a:pt x="406052" y="47170"/>
                  </a:lnTo>
                  <a:lnTo>
                    <a:pt x="405276" y="48075"/>
                  </a:lnTo>
                  <a:lnTo>
                    <a:pt x="405276" y="51306"/>
                  </a:lnTo>
                  <a:lnTo>
                    <a:pt x="404630" y="53115"/>
                  </a:lnTo>
                  <a:lnTo>
                    <a:pt x="403855" y="54795"/>
                  </a:lnTo>
                  <a:lnTo>
                    <a:pt x="403338" y="56346"/>
                  </a:lnTo>
                  <a:lnTo>
                    <a:pt x="403855" y="57897"/>
                  </a:lnTo>
                  <a:lnTo>
                    <a:pt x="400753" y="56604"/>
                  </a:lnTo>
                  <a:lnTo>
                    <a:pt x="399332" y="56734"/>
                  </a:lnTo>
                  <a:lnTo>
                    <a:pt x="398556" y="58672"/>
                  </a:lnTo>
                  <a:lnTo>
                    <a:pt x="397910" y="58672"/>
                  </a:lnTo>
                  <a:lnTo>
                    <a:pt x="398039" y="56346"/>
                  </a:lnTo>
                  <a:lnTo>
                    <a:pt x="399590" y="55183"/>
                  </a:lnTo>
                  <a:lnTo>
                    <a:pt x="401787" y="54537"/>
                  </a:lnTo>
                  <a:lnTo>
                    <a:pt x="403725" y="53632"/>
                  </a:lnTo>
                  <a:lnTo>
                    <a:pt x="403725" y="52986"/>
                  </a:lnTo>
                  <a:lnTo>
                    <a:pt x="402304" y="51952"/>
                  </a:lnTo>
                  <a:lnTo>
                    <a:pt x="400753" y="51823"/>
                  </a:lnTo>
                  <a:lnTo>
                    <a:pt x="399202" y="51564"/>
                  </a:lnTo>
                  <a:lnTo>
                    <a:pt x="397910" y="50013"/>
                  </a:lnTo>
                  <a:lnTo>
                    <a:pt x="400495" y="50660"/>
                  </a:lnTo>
                  <a:lnTo>
                    <a:pt x="400624" y="48980"/>
                  </a:lnTo>
                  <a:lnTo>
                    <a:pt x="399461" y="47041"/>
                  </a:lnTo>
                  <a:lnTo>
                    <a:pt x="398168" y="46653"/>
                  </a:lnTo>
                  <a:lnTo>
                    <a:pt x="397264" y="46912"/>
                  </a:lnTo>
                  <a:lnTo>
                    <a:pt x="395972" y="46653"/>
                  </a:lnTo>
                  <a:lnTo>
                    <a:pt x="394808" y="46136"/>
                  </a:lnTo>
                  <a:lnTo>
                    <a:pt x="394033" y="45619"/>
                  </a:lnTo>
                  <a:lnTo>
                    <a:pt x="393516" y="44456"/>
                  </a:lnTo>
                  <a:lnTo>
                    <a:pt x="393387" y="40450"/>
                  </a:lnTo>
                  <a:lnTo>
                    <a:pt x="392611" y="42776"/>
                  </a:lnTo>
                  <a:lnTo>
                    <a:pt x="392482" y="44973"/>
                  </a:lnTo>
                  <a:lnTo>
                    <a:pt x="391707" y="46395"/>
                  </a:lnTo>
                  <a:lnTo>
                    <a:pt x="388993" y="46395"/>
                  </a:lnTo>
                  <a:lnTo>
                    <a:pt x="391448" y="46136"/>
                  </a:lnTo>
                  <a:lnTo>
                    <a:pt x="391448" y="45102"/>
                  </a:lnTo>
                  <a:lnTo>
                    <a:pt x="390414" y="44327"/>
                  </a:lnTo>
                  <a:lnTo>
                    <a:pt x="389768" y="44586"/>
                  </a:lnTo>
                  <a:lnTo>
                    <a:pt x="389122" y="45232"/>
                  </a:lnTo>
                  <a:lnTo>
                    <a:pt x="387830" y="45749"/>
                  </a:lnTo>
                  <a:lnTo>
                    <a:pt x="386537" y="46783"/>
                  </a:lnTo>
                  <a:lnTo>
                    <a:pt x="386150" y="48592"/>
                  </a:lnTo>
                  <a:lnTo>
                    <a:pt x="385374" y="48592"/>
                  </a:lnTo>
                  <a:lnTo>
                    <a:pt x="384340" y="46136"/>
                  </a:lnTo>
                  <a:lnTo>
                    <a:pt x="382790" y="46266"/>
                  </a:lnTo>
                  <a:lnTo>
                    <a:pt x="381497" y="48075"/>
                  </a:lnTo>
                  <a:lnTo>
                    <a:pt x="381368" y="50401"/>
                  </a:lnTo>
                  <a:lnTo>
                    <a:pt x="378783" y="50401"/>
                  </a:lnTo>
                  <a:lnTo>
                    <a:pt x="376328" y="52727"/>
                  </a:lnTo>
                  <a:lnTo>
                    <a:pt x="374131" y="56087"/>
                  </a:lnTo>
                  <a:lnTo>
                    <a:pt x="373226" y="59060"/>
                  </a:lnTo>
                  <a:lnTo>
                    <a:pt x="373873" y="60869"/>
                  </a:lnTo>
                  <a:lnTo>
                    <a:pt x="376328" y="64229"/>
                  </a:lnTo>
                  <a:lnTo>
                    <a:pt x="376845" y="65909"/>
                  </a:lnTo>
                  <a:lnTo>
                    <a:pt x="376199" y="66943"/>
                  </a:lnTo>
                  <a:lnTo>
                    <a:pt x="372580" y="68365"/>
                  </a:lnTo>
                  <a:lnTo>
                    <a:pt x="371029" y="69269"/>
                  </a:lnTo>
                  <a:lnTo>
                    <a:pt x="371546" y="71208"/>
                  </a:lnTo>
                  <a:lnTo>
                    <a:pt x="370125" y="72371"/>
                  </a:lnTo>
                  <a:lnTo>
                    <a:pt x="365989" y="73663"/>
                  </a:lnTo>
                  <a:lnTo>
                    <a:pt x="364439" y="72888"/>
                  </a:lnTo>
                  <a:lnTo>
                    <a:pt x="363146" y="72112"/>
                  </a:lnTo>
                  <a:lnTo>
                    <a:pt x="362242" y="70949"/>
                  </a:lnTo>
                  <a:lnTo>
                    <a:pt x="361595" y="69269"/>
                  </a:lnTo>
                  <a:lnTo>
                    <a:pt x="361466" y="67201"/>
                  </a:lnTo>
                  <a:lnTo>
                    <a:pt x="361854" y="65392"/>
                  </a:lnTo>
                  <a:lnTo>
                    <a:pt x="362500" y="63841"/>
                  </a:lnTo>
                  <a:lnTo>
                    <a:pt x="363792" y="59318"/>
                  </a:lnTo>
                  <a:lnTo>
                    <a:pt x="364180" y="56346"/>
                  </a:lnTo>
                  <a:lnTo>
                    <a:pt x="363017" y="53890"/>
                  </a:lnTo>
                  <a:lnTo>
                    <a:pt x="359269" y="52469"/>
                  </a:lnTo>
                  <a:lnTo>
                    <a:pt x="359398" y="53503"/>
                  </a:lnTo>
                  <a:lnTo>
                    <a:pt x="359269" y="54407"/>
                  </a:lnTo>
                  <a:lnTo>
                    <a:pt x="358623" y="56087"/>
                  </a:lnTo>
                  <a:lnTo>
                    <a:pt x="357718" y="53890"/>
                  </a:lnTo>
                  <a:lnTo>
                    <a:pt x="358623" y="52598"/>
                  </a:lnTo>
                  <a:lnTo>
                    <a:pt x="360045" y="51823"/>
                  </a:lnTo>
                  <a:lnTo>
                    <a:pt x="360820" y="51306"/>
                  </a:lnTo>
                  <a:lnTo>
                    <a:pt x="360949" y="49626"/>
                  </a:lnTo>
                  <a:lnTo>
                    <a:pt x="361466" y="47946"/>
                  </a:lnTo>
                  <a:lnTo>
                    <a:pt x="362112" y="46395"/>
                  </a:lnTo>
                  <a:lnTo>
                    <a:pt x="362888" y="45102"/>
                  </a:lnTo>
                  <a:lnTo>
                    <a:pt x="361854" y="44586"/>
                  </a:lnTo>
                  <a:lnTo>
                    <a:pt x="360820" y="44715"/>
                  </a:lnTo>
                  <a:lnTo>
                    <a:pt x="359915" y="45361"/>
                  </a:lnTo>
                  <a:lnTo>
                    <a:pt x="359011" y="46653"/>
                  </a:lnTo>
                  <a:lnTo>
                    <a:pt x="358365" y="45878"/>
                  </a:lnTo>
                  <a:lnTo>
                    <a:pt x="361208" y="43939"/>
                  </a:lnTo>
                  <a:lnTo>
                    <a:pt x="363792" y="42518"/>
                  </a:lnTo>
                  <a:lnTo>
                    <a:pt x="365860" y="40838"/>
                  </a:lnTo>
                  <a:lnTo>
                    <a:pt x="367152" y="37865"/>
                  </a:lnTo>
                  <a:lnTo>
                    <a:pt x="367540" y="38124"/>
                  </a:lnTo>
                  <a:lnTo>
                    <a:pt x="368574" y="38641"/>
                  </a:lnTo>
                  <a:lnTo>
                    <a:pt x="367411" y="30111"/>
                  </a:lnTo>
                  <a:lnTo>
                    <a:pt x="367152" y="29078"/>
                  </a:lnTo>
                  <a:lnTo>
                    <a:pt x="365472" y="27656"/>
                  </a:lnTo>
                  <a:lnTo>
                    <a:pt x="363275" y="27527"/>
                  </a:lnTo>
                  <a:lnTo>
                    <a:pt x="361854" y="28431"/>
                  </a:lnTo>
                  <a:lnTo>
                    <a:pt x="362500" y="30111"/>
                  </a:lnTo>
                  <a:lnTo>
                    <a:pt x="362371" y="31533"/>
                  </a:lnTo>
                  <a:lnTo>
                    <a:pt x="359786" y="36185"/>
                  </a:lnTo>
                  <a:lnTo>
                    <a:pt x="359140" y="38124"/>
                  </a:lnTo>
                  <a:lnTo>
                    <a:pt x="357460" y="40838"/>
                  </a:lnTo>
                  <a:lnTo>
                    <a:pt x="357331" y="41355"/>
                  </a:lnTo>
                  <a:lnTo>
                    <a:pt x="356684" y="41613"/>
                  </a:lnTo>
                  <a:lnTo>
                    <a:pt x="355134" y="43035"/>
                  </a:lnTo>
                  <a:lnTo>
                    <a:pt x="354100" y="43552"/>
                  </a:lnTo>
                  <a:lnTo>
                    <a:pt x="354746" y="42776"/>
                  </a:lnTo>
                  <a:lnTo>
                    <a:pt x="355392" y="41484"/>
                  </a:lnTo>
                  <a:lnTo>
                    <a:pt x="355651" y="40321"/>
                  </a:lnTo>
                  <a:lnTo>
                    <a:pt x="355134" y="39804"/>
                  </a:lnTo>
                  <a:lnTo>
                    <a:pt x="354229" y="40321"/>
                  </a:lnTo>
                  <a:lnTo>
                    <a:pt x="353066" y="41355"/>
                  </a:lnTo>
                  <a:lnTo>
                    <a:pt x="352161" y="42518"/>
                  </a:lnTo>
                  <a:lnTo>
                    <a:pt x="351774" y="43164"/>
                  </a:lnTo>
                  <a:lnTo>
                    <a:pt x="352420" y="47946"/>
                  </a:lnTo>
                  <a:lnTo>
                    <a:pt x="352291" y="50401"/>
                  </a:lnTo>
                  <a:lnTo>
                    <a:pt x="350998" y="52340"/>
                  </a:lnTo>
                  <a:lnTo>
                    <a:pt x="350740" y="50918"/>
                  </a:lnTo>
                  <a:lnTo>
                    <a:pt x="350869" y="49109"/>
                  </a:lnTo>
                  <a:lnTo>
                    <a:pt x="350481" y="47429"/>
                  </a:lnTo>
                  <a:lnTo>
                    <a:pt x="348672" y="46395"/>
                  </a:lnTo>
                  <a:lnTo>
                    <a:pt x="348155" y="47170"/>
                  </a:lnTo>
                  <a:lnTo>
                    <a:pt x="347638" y="47687"/>
                  </a:lnTo>
                  <a:lnTo>
                    <a:pt x="346863" y="47816"/>
                  </a:lnTo>
                  <a:lnTo>
                    <a:pt x="345700" y="47816"/>
                  </a:lnTo>
                  <a:lnTo>
                    <a:pt x="346863" y="46653"/>
                  </a:lnTo>
                  <a:lnTo>
                    <a:pt x="347121" y="45361"/>
                  </a:lnTo>
                  <a:lnTo>
                    <a:pt x="346475" y="44198"/>
                  </a:lnTo>
                  <a:lnTo>
                    <a:pt x="345053" y="43552"/>
                  </a:lnTo>
                  <a:lnTo>
                    <a:pt x="344924" y="44844"/>
                  </a:lnTo>
                  <a:lnTo>
                    <a:pt x="344407" y="45749"/>
                  </a:lnTo>
                  <a:lnTo>
                    <a:pt x="343503" y="46395"/>
                  </a:lnTo>
                  <a:lnTo>
                    <a:pt x="342210" y="46524"/>
                  </a:lnTo>
                  <a:lnTo>
                    <a:pt x="344795" y="43681"/>
                  </a:lnTo>
                  <a:lnTo>
                    <a:pt x="346346" y="43035"/>
                  </a:lnTo>
                  <a:lnTo>
                    <a:pt x="348801" y="43552"/>
                  </a:lnTo>
                  <a:lnTo>
                    <a:pt x="348284" y="41742"/>
                  </a:lnTo>
                  <a:lnTo>
                    <a:pt x="348543" y="39933"/>
                  </a:lnTo>
                  <a:lnTo>
                    <a:pt x="349577" y="36961"/>
                  </a:lnTo>
                  <a:lnTo>
                    <a:pt x="349706" y="35927"/>
                  </a:lnTo>
                  <a:lnTo>
                    <a:pt x="349706" y="35022"/>
                  </a:lnTo>
                  <a:lnTo>
                    <a:pt x="349835" y="34118"/>
                  </a:lnTo>
                  <a:lnTo>
                    <a:pt x="350352" y="33213"/>
                  </a:lnTo>
                  <a:lnTo>
                    <a:pt x="350869" y="32955"/>
                  </a:lnTo>
                  <a:lnTo>
                    <a:pt x="353324" y="32179"/>
                  </a:lnTo>
                  <a:lnTo>
                    <a:pt x="353841" y="31791"/>
                  </a:lnTo>
                  <a:lnTo>
                    <a:pt x="355780" y="31921"/>
                  </a:lnTo>
                  <a:lnTo>
                    <a:pt x="356297" y="31533"/>
                  </a:lnTo>
                  <a:lnTo>
                    <a:pt x="356426" y="30758"/>
                  </a:lnTo>
                  <a:lnTo>
                    <a:pt x="356943" y="28948"/>
                  </a:lnTo>
                  <a:lnTo>
                    <a:pt x="357072" y="27914"/>
                  </a:lnTo>
                  <a:lnTo>
                    <a:pt x="356814" y="25847"/>
                  </a:lnTo>
                  <a:lnTo>
                    <a:pt x="356038" y="24813"/>
                  </a:lnTo>
                  <a:lnTo>
                    <a:pt x="354617" y="24684"/>
                  </a:lnTo>
                  <a:lnTo>
                    <a:pt x="352549" y="25330"/>
                  </a:lnTo>
                  <a:lnTo>
                    <a:pt x="355521" y="25330"/>
                  </a:lnTo>
                  <a:lnTo>
                    <a:pt x="351903" y="26881"/>
                  </a:lnTo>
                  <a:lnTo>
                    <a:pt x="351127" y="27397"/>
                  </a:lnTo>
                  <a:lnTo>
                    <a:pt x="350481" y="28561"/>
                  </a:lnTo>
                  <a:lnTo>
                    <a:pt x="350352" y="29724"/>
                  </a:lnTo>
                  <a:lnTo>
                    <a:pt x="350352" y="30758"/>
                  </a:lnTo>
                  <a:lnTo>
                    <a:pt x="350094" y="31533"/>
                  </a:lnTo>
                  <a:lnTo>
                    <a:pt x="345570" y="37219"/>
                  </a:lnTo>
                  <a:lnTo>
                    <a:pt x="343890" y="38512"/>
                  </a:lnTo>
                  <a:lnTo>
                    <a:pt x="343890" y="37348"/>
                  </a:lnTo>
                  <a:lnTo>
                    <a:pt x="344536" y="35410"/>
                  </a:lnTo>
                  <a:lnTo>
                    <a:pt x="345700" y="32696"/>
                  </a:lnTo>
                  <a:lnTo>
                    <a:pt x="345700" y="31921"/>
                  </a:lnTo>
                  <a:lnTo>
                    <a:pt x="345312" y="27527"/>
                  </a:lnTo>
                  <a:lnTo>
                    <a:pt x="344536" y="27527"/>
                  </a:lnTo>
                  <a:lnTo>
                    <a:pt x="344278" y="28819"/>
                  </a:lnTo>
                  <a:lnTo>
                    <a:pt x="343115" y="30111"/>
                  </a:lnTo>
                  <a:lnTo>
                    <a:pt x="342986" y="31145"/>
                  </a:lnTo>
                  <a:lnTo>
                    <a:pt x="341952" y="31662"/>
                  </a:lnTo>
                  <a:lnTo>
                    <a:pt x="341564" y="31921"/>
                  </a:lnTo>
                  <a:lnTo>
                    <a:pt x="341435" y="30241"/>
                  </a:lnTo>
                  <a:lnTo>
                    <a:pt x="342081" y="29207"/>
                  </a:lnTo>
                  <a:lnTo>
                    <a:pt x="342986" y="28302"/>
                  </a:lnTo>
                  <a:lnTo>
                    <a:pt x="343761" y="27010"/>
                  </a:lnTo>
                  <a:lnTo>
                    <a:pt x="343115" y="27268"/>
                  </a:lnTo>
                  <a:lnTo>
                    <a:pt x="342081" y="27397"/>
                  </a:lnTo>
                  <a:lnTo>
                    <a:pt x="341564" y="27656"/>
                  </a:lnTo>
                  <a:lnTo>
                    <a:pt x="341435" y="26234"/>
                  </a:lnTo>
                  <a:lnTo>
                    <a:pt x="341693" y="25201"/>
                  </a:lnTo>
                  <a:lnTo>
                    <a:pt x="342469" y="24684"/>
                  </a:lnTo>
                  <a:lnTo>
                    <a:pt x="343761" y="24684"/>
                  </a:lnTo>
                  <a:lnTo>
                    <a:pt x="342210" y="23133"/>
                  </a:lnTo>
                  <a:lnTo>
                    <a:pt x="340530" y="24554"/>
                  </a:lnTo>
                  <a:lnTo>
                    <a:pt x="337946" y="29207"/>
                  </a:lnTo>
                  <a:lnTo>
                    <a:pt x="337429" y="28561"/>
                  </a:lnTo>
                  <a:lnTo>
                    <a:pt x="337299" y="27914"/>
                  </a:lnTo>
                  <a:lnTo>
                    <a:pt x="337429" y="27139"/>
                  </a:lnTo>
                  <a:lnTo>
                    <a:pt x="337946" y="26234"/>
                  </a:lnTo>
                  <a:lnTo>
                    <a:pt x="337429" y="26105"/>
                  </a:lnTo>
                  <a:lnTo>
                    <a:pt x="337041" y="25976"/>
                  </a:lnTo>
                  <a:lnTo>
                    <a:pt x="336783" y="25717"/>
                  </a:lnTo>
                  <a:lnTo>
                    <a:pt x="336395" y="25588"/>
                  </a:lnTo>
                  <a:lnTo>
                    <a:pt x="337816" y="25201"/>
                  </a:lnTo>
                  <a:lnTo>
                    <a:pt x="338333" y="24425"/>
                  </a:lnTo>
                  <a:lnTo>
                    <a:pt x="337946" y="23650"/>
                  </a:lnTo>
                  <a:lnTo>
                    <a:pt x="336395" y="23391"/>
                  </a:lnTo>
                  <a:lnTo>
                    <a:pt x="335102" y="23779"/>
                  </a:lnTo>
                  <a:lnTo>
                    <a:pt x="334069" y="24684"/>
                  </a:lnTo>
                  <a:lnTo>
                    <a:pt x="333810" y="25976"/>
                  </a:lnTo>
                  <a:lnTo>
                    <a:pt x="334586" y="27397"/>
                  </a:lnTo>
                  <a:lnTo>
                    <a:pt x="335102" y="28561"/>
                  </a:lnTo>
                  <a:lnTo>
                    <a:pt x="334973" y="30111"/>
                  </a:lnTo>
                  <a:lnTo>
                    <a:pt x="334456" y="31533"/>
                  </a:lnTo>
                  <a:lnTo>
                    <a:pt x="333939" y="32438"/>
                  </a:lnTo>
                  <a:lnTo>
                    <a:pt x="332776" y="33471"/>
                  </a:lnTo>
                  <a:lnTo>
                    <a:pt x="331872" y="33859"/>
                  </a:lnTo>
                  <a:lnTo>
                    <a:pt x="328124" y="33471"/>
                  </a:lnTo>
                  <a:lnTo>
                    <a:pt x="328770" y="32179"/>
                  </a:lnTo>
                  <a:lnTo>
                    <a:pt x="329416" y="31404"/>
                  </a:lnTo>
                  <a:lnTo>
                    <a:pt x="330192" y="29982"/>
                  </a:lnTo>
                  <a:lnTo>
                    <a:pt x="330709" y="28302"/>
                  </a:lnTo>
                  <a:lnTo>
                    <a:pt x="330579" y="26493"/>
                  </a:lnTo>
                  <a:lnTo>
                    <a:pt x="329804" y="25717"/>
                  </a:lnTo>
                  <a:lnTo>
                    <a:pt x="330450" y="23779"/>
                  </a:lnTo>
                  <a:lnTo>
                    <a:pt x="329287" y="23133"/>
                  </a:lnTo>
                  <a:lnTo>
                    <a:pt x="328124" y="22099"/>
                  </a:lnTo>
                  <a:lnTo>
                    <a:pt x="328382" y="20548"/>
                  </a:lnTo>
                  <a:lnTo>
                    <a:pt x="328124" y="18997"/>
                  </a:lnTo>
                  <a:lnTo>
                    <a:pt x="327607" y="16930"/>
                  </a:lnTo>
                  <a:lnTo>
                    <a:pt x="326702" y="16154"/>
                  </a:lnTo>
                  <a:lnTo>
                    <a:pt x="325151" y="18351"/>
                  </a:lnTo>
                  <a:lnTo>
                    <a:pt x="323213" y="19902"/>
                  </a:lnTo>
                  <a:lnTo>
                    <a:pt x="322696" y="20936"/>
                  </a:lnTo>
                  <a:lnTo>
                    <a:pt x="322567" y="21453"/>
                  </a:lnTo>
                  <a:lnTo>
                    <a:pt x="321921" y="21453"/>
                  </a:lnTo>
                  <a:lnTo>
                    <a:pt x="322696" y="18739"/>
                  </a:lnTo>
                  <a:lnTo>
                    <a:pt x="326056" y="11760"/>
                  </a:lnTo>
                  <a:lnTo>
                    <a:pt x="325539" y="9046"/>
                  </a:lnTo>
                  <a:lnTo>
                    <a:pt x="323342" y="9046"/>
                  </a:lnTo>
                  <a:lnTo>
                    <a:pt x="320499" y="16413"/>
                  </a:lnTo>
                  <a:lnTo>
                    <a:pt x="318948" y="17059"/>
                  </a:lnTo>
                  <a:lnTo>
                    <a:pt x="318302" y="18997"/>
                  </a:lnTo>
                  <a:lnTo>
                    <a:pt x="317656" y="22745"/>
                  </a:lnTo>
                  <a:lnTo>
                    <a:pt x="316751" y="24037"/>
                  </a:lnTo>
                  <a:lnTo>
                    <a:pt x="315588" y="22874"/>
                  </a:lnTo>
                  <a:lnTo>
                    <a:pt x="313908" y="23650"/>
                  </a:lnTo>
                  <a:lnTo>
                    <a:pt x="312874" y="25847"/>
                  </a:lnTo>
                  <a:lnTo>
                    <a:pt x="313779" y="29078"/>
                  </a:lnTo>
                  <a:lnTo>
                    <a:pt x="312745" y="27914"/>
                  </a:lnTo>
                  <a:lnTo>
                    <a:pt x="311324" y="25976"/>
                  </a:lnTo>
                  <a:lnTo>
                    <a:pt x="310677" y="24167"/>
                  </a:lnTo>
                  <a:lnTo>
                    <a:pt x="312099" y="23391"/>
                  </a:lnTo>
                  <a:lnTo>
                    <a:pt x="312874" y="22357"/>
                  </a:lnTo>
                  <a:lnTo>
                    <a:pt x="312874" y="20160"/>
                  </a:lnTo>
                  <a:lnTo>
                    <a:pt x="312228" y="17705"/>
                  </a:lnTo>
                  <a:lnTo>
                    <a:pt x="311065" y="16025"/>
                  </a:lnTo>
                  <a:lnTo>
                    <a:pt x="311065" y="19385"/>
                  </a:lnTo>
                  <a:lnTo>
                    <a:pt x="310160" y="21840"/>
                  </a:lnTo>
                  <a:lnTo>
                    <a:pt x="308222" y="23520"/>
                  </a:lnTo>
                  <a:lnTo>
                    <a:pt x="305766" y="24813"/>
                  </a:lnTo>
                  <a:lnTo>
                    <a:pt x="306154" y="24037"/>
                  </a:lnTo>
                  <a:lnTo>
                    <a:pt x="307317" y="22487"/>
                  </a:lnTo>
                  <a:lnTo>
                    <a:pt x="307964" y="21840"/>
                  </a:lnTo>
                  <a:lnTo>
                    <a:pt x="307964" y="21194"/>
                  </a:lnTo>
                  <a:lnTo>
                    <a:pt x="307576" y="20419"/>
                  </a:lnTo>
                  <a:lnTo>
                    <a:pt x="307964" y="19644"/>
                  </a:lnTo>
                  <a:lnTo>
                    <a:pt x="307964" y="18997"/>
                  </a:lnTo>
                  <a:lnTo>
                    <a:pt x="307059" y="19514"/>
                  </a:lnTo>
                  <a:lnTo>
                    <a:pt x="304345" y="21840"/>
                  </a:lnTo>
                  <a:lnTo>
                    <a:pt x="304862" y="19644"/>
                  </a:lnTo>
                  <a:lnTo>
                    <a:pt x="306283" y="17705"/>
                  </a:lnTo>
                  <a:lnTo>
                    <a:pt x="307059" y="15896"/>
                  </a:lnTo>
                  <a:lnTo>
                    <a:pt x="305766" y="13828"/>
                  </a:lnTo>
                  <a:lnTo>
                    <a:pt x="306025" y="13311"/>
                  </a:lnTo>
                  <a:lnTo>
                    <a:pt x="306413" y="11631"/>
                  </a:lnTo>
                  <a:lnTo>
                    <a:pt x="305120" y="12665"/>
                  </a:lnTo>
                  <a:lnTo>
                    <a:pt x="304474" y="13828"/>
                  </a:lnTo>
                  <a:lnTo>
                    <a:pt x="303569" y="16800"/>
                  </a:lnTo>
                  <a:lnTo>
                    <a:pt x="303440" y="15379"/>
                  </a:lnTo>
                  <a:lnTo>
                    <a:pt x="303569" y="12665"/>
                  </a:lnTo>
                  <a:lnTo>
                    <a:pt x="304216" y="12148"/>
                  </a:lnTo>
                  <a:lnTo>
                    <a:pt x="305250" y="10726"/>
                  </a:lnTo>
                  <a:lnTo>
                    <a:pt x="305766" y="9305"/>
                  </a:lnTo>
                  <a:lnTo>
                    <a:pt x="309127" y="5040"/>
                  </a:lnTo>
                  <a:lnTo>
                    <a:pt x="309127" y="1551"/>
                  </a:lnTo>
                  <a:lnTo>
                    <a:pt x="307705" y="1034"/>
                  </a:lnTo>
                  <a:lnTo>
                    <a:pt x="305250" y="3877"/>
                  </a:lnTo>
                  <a:lnTo>
                    <a:pt x="303053" y="9176"/>
                  </a:lnTo>
                  <a:lnTo>
                    <a:pt x="301631" y="12536"/>
                  </a:lnTo>
                  <a:lnTo>
                    <a:pt x="300856" y="15508"/>
                  </a:lnTo>
                  <a:lnTo>
                    <a:pt x="301243" y="17188"/>
                  </a:lnTo>
                  <a:lnTo>
                    <a:pt x="300856" y="17317"/>
                  </a:lnTo>
                  <a:lnTo>
                    <a:pt x="300597" y="17576"/>
                  </a:lnTo>
                  <a:lnTo>
                    <a:pt x="300209" y="17705"/>
                  </a:lnTo>
                  <a:lnTo>
                    <a:pt x="299692" y="17834"/>
                  </a:lnTo>
                  <a:lnTo>
                    <a:pt x="300339" y="18868"/>
                  </a:lnTo>
                  <a:lnTo>
                    <a:pt x="300339" y="19644"/>
                  </a:lnTo>
                  <a:lnTo>
                    <a:pt x="299822" y="20290"/>
                  </a:lnTo>
                  <a:lnTo>
                    <a:pt x="298917" y="20807"/>
                  </a:lnTo>
                  <a:lnTo>
                    <a:pt x="298013" y="19644"/>
                  </a:lnTo>
                  <a:lnTo>
                    <a:pt x="298013" y="17447"/>
                  </a:lnTo>
                  <a:lnTo>
                    <a:pt x="297495" y="16413"/>
                  </a:lnTo>
                  <a:lnTo>
                    <a:pt x="296203" y="15896"/>
                  </a:lnTo>
                  <a:lnTo>
                    <a:pt x="294782" y="15767"/>
                  </a:lnTo>
                  <a:lnTo>
                    <a:pt x="293619" y="15508"/>
                  </a:lnTo>
                  <a:lnTo>
                    <a:pt x="293102" y="14603"/>
                  </a:lnTo>
                  <a:lnTo>
                    <a:pt x="293489" y="10209"/>
                  </a:lnTo>
                  <a:lnTo>
                    <a:pt x="297625" y="9563"/>
                  </a:lnTo>
                  <a:lnTo>
                    <a:pt x="299046" y="9046"/>
                  </a:lnTo>
                  <a:lnTo>
                    <a:pt x="298400" y="8529"/>
                  </a:lnTo>
                  <a:lnTo>
                    <a:pt x="297495" y="8400"/>
                  </a:lnTo>
                  <a:lnTo>
                    <a:pt x="296462" y="8529"/>
                  </a:lnTo>
                  <a:lnTo>
                    <a:pt x="295428" y="9046"/>
                  </a:lnTo>
                  <a:lnTo>
                    <a:pt x="295945" y="6720"/>
                  </a:lnTo>
                  <a:lnTo>
                    <a:pt x="296462" y="5816"/>
                  </a:lnTo>
                  <a:lnTo>
                    <a:pt x="297625" y="5428"/>
                  </a:lnTo>
                  <a:lnTo>
                    <a:pt x="296203" y="3748"/>
                  </a:lnTo>
                  <a:lnTo>
                    <a:pt x="296720" y="3231"/>
                  </a:lnTo>
                  <a:lnTo>
                    <a:pt x="297625" y="3231"/>
                  </a:lnTo>
                  <a:lnTo>
                    <a:pt x="297237" y="1809"/>
                  </a:lnTo>
                  <a:lnTo>
                    <a:pt x="297237" y="905"/>
                  </a:lnTo>
                  <a:lnTo>
                    <a:pt x="295557" y="0"/>
                  </a:lnTo>
                  <a:lnTo>
                    <a:pt x="294135" y="1292"/>
                  </a:lnTo>
                  <a:lnTo>
                    <a:pt x="294135" y="2455"/>
                  </a:lnTo>
                  <a:lnTo>
                    <a:pt x="294394" y="5169"/>
                  </a:lnTo>
                  <a:lnTo>
                    <a:pt x="293102" y="5557"/>
                  </a:lnTo>
                  <a:lnTo>
                    <a:pt x="292843" y="5169"/>
                  </a:lnTo>
                  <a:lnTo>
                    <a:pt x="292585" y="4911"/>
                  </a:lnTo>
                  <a:lnTo>
                    <a:pt x="292455" y="4652"/>
                  </a:lnTo>
                  <a:lnTo>
                    <a:pt x="292455" y="4135"/>
                  </a:lnTo>
                  <a:lnTo>
                    <a:pt x="291680" y="4135"/>
                  </a:lnTo>
                  <a:lnTo>
                    <a:pt x="291551" y="6203"/>
                  </a:lnTo>
                  <a:lnTo>
                    <a:pt x="290905" y="7754"/>
                  </a:lnTo>
                  <a:lnTo>
                    <a:pt x="290000" y="8917"/>
                  </a:lnTo>
                  <a:lnTo>
                    <a:pt x="289483" y="9951"/>
                  </a:lnTo>
                  <a:lnTo>
                    <a:pt x="289612" y="11760"/>
                  </a:lnTo>
                  <a:lnTo>
                    <a:pt x="290129" y="13828"/>
                  </a:lnTo>
                  <a:lnTo>
                    <a:pt x="289871" y="15508"/>
                  </a:lnTo>
                  <a:lnTo>
                    <a:pt x="287932" y="16542"/>
                  </a:lnTo>
                  <a:lnTo>
                    <a:pt x="288579" y="15250"/>
                  </a:lnTo>
                  <a:lnTo>
                    <a:pt x="289095" y="14086"/>
                  </a:lnTo>
                  <a:lnTo>
                    <a:pt x="288966" y="12794"/>
                  </a:lnTo>
                  <a:lnTo>
                    <a:pt x="287932" y="11502"/>
                  </a:lnTo>
                  <a:lnTo>
                    <a:pt x="286511" y="14345"/>
                  </a:lnTo>
                  <a:lnTo>
                    <a:pt x="285606" y="15637"/>
                  </a:lnTo>
                  <a:lnTo>
                    <a:pt x="284314" y="16542"/>
                  </a:lnTo>
                  <a:lnTo>
                    <a:pt x="280049" y="18093"/>
                  </a:lnTo>
                  <a:lnTo>
                    <a:pt x="279144" y="18610"/>
                  </a:lnTo>
                  <a:lnTo>
                    <a:pt x="278240" y="19773"/>
                  </a:lnTo>
                  <a:lnTo>
                    <a:pt x="277981" y="21065"/>
                  </a:lnTo>
                  <a:lnTo>
                    <a:pt x="277852" y="22228"/>
                  </a:lnTo>
                  <a:lnTo>
                    <a:pt x="277852" y="23650"/>
                  </a:lnTo>
                  <a:lnTo>
                    <a:pt x="277464" y="24167"/>
                  </a:lnTo>
                  <a:lnTo>
                    <a:pt x="276689" y="24684"/>
                  </a:lnTo>
                  <a:lnTo>
                    <a:pt x="275913" y="25459"/>
                  </a:lnTo>
                  <a:lnTo>
                    <a:pt x="275526" y="26622"/>
                  </a:lnTo>
                  <a:lnTo>
                    <a:pt x="276172" y="28044"/>
                  </a:lnTo>
                  <a:lnTo>
                    <a:pt x="279144" y="30111"/>
                  </a:lnTo>
                  <a:lnTo>
                    <a:pt x="279920" y="31274"/>
                  </a:lnTo>
                  <a:lnTo>
                    <a:pt x="279532" y="33471"/>
                  </a:lnTo>
                  <a:lnTo>
                    <a:pt x="276301" y="36056"/>
                  </a:lnTo>
                  <a:lnTo>
                    <a:pt x="275526" y="38253"/>
                  </a:lnTo>
                  <a:lnTo>
                    <a:pt x="275009" y="40579"/>
                  </a:lnTo>
                  <a:lnTo>
                    <a:pt x="272553" y="44069"/>
                  </a:lnTo>
                  <a:lnTo>
                    <a:pt x="271778" y="45749"/>
                  </a:lnTo>
                  <a:lnTo>
                    <a:pt x="273070" y="52469"/>
                  </a:lnTo>
                  <a:lnTo>
                    <a:pt x="274234" y="55183"/>
                  </a:lnTo>
                  <a:lnTo>
                    <a:pt x="273587" y="56217"/>
                  </a:lnTo>
                  <a:lnTo>
                    <a:pt x="272553" y="57250"/>
                  </a:lnTo>
                  <a:lnTo>
                    <a:pt x="271907" y="58155"/>
                  </a:lnTo>
                  <a:lnTo>
                    <a:pt x="271649" y="59318"/>
                  </a:lnTo>
                  <a:lnTo>
                    <a:pt x="271649" y="60352"/>
                  </a:lnTo>
                  <a:lnTo>
                    <a:pt x="271907" y="61774"/>
                  </a:lnTo>
                  <a:lnTo>
                    <a:pt x="271907" y="66555"/>
                  </a:lnTo>
                  <a:lnTo>
                    <a:pt x="271520" y="67201"/>
                  </a:lnTo>
                  <a:lnTo>
                    <a:pt x="270098" y="67848"/>
                  </a:lnTo>
                  <a:lnTo>
                    <a:pt x="269710" y="68752"/>
                  </a:lnTo>
                  <a:lnTo>
                    <a:pt x="269064" y="70432"/>
                  </a:lnTo>
                  <a:lnTo>
                    <a:pt x="267513" y="71337"/>
                  </a:lnTo>
                  <a:lnTo>
                    <a:pt x="263119" y="71983"/>
                  </a:lnTo>
                  <a:lnTo>
                    <a:pt x="260664" y="71854"/>
                  </a:lnTo>
                  <a:lnTo>
                    <a:pt x="259759" y="72112"/>
                  </a:lnTo>
                  <a:lnTo>
                    <a:pt x="259372" y="73146"/>
                  </a:lnTo>
                  <a:lnTo>
                    <a:pt x="260147" y="77540"/>
                  </a:lnTo>
                  <a:lnTo>
                    <a:pt x="260922" y="79737"/>
                  </a:lnTo>
                  <a:lnTo>
                    <a:pt x="262732" y="79866"/>
                  </a:lnTo>
                  <a:lnTo>
                    <a:pt x="266867" y="78703"/>
                  </a:lnTo>
                  <a:lnTo>
                    <a:pt x="269064" y="79091"/>
                  </a:lnTo>
                  <a:lnTo>
                    <a:pt x="270486" y="80125"/>
                  </a:lnTo>
                  <a:lnTo>
                    <a:pt x="271132" y="81805"/>
                  </a:lnTo>
                  <a:lnTo>
                    <a:pt x="271261" y="84002"/>
                  </a:lnTo>
                  <a:lnTo>
                    <a:pt x="271003" y="84648"/>
                  </a:lnTo>
                  <a:lnTo>
                    <a:pt x="269969" y="85811"/>
                  </a:lnTo>
                  <a:lnTo>
                    <a:pt x="269710" y="86586"/>
                  </a:lnTo>
                  <a:lnTo>
                    <a:pt x="269839" y="87233"/>
                  </a:lnTo>
                  <a:lnTo>
                    <a:pt x="270357" y="88266"/>
                  </a:lnTo>
                  <a:lnTo>
                    <a:pt x="270486" y="88783"/>
                  </a:lnTo>
                  <a:lnTo>
                    <a:pt x="270486" y="93177"/>
                  </a:lnTo>
                  <a:lnTo>
                    <a:pt x="269452" y="97830"/>
                  </a:lnTo>
                  <a:lnTo>
                    <a:pt x="265833" y="106618"/>
                  </a:lnTo>
                  <a:lnTo>
                    <a:pt x="263507" y="115664"/>
                  </a:lnTo>
                  <a:lnTo>
                    <a:pt x="261439" y="119541"/>
                  </a:lnTo>
                  <a:lnTo>
                    <a:pt x="258725" y="122643"/>
                  </a:lnTo>
                  <a:lnTo>
                    <a:pt x="255882" y="124581"/>
                  </a:lnTo>
                  <a:lnTo>
                    <a:pt x="256658" y="124581"/>
                  </a:lnTo>
                  <a:lnTo>
                    <a:pt x="255753" y="125357"/>
                  </a:lnTo>
                  <a:lnTo>
                    <a:pt x="254202" y="127295"/>
                  </a:lnTo>
                  <a:lnTo>
                    <a:pt x="253298" y="127683"/>
                  </a:lnTo>
                  <a:lnTo>
                    <a:pt x="251747" y="127295"/>
                  </a:lnTo>
                  <a:lnTo>
                    <a:pt x="250713" y="126649"/>
                  </a:lnTo>
                  <a:lnTo>
                    <a:pt x="249679" y="126261"/>
                  </a:lnTo>
                  <a:lnTo>
                    <a:pt x="247741" y="126907"/>
                  </a:lnTo>
                  <a:lnTo>
                    <a:pt x="247741" y="127683"/>
                  </a:lnTo>
                  <a:lnTo>
                    <a:pt x="249679" y="129104"/>
                  </a:lnTo>
                  <a:lnTo>
                    <a:pt x="249421" y="131560"/>
                  </a:lnTo>
                  <a:lnTo>
                    <a:pt x="248645" y="133886"/>
                  </a:lnTo>
                  <a:lnTo>
                    <a:pt x="249033" y="135566"/>
                  </a:lnTo>
                  <a:lnTo>
                    <a:pt x="245544" y="139314"/>
                  </a:lnTo>
                  <a:lnTo>
                    <a:pt x="245027" y="140735"/>
                  </a:lnTo>
                  <a:lnTo>
                    <a:pt x="245156" y="141123"/>
                  </a:lnTo>
                  <a:lnTo>
                    <a:pt x="245931" y="140994"/>
                  </a:lnTo>
                  <a:lnTo>
                    <a:pt x="247094" y="140865"/>
                  </a:lnTo>
                  <a:lnTo>
                    <a:pt x="248128" y="140348"/>
                  </a:lnTo>
                  <a:lnTo>
                    <a:pt x="249033" y="139572"/>
                  </a:lnTo>
                  <a:lnTo>
                    <a:pt x="249679" y="139443"/>
                  </a:lnTo>
                  <a:lnTo>
                    <a:pt x="249938" y="141123"/>
                  </a:lnTo>
                  <a:lnTo>
                    <a:pt x="249679" y="141898"/>
                  </a:lnTo>
                  <a:lnTo>
                    <a:pt x="249162" y="142803"/>
                  </a:lnTo>
                  <a:lnTo>
                    <a:pt x="248516" y="143449"/>
                  </a:lnTo>
                  <a:lnTo>
                    <a:pt x="247999" y="143708"/>
                  </a:lnTo>
                  <a:lnTo>
                    <a:pt x="246965" y="144742"/>
                  </a:lnTo>
                  <a:lnTo>
                    <a:pt x="246965" y="147068"/>
                  </a:lnTo>
                  <a:lnTo>
                    <a:pt x="247741" y="151462"/>
                  </a:lnTo>
                  <a:lnTo>
                    <a:pt x="247741" y="155339"/>
                  </a:lnTo>
                  <a:lnTo>
                    <a:pt x="247353" y="157148"/>
                  </a:lnTo>
                  <a:lnTo>
                    <a:pt x="246319" y="158440"/>
                  </a:lnTo>
                  <a:lnTo>
                    <a:pt x="245285" y="158828"/>
                  </a:lnTo>
                  <a:lnTo>
                    <a:pt x="243993" y="159086"/>
                  </a:lnTo>
                  <a:lnTo>
                    <a:pt x="241537" y="159216"/>
                  </a:lnTo>
                  <a:lnTo>
                    <a:pt x="241020" y="159603"/>
                  </a:lnTo>
                  <a:lnTo>
                    <a:pt x="240504" y="160637"/>
                  </a:lnTo>
                  <a:lnTo>
                    <a:pt x="240374" y="161671"/>
                  </a:lnTo>
                  <a:lnTo>
                    <a:pt x="240762" y="162059"/>
                  </a:lnTo>
                  <a:lnTo>
                    <a:pt x="240633" y="162705"/>
                  </a:lnTo>
                  <a:lnTo>
                    <a:pt x="238953" y="166582"/>
                  </a:lnTo>
                  <a:lnTo>
                    <a:pt x="238048" y="167616"/>
                  </a:lnTo>
                  <a:lnTo>
                    <a:pt x="237273" y="168262"/>
                  </a:lnTo>
                  <a:lnTo>
                    <a:pt x="235205" y="169425"/>
                  </a:lnTo>
                  <a:lnTo>
                    <a:pt x="234688" y="169554"/>
                  </a:lnTo>
                  <a:lnTo>
                    <a:pt x="233525" y="169425"/>
                  </a:lnTo>
                  <a:lnTo>
                    <a:pt x="233008" y="169554"/>
                  </a:lnTo>
                  <a:lnTo>
                    <a:pt x="230165" y="171364"/>
                  </a:lnTo>
                  <a:lnTo>
                    <a:pt x="229648" y="171881"/>
                  </a:lnTo>
                  <a:lnTo>
                    <a:pt x="229002" y="171881"/>
                  </a:lnTo>
                  <a:lnTo>
                    <a:pt x="227968" y="170976"/>
                  </a:lnTo>
                  <a:lnTo>
                    <a:pt x="227063" y="173690"/>
                  </a:lnTo>
                  <a:lnTo>
                    <a:pt x="222928" y="177438"/>
                  </a:lnTo>
                  <a:lnTo>
                    <a:pt x="222152" y="179893"/>
                  </a:lnTo>
                  <a:lnTo>
                    <a:pt x="227322" y="187130"/>
                  </a:lnTo>
                  <a:lnTo>
                    <a:pt x="228872" y="186484"/>
                  </a:lnTo>
                  <a:lnTo>
                    <a:pt x="229260" y="187389"/>
                  </a:lnTo>
                  <a:lnTo>
                    <a:pt x="229260" y="188810"/>
                  </a:lnTo>
                  <a:lnTo>
                    <a:pt x="229519" y="190102"/>
                  </a:lnTo>
                  <a:lnTo>
                    <a:pt x="230294" y="190619"/>
                  </a:lnTo>
                  <a:lnTo>
                    <a:pt x="231328" y="190749"/>
                  </a:lnTo>
                  <a:lnTo>
                    <a:pt x="232103" y="191007"/>
                  </a:lnTo>
                  <a:lnTo>
                    <a:pt x="232491" y="191912"/>
                  </a:lnTo>
                  <a:lnTo>
                    <a:pt x="231974" y="191653"/>
                  </a:lnTo>
                  <a:lnTo>
                    <a:pt x="230682" y="192041"/>
                  </a:lnTo>
                  <a:lnTo>
                    <a:pt x="229260" y="192687"/>
                  </a:lnTo>
                  <a:lnTo>
                    <a:pt x="228485" y="193204"/>
                  </a:lnTo>
                  <a:lnTo>
                    <a:pt x="227580" y="194109"/>
                  </a:lnTo>
                  <a:lnTo>
                    <a:pt x="227063" y="194755"/>
                  </a:lnTo>
                  <a:lnTo>
                    <a:pt x="226934" y="195660"/>
                  </a:lnTo>
                  <a:lnTo>
                    <a:pt x="227451" y="197210"/>
                  </a:lnTo>
                  <a:lnTo>
                    <a:pt x="224608" y="196047"/>
                  </a:lnTo>
                  <a:lnTo>
                    <a:pt x="224220" y="198244"/>
                  </a:lnTo>
                  <a:lnTo>
                    <a:pt x="225642" y="206127"/>
                  </a:lnTo>
                  <a:lnTo>
                    <a:pt x="225642" y="207161"/>
                  </a:lnTo>
                  <a:lnTo>
                    <a:pt x="225383" y="208066"/>
                  </a:lnTo>
                  <a:lnTo>
                    <a:pt x="224995" y="208583"/>
                  </a:lnTo>
                  <a:lnTo>
                    <a:pt x="224220" y="208841"/>
                  </a:lnTo>
                  <a:lnTo>
                    <a:pt x="223574" y="210134"/>
                  </a:lnTo>
                  <a:lnTo>
                    <a:pt x="222411" y="217629"/>
                  </a:lnTo>
                  <a:lnTo>
                    <a:pt x="219568" y="221765"/>
                  </a:lnTo>
                  <a:lnTo>
                    <a:pt x="218792" y="223574"/>
                  </a:lnTo>
                  <a:lnTo>
                    <a:pt x="218275" y="222669"/>
                  </a:lnTo>
                  <a:lnTo>
                    <a:pt x="217629" y="222282"/>
                  </a:lnTo>
                  <a:lnTo>
                    <a:pt x="216854" y="222282"/>
                  </a:lnTo>
                  <a:lnTo>
                    <a:pt x="215949" y="222799"/>
                  </a:lnTo>
                  <a:lnTo>
                    <a:pt x="216724" y="222799"/>
                  </a:lnTo>
                  <a:lnTo>
                    <a:pt x="215174" y="223574"/>
                  </a:lnTo>
                  <a:lnTo>
                    <a:pt x="215174" y="224349"/>
                  </a:lnTo>
                  <a:lnTo>
                    <a:pt x="217112" y="224608"/>
                  </a:lnTo>
                  <a:lnTo>
                    <a:pt x="216466" y="226417"/>
                  </a:lnTo>
                  <a:lnTo>
                    <a:pt x="214398" y="228226"/>
                  </a:lnTo>
                  <a:lnTo>
                    <a:pt x="212201" y="228614"/>
                  </a:lnTo>
                  <a:lnTo>
                    <a:pt x="211684" y="229648"/>
                  </a:lnTo>
                  <a:lnTo>
                    <a:pt x="211038" y="230294"/>
                  </a:lnTo>
                  <a:lnTo>
                    <a:pt x="211426" y="230940"/>
                  </a:lnTo>
                  <a:lnTo>
                    <a:pt x="212589" y="231199"/>
                  </a:lnTo>
                  <a:lnTo>
                    <a:pt x="212201" y="231716"/>
                  </a:lnTo>
                  <a:lnTo>
                    <a:pt x="211943" y="232233"/>
                  </a:lnTo>
                  <a:lnTo>
                    <a:pt x="211555" y="232491"/>
                  </a:lnTo>
                  <a:lnTo>
                    <a:pt x="210651" y="232620"/>
                  </a:lnTo>
                  <a:lnTo>
                    <a:pt x="210263" y="232879"/>
                  </a:lnTo>
                  <a:lnTo>
                    <a:pt x="210263" y="233525"/>
                  </a:lnTo>
                  <a:lnTo>
                    <a:pt x="210392" y="234300"/>
                  </a:lnTo>
                  <a:lnTo>
                    <a:pt x="210263" y="234817"/>
                  </a:lnTo>
                  <a:lnTo>
                    <a:pt x="209229" y="235593"/>
                  </a:lnTo>
                  <a:lnTo>
                    <a:pt x="207291" y="236756"/>
                  </a:lnTo>
                  <a:lnTo>
                    <a:pt x="206515" y="237660"/>
                  </a:lnTo>
                  <a:lnTo>
                    <a:pt x="206127" y="238953"/>
                  </a:lnTo>
                  <a:lnTo>
                    <a:pt x="205740" y="241279"/>
                  </a:lnTo>
                  <a:lnTo>
                    <a:pt x="205094" y="242184"/>
                  </a:lnTo>
                  <a:lnTo>
                    <a:pt x="204318" y="242442"/>
                  </a:lnTo>
                  <a:lnTo>
                    <a:pt x="203026" y="242701"/>
                  </a:lnTo>
                  <a:lnTo>
                    <a:pt x="201863" y="242701"/>
                  </a:lnTo>
                  <a:lnTo>
                    <a:pt x="201087" y="242442"/>
                  </a:lnTo>
                  <a:lnTo>
                    <a:pt x="200441" y="242571"/>
                  </a:lnTo>
                  <a:lnTo>
                    <a:pt x="199278" y="243217"/>
                  </a:lnTo>
                  <a:lnTo>
                    <a:pt x="197339" y="244639"/>
                  </a:lnTo>
                  <a:lnTo>
                    <a:pt x="195660" y="246578"/>
                  </a:lnTo>
                  <a:lnTo>
                    <a:pt x="194496" y="247611"/>
                  </a:lnTo>
                  <a:lnTo>
                    <a:pt x="193979" y="247482"/>
                  </a:lnTo>
                  <a:lnTo>
                    <a:pt x="193592" y="248258"/>
                  </a:lnTo>
                  <a:lnTo>
                    <a:pt x="192041" y="249421"/>
                  </a:lnTo>
                  <a:lnTo>
                    <a:pt x="191653" y="250325"/>
                  </a:lnTo>
                  <a:lnTo>
                    <a:pt x="191653" y="252522"/>
                  </a:lnTo>
                  <a:lnTo>
                    <a:pt x="191912" y="253556"/>
                  </a:lnTo>
                  <a:lnTo>
                    <a:pt x="192429" y="254332"/>
                  </a:lnTo>
                  <a:lnTo>
                    <a:pt x="191007" y="257045"/>
                  </a:lnTo>
                  <a:lnTo>
                    <a:pt x="190619" y="258338"/>
                  </a:lnTo>
                  <a:lnTo>
                    <a:pt x="190878" y="259372"/>
                  </a:lnTo>
                  <a:lnTo>
                    <a:pt x="189586" y="259759"/>
                  </a:lnTo>
                  <a:lnTo>
                    <a:pt x="189456" y="260664"/>
                  </a:lnTo>
                  <a:lnTo>
                    <a:pt x="189715" y="261827"/>
                  </a:lnTo>
                  <a:lnTo>
                    <a:pt x="189456" y="263119"/>
                  </a:lnTo>
                  <a:lnTo>
                    <a:pt x="188552" y="263636"/>
                  </a:lnTo>
                  <a:lnTo>
                    <a:pt x="187259" y="264024"/>
                  </a:lnTo>
                  <a:lnTo>
                    <a:pt x="186355" y="264670"/>
                  </a:lnTo>
                  <a:lnTo>
                    <a:pt x="186484" y="265963"/>
                  </a:lnTo>
                  <a:lnTo>
                    <a:pt x="185967" y="266092"/>
                  </a:lnTo>
                  <a:lnTo>
                    <a:pt x="184158" y="266350"/>
                  </a:lnTo>
                  <a:lnTo>
                    <a:pt x="183641" y="266609"/>
                  </a:lnTo>
                  <a:lnTo>
                    <a:pt x="182865" y="267643"/>
                  </a:lnTo>
                  <a:lnTo>
                    <a:pt x="182865" y="268030"/>
                  </a:lnTo>
                  <a:lnTo>
                    <a:pt x="182995" y="268547"/>
                  </a:lnTo>
                  <a:lnTo>
                    <a:pt x="182865" y="269710"/>
                  </a:lnTo>
                  <a:lnTo>
                    <a:pt x="182995" y="270098"/>
                  </a:lnTo>
                  <a:lnTo>
                    <a:pt x="183382" y="270486"/>
                  </a:lnTo>
                  <a:lnTo>
                    <a:pt x="183641" y="270873"/>
                  </a:lnTo>
                  <a:lnTo>
                    <a:pt x="183253" y="271520"/>
                  </a:lnTo>
                  <a:lnTo>
                    <a:pt x="182736" y="272295"/>
                  </a:lnTo>
                  <a:lnTo>
                    <a:pt x="182349" y="272683"/>
                  </a:lnTo>
                  <a:lnTo>
                    <a:pt x="182219" y="272553"/>
                  </a:lnTo>
                  <a:lnTo>
                    <a:pt x="182090" y="273329"/>
                  </a:lnTo>
                  <a:lnTo>
                    <a:pt x="182219" y="275784"/>
                  </a:lnTo>
                  <a:lnTo>
                    <a:pt x="181961" y="276689"/>
                  </a:lnTo>
                  <a:lnTo>
                    <a:pt x="180927" y="277852"/>
                  </a:lnTo>
                  <a:lnTo>
                    <a:pt x="180668" y="278627"/>
                  </a:lnTo>
                  <a:lnTo>
                    <a:pt x="180798" y="279403"/>
                  </a:lnTo>
                  <a:lnTo>
                    <a:pt x="181315" y="281083"/>
                  </a:lnTo>
                  <a:lnTo>
                    <a:pt x="181444" y="281988"/>
                  </a:lnTo>
                  <a:lnTo>
                    <a:pt x="181185" y="283797"/>
                  </a:lnTo>
                  <a:lnTo>
                    <a:pt x="180281" y="287028"/>
                  </a:lnTo>
                  <a:lnTo>
                    <a:pt x="179118" y="296591"/>
                  </a:lnTo>
                  <a:lnTo>
                    <a:pt x="177696" y="300339"/>
                  </a:lnTo>
                  <a:lnTo>
                    <a:pt x="175499" y="303182"/>
                  </a:lnTo>
                  <a:lnTo>
                    <a:pt x="173948" y="304345"/>
                  </a:lnTo>
                  <a:lnTo>
                    <a:pt x="170847" y="306025"/>
                  </a:lnTo>
                  <a:lnTo>
                    <a:pt x="169296" y="307317"/>
                  </a:lnTo>
                  <a:lnTo>
                    <a:pt x="166711" y="310160"/>
                  </a:lnTo>
                  <a:lnTo>
                    <a:pt x="164643" y="313521"/>
                  </a:lnTo>
                  <a:lnTo>
                    <a:pt x="158053" y="319336"/>
                  </a:lnTo>
                  <a:lnTo>
                    <a:pt x="156890" y="318819"/>
                  </a:lnTo>
                  <a:lnTo>
                    <a:pt x="155985" y="319465"/>
                  </a:lnTo>
                  <a:lnTo>
                    <a:pt x="155339" y="320758"/>
                  </a:lnTo>
                  <a:lnTo>
                    <a:pt x="155080" y="322308"/>
                  </a:lnTo>
                  <a:lnTo>
                    <a:pt x="153400" y="321275"/>
                  </a:lnTo>
                  <a:lnTo>
                    <a:pt x="152883" y="320758"/>
                  </a:lnTo>
                  <a:lnTo>
                    <a:pt x="151720" y="322438"/>
                  </a:lnTo>
                  <a:lnTo>
                    <a:pt x="150945" y="324893"/>
                  </a:lnTo>
                  <a:lnTo>
                    <a:pt x="150557" y="327349"/>
                  </a:lnTo>
                  <a:lnTo>
                    <a:pt x="150686" y="329029"/>
                  </a:lnTo>
                  <a:lnTo>
                    <a:pt x="149265" y="329029"/>
                  </a:lnTo>
                  <a:lnTo>
                    <a:pt x="150428" y="331355"/>
                  </a:lnTo>
                  <a:lnTo>
                    <a:pt x="149782" y="333293"/>
                  </a:lnTo>
                  <a:lnTo>
                    <a:pt x="148231" y="335232"/>
                  </a:lnTo>
                  <a:lnTo>
                    <a:pt x="147068" y="337687"/>
                  </a:lnTo>
                  <a:lnTo>
                    <a:pt x="146938" y="339109"/>
                  </a:lnTo>
                  <a:lnTo>
                    <a:pt x="147197" y="339884"/>
                  </a:lnTo>
                  <a:lnTo>
                    <a:pt x="147197" y="340660"/>
                  </a:lnTo>
                  <a:lnTo>
                    <a:pt x="146422" y="341952"/>
                  </a:lnTo>
                  <a:lnTo>
                    <a:pt x="145517" y="342857"/>
                  </a:lnTo>
                  <a:lnTo>
                    <a:pt x="142028" y="344924"/>
                  </a:lnTo>
                  <a:lnTo>
                    <a:pt x="140348" y="346346"/>
                  </a:lnTo>
                  <a:lnTo>
                    <a:pt x="137892" y="349060"/>
                  </a:lnTo>
                  <a:lnTo>
                    <a:pt x="137504" y="349706"/>
                  </a:lnTo>
                  <a:lnTo>
                    <a:pt x="137246" y="350869"/>
                  </a:lnTo>
                  <a:lnTo>
                    <a:pt x="137117" y="352161"/>
                  </a:lnTo>
                  <a:lnTo>
                    <a:pt x="136987" y="352808"/>
                  </a:lnTo>
                  <a:lnTo>
                    <a:pt x="136729" y="353324"/>
                  </a:lnTo>
                  <a:lnTo>
                    <a:pt x="135049" y="356038"/>
                  </a:lnTo>
                  <a:lnTo>
                    <a:pt x="134532" y="357718"/>
                  </a:lnTo>
                  <a:lnTo>
                    <a:pt x="134274" y="358235"/>
                  </a:lnTo>
                  <a:lnTo>
                    <a:pt x="134015" y="358623"/>
                  </a:lnTo>
                  <a:lnTo>
                    <a:pt x="131430" y="361337"/>
                  </a:lnTo>
                  <a:lnTo>
                    <a:pt x="130913" y="362112"/>
                  </a:lnTo>
                  <a:lnTo>
                    <a:pt x="130138" y="363663"/>
                  </a:lnTo>
                  <a:lnTo>
                    <a:pt x="129880" y="364051"/>
                  </a:lnTo>
                  <a:lnTo>
                    <a:pt x="128200" y="365860"/>
                  </a:lnTo>
                  <a:lnTo>
                    <a:pt x="127941" y="366248"/>
                  </a:lnTo>
                  <a:lnTo>
                    <a:pt x="127812" y="366636"/>
                  </a:lnTo>
                  <a:lnTo>
                    <a:pt x="127683" y="366894"/>
                  </a:lnTo>
                  <a:lnTo>
                    <a:pt x="126907" y="368574"/>
                  </a:lnTo>
                  <a:lnTo>
                    <a:pt x="126649" y="368962"/>
                  </a:lnTo>
                  <a:lnTo>
                    <a:pt x="124323" y="371805"/>
                  </a:lnTo>
                  <a:lnTo>
                    <a:pt x="116439" y="378008"/>
                  </a:lnTo>
                  <a:lnTo>
                    <a:pt x="115793" y="378266"/>
                  </a:lnTo>
                  <a:lnTo>
                    <a:pt x="114630" y="378396"/>
                  </a:lnTo>
                  <a:lnTo>
                    <a:pt x="111658" y="378525"/>
                  </a:lnTo>
                  <a:lnTo>
                    <a:pt x="111141" y="378396"/>
                  </a:lnTo>
                  <a:lnTo>
                    <a:pt x="109590" y="377750"/>
                  </a:lnTo>
                  <a:lnTo>
                    <a:pt x="109073" y="377491"/>
                  </a:lnTo>
                  <a:lnTo>
                    <a:pt x="108685" y="377103"/>
                  </a:lnTo>
                  <a:lnTo>
                    <a:pt x="108427" y="376716"/>
                  </a:lnTo>
                  <a:lnTo>
                    <a:pt x="108039" y="376457"/>
                  </a:lnTo>
                  <a:lnTo>
                    <a:pt x="107393" y="376457"/>
                  </a:lnTo>
                  <a:lnTo>
                    <a:pt x="106488" y="376586"/>
                  </a:lnTo>
                  <a:lnTo>
                    <a:pt x="105067" y="377233"/>
                  </a:lnTo>
                  <a:lnTo>
                    <a:pt x="103516" y="377620"/>
                  </a:lnTo>
                  <a:lnTo>
                    <a:pt x="102999" y="377620"/>
                  </a:lnTo>
                  <a:lnTo>
                    <a:pt x="102482" y="377620"/>
                  </a:lnTo>
                  <a:lnTo>
                    <a:pt x="100931" y="377103"/>
                  </a:lnTo>
                  <a:lnTo>
                    <a:pt x="52469" y="415227"/>
                  </a:lnTo>
                  <a:lnTo>
                    <a:pt x="1163" y="456453"/>
                  </a:lnTo>
                  <a:lnTo>
                    <a:pt x="258" y="457487"/>
                  </a:lnTo>
                  <a:lnTo>
                    <a:pt x="0" y="457874"/>
                  </a:lnTo>
                  <a:lnTo>
                    <a:pt x="2197" y="458133"/>
                  </a:lnTo>
                  <a:lnTo>
                    <a:pt x="5945" y="453739"/>
                  </a:lnTo>
                  <a:lnTo>
                    <a:pt x="6979" y="453093"/>
                  </a:lnTo>
                  <a:lnTo>
                    <a:pt x="10985" y="452705"/>
                  </a:lnTo>
                  <a:lnTo>
                    <a:pt x="13053" y="453222"/>
                  </a:lnTo>
                  <a:lnTo>
                    <a:pt x="13957" y="455031"/>
                  </a:lnTo>
                  <a:lnTo>
                    <a:pt x="14474" y="455419"/>
                  </a:lnTo>
                  <a:lnTo>
                    <a:pt x="15508" y="454644"/>
                  </a:lnTo>
                  <a:lnTo>
                    <a:pt x="16930" y="453093"/>
                  </a:lnTo>
                  <a:lnTo>
                    <a:pt x="17317" y="452317"/>
                  </a:lnTo>
                  <a:lnTo>
                    <a:pt x="20290" y="445209"/>
                  </a:lnTo>
                  <a:lnTo>
                    <a:pt x="21453" y="443400"/>
                  </a:lnTo>
                  <a:lnTo>
                    <a:pt x="22745" y="442108"/>
                  </a:lnTo>
                  <a:lnTo>
                    <a:pt x="26234" y="440169"/>
                  </a:lnTo>
                  <a:lnTo>
                    <a:pt x="30499" y="438748"/>
                  </a:lnTo>
                  <a:lnTo>
                    <a:pt x="35022" y="437972"/>
                  </a:lnTo>
                  <a:lnTo>
                    <a:pt x="43422" y="437714"/>
                  </a:lnTo>
                  <a:lnTo>
                    <a:pt x="43939" y="438102"/>
                  </a:lnTo>
                  <a:lnTo>
                    <a:pt x="44327" y="438489"/>
                  </a:lnTo>
                  <a:lnTo>
                    <a:pt x="46136" y="439652"/>
                  </a:lnTo>
                  <a:lnTo>
                    <a:pt x="63195" y="447665"/>
                  </a:lnTo>
                  <a:lnTo>
                    <a:pt x="67589" y="448570"/>
                  </a:lnTo>
                  <a:lnTo>
                    <a:pt x="72758" y="448570"/>
                  </a:lnTo>
                  <a:lnTo>
                    <a:pt x="74955" y="447794"/>
                  </a:lnTo>
                  <a:lnTo>
                    <a:pt x="77669" y="445339"/>
                  </a:lnTo>
                  <a:lnTo>
                    <a:pt x="79737" y="444822"/>
                  </a:lnTo>
                  <a:lnTo>
                    <a:pt x="82063" y="444951"/>
                  </a:lnTo>
                  <a:lnTo>
                    <a:pt x="86199" y="445726"/>
                  </a:lnTo>
                  <a:lnTo>
                    <a:pt x="90463" y="447019"/>
                  </a:lnTo>
                  <a:lnTo>
                    <a:pt x="92660" y="448182"/>
                  </a:lnTo>
                  <a:lnTo>
                    <a:pt x="94211" y="449991"/>
                  </a:lnTo>
                  <a:lnTo>
                    <a:pt x="94857" y="452447"/>
                  </a:lnTo>
                  <a:lnTo>
                    <a:pt x="94987" y="457228"/>
                  </a:lnTo>
                  <a:lnTo>
                    <a:pt x="95633" y="459296"/>
                  </a:lnTo>
                  <a:lnTo>
                    <a:pt x="97054" y="460847"/>
                  </a:lnTo>
                  <a:lnTo>
                    <a:pt x="99251" y="461493"/>
                  </a:lnTo>
                  <a:lnTo>
                    <a:pt x="101578" y="461364"/>
                  </a:lnTo>
                  <a:lnTo>
                    <a:pt x="105454" y="460717"/>
                  </a:lnTo>
                  <a:lnTo>
                    <a:pt x="107522" y="460976"/>
                  </a:lnTo>
                  <a:lnTo>
                    <a:pt x="109331" y="461622"/>
                  </a:lnTo>
                  <a:lnTo>
                    <a:pt x="119541" y="467438"/>
                  </a:lnTo>
                  <a:lnTo>
                    <a:pt x="121479" y="469118"/>
                  </a:lnTo>
                  <a:lnTo>
                    <a:pt x="122901" y="470668"/>
                  </a:lnTo>
                  <a:lnTo>
                    <a:pt x="127166" y="471185"/>
                  </a:lnTo>
                  <a:lnTo>
                    <a:pt x="128975" y="471702"/>
                  </a:lnTo>
                  <a:lnTo>
                    <a:pt x="131301" y="473770"/>
                  </a:lnTo>
                  <a:lnTo>
                    <a:pt x="133240" y="476872"/>
                  </a:lnTo>
                  <a:lnTo>
                    <a:pt x="136341" y="483463"/>
                  </a:lnTo>
                  <a:lnTo>
                    <a:pt x="134790" y="500004"/>
                  </a:lnTo>
                  <a:lnTo>
                    <a:pt x="135178" y="500651"/>
                  </a:lnTo>
                  <a:lnTo>
                    <a:pt x="137763" y="502589"/>
                  </a:lnTo>
                  <a:lnTo>
                    <a:pt x="138409" y="503623"/>
                  </a:lnTo>
                  <a:lnTo>
                    <a:pt x="138797" y="504528"/>
                  </a:lnTo>
                  <a:lnTo>
                    <a:pt x="139055" y="505562"/>
                  </a:lnTo>
                  <a:lnTo>
                    <a:pt x="139184" y="506725"/>
                  </a:lnTo>
                  <a:lnTo>
                    <a:pt x="139443" y="507888"/>
                  </a:lnTo>
                  <a:lnTo>
                    <a:pt x="140477" y="509309"/>
                  </a:lnTo>
                  <a:lnTo>
                    <a:pt x="140864" y="511248"/>
                  </a:lnTo>
                  <a:lnTo>
                    <a:pt x="141769" y="512540"/>
                  </a:lnTo>
                  <a:lnTo>
                    <a:pt x="142157" y="513574"/>
                  </a:lnTo>
                  <a:lnTo>
                    <a:pt x="142157" y="517968"/>
                  </a:lnTo>
                  <a:lnTo>
                    <a:pt x="140864" y="524817"/>
                  </a:lnTo>
                  <a:lnTo>
                    <a:pt x="140864" y="538645"/>
                  </a:lnTo>
                  <a:lnTo>
                    <a:pt x="141898" y="542522"/>
                  </a:lnTo>
                  <a:lnTo>
                    <a:pt x="142157" y="544719"/>
                  </a:lnTo>
                  <a:lnTo>
                    <a:pt x="142803" y="546916"/>
                  </a:lnTo>
                  <a:lnTo>
                    <a:pt x="145646" y="550406"/>
                  </a:lnTo>
                  <a:lnTo>
                    <a:pt x="146551" y="552473"/>
                  </a:lnTo>
                  <a:lnTo>
                    <a:pt x="146163" y="557126"/>
                  </a:lnTo>
                  <a:lnTo>
                    <a:pt x="142545" y="565009"/>
                  </a:lnTo>
                  <a:lnTo>
                    <a:pt x="143708" y="568627"/>
                  </a:lnTo>
                  <a:lnTo>
                    <a:pt x="141511" y="573926"/>
                  </a:lnTo>
                  <a:lnTo>
                    <a:pt x="141511" y="576381"/>
                  </a:lnTo>
                  <a:lnTo>
                    <a:pt x="142932" y="578837"/>
                  </a:lnTo>
                  <a:lnTo>
                    <a:pt x="142028" y="580517"/>
                  </a:lnTo>
                  <a:lnTo>
                    <a:pt x="139184" y="584006"/>
                  </a:lnTo>
                  <a:lnTo>
                    <a:pt x="138409" y="585686"/>
                  </a:lnTo>
                  <a:lnTo>
                    <a:pt x="138150" y="587366"/>
                  </a:lnTo>
                  <a:lnTo>
                    <a:pt x="137892" y="591373"/>
                  </a:lnTo>
                  <a:lnTo>
                    <a:pt x="135178" y="598351"/>
                  </a:lnTo>
                  <a:lnTo>
                    <a:pt x="134403" y="602228"/>
                  </a:lnTo>
                  <a:lnTo>
                    <a:pt x="135695" y="605976"/>
                  </a:lnTo>
                  <a:lnTo>
                    <a:pt x="134274" y="609207"/>
                  </a:lnTo>
                  <a:lnTo>
                    <a:pt x="133627" y="612050"/>
                  </a:lnTo>
                  <a:lnTo>
                    <a:pt x="133498" y="618770"/>
                  </a:lnTo>
                  <a:lnTo>
                    <a:pt x="133627" y="619416"/>
                  </a:lnTo>
                  <a:lnTo>
                    <a:pt x="133886" y="620192"/>
                  </a:lnTo>
                  <a:lnTo>
                    <a:pt x="134274" y="620967"/>
                  </a:lnTo>
                  <a:lnTo>
                    <a:pt x="134661" y="621613"/>
                  </a:lnTo>
                  <a:lnTo>
                    <a:pt x="135049" y="622518"/>
                  </a:lnTo>
                  <a:lnTo>
                    <a:pt x="134920" y="623422"/>
                  </a:lnTo>
                  <a:lnTo>
                    <a:pt x="134532" y="624327"/>
                  </a:lnTo>
                  <a:lnTo>
                    <a:pt x="133110" y="630660"/>
                  </a:lnTo>
                  <a:lnTo>
                    <a:pt x="132852" y="632727"/>
                  </a:lnTo>
                  <a:lnTo>
                    <a:pt x="131689" y="635441"/>
                  </a:lnTo>
                  <a:lnTo>
                    <a:pt x="124064" y="641903"/>
                  </a:lnTo>
                  <a:lnTo>
                    <a:pt x="118249" y="651466"/>
                  </a:lnTo>
                  <a:lnTo>
                    <a:pt x="113338" y="650174"/>
                  </a:lnTo>
                  <a:lnTo>
                    <a:pt x="109073" y="651854"/>
                  </a:lnTo>
                  <a:lnTo>
                    <a:pt x="107393" y="655214"/>
                  </a:lnTo>
                  <a:lnTo>
                    <a:pt x="110107" y="658833"/>
                  </a:lnTo>
                  <a:lnTo>
                    <a:pt x="114113" y="661029"/>
                  </a:lnTo>
                  <a:lnTo>
                    <a:pt x="116052" y="662839"/>
                  </a:lnTo>
                  <a:lnTo>
                    <a:pt x="117732" y="667620"/>
                  </a:lnTo>
                  <a:lnTo>
                    <a:pt x="119799" y="666716"/>
                  </a:lnTo>
                  <a:lnTo>
                    <a:pt x="122126" y="664519"/>
                  </a:lnTo>
                  <a:lnTo>
                    <a:pt x="123806" y="663356"/>
                  </a:lnTo>
                  <a:lnTo>
                    <a:pt x="128070" y="663614"/>
                  </a:lnTo>
                  <a:lnTo>
                    <a:pt x="131947" y="664648"/>
                  </a:lnTo>
                  <a:lnTo>
                    <a:pt x="134790" y="666974"/>
                  </a:lnTo>
                  <a:lnTo>
                    <a:pt x="135954" y="670980"/>
                  </a:lnTo>
                  <a:lnTo>
                    <a:pt x="134532" y="675374"/>
                  </a:lnTo>
                  <a:lnTo>
                    <a:pt x="131043" y="677701"/>
                  </a:lnTo>
                  <a:lnTo>
                    <a:pt x="126907" y="679510"/>
                  </a:lnTo>
                  <a:lnTo>
                    <a:pt x="123547" y="682353"/>
                  </a:lnTo>
                  <a:lnTo>
                    <a:pt x="125227" y="683128"/>
                  </a:lnTo>
                  <a:lnTo>
                    <a:pt x="126261" y="682999"/>
                  </a:lnTo>
                  <a:lnTo>
                    <a:pt x="126778" y="682870"/>
                  </a:lnTo>
                  <a:lnTo>
                    <a:pt x="129234" y="682482"/>
                  </a:lnTo>
                  <a:lnTo>
                    <a:pt x="131689" y="682224"/>
                  </a:lnTo>
                  <a:lnTo>
                    <a:pt x="132335" y="682353"/>
                  </a:lnTo>
                  <a:lnTo>
                    <a:pt x="132852" y="682482"/>
                  </a:lnTo>
                  <a:lnTo>
                    <a:pt x="133240" y="682741"/>
                  </a:lnTo>
                  <a:lnTo>
                    <a:pt x="133498" y="682999"/>
                  </a:lnTo>
                  <a:lnTo>
                    <a:pt x="133757" y="683516"/>
                  </a:lnTo>
                  <a:lnTo>
                    <a:pt x="134015" y="684162"/>
                  </a:lnTo>
                  <a:lnTo>
                    <a:pt x="134403" y="686876"/>
                  </a:lnTo>
                  <a:lnTo>
                    <a:pt x="134532" y="687393"/>
                  </a:lnTo>
                  <a:lnTo>
                    <a:pt x="134661" y="687781"/>
                  </a:lnTo>
                  <a:lnTo>
                    <a:pt x="136212" y="690624"/>
                  </a:lnTo>
                  <a:lnTo>
                    <a:pt x="136858" y="691529"/>
                  </a:lnTo>
                  <a:lnTo>
                    <a:pt x="137892" y="692175"/>
                  </a:lnTo>
                  <a:lnTo>
                    <a:pt x="138538" y="692175"/>
                  </a:lnTo>
                  <a:lnTo>
                    <a:pt x="139055" y="692046"/>
                  </a:lnTo>
                  <a:lnTo>
                    <a:pt x="139443" y="691787"/>
                  </a:lnTo>
                  <a:lnTo>
                    <a:pt x="139960" y="691658"/>
                  </a:lnTo>
                  <a:lnTo>
                    <a:pt x="140477" y="691529"/>
                  </a:lnTo>
                  <a:lnTo>
                    <a:pt x="142415" y="691529"/>
                  </a:lnTo>
                  <a:lnTo>
                    <a:pt x="143061" y="691787"/>
                  </a:lnTo>
                  <a:lnTo>
                    <a:pt x="143578" y="692433"/>
                  </a:lnTo>
                  <a:lnTo>
                    <a:pt x="143837" y="693726"/>
                  </a:lnTo>
                  <a:lnTo>
                    <a:pt x="143837" y="694630"/>
                  </a:lnTo>
                  <a:lnTo>
                    <a:pt x="143578" y="695922"/>
                  </a:lnTo>
                  <a:lnTo>
                    <a:pt x="143708" y="696439"/>
                  </a:lnTo>
                  <a:lnTo>
                    <a:pt x="144483" y="696827"/>
                  </a:lnTo>
                  <a:lnTo>
                    <a:pt x="145129" y="696956"/>
                  </a:lnTo>
                  <a:lnTo>
                    <a:pt x="146422" y="696956"/>
                  </a:lnTo>
                  <a:lnTo>
                    <a:pt x="147068" y="697086"/>
                  </a:lnTo>
                  <a:lnTo>
                    <a:pt x="147714" y="697732"/>
                  </a:lnTo>
                  <a:lnTo>
                    <a:pt x="148231" y="698766"/>
                  </a:lnTo>
                  <a:lnTo>
                    <a:pt x="149523" y="702384"/>
                  </a:lnTo>
                  <a:lnTo>
                    <a:pt x="149782" y="703547"/>
                  </a:lnTo>
                  <a:lnTo>
                    <a:pt x="149652" y="704193"/>
                  </a:lnTo>
                  <a:lnTo>
                    <a:pt x="149652" y="704840"/>
                  </a:lnTo>
                  <a:lnTo>
                    <a:pt x="149911" y="705357"/>
                  </a:lnTo>
                  <a:lnTo>
                    <a:pt x="150428" y="705874"/>
                  </a:lnTo>
                  <a:lnTo>
                    <a:pt x="150945" y="706132"/>
                  </a:lnTo>
                  <a:lnTo>
                    <a:pt x="151462" y="706132"/>
                  </a:lnTo>
                  <a:lnTo>
                    <a:pt x="151849" y="705874"/>
                  </a:lnTo>
                  <a:lnTo>
                    <a:pt x="151979" y="705227"/>
                  </a:lnTo>
                  <a:lnTo>
                    <a:pt x="151979" y="704581"/>
                  </a:lnTo>
                  <a:lnTo>
                    <a:pt x="151849" y="703806"/>
                  </a:lnTo>
                  <a:lnTo>
                    <a:pt x="152108" y="703418"/>
                  </a:lnTo>
                  <a:lnTo>
                    <a:pt x="152495" y="703160"/>
                  </a:lnTo>
                  <a:lnTo>
                    <a:pt x="153012" y="703289"/>
                  </a:lnTo>
                  <a:lnTo>
                    <a:pt x="153400" y="703676"/>
                  </a:lnTo>
                  <a:lnTo>
                    <a:pt x="155339" y="706132"/>
                  </a:lnTo>
                  <a:lnTo>
                    <a:pt x="155597" y="706520"/>
                  </a:lnTo>
                  <a:lnTo>
                    <a:pt x="155468" y="707166"/>
                  </a:lnTo>
                  <a:lnTo>
                    <a:pt x="155209" y="707424"/>
                  </a:lnTo>
                  <a:lnTo>
                    <a:pt x="154951" y="707812"/>
                  </a:lnTo>
                  <a:lnTo>
                    <a:pt x="154951" y="708329"/>
                  </a:lnTo>
                  <a:lnTo>
                    <a:pt x="155209" y="708846"/>
                  </a:lnTo>
                  <a:lnTo>
                    <a:pt x="156372" y="709492"/>
                  </a:lnTo>
                  <a:lnTo>
                    <a:pt x="156890" y="709880"/>
                  </a:lnTo>
                  <a:lnTo>
                    <a:pt x="157148" y="710397"/>
                  </a:lnTo>
                  <a:lnTo>
                    <a:pt x="157148" y="711301"/>
                  </a:lnTo>
                  <a:lnTo>
                    <a:pt x="157019" y="711947"/>
                  </a:lnTo>
                  <a:lnTo>
                    <a:pt x="156890" y="712594"/>
                  </a:lnTo>
                  <a:lnTo>
                    <a:pt x="156890" y="713111"/>
                  </a:lnTo>
                  <a:lnTo>
                    <a:pt x="157148" y="713627"/>
                  </a:lnTo>
                  <a:lnTo>
                    <a:pt x="157794" y="714015"/>
                  </a:lnTo>
                  <a:lnTo>
                    <a:pt x="158440" y="714274"/>
                  </a:lnTo>
                  <a:lnTo>
                    <a:pt x="159086" y="714403"/>
                  </a:lnTo>
                  <a:lnTo>
                    <a:pt x="159733" y="714532"/>
                  </a:lnTo>
                  <a:lnTo>
                    <a:pt x="160379" y="714661"/>
                  </a:lnTo>
                  <a:lnTo>
                    <a:pt x="160896" y="714920"/>
                  </a:lnTo>
                  <a:lnTo>
                    <a:pt x="161413" y="715437"/>
                  </a:lnTo>
                  <a:lnTo>
                    <a:pt x="161930" y="716212"/>
                  </a:lnTo>
                  <a:lnTo>
                    <a:pt x="162834" y="717763"/>
                  </a:lnTo>
                  <a:lnTo>
                    <a:pt x="164643" y="722157"/>
                  </a:lnTo>
                  <a:lnTo>
                    <a:pt x="166323" y="724095"/>
                  </a:lnTo>
                  <a:lnTo>
                    <a:pt x="167616" y="724871"/>
                  </a:lnTo>
                  <a:lnTo>
                    <a:pt x="169813" y="725646"/>
                  </a:lnTo>
                  <a:lnTo>
                    <a:pt x="170201" y="725905"/>
                  </a:lnTo>
                  <a:lnTo>
                    <a:pt x="170717" y="726422"/>
                  </a:lnTo>
                  <a:lnTo>
                    <a:pt x="176275" y="734693"/>
                  </a:lnTo>
                  <a:lnTo>
                    <a:pt x="176921" y="735985"/>
                  </a:lnTo>
                  <a:lnTo>
                    <a:pt x="177825" y="738311"/>
                  </a:lnTo>
                  <a:lnTo>
                    <a:pt x="178471" y="739474"/>
                  </a:lnTo>
                  <a:lnTo>
                    <a:pt x="179247" y="740120"/>
                  </a:lnTo>
                  <a:lnTo>
                    <a:pt x="180668" y="740379"/>
                  </a:lnTo>
                  <a:lnTo>
                    <a:pt x="181315" y="740637"/>
                  </a:lnTo>
                  <a:lnTo>
                    <a:pt x="181831" y="741025"/>
                  </a:lnTo>
                  <a:lnTo>
                    <a:pt x="182349" y="741671"/>
                  </a:lnTo>
                  <a:lnTo>
                    <a:pt x="182736" y="742705"/>
                  </a:lnTo>
                  <a:lnTo>
                    <a:pt x="182995" y="743739"/>
                  </a:lnTo>
                  <a:lnTo>
                    <a:pt x="183253" y="744514"/>
                  </a:lnTo>
                  <a:lnTo>
                    <a:pt x="183770" y="745290"/>
                  </a:lnTo>
                  <a:lnTo>
                    <a:pt x="184675" y="746194"/>
                  </a:lnTo>
                  <a:lnTo>
                    <a:pt x="185450" y="746582"/>
                  </a:lnTo>
                  <a:lnTo>
                    <a:pt x="186096" y="746840"/>
                  </a:lnTo>
                  <a:lnTo>
                    <a:pt x="186613" y="746840"/>
                  </a:lnTo>
                  <a:lnTo>
                    <a:pt x="188810" y="746324"/>
                  </a:lnTo>
                  <a:lnTo>
                    <a:pt x="190878" y="745419"/>
                  </a:lnTo>
                  <a:lnTo>
                    <a:pt x="191265" y="745160"/>
                  </a:lnTo>
                  <a:lnTo>
                    <a:pt x="191653" y="744773"/>
                  </a:lnTo>
                  <a:lnTo>
                    <a:pt x="192946" y="743093"/>
                  </a:lnTo>
                  <a:lnTo>
                    <a:pt x="193333" y="742317"/>
                  </a:lnTo>
                  <a:lnTo>
                    <a:pt x="193463" y="742188"/>
                  </a:lnTo>
                  <a:lnTo>
                    <a:pt x="193592" y="742059"/>
                  </a:lnTo>
                  <a:lnTo>
                    <a:pt x="194367" y="741671"/>
                  </a:lnTo>
                  <a:lnTo>
                    <a:pt x="195272" y="741025"/>
                  </a:lnTo>
                  <a:lnTo>
                    <a:pt x="196823" y="739603"/>
                  </a:lnTo>
                  <a:lnTo>
                    <a:pt x="197210" y="739474"/>
                  </a:lnTo>
                  <a:lnTo>
                    <a:pt x="198244" y="739474"/>
                  </a:lnTo>
                  <a:lnTo>
                    <a:pt x="198761" y="739345"/>
                  </a:lnTo>
                  <a:lnTo>
                    <a:pt x="199149" y="738957"/>
                  </a:lnTo>
                  <a:lnTo>
                    <a:pt x="199924" y="738182"/>
                  </a:lnTo>
                  <a:lnTo>
                    <a:pt x="200312" y="737923"/>
                  </a:lnTo>
                  <a:lnTo>
                    <a:pt x="200829" y="737665"/>
                  </a:lnTo>
                  <a:lnTo>
                    <a:pt x="203801" y="737148"/>
                  </a:lnTo>
                  <a:lnTo>
                    <a:pt x="204318" y="737148"/>
                  </a:lnTo>
                  <a:lnTo>
                    <a:pt x="204835" y="737277"/>
                  </a:lnTo>
                  <a:lnTo>
                    <a:pt x="205352" y="737277"/>
                  </a:lnTo>
                  <a:lnTo>
                    <a:pt x="210651" y="736373"/>
                  </a:lnTo>
                  <a:lnTo>
                    <a:pt x="211684" y="735985"/>
                  </a:lnTo>
                  <a:lnTo>
                    <a:pt x="212201" y="735726"/>
                  </a:lnTo>
                  <a:lnTo>
                    <a:pt x="212589" y="735339"/>
                  </a:lnTo>
                  <a:lnTo>
                    <a:pt x="213235" y="734563"/>
                  </a:lnTo>
                  <a:lnTo>
                    <a:pt x="214140" y="733917"/>
                  </a:lnTo>
                  <a:lnTo>
                    <a:pt x="217758" y="733142"/>
                  </a:lnTo>
                  <a:lnTo>
                    <a:pt x="224866" y="732754"/>
                  </a:lnTo>
                  <a:lnTo>
                    <a:pt x="226029" y="732496"/>
                  </a:lnTo>
                  <a:lnTo>
                    <a:pt x="227193" y="732108"/>
                  </a:lnTo>
                  <a:lnTo>
                    <a:pt x="227709" y="731849"/>
                  </a:lnTo>
                  <a:lnTo>
                    <a:pt x="228097" y="731591"/>
                  </a:lnTo>
                  <a:lnTo>
                    <a:pt x="228614" y="731332"/>
                  </a:lnTo>
                  <a:lnTo>
                    <a:pt x="229131" y="731203"/>
                  </a:lnTo>
                  <a:lnTo>
                    <a:pt x="229777" y="731203"/>
                  </a:lnTo>
                  <a:lnTo>
                    <a:pt x="230423" y="731203"/>
                  </a:lnTo>
                  <a:lnTo>
                    <a:pt x="231069" y="731332"/>
                  </a:lnTo>
                  <a:lnTo>
                    <a:pt x="231716" y="731462"/>
                  </a:lnTo>
                  <a:lnTo>
                    <a:pt x="232233" y="731720"/>
                  </a:lnTo>
                  <a:lnTo>
                    <a:pt x="232620" y="731979"/>
                  </a:lnTo>
                  <a:lnTo>
                    <a:pt x="233137" y="732496"/>
                  </a:lnTo>
                  <a:lnTo>
                    <a:pt x="234430" y="734563"/>
                  </a:lnTo>
                  <a:lnTo>
                    <a:pt x="235076" y="735209"/>
                  </a:lnTo>
                  <a:lnTo>
                    <a:pt x="235593" y="735726"/>
                  </a:lnTo>
                  <a:lnTo>
                    <a:pt x="241408" y="738182"/>
                  </a:lnTo>
                  <a:lnTo>
                    <a:pt x="241925" y="738957"/>
                  </a:lnTo>
                  <a:lnTo>
                    <a:pt x="242313" y="740250"/>
                  </a:lnTo>
                  <a:lnTo>
                    <a:pt x="242959" y="744902"/>
                  </a:lnTo>
                  <a:lnTo>
                    <a:pt x="243347" y="746453"/>
                  </a:lnTo>
                  <a:lnTo>
                    <a:pt x="243993" y="748262"/>
                  </a:lnTo>
                  <a:lnTo>
                    <a:pt x="244251" y="749425"/>
                  </a:lnTo>
                  <a:lnTo>
                    <a:pt x="244122" y="750717"/>
                  </a:lnTo>
                  <a:lnTo>
                    <a:pt x="243734" y="751234"/>
                  </a:lnTo>
                  <a:lnTo>
                    <a:pt x="242959" y="752010"/>
                  </a:lnTo>
                  <a:lnTo>
                    <a:pt x="242701" y="752527"/>
                  </a:lnTo>
                  <a:lnTo>
                    <a:pt x="242571" y="753044"/>
                  </a:lnTo>
                  <a:lnTo>
                    <a:pt x="242184" y="754982"/>
                  </a:lnTo>
                  <a:lnTo>
                    <a:pt x="241279" y="757825"/>
                  </a:lnTo>
                  <a:lnTo>
                    <a:pt x="241020" y="758342"/>
                  </a:lnTo>
                  <a:lnTo>
                    <a:pt x="240374" y="759376"/>
                  </a:lnTo>
                  <a:lnTo>
                    <a:pt x="240245" y="759893"/>
                  </a:lnTo>
                  <a:lnTo>
                    <a:pt x="240374" y="760539"/>
                  </a:lnTo>
                  <a:lnTo>
                    <a:pt x="240891" y="761444"/>
                  </a:lnTo>
                  <a:lnTo>
                    <a:pt x="241667" y="762478"/>
                  </a:lnTo>
                  <a:lnTo>
                    <a:pt x="241925" y="762995"/>
                  </a:lnTo>
                  <a:lnTo>
                    <a:pt x="242054" y="763641"/>
                  </a:lnTo>
                  <a:lnTo>
                    <a:pt x="241925" y="764416"/>
                  </a:lnTo>
                  <a:lnTo>
                    <a:pt x="240633" y="767130"/>
                  </a:lnTo>
                  <a:lnTo>
                    <a:pt x="240374" y="768293"/>
                  </a:lnTo>
                  <a:lnTo>
                    <a:pt x="239987" y="771783"/>
                  </a:lnTo>
                  <a:lnTo>
                    <a:pt x="239857" y="772429"/>
                  </a:lnTo>
                  <a:lnTo>
                    <a:pt x="239599" y="772946"/>
                  </a:lnTo>
                  <a:lnTo>
                    <a:pt x="239340" y="773333"/>
                  </a:lnTo>
                  <a:lnTo>
                    <a:pt x="238953" y="773721"/>
                  </a:lnTo>
                  <a:lnTo>
                    <a:pt x="238565" y="773980"/>
                  </a:lnTo>
                  <a:lnTo>
                    <a:pt x="237014" y="774626"/>
                  </a:lnTo>
                  <a:lnTo>
                    <a:pt x="236627" y="774884"/>
                  </a:lnTo>
                  <a:lnTo>
                    <a:pt x="236368" y="775401"/>
                  </a:lnTo>
                  <a:lnTo>
                    <a:pt x="236368" y="776047"/>
                  </a:lnTo>
                  <a:lnTo>
                    <a:pt x="236885" y="777081"/>
                  </a:lnTo>
                  <a:lnTo>
                    <a:pt x="238048" y="778761"/>
                  </a:lnTo>
                  <a:lnTo>
                    <a:pt x="239082" y="780829"/>
                  </a:lnTo>
                  <a:lnTo>
                    <a:pt x="239470" y="781475"/>
                  </a:lnTo>
                  <a:lnTo>
                    <a:pt x="239728" y="781734"/>
                  </a:lnTo>
                  <a:lnTo>
                    <a:pt x="239987" y="781992"/>
                  </a:lnTo>
                  <a:lnTo>
                    <a:pt x="240374" y="782121"/>
                  </a:lnTo>
                  <a:lnTo>
                    <a:pt x="241667" y="783026"/>
                  </a:lnTo>
                  <a:lnTo>
                    <a:pt x="241925" y="783414"/>
                  </a:lnTo>
                  <a:lnTo>
                    <a:pt x="242054" y="783801"/>
                  </a:lnTo>
                  <a:lnTo>
                    <a:pt x="241667" y="784318"/>
                  </a:lnTo>
                  <a:lnTo>
                    <a:pt x="241150" y="784447"/>
                  </a:lnTo>
                  <a:lnTo>
                    <a:pt x="240762" y="784447"/>
                  </a:lnTo>
                  <a:lnTo>
                    <a:pt x="230423" y="784447"/>
                  </a:lnTo>
                  <a:lnTo>
                    <a:pt x="227839" y="784706"/>
                  </a:lnTo>
                  <a:lnTo>
                    <a:pt x="227193" y="784706"/>
                  </a:lnTo>
                  <a:lnTo>
                    <a:pt x="224608" y="784447"/>
                  </a:lnTo>
                  <a:lnTo>
                    <a:pt x="223962" y="784447"/>
                  </a:lnTo>
                  <a:lnTo>
                    <a:pt x="217758" y="785481"/>
                  </a:lnTo>
                  <a:lnTo>
                    <a:pt x="210004" y="788712"/>
                  </a:lnTo>
                  <a:lnTo>
                    <a:pt x="209617" y="788971"/>
                  </a:lnTo>
                  <a:lnTo>
                    <a:pt x="206257" y="792072"/>
                  </a:lnTo>
                  <a:lnTo>
                    <a:pt x="205610" y="792977"/>
                  </a:lnTo>
                  <a:lnTo>
                    <a:pt x="205094" y="793881"/>
                  </a:lnTo>
                  <a:lnTo>
                    <a:pt x="204706" y="794915"/>
                  </a:lnTo>
                  <a:lnTo>
                    <a:pt x="204318" y="796208"/>
                  </a:lnTo>
                  <a:lnTo>
                    <a:pt x="202897" y="799180"/>
                  </a:lnTo>
                  <a:lnTo>
                    <a:pt x="201992" y="800472"/>
                  </a:lnTo>
                  <a:lnTo>
                    <a:pt x="200570" y="804349"/>
                  </a:lnTo>
                  <a:lnTo>
                    <a:pt x="199536" y="809389"/>
                  </a:lnTo>
                  <a:lnTo>
                    <a:pt x="199407" y="811974"/>
                  </a:lnTo>
                  <a:lnTo>
                    <a:pt x="199278" y="812491"/>
                  </a:lnTo>
                  <a:lnTo>
                    <a:pt x="198890" y="813654"/>
                  </a:lnTo>
                  <a:lnTo>
                    <a:pt x="198503" y="816110"/>
                  </a:lnTo>
                  <a:lnTo>
                    <a:pt x="198115" y="817144"/>
                  </a:lnTo>
                  <a:lnTo>
                    <a:pt x="196306" y="820633"/>
                  </a:lnTo>
                  <a:lnTo>
                    <a:pt x="196176" y="821150"/>
                  </a:lnTo>
                  <a:lnTo>
                    <a:pt x="196176" y="821796"/>
                  </a:lnTo>
                  <a:lnTo>
                    <a:pt x="198503" y="829162"/>
                  </a:lnTo>
                  <a:lnTo>
                    <a:pt x="198632" y="829679"/>
                  </a:lnTo>
                  <a:lnTo>
                    <a:pt x="198503" y="830325"/>
                  </a:lnTo>
                  <a:lnTo>
                    <a:pt x="198244" y="830842"/>
                  </a:lnTo>
                  <a:lnTo>
                    <a:pt x="197986" y="831230"/>
                  </a:lnTo>
                  <a:lnTo>
                    <a:pt x="196823" y="832393"/>
                  </a:lnTo>
                  <a:lnTo>
                    <a:pt x="194755" y="834073"/>
                  </a:lnTo>
                  <a:lnTo>
                    <a:pt x="193333" y="834848"/>
                  </a:lnTo>
                  <a:lnTo>
                    <a:pt x="192429" y="835495"/>
                  </a:lnTo>
                  <a:lnTo>
                    <a:pt x="192041" y="835882"/>
                  </a:lnTo>
                  <a:lnTo>
                    <a:pt x="189973" y="837433"/>
                  </a:lnTo>
                  <a:lnTo>
                    <a:pt x="189198" y="838209"/>
                  </a:lnTo>
                  <a:lnTo>
                    <a:pt x="188164" y="839501"/>
                  </a:lnTo>
                  <a:lnTo>
                    <a:pt x="187389" y="840276"/>
                  </a:lnTo>
                  <a:lnTo>
                    <a:pt x="186096" y="841956"/>
                  </a:lnTo>
                  <a:lnTo>
                    <a:pt x="184545" y="843378"/>
                  </a:lnTo>
                  <a:lnTo>
                    <a:pt x="183124" y="844929"/>
                  </a:lnTo>
                  <a:lnTo>
                    <a:pt x="180798" y="846996"/>
                  </a:lnTo>
                  <a:lnTo>
                    <a:pt x="180410" y="847384"/>
                  </a:lnTo>
                  <a:lnTo>
                    <a:pt x="180151" y="847772"/>
                  </a:lnTo>
                  <a:lnTo>
                    <a:pt x="179893" y="848289"/>
                  </a:lnTo>
                  <a:lnTo>
                    <a:pt x="179505" y="849452"/>
                  </a:lnTo>
                  <a:lnTo>
                    <a:pt x="178988" y="850486"/>
                  </a:lnTo>
                  <a:lnTo>
                    <a:pt x="178601" y="851649"/>
                  </a:lnTo>
                  <a:lnTo>
                    <a:pt x="178471" y="852295"/>
                  </a:lnTo>
                  <a:lnTo>
                    <a:pt x="178730" y="853200"/>
                  </a:lnTo>
                  <a:lnTo>
                    <a:pt x="179376" y="854104"/>
                  </a:lnTo>
                  <a:lnTo>
                    <a:pt x="181185" y="855526"/>
                  </a:lnTo>
                  <a:lnTo>
                    <a:pt x="182219" y="856172"/>
                  </a:lnTo>
                  <a:lnTo>
                    <a:pt x="183124" y="856560"/>
                  </a:lnTo>
                  <a:lnTo>
                    <a:pt x="184416" y="856818"/>
                  </a:lnTo>
                  <a:lnTo>
                    <a:pt x="185838" y="856947"/>
                  </a:lnTo>
                  <a:lnTo>
                    <a:pt x="190490" y="856560"/>
                  </a:lnTo>
                  <a:lnTo>
                    <a:pt x="191912" y="856560"/>
                  </a:lnTo>
                  <a:lnTo>
                    <a:pt x="193204" y="856818"/>
                  </a:lnTo>
                  <a:lnTo>
                    <a:pt x="193721" y="857077"/>
                  </a:lnTo>
                  <a:lnTo>
                    <a:pt x="199149" y="860695"/>
                  </a:lnTo>
                  <a:lnTo>
                    <a:pt x="199924" y="861471"/>
                  </a:lnTo>
                  <a:lnTo>
                    <a:pt x="203931" y="867545"/>
                  </a:lnTo>
                  <a:lnTo>
                    <a:pt x="204318" y="868578"/>
                  </a:lnTo>
                  <a:lnTo>
                    <a:pt x="205869" y="874394"/>
                  </a:lnTo>
                  <a:lnTo>
                    <a:pt x="205998" y="875686"/>
                  </a:lnTo>
                  <a:lnTo>
                    <a:pt x="205740" y="879951"/>
                  </a:lnTo>
                  <a:lnTo>
                    <a:pt x="205740" y="882794"/>
                  </a:lnTo>
                  <a:lnTo>
                    <a:pt x="205998" y="884086"/>
                  </a:lnTo>
                  <a:lnTo>
                    <a:pt x="206127" y="884603"/>
                  </a:lnTo>
                  <a:lnTo>
                    <a:pt x="208066" y="888610"/>
                  </a:lnTo>
                  <a:lnTo>
                    <a:pt x="209746" y="890548"/>
                  </a:lnTo>
                  <a:lnTo>
                    <a:pt x="213881" y="893908"/>
                  </a:lnTo>
                  <a:lnTo>
                    <a:pt x="223186" y="898948"/>
                  </a:lnTo>
                  <a:lnTo>
                    <a:pt x="231845" y="902308"/>
                  </a:lnTo>
                  <a:lnTo>
                    <a:pt x="233654" y="902825"/>
                  </a:lnTo>
                  <a:lnTo>
                    <a:pt x="234559" y="903213"/>
                  </a:lnTo>
                  <a:lnTo>
                    <a:pt x="235980" y="904118"/>
                  </a:lnTo>
                  <a:lnTo>
                    <a:pt x="236497" y="904635"/>
                  </a:lnTo>
                  <a:lnTo>
                    <a:pt x="236885" y="905281"/>
                  </a:lnTo>
                  <a:lnTo>
                    <a:pt x="237273" y="906573"/>
                  </a:lnTo>
                  <a:lnTo>
                    <a:pt x="237402" y="907478"/>
                  </a:lnTo>
                  <a:lnTo>
                    <a:pt x="237402" y="908253"/>
                  </a:lnTo>
                  <a:lnTo>
                    <a:pt x="237273" y="908899"/>
                  </a:lnTo>
                  <a:lnTo>
                    <a:pt x="237014" y="909416"/>
                  </a:lnTo>
                  <a:lnTo>
                    <a:pt x="236627" y="909804"/>
                  </a:lnTo>
                  <a:lnTo>
                    <a:pt x="236239" y="910192"/>
                  </a:lnTo>
                  <a:lnTo>
                    <a:pt x="234946" y="911096"/>
                  </a:lnTo>
                  <a:lnTo>
                    <a:pt x="232750" y="913293"/>
                  </a:lnTo>
                  <a:lnTo>
                    <a:pt x="232103" y="914069"/>
                  </a:lnTo>
                  <a:lnTo>
                    <a:pt x="231586" y="914973"/>
                  </a:lnTo>
                  <a:lnTo>
                    <a:pt x="231457" y="915490"/>
                  </a:lnTo>
                  <a:lnTo>
                    <a:pt x="230682" y="918721"/>
                  </a:lnTo>
                  <a:lnTo>
                    <a:pt x="230294" y="919755"/>
                  </a:lnTo>
                  <a:lnTo>
                    <a:pt x="229906" y="920143"/>
                  </a:lnTo>
                  <a:lnTo>
                    <a:pt x="229519" y="920401"/>
                  </a:lnTo>
                  <a:lnTo>
                    <a:pt x="229002" y="920660"/>
                  </a:lnTo>
                  <a:lnTo>
                    <a:pt x="228485" y="920789"/>
                  </a:lnTo>
                  <a:lnTo>
                    <a:pt x="227968" y="920918"/>
                  </a:lnTo>
                  <a:lnTo>
                    <a:pt x="227451" y="920918"/>
                  </a:lnTo>
                  <a:lnTo>
                    <a:pt x="226288" y="920789"/>
                  </a:lnTo>
                  <a:lnTo>
                    <a:pt x="225642" y="920789"/>
                  </a:lnTo>
                  <a:lnTo>
                    <a:pt x="225125" y="920918"/>
                  </a:lnTo>
                  <a:lnTo>
                    <a:pt x="224737" y="921176"/>
                  </a:lnTo>
                  <a:lnTo>
                    <a:pt x="224349" y="921564"/>
                  </a:lnTo>
                  <a:lnTo>
                    <a:pt x="223962" y="921952"/>
                  </a:lnTo>
                  <a:lnTo>
                    <a:pt x="223445" y="922856"/>
                  </a:lnTo>
                  <a:lnTo>
                    <a:pt x="222928" y="924537"/>
                  </a:lnTo>
                  <a:lnTo>
                    <a:pt x="222669" y="925700"/>
                  </a:lnTo>
                  <a:lnTo>
                    <a:pt x="222669" y="926992"/>
                  </a:lnTo>
                  <a:lnTo>
                    <a:pt x="223057" y="929577"/>
                  </a:lnTo>
                  <a:lnTo>
                    <a:pt x="223445" y="930223"/>
                  </a:lnTo>
                  <a:lnTo>
                    <a:pt x="224091" y="930869"/>
                  </a:lnTo>
                  <a:lnTo>
                    <a:pt x="225512" y="931515"/>
                  </a:lnTo>
                  <a:lnTo>
                    <a:pt x="226417" y="931644"/>
                  </a:lnTo>
                  <a:lnTo>
                    <a:pt x="227451" y="932032"/>
                  </a:lnTo>
                  <a:lnTo>
                    <a:pt x="228485" y="932678"/>
                  </a:lnTo>
                  <a:lnTo>
                    <a:pt x="232750" y="936685"/>
                  </a:lnTo>
                  <a:lnTo>
                    <a:pt x="240374" y="941466"/>
                  </a:lnTo>
                  <a:lnTo>
                    <a:pt x="241667" y="942629"/>
                  </a:lnTo>
                  <a:lnTo>
                    <a:pt x="242959" y="944439"/>
                  </a:lnTo>
                  <a:lnTo>
                    <a:pt x="244639" y="948057"/>
                  </a:lnTo>
                  <a:lnTo>
                    <a:pt x="244898" y="949220"/>
                  </a:lnTo>
                  <a:lnTo>
                    <a:pt x="244898" y="951159"/>
                  </a:lnTo>
                  <a:lnTo>
                    <a:pt x="244639" y="954002"/>
                  </a:lnTo>
                  <a:lnTo>
                    <a:pt x="244122" y="956328"/>
                  </a:lnTo>
                  <a:lnTo>
                    <a:pt x="244122" y="956716"/>
                  </a:lnTo>
                  <a:lnTo>
                    <a:pt x="244122" y="956974"/>
                  </a:lnTo>
                  <a:lnTo>
                    <a:pt x="244122" y="957362"/>
                  </a:lnTo>
                  <a:lnTo>
                    <a:pt x="244251" y="957879"/>
                  </a:lnTo>
                  <a:lnTo>
                    <a:pt x="244510" y="958396"/>
                  </a:lnTo>
                  <a:lnTo>
                    <a:pt x="244898" y="959042"/>
                  </a:lnTo>
                  <a:lnTo>
                    <a:pt x="247870" y="961756"/>
                  </a:lnTo>
                  <a:lnTo>
                    <a:pt x="248516" y="962531"/>
                  </a:lnTo>
                  <a:lnTo>
                    <a:pt x="249033" y="963436"/>
                  </a:lnTo>
                  <a:lnTo>
                    <a:pt x="250584" y="967054"/>
                  </a:lnTo>
                  <a:lnTo>
                    <a:pt x="252005" y="968476"/>
                  </a:lnTo>
                  <a:lnTo>
                    <a:pt x="253815" y="969898"/>
                  </a:lnTo>
                  <a:lnTo>
                    <a:pt x="255236" y="971319"/>
                  </a:lnTo>
                  <a:lnTo>
                    <a:pt x="257175" y="975196"/>
                  </a:lnTo>
                  <a:lnTo>
                    <a:pt x="257950" y="975713"/>
                  </a:lnTo>
                  <a:lnTo>
                    <a:pt x="259113" y="976230"/>
                  </a:lnTo>
                  <a:lnTo>
                    <a:pt x="261827" y="976876"/>
                  </a:lnTo>
                  <a:lnTo>
                    <a:pt x="263249" y="977005"/>
                  </a:lnTo>
                  <a:lnTo>
                    <a:pt x="264283" y="977005"/>
                  </a:lnTo>
                  <a:lnTo>
                    <a:pt x="270873" y="975455"/>
                  </a:lnTo>
                  <a:lnTo>
                    <a:pt x="271520" y="975455"/>
                  </a:lnTo>
                  <a:lnTo>
                    <a:pt x="274234" y="975713"/>
                  </a:lnTo>
                  <a:lnTo>
                    <a:pt x="285089" y="979202"/>
                  </a:lnTo>
                  <a:lnTo>
                    <a:pt x="286898" y="980624"/>
                  </a:lnTo>
                  <a:lnTo>
                    <a:pt x="290775" y="985793"/>
                  </a:lnTo>
                  <a:lnTo>
                    <a:pt x="291551" y="986569"/>
                  </a:lnTo>
                  <a:lnTo>
                    <a:pt x="291939" y="986956"/>
                  </a:lnTo>
                  <a:lnTo>
                    <a:pt x="293877" y="988119"/>
                  </a:lnTo>
                  <a:lnTo>
                    <a:pt x="300209" y="991092"/>
                  </a:lnTo>
                  <a:lnTo>
                    <a:pt x="299951" y="987215"/>
                  </a:lnTo>
                  <a:lnTo>
                    <a:pt x="300209" y="985276"/>
                  </a:lnTo>
                  <a:lnTo>
                    <a:pt x="300985" y="982045"/>
                  </a:lnTo>
                  <a:lnTo>
                    <a:pt x="301114" y="980624"/>
                  </a:lnTo>
                  <a:lnTo>
                    <a:pt x="301114" y="979590"/>
                  </a:lnTo>
                  <a:lnTo>
                    <a:pt x="300985" y="978944"/>
                  </a:lnTo>
                  <a:lnTo>
                    <a:pt x="300080" y="977005"/>
                  </a:lnTo>
                  <a:lnTo>
                    <a:pt x="299305" y="976230"/>
                  </a:lnTo>
                  <a:lnTo>
                    <a:pt x="299822" y="974421"/>
                  </a:lnTo>
                  <a:lnTo>
                    <a:pt x="305120" y="965891"/>
                  </a:lnTo>
                  <a:lnTo>
                    <a:pt x="305120" y="963953"/>
                  </a:lnTo>
                  <a:lnTo>
                    <a:pt x="304862" y="961497"/>
                  </a:lnTo>
                  <a:lnTo>
                    <a:pt x="304991" y="959300"/>
                  </a:lnTo>
                  <a:lnTo>
                    <a:pt x="306154" y="958396"/>
                  </a:lnTo>
                  <a:lnTo>
                    <a:pt x="309256" y="956845"/>
                  </a:lnTo>
                  <a:lnTo>
                    <a:pt x="309902" y="953226"/>
                  </a:lnTo>
                  <a:lnTo>
                    <a:pt x="308868" y="945602"/>
                  </a:lnTo>
                  <a:lnTo>
                    <a:pt x="309643" y="938623"/>
                  </a:lnTo>
                  <a:lnTo>
                    <a:pt x="310677" y="935134"/>
                  </a:lnTo>
                  <a:lnTo>
                    <a:pt x="312487" y="932549"/>
                  </a:lnTo>
                  <a:lnTo>
                    <a:pt x="311065" y="928543"/>
                  </a:lnTo>
                  <a:lnTo>
                    <a:pt x="310936" y="923632"/>
                  </a:lnTo>
                  <a:lnTo>
                    <a:pt x="311711" y="914198"/>
                  </a:lnTo>
                  <a:lnTo>
                    <a:pt x="311582" y="909287"/>
                  </a:lnTo>
                  <a:lnTo>
                    <a:pt x="311840" y="906444"/>
                  </a:lnTo>
                  <a:lnTo>
                    <a:pt x="312874" y="905152"/>
                  </a:lnTo>
                  <a:lnTo>
                    <a:pt x="314037" y="904376"/>
                  </a:lnTo>
                  <a:lnTo>
                    <a:pt x="315071" y="902567"/>
                  </a:lnTo>
                  <a:lnTo>
                    <a:pt x="315847" y="900370"/>
                  </a:lnTo>
                  <a:lnTo>
                    <a:pt x="316234" y="898561"/>
                  </a:lnTo>
                  <a:lnTo>
                    <a:pt x="315847" y="895071"/>
                  </a:lnTo>
                  <a:lnTo>
                    <a:pt x="315330" y="892874"/>
                  </a:lnTo>
                  <a:lnTo>
                    <a:pt x="314167" y="891453"/>
                  </a:lnTo>
                  <a:lnTo>
                    <a:pt x="313004" y="889385"/>
                  </a:lnTo>
                  <a:lnTo>
                    <a:pt x="312228" y="888868"/>
                  </a:lnTo>
                  <a:lnTo>
                    <a:pt x="308997" y="887317"/>
                  </a:lnTo>
                  <a:lnTo>
                    <a:pt x="305637" y="884216"/>
                  </a:lnTo>
                  <a:lnTo>
                    <a:pt x="304474" y="880597"/>
                  </a:lnTo>
                  <a:lnTo>
                    <a:pt x="304603" y="871163"/>
                  </a:lnTo>
                  <a:lnTo>
                    <a:pt x="304345" y="870388"/>
                  </a:lnTo>
                  <a:lnTo>
                    <a:pt x="303957" y="869871"/>
                  </a:lnTo>
                  <a:lnTo>
                    <a:pt x="303828" y="869483"/>
                  </a:lnTo>
                  <a:lnTo>
                    <a:pt x="304603" y="868837"/>
                  </a:lnTo>
                  <a:lnTo>
                    <a:pt x="304603" y="868061"/>
                  </a:lnTo>
                  <a:lnTo>
                    <a:pt x="303311" y="866769"/>
                  </a:lnTo>
                  <a:lnTo>
                    <a:pt x="302406" y="865477"/>
                  </a:lnTo>
                  <a:lnTo>
                    <a:pt x="301890" y="863797"/>
                  </a:lnTo>
                  <a:lnTo>
                    <a:pt x="301502" y="861341"/>
                  </a:lnTo>
                  <a:lnTo>
                    <a:pt x="301502" y="853846"/>
                  </a:lnTo>
                  <a:lnTo>
                    <a:pt x="300726" y="851778"/>
                  </a:lnTo>
                  <a:lnTo>
                    <a:pt x="300597" y="850098"/>
                  </a:lnTo>
                  <a:lnTo>
                    <a:pt x="297237" y="843766"/>
                  </a:lnTo>
                  <a:lnTo>
                    <a:pt x="296332" y="841052"/>
                  </a:lnTo>
                  <a:lnTo>
                    <a:pt x="296720" y="838467"/>
                  </a:lnTo>
                  <a:lnTo>
                    <a:pt x="297754" y="835495"/>
                  </a:lnTo>
                  <a:lnTo>
                    <a:pt x="299176" y="833039"/>
                  </a:lnTo>
                  <a:lnTo>
                    <a:pt x="300726" y="831876"/>
                  </a:lnTo>
                  <a:lnTo>
                    <a:pt x="300468" y="829033"/>
                  </a:lnTo>
                  <a:lnTo>
                    <a:pt x="302019" y="825931"/>
                  </a:lnTo>
                  <a:lnTo>
                    <a:pt x="304216" y="823864"/>
                  </a:lnTo>
                  <a:lnTo>
                    <a:pt x="305766" y="823734"/>
                  </a:lnTo>
                  <a:lnTo>
                    <a:pt x="306413" y="822959"/>
                  </a:lnTo>
                  <a:lnTo>
                    <a:pt x="306671" y="822184"/>
                  </a:lnTo>
                  <a:lnTo>
                    <a:pt x="306800" y="821408"/>
                  </a:lnTo>
                  <a:lnTo>
                    <a:pt x="307188" y="820633"/>
                  </a:lnTo>
                  <a:lnTo>
                    <a:pt x="309256" y="818694"/>
                  </a:lnTo>
                  <a:lnTo>
                    <a:pt x="309385" y="818436"/>
                  </a:lnTo>
                  <a:lnTo>
                    <a:pt x="312099" y="817144"/>
                  </a:lnTo>
                  <a:lnTo>
                    <a:pt x="313262" y="816110"/>
                  </a:lnTo>
                  <a:lnTo>
                    <a:pt x="314425" y="813913"/>
                  </a:lnTo>
                  <a:lnTo>
                    <a:pt x="315717" y="809389"/>
                  </a:lnTo>
                  <a:lnTo>
                    <a:pt x="316622" y="807968"/>
                  </a:lnTo>
                  <a:lnTo>
                    <a:pt x="319077" y="806029"/>
                  </a:lnTo>
                  <a:lnTo>
                    <a:pt x="319336" y="804996"/>
                  </a:lnTo>
                  <a:lnTo>
                    <a:pt x="317268" y="804349"/>
                  </a:lnTo>
                  <a:lnTo>
                    <a:pt x="317268" y="803574"/>
                  </a:lnTo>
                  <a:lnTo>
                    <a:pt x="320758" y="801119"/>
                  </a:lnTo>
                  <a:lnTo>
                    <a:pt x="321921" y="796466"/>
                  </a:lnTo>
                  <a:lnTo>
                    <a:pt x="322438" y="787420"/>
                  </a:lnTo>
                  <a:lnTo>
                    <a:pt x="324635" y="783672"/>
                  </a:lnTo>
                  <a:lnTo>
                    <a:pt x="326185" y="781604"/>
                  </a:lnTo>
                  <a:lnTo>
                    <a:pt x="327349" y="780700"/>
                  </a:lnTo>
                  <a:lnTo>
                    <a:pt x="327736" y="779666"/>
                  </a:lnTo>
                  <a:lnTo>
                    <a:pt x="330709" y="774109"/>
                  </a:lnTo>
                  <a:lnTo>
                    <a:pt x="330838" y="773075"/>
                  </a:lnTo>
                  <a:lnTo>
                    <a:pt x="330579" y="770878"/>
                  </a:lnTo>
                  <a:lnTo>
                    <a:pt x="330709" y="769844"/>
                  </a:lnTo>
                  <a:lnTo>
                    <a:pt x="331096" y="768422"/>
                  </a:lnTo>
                  <a:lnTo>
                    <a:pt x="331484" y="767906"/>
                  </a:lnTo>
                  <a:lnTo>
                    <a:pt x="332130" y="767518"/>
                  </a:lnTo>
                  <a:lnTo>
                    <a:pt x="333939" y="765967"/>
                  </a:lnTo>
                  <a:lnTo>
                    <a:pt x="335490" y="764933"/>
                  </a:lnTo>
                  <a:lnTo>
                    <a:pt x="335749" y="764287"/>
                  </a:lnTo>
                  <a:lnTo>
                    <a:pt x="337170" y="760152"/>
                  </a:lnTo>
                  <a:lnTo>
                    <a:pt x="337687" y="759505"/>
                  </a:lnTo>
                  <a:lnTo>
                    <a:pt x="338850" y="758213"/>
                  </a:lnTo>
                  <a:lnTo>
                    <a:pt x="339496" y="757308"/>
                  </a:lnTo>
                  <a:lnTo>
                    <a:pt x="340789" y="749167"/>
                  </a:lnTo>
                  <a:lnTo>
                    <a:pt x="340918" y="743997"/>
                  </a:lnTo>
                  <a:lnTo>
                    <a:pt x="341435" y="743093"/>
                  </a:lnTo>
                  <a:lnTo>
                    <a:pt x="342727" y="742447"/>
                  </a:lnTo>
                  <a:lnTo>
                    <a:pt x="343115" y="741800"/>
                  </a:lnTo>
                  <a:lnTo>
                    <a:pt x="342857" y="740896"/>
                  </a:lnTo>
                  <a:lnTo>
                    <a:pt x="342081" y="740250"/>
                  </a:lnTo>
                  <a:lnTo>
                    <a:pt x="341693" y="739603"/>
                  </a:lnTo>
                  <a:lnTo>
                    <a:pt x="342469" y="738699"/>
                  </a:lnTo>
                  <a:lnTo>
                    <a:pt x="342469" y="738053"/>
                  </a:lnTo>
                  <a:lnTo>
                    <a:pt x="341693" y="736760"/>
                  </a:lnTo>
                  <a:lnTo>
                    <a:pt x="341952" y="735209"/>
                  </a:lnTo>
                  <a:lnTo>
                    <a:pt x="342469" y="733400"/>
                  </a:lnTo>
                  <a:lnTo>
                    <a:pt x="342469" y="731462"/>
                  </a:lnTo>
                  <a:lnTo>
                    <a:pt x="343244" y="732237"/>
                  </a:lnTo>
                  <a:lnTo>
                    <a:pt x="344020" y="728489"/>
                  </a:lnTo>
                  <a:lnTo>
                    <a:pt x="343890" y="727843"/>
                  </a:lnTo>
                  <a:lnTo>
                    <a:pt x="343244" y="726939"/>
                  </a:lnTo>
                  <a:lnTo>
                    <a:pt x="343244" y="726292"/>
                  </a:lnTo>
                  <a:lnTo>
                    <a:pt x="343503" y="726034"/>
                  </a:lnTo>
                  <a:lnTo>
                    <a:pt x="344278" y="725646"/>
                  </a:lnTo>
                  <a:lnTo>
                    <a:pt x="344536" y="725517"/>
                  </a:lnTo>
                  <a:lnTo>
                    <a:pt x="344795" y="725000"/>
                  </a:lnTo>
                  <a:lnTo>
                    <a:pt x="345053" y="723061"/>
                  </a:lnTo>
                  <a:lnTo>
                    <a:pt x="346992" y="718021"/>
                  </a:lnTo>
                  <a:lnTo>
                    <a:pt x="348414" y="710267"/>
                  </a:lnTo>
                  <a:lnTo>
                    <a:pt x="350869" y="706003"/>
                  </a:lnTo>
                  <a:lnTo>
                    <a:pt x="354746" y="703030"/>
                  </a:lnTo>
                  <a:lnTo>
                    <a:pt x="363534" y="698249"/>
                  </a:lnTo>
                  <a:lnTo>
                    <a:pt x="369479" y="693467"/>
                  </a:lnTo>
                  <a:lnTo>
                    <a:pt x="371676" y="692562"/>
                  </a:lnTo>
                  <a:lnTo>
                    <a:pt x="378396" y="692046"/>
                  </a:lnTo>
                  <a:lnTo>
                    <a:pt x="382790" y="691012"/>
                  </a:lnTo>
                  <a:lnTo>
                    <a:pt x="390673" y="687910"/>
                  </a:lnTo>
                  <a:lnTo>
                    <a:pt x="398815" y="686359"/>
                  </a:lnTo>
                  <a:lnTo>
                    <a:pt x="400495" y="685842"/>
                  </a:lnTo>
                  <a:lnTo>
                    <a:pt x="407215" y="682611"/>
                  </a:lnTo>
                  <a:lnTo>
                    <a:pt x="411350" y="681190"/>
                  </a:lnTo>
                  <a:lnTo>
                    <a:pt x="412126" y="680414"/>
                  </a:lnTo>
                  <a:lnTo>
                    <a:pt x="412384" y="678864"/>
                  </a:lnTo>
                  <a:lnTo>
                    <a:pt x="412901" y="678088"/>
                  </a:lnTo>
                  <a:lnTo>
                    <a:pt x="414193" y="678218"/>
                  </a:lnTo>
                  <a:lnTo>
                    <a:pt x="415486" y="678218"/>
                  </a:lnTo>
                  <a:lnTo>
                    <a:pt x="416003" y="676796"/>
                  </a:lnTo>
                  <a:lnTo>
                    <a:pt x="416649" y="675891"/>
                  </a:lnTo>
                  <a:lnTo>
                    <a:pt x="421172" y="672790"/>
                  </a:lnTo>
                  <a:lnTo>
                    <a:pt x="422594" y="673824"/>
                  </a:lnTo>
                  <a:lnTo>
                    <a:pt x="424015" y="674211"/>
                  </a:lnTo>
                  <a:lnTo>
                    <a:pt x="425437" y="673953"/>
                  </a:lnTo>
                  <a:lnTo>
                    <a:pt x="426600" y="673177"/>
                  </a:lnTo>
                  <a:lnTo>
                    <a:pt x="427892" y="673048"/>
                  </a:lnTo>
                  <a:lnTo>
                    <a:pt x="429314" y="674082"/>
                  </a:lnTo>
                  <a:lnTo>
                    <a:pt x="432028" y="676537"/>
                  </a:lnTo>
                  <a:lnTo>
                    <a:pt x="433837" y="675762"/>
                  </a:lnTo>
                  <a:lnTo>
                    <a:pt x="434612" y="674728"/>
                  </a:lnTo>
                  <a:lnTo>
                    <a:pt x="435646" y="671368"/>
                  </a:lnTo>
                  <a:lnTo>
                    <a:pt x="436809" y="669559"/>
                  </a:lnTo>
                  <a:lnTo>
                    <a:pt x="438231" y="668137"/>
                  </a:lnTo>
                  <a:lnTo>
                    <a:pt x="441591" y="666199"/>
                  </a:lnTo>
                  <a:lnTo>
                    <a:pt x="442366" y="666974"/>
                  </a:lnTo>
                  <a:lnTo>
                    <a:pt x="443917" y="665165"/>
                  </a:lnTo>
                  <a:lnTo>
                    <a:pt x="446760" y="660254"/>
                  </a:lnTo>
                  <a:lnTo>
                    <a:pt x="451800" y="657152"/>
                  </a:lnTo>
                  <a:lnTo>
                    <a:pt x="452576" y="656248"/>
                  </a:lnTo>
                  <a:lnTo>
                    <a:pt x="454902" y="652888"/>
                  </a:lnTo>
                  <a:lnTo>
                    <a:pt x="460201" y="649528"/>
                  </a:lnTo>
                  <a:lnTo>
                    <a:pt x="465628" y="647201"/>
                  </a:lnTo>
                  <a:lnTo>
                    <a:pt x="468601" y="646943"/>
                  </a:lnTo>
                  <a:lnTo>
                    <a:pt x="470151" y="645780"/>
                  </a:lnTo>
                  <a:lnTo>
                    <a:pt x="472090" y="645392"/>
                  </a:lnTo>
                  <a:lnTo>
                    <a:pt x="475579" y="645392"/>
                  </a:lnTo>
                  <a:lnTo>
                    <a:pt x="476484" y="644617"/>
                  </a:lnTo>
                  <a:lnTo>
                    <a:pt x="477389" y="642937"/>
                  </a:lnTo>
                  <a:lnTo>
                    <a:pt x="480619" y="634149"/>
                  </a:lnTo>
                  <a:lnTo>
                    <a:pt x="481524" y="633761"/>
                  </a:lnTo>
                  <a:lnTo>
                    <a:pt x="482558" y="633632"/>
                  </a:lnTo>
                  <a:lnTo>
                    <a:pt x="483462" y="633115"/>
                  </a:lnTo>
                  <a:lnTo>
                    <a:pt x="486047" y="630789"/>
                  </a:lnTo>
                  <a:lnTo>
                    <a:pt x="486823" y="629755"/>
                  </a:lnTo>
                  <a:lnTo>
                    <a:pt x="488373" y="626783"/>
                  </a:lnTo>
                  <a:lnTo>
                    <a:pt x="489020" y="626266"/>
                  </a:lnTo>
                  <a:lnTo>
                    <a:pt x="489666" y="625878"/>
                  </a:lnTo>
                  <a:lnTo>
                    <a:pt x="490312" y="625232"/>
                  </a:lnTo>
                  <a:lnTo>
                    <a:pt x="490570" y="624198"/>
                  </a:lnTo>
                  <a:lnTo>
                    <a:pt x="490700" y="622001"/>
                  </a:lnTo>
                  <a:lnTo>
                    <a:pt x="491087" y="621226"/>
                  </a:lnTo>
                  <a:lnTo>
                    <a:pt x="491733" y="620838"/>
                  </a:lnTo>
                  <a:lnTo>
                    <a:pt x="493026" y="620321"/>
                  </a:lnTo>
                  <a:lnTo>
                    <a:pt x="495223" y="617995"/>
                  </a:lnTo>
                  <a:lnTo>
                    <a:pt x="496515" y="617090"/>
                  </a:lnTo>
                  <a:lnTo>
                    <a:pt x="495998" y="617478"/>
                  </a:lnTo>
                  <a:lnTo>
                    <a:pt x="496903" y="617736"/>
                  </a:lnTo>
                  <a:lnTo>
                    <a:pt x="498324" y="617865"/>
                  </a:lnTo>
                  <a:lnTo>
                    <a:pt x="498583" y="617478"/>
                  </a:lnTo>
                  <a:lnTo>
                    <a:pt x="498195" y="616444"/>
                  </a:lnTo>
                  <a:lnTo>
                    <a:pt x="497549" y="615410"/>
                  </a:lnTo>
                  <a:lnTo>
                    <a:pt x="496515" y="614635"/>
                  </a:lnTo>
                  <a:lnTo>
                    <a:pt x="496903" y="613859"/>
                  </a:lnTo>
                  <a:lnTo>
                    <a:pt x="497807" y="613084"/>
                  </a:lnTo>
                  <a:lnTo>
                    <a:pt x="498841" y="612696"/>
                  </a:lnTo>
                  <a:lnTo>
                    <a:pt x="499100" y="612955"/>
                  </a:lnTo>
                  <a:lnTo>
                    <a:pt x="501814" y="614893"/>
                  </a:lnTo>
                  <a:lnTo>
                    <a:pt x="502331" y="613601"/>
                  </a:lnTo>
                  <a:lnTo>
                    <a:pt x="502718" y="610370"/>
                  </a:lnTo>
                  <a:lnTo>
                    <a:pt x="503235" y="609078"/>
                  </a:lnTo>
                  <a:lnTo>
                    <a:pt x="504398" y="608302"/>
                  </a:lnTo>
                  <a:lnTo>
                    <a:pt x="507500" y="608044"/>
                  </a:lnTo>
                  <a:lnTo>
                    <a:pt x="509180" y="607656"/>
                  </a:lnTo>
                  <a:lnTo>
                    <a:pt x="509826" y="607139"/>
                  </a:lnTo>
                  <a:lnTo>
                    <a:pt x="511377" y="605330"/>
                  </a:lnTo>
                  <a:lnTo>
                    <a:pt x="512540" y="605718"/>
                  </a:lnTo>
                  <a:lnTo>
                    <a:pt x="513186" y="606493"/>
                  </a:lnTo>
                  <a:lnTo>
                    <a:pt x="513445" y="607268"/>
                  </a:lnTo>
                  <a:lnTo>
                    <a:pt x="513574" y="607656"/>
                  </a:lnTo>
                  <a:lnTo>
                    <a:pt x="515125" y="607656"/>
                  </a:lnTo>
                  <a:lnTo>
                    <a:pt x="519002" y="606751"/>
                  </a:lnTo>
                  <a:lnTo>
                    <a:pt x="521716" y="605718"/>
                  </a:lnTo>
                  <a:lnTo>
                    <a:pt x="523783" y="604684"/>
                  </a:lnTo>
                  <a:lnTo>
                    <a:pt x="526110" y="604296"/>
                  </a:lnTo>
                  <a:lnTo>
                    <a:pt x="526756" y="604037"/>
                  </a:lnTo>
                  <a:lnTo>
                    <a:pt x="528307" y="602228"/>
                  </a:lnTo>
                  <a:lnTo>
                    <a:pt x="528953" y="601840"/>
                  </a:lnTo>
                  <a:lnTo>
                    <a:pt x="529858" y="601582"/>
                  </a:lnTo>
                  <a:lnTo>
                    <a:pt x="530504" y="601711"/>
                  </a:lnTo>
                  <a:lnTo>
                    <a:pt x="531150" y="601840"/>
                  </a:lnTo>
                  <a:lnTo>
                    <a:pt x="539550" y="601065"/>
                  </a:lnTo>
                  <a:lnTo>
                    <a:pt x="543556" y="601324"/>
                  </a:lnTo>
                  <a:lnTo>
                    <a:pt x="546787" y="602616"/>
                  </a:lnTo>
                  <a:lnTo>
                    <a:pt x="546012" y="602616"/>
                  </a:lnTo>
                  <a:lnTo>
                    <a:pt x="551827" y="605847"/>
                  </a:lnTo>
                  <a:lnTo>
                    <a:pt x="552215" y="606622"/>
                  </a:lnTo>
                  <a:lnTo>
                    <a:pt x="553119" y="606622"/>
                  </a:lnTo>
                  <a:lnTo>
                    <a:pt x="555187" y="606105"/>
                  </a:lnTo>
                  <a:lnTo>
                    <a:pt x="555963" y="606622"/>
                  </a:lnTo>
                  <a:lnTo>
                    <a:pt x="556480" y="607785"/>
                  </a:lnTo>
                  <a:lnTo>
                    <a:pt x="556738" y="609078"/>
                  </a:lnTo>
                  <a:lnTo>
                    <a:pt x="556996" y="609853"/>
                  </a:lnTo>
                  <a:lnTo>
                    <a:pt x="557643" y="610241"/>
                  </a:lnTo>
                  <a:lnTo>
                    <a:pt x="559710" y="610758"/>
                  </a:lnTo>
                  <a:lnTo>
                    <a:pt x="560615" y="611275"/>
                  </a:lnTo>
                  <a:lnTo>
                    <a:pt x="561390" y="612050"/>
                  </a:lnTo>
                  <a:lnTo>
                    <a:pt x="563200" y="614635"/>
                  </a:lnTo>
                  <a:lnTo>
                    <a:pt x="564233" y="615410"/>
                  </a:lnTo>
                  <a:lnTo>
                    <a:pt x="565267" y="615927"/>
                  </a:lnTo>
                  <a:lnTo>
                    <a:pt x="566431" y="616185"/>
                  </a:lnTo>
                  <a:lnTo>
                    <a:pt x="570695" y="616444"/>
                  </a:lnTo>
                  <a:lnTo>
                    <a:pt x="571729" y="616315"/>
                  </a:lnTo>
                  <a:lnTo>
                    <a:pt x="573409" y="615152"/>
                  </a:lnTo>
                  <a:lnTo>
                    <a:pt x="574702" y="613730"/>
                  </a:lnTo>
                  <a:lnTo>
                    <a:pt x="576252" y="612438"/>
                  </a:lnTo>
                  <a:lnTo>
                    <a:pt x="578708" y="611921"/>
                  </a:lnTo>
                  <a:lnTo>
                    <a:pt x="583489" y="611791"/>
                  </a:lnTo>
                  <a:lnTo>
                    <a:pt x="585686" y="611404"/>
                  </a:lnTo>
                  <a:lnTo>
                    <a:pt x="587754" y="610370"/>
                  </a:lnTo>
                  <a:lnTo>
                    <a:pt x="591889" y="607527"/>
                  </a:lnTo>
                  <a:lnTo>
                    <a:pt x="594474" y="606751"/>
                  </a:lnTo>
                  <a:lnTo>
                    <a:pt x="596930" y="607785"/>
                  </a:lnTo>
                  <a:lnTo>
                    <a:pt x="599127" y="609207"/>
                  </a:lnTo>
                  <a:lnTo>
                    <a:pt x="601323" y="609465"/>
                  </a:lnTo>
                  <a:lnTo>
                    <a:pt x="603391" y="608948"/>
                  </a:lnTo>
                  <a:lnTo>
                    <a:pt x="605330" y="608044"/>
                  </a:lnTo>
                  <a:lnTo>
                    <a:pt x="607785" y="607268"/>
                  </a:lnTo>
                  <a:lnTo>
                    <a:pt x="609595" y="607398"/>
                  </a:lnTo>
                  <a:lnTo>
                    <a:pt x="611404" y="607785"/>
                  </a:lnTo>
                  <a:lnTo>
                    <a:pt x="613859" y="608044"/>
                  </a:lnTo>
                  <a:lnTo>
                    <a:pt x="616056" y="607398"/>
                  </a:lnTo>
                  <a:lnTo>
                    <a:pt x="617995" y="605718"/>
                  </a:lnTo>
                  <a:lnTo>
                    <a:pt x="623681" y="599385"/>
                  </a:lnTo>
                  <a:lnTo>
                    <a:pt x="624844" y="597576"/>
                  </a:lnTo>
                  <a:lnTo>
                    <a:pt x="625361" y="595250"/>
                  </a:lnTo>
                  <a:lnTo>
                    <a:pt x="625232" y="592923"/>
                  </a:lnTo>
                  <a:lnTo>
                    <a:pt x="625361" y="591760"/>
                  </a:lnTo>
                  <a:lnTo>
                    <a:pt x="625749" y="590856"/>
                  </a:lnTo>
                  <a:lnTo>
                    <a:pt x="627946" y="589176"/>
                  </a:lnTo>
                  <a:lnTo>
                    <a:pt x="628333" y="588400"/>
                  </a:lnTo>
                  <a:lnTo>
                    <a:pt x="628850" y="586074"/>
                  </a:lnTo>
                  <a:lnTo>
                    <a:pt x="628980" y="579871"/>
                  </a:lnTo>
                  <a:lnTo>
                    <a:pt x="629367" y="579483"/>
                  </a:lnTo>
                  <a:lnTo>
                    <a:pt x="630143" y="579225"/>
                  </a:lnTo>
                  <a:lnTo>
                    <a:pt x="630918" y="578708"/>
                  </a:lnTo>
                  <a:lnTo>
                    <a:pt x="631306" y="577674"/>
                  </a:lnTo>
                  <a:lnTo>
                    <a:pt x="631047" y="576511"/>
                  </a:lnTo>
                  <a:lnTo>
                    <a:pt x="630013" y="574055"/>
                  </a:lnTo>
                  <a:lnTo>
                    <a:pt x="629755" y="572892"/>
                  </a:lnTo>
                  <a:lnTo>
                    <a:pt x="631176" y="566560"/>
                  </a:lnTo>
                  <a:lnTo>
                    <a:pt x="631564" y="565526"/>
                  </a:lnTo>
                  <a:lnTo>
                    <a:pt x="634149" y="563717"/>
                  </a:lnTo>
                  <a:lnTo>
                    <a:pt x="633891" y="562295"/>
                  </a:lnTo>
                  <a:lnTo>
                    <a:pt x="633244" y="562037"/>
                  </a:lnTo>
                  <a:lnTo>
                    <a:pt x="632469" y="561907"/>
                  </a:lnTo>
                  <a:lnTo>
                    <a:pt x="631823" y="561132"/>
                  </a:lnTo>
                  <a:lnTo>
                    <a:pt x="631823" y="553119"/>
                  </a:lnTo>
                  <a:lnTo>
                    <a:pt x="630401" y="551439"/>
                  </a:lnTo>
                  <a:lnTo>
                    <a:pt x="626007" y="550018"/>
                  </a:lnTo>
                  <a:lnTo>
                    <a:pt x="624198" y="548984"/>
                  </a:lnTo>
                  <a:lnTo>
                    <a:pt x="622647" y="547175"/>
                  </a:lnTo>
                  <a:lnTo>
                    <a:pt x="621743" y="546658"/>
                  </a:lnTo>
                  <a:lnTo>
                    <a:pt x="620450" y="546399"/>
                  </a:lnTo>
                  <a:lnTo>
                    <a:pt x="619545" y="545882"/>
                  </a:lnTo>
                  <a:lnTo>
                    <a:pt x="618770" y="544719"/>
                  </a:lnTo>
                  <a:lnTo>
                    <a:pt x="618124" y="543427"/>
                  </a:lnTo>
                  <a:lnTo>
                    <a:pt x="616832" y="541618"/>
                  </a:lnTo>
                  <a:lnTo>
                    <a:pt x="616056" y="539808"/>
                  </a:lnTo>
                  <a:lnTo>
                    <a:pt x="614506" y="540455"/>
                  </a:lnTo>
                  <a:lnTo>
                    <a:pt x="613471" y="539938"/>
                  </a:lnTo>
                  <a:lnTo>
                    <a:pt x="611145" y="539550"/>
                  </a:lnTo>
                  <a:lnTo>
                    <a:pt x="610112" y="539033"/>
                  </a:lnTo>
                  <a:lnTo>
                    <a:pt x="608948" y="537741"/>
                  </a:lnTo>
                  <a:lnTo>
                    <a:pt x="607268" y="534510"/>
                  </a:lnTo>
                  <a:lnTo>
                    <a:pt x="606364" y="533218"/>
                  </a:lnTo>
                  <a:lnTo>
                    <a:pt x="607527" y="531150"/>
                  </a:lnTo>
                  <a:lnTo>
                    <a:pt x="608044" y="529340"/>
                  </a:lnTo>
                  <a:lnTo>
                    <a:pt x="607656" y="527531"/>
                  </a:lnTo>
                  <a:lnTo>
                    <a:pt x="604684" y="523783"/>
                  </a:lnTo>
                  <a:lnTo>
                    <a:pt x="603779" y="521586"/>
                  </a:lnTo>
                  <a:lnTo>
                    <a:pt x="603391" y="519260"/>
                  </a:lnTo>
                  <a:lnTo>
                    <a:pt x="603391" y="517192"/>
                  </a:lnTo>
                  <a:lnTo>
                    <a:pt x="603650" y="516288"/>
                  </a:lnTo>
                  <a:lnTo>
                    <a:pt x="604813" y="514220"/>
                  </a:lnTo>
                  <a:lnTo>
                    <a:pt x="604554" y="512928"/>
                  </a:lnTo>
                  <a:lnTo>
                    <a:pt x="603521" y="510731"/>
                  </a:lnTo>
                  <a:lnTo>
                    <a:pt x="602745" y="502977"/>
                  </a:lnTo>
                  <a:lnTo>
                    <a:pt x="603262" y="501038"/>
                  </a:lnTo>
                  <a:lnTo>
                    <a:pt x="604038" y="499875"/>
                  </a:lnTo>
                  <a:lnTo>
                    <a:pt x="604684" y="499100"/>
                  </a:lnTo>
                  <a:lnTo>
                    <a:pt x="605201" y="498195"/>
                  </a:lnTo>
                  <a:lnTo>
                    <a:pt x="605459" y="496774"/>
                  </a:lnTo>
                  <a:lnTo>
                    <a:pt x="605201" y="496257"/>
                  </a:lnTo>
                  <a:lnTo>
                    <a:pt x="604167" y="495094"/>
                  </a:lnTo>
                  <a:lnTo>
                    <a:pt x="603908" y="494577"/>
                  </a:lnTo>
                  <a:lnTo>
                    <a:pt x="603908" y="493801"/>
                  </a:lnTo>
                  <a:lnTo>
                    <a:pt x="604425" y="492638"/>
                  </a:lnTo>
                  <a:lnTo>
                    <a:pt x="604554" y="491992"/>
                  </a:lnTo>
                  <a:lnTo>
                    <a:pt x="604167" y="490183"/>
                  </a:lnTo>
                  <a:lnTo>
                    <a:pt x="603391" y="488632"/>
                  </a:lnTo>
                  <a:lnTo>
                    <a:pt x="603262" y="487210"/>
                  </a:lnTo>
                  <a:lnTo>
                    <a:pt x="604554" y="485660"/>
                  </a:lnTo>
                  <a:lnTo>
                    <a:pt x="605459" y="485401"/>
                  </a:lnTo>
                  <a:lnTo>
                    <a:pt x="607268" y="485401"/>
                  </a:lnTo>
                  <a:lnTo>
                    <a:pt x="608173" y="485143"/>
                  </a:lnTo>
                  <a:lnTo>
                    <a:pt x="608948" y="484367"/>
                  </a:lnTo>
                  <a:lnTo>
                    <a:pt x="610241" y="482429"/>
                  </a:lnTo>
                  <a:lnTo>
                    <a:pt x="610758" y="482041"/>
                  </a:lnTo>
                  <a:lnTo>
                    <a:pt x="611662" y="481136"/>
                  </a:lnTo>
                  <a:lnTo>
                    <a:pt x="616315" y="471961"/>
                  </a:lnTo>
                  <a:lnTo>
                    <a:pt x="616961" y="471185"/>
                  </a:lnTo>
                  <a:lnTo>
                    <a:pt x="619933" y="468601"/>
                  </a:lnTo>
                  <a:lnTo>
                    <a:pt x="620450" y="467179"/>
                  </a:lnTo>
                  <a:lnTo>
                    <a:pt x="622776" y="463431"/>
                  </a:lnTo>
                  <a:lnTo>
                    <a:pt x="623681" y="462268"/>
                  </a:lnTo>
                  <a:lnTo>
                    <a:pt x="630401" y="456970"/>
                  </a:lnTo>
                  <a:lnTo>
                    <a:pt x="632210" y="454127"/>
                  </a:lnTo>
                  <a:lnTo>
                    <a:pt x="632469" y="449086"/>
                  </a:lnTo>
                  <a:lnTo>
                    <a:pt x="632210" y="446760"/>
                  </a:lnTo>
                  <a:lnTo>
                    <a:pt x="632210" y="445856"/>
                  </a:lnTo>
                  <a:lnTo>
                    <a:pt x="632469" y="444692"/>
                  </a:lnTo>
                  <a:lnTo>
                    <a:pt x="633115" y="443529"/>
                  </a:lnTo>
                  <a:lnTo>
                    <a:pt x="635054" y="441203"/>
                  </a:lnTo>
                  <a:lnTo>
                    <a:pt x="635441" y="439911"/>
                  </a:lnTo>
                  <a:lnTo>
                    <a:pt x="635054" y="437714"/>
                  </a:lnTo>
                  <a:lnTo>
                    <a:pt x="632469" y="432932"/>
                  </a:lnTo>
                  <a:lnTo>
                    <a:pt x="631952" y="430994"/>
                  </a:lnTo>
                  <a:lnTo>
                    <a:pt x="631693" y="424532"/>
                  </a:lnTo>
                  <a:lnTo>
                    <a:pt x="631306" y="422335"/>
                  </a:lnTo>
                  <a:lnTo>
                    <a:pt x="629755" y="418717"/>
                  </a:lnTo>
                  <a:lnTo>
                    <a:pt x="629367" y="416778"/>
                  </a:lnTo>
                  <a:lnTo>
                    <a:pt x="629497" y="415486"/>
                  </a:lnTo>
                  <a:lnTo>
                    <a:pt x="629755" y="414581"/>
                  </a:lnTo>
                  <a:lnTo>
                    <a:pt x="629884" y="413677"/>
                  </a:lnTo>
                  <a:lnTo>
                    <a:pt x="629497" y="412384"/>
                  </a:lnTo>
                  <a:lnTo>
                    <a:pt x="628850" y="411609"/>
                  </a:lnTo>
                  <a:lnTo>
                    <a:pt x="627041" y="410575"/>
                  </a:lnTo>
                  <a:lnTo>
                    <a:pt x="626653" y="409929"/>
                  </a:lnTo>
                  <a:lnTo>
                    <a:pt x="625878" y="406310"/>
                  </a:lnTo>
                  <a:lnTo>
                    <a:pt x="624456" y="402175"/>
                  </a:lnTo>
                  <a:lnTo>
                    <a:pt x="623164" y="400882"/>
                  </a:lnTo>
                  <a:lnTo>
                    <a:pt x="621484" y="399849"/>
                  </a:lnTo>
                  <a:lnTo>
                    <a:pt x="620062" y="398685"/>
                  </a:lnTo>
                  <a:lnTo>
                    <a:pt x="619416" y="396747"/>
                  </a:lnTo>
                  <a:lnTo>
                    <a:pt x="619933" y="394808"/>
                  </a:lnTo>
                  <a:lnTo>
                    <a:pt x="621096" y="393387"/>
                  </a:lnTo>
                  <a:lnTo>
                    <a:pt x="621872" y="391965"/>
                  </a:lnTo>
                  <a:lnTo>
                    <a:pt x="621613" y="389768"/>
                  </a:lnTo>
                  <a:lnTo>
                    <a:pt x="619804" y="386279"/>
                  </a:lnTo>
                  <a:lnTo>
                    <a:pt x="619804" y="384211"/>
                  </a:lnTo>
                  <a:lnTo>
                    <a:pt x="622001" y="383307"/>
                  </a:lnTo>
                  <a:lnTo>
                    <a:pt x="623681" y="382144"/>
                  </a:lnTo>
                  <a:lnTo>
                    <a:pt x="625102" y="379947"/>
                  </a:lnTo>
                  <a:lnTo>
                    <a:pt x="625361" y="379559"/>
                  </a:lnTo>
                  <a:lnTo>
                    <a:pt x="627558" y="374648"/>
                  </a:lnTo>
                  <a:lnTo>
                    <a:pt x="628721" y="369866"/>
                  </a:lnTo>
                  <a:lnTo>
                    <a:pt x="629109" y="367152"/>
                  </a:lnTo>
                  <a:lnTo>
                    <a:pt x="628721" y="365343"/>
                  </a:lnTo>
                  <a:lnTo>
                    <a:pt x="627299" y="363275"/>
                  </a:lnTo>
                  <a:lnTo>
                    <a:pt x="626395" y="358881"/>
                  </a:lnTo>
                  <a:lnTo>
                    <a:pt x="625361" y="356943"/>
                  </a:lnTo>
                  <a:lnTo>
                    <a:pt x="624069" y="355780"/>
                  </a:lnTo>
                  <a:lnTo>
                    <a:pt x="622518" y="354875"/>
                  </a:lnTo>
                  <a:lnTo>
                    <a:pt x="620967" y="354617"/>
                  </a:lnTo>
                  <a:lnTo>
                    <a:pt x="619416" y="355392"/>
                  </a:lnTo>
                  <a:lnTo>
                    <a:pt x="617995" y="353454"/>
                  </a:lnTo>
                  <a:lnTo>
                    <a:pt x="616961" y="348543"/>
                  </a:lnTo>
                  <a:lnTo>
                    <a:pt x="615798" y="346475"/>
                  </a:lnTo>
                  <a:lnTo>
                    <a:pt x="616056" y="344666"/>
                  </a:lnTo>
                  <a:lnTo>
                    <a:pt x="615410" y="339367"/>
                  </a:lnTo>
                  <a:lnTo>
                    <a:pt x="616186" y="337429"/>
                  </a:lnTo>
                  <a:lnTo>
                    <a:pt x="620321" y="332647"/>
                  </a:lnTo>
                  <a:lnTo>
                    <a:pt x="622389" y="331225"/>
                  </a:lnTo>
                  <a:lnTo>
                    <a:pt x="624327" y="330450"/>
                  </a:lnTo>
                  <a:lnTo>
                    <a:pt x="625102" y="330062"/>
                  </a:lnTo>
                  <a:lnTo>
                    <a:pt x="626007" y="329158"/>
                  </a:lnTo>
                  <a:lnTo>
                    <a:pt x="627429" y="325927"/>
                  </a:lnTo>
                  <a:lnTo>
                    <a:pt x="627817" y="325281"/>
                  </a:lnTo>
                  <a:lnTo>
                    <a:pt x="629367" y="323601"/>
                  </a:lnTo>
                  <a:lnTo>
                    <a:pt x="629755" y="322955"/>
                  </a:lnTo>
                  <a:lnTo>
                    <a:pt x="630272" y="319207"/>
                  </a:lnTo>
                  <a:lnTo>
                    <a:pt x="630530" y="318302"/>
                  </a:lnTo>
                  <a:lnTo>
                    <a:pt x="631823" y="316234"/>
                  </a:lnTo>
                  <a:lnTo>
                    <a:pt x="636863" y="311323"/>
                  </a:lnTo>
                  <a:lnTo>
                    <a:pt x="637509" y="310419"/>
                  </a:lnTo>
                  <a:lnTo>
                    <a:pt x="638026" y="309385"/>
                  </a:lnTo>
                  <a:lnTo>
                    <a:pt x="638672" y="308480"/>
                  </a:lnTo>
                  <a:lnTo>
                    <a:pt x="639835" y="307834"/>
                  </a:lnTo>
                  <a:lnTo>
                    <a:pt x="643195" y="305637"/>
                  </a:lnTo>
                  <a:lnTo>
                    <a:pt x="644100" y="304345"/>
                  </a:lnTo>
                  <a:lnTo>
                    <a:pt x="645004" y="302406"/>
                  </a:lnTo>
                  <a:lnTo>
                    <a:pt x="645780" y="300210"/>
                  </a:lnTo>
                  <a:lnTo>
                    <a:pt x="646039" y="298142"/>
                  </a:lnTo>
                  <a:lnTo>
                    <a:pt x="646555" y="296203"/>
                  </a:lnTo>
                  <a:lnTo>
                    <a:pt x="649398" y="292843"/>
                  </a:lnTo>
                  <a:lnTo>
                    <a:pt x="650432" y="291292"/>
                  </a:lnTo>
                  <a:lnTo>
                    <a:pt x="650045" y="283280"/>
                  </a:lnTo>
                  <a:lnTo>
                    <a:pt x="649269" y="281988"/>
                  </a:lnTo>
                  <a:lnTo>
                    <a:pt x="650561" y="279144"/>
                  </a:lnTo>
                  <a:lnTo>
                    <a:pt x="654180" y="273329"/>
                  </a:lnTo>
                  <a:lnTo>
                    <a:pt x="660254" y="268418"/>
                  </a:lnTo>
                  <a:lnTo>
                    <a:pt x="661934" y="266221"/>
                  </a:lnTo>
                  <a:lnTo>
                    <a:pt x="664519" y="261569"/>
                  </a:lnTo>
                  <a:lnTo>
                    <a:pt x="666070" y="259630"/>
                  </a:lnTo>
                  <a:lnTo>
                    <a:pt x="666587" y="258855"/>
                  </a:lnTo>
                  <a:lnTo>
                    <a:pt x="667491" y="256270"/>
                  </a:lnTo>
                  <a:lnTo>
                    <a:pt x="667879" y="255624"/>
                  </a:lnTo>
                  <a:lnTo>
                    <a:pt x="669300" y="255624"/>
                  </a:lnTo>
                  <a:lnTo>
                    <a:pt x="670076" y="256529"/>
                  </a:lnTo>
                  <a:lnTo>
                    <a:pt x="670593" y="257692"/>
                  </a:lnTo>
                  <a:lnTo>
                    <a:pt x="671627" y="258467"/>
                  </a:lnTo>
                  <a:lnTo>
                    <a:pt x="672790" y="258467"/>
                  </a:lnTo>
                  <a:lnTo>
                    <a:pt x="673824" y="257950"/>
                  </a:lnTo>
                  <a:lnTo>
                    <a:pt x="674857" y="257304"/>
                  </a:lnTo>
                  <a:lnTo>
                    <a:pt x="675891" y="256916"/>
                  </a:lnTo>
                  <a:lnTo>
                    <a:pt x="676925" y="256916"/>
                  </a:lnTo>
                  <a:lnTo>
                    <a:pt x="679122" y="257045"/>
                  </a:lnTo>
                  <a:lnTo>
                    <a:pt x="680285" y="256916"/>
                  </a:lnTo>
                  <a:lnTo>
                    <a:pt x="680285" y="256787"/>
                  </a:lnTo>
                  <a:lnTo>
                    <a:pt x="681190" y="255753"/>
                  </a:lnTo>
                  <a:lnTo>
                    <a:pt x="681578" y="255495"/>
                  </a:lnTo>
                  <a:lnTo>
                    <a:pt x="682094" y="255365"/>
                  </a:lnTo>
                  <a:lnTo>
                    <a:pt x="683257" y="255495"/>
                  </a:lnTo>
                  <a:lnTo>
                    <a:pt x="683774" y="255495"/>
                  </a:lnTo>
                  <a:lnTo>
                    <a:pt x="686230" y="254849"/>
                  </a:lnTo>
                  <a:lnTo>
                    <a:pt x="691399" y="254849"/>
                  </a:lnTo>
                  <a:lnTo>
                    <a:pt x="693079" y="254719"/>
                  </a:lnTo>
                  <a:lnTo>
                    <a:pt x="694889" y="254073"/>
                  </a:lnTo>
                  <a:lnTo>
                    <a:pt x="698120" y="253685"/>
                  </a:lnTo>
                  <a:lnTo>
                    <a:pt x="702255" y="250196"/>
                  </a:lnTo>
                  <a:lnTo>
                    <a:pt x="710655" y="239728"/>
                  </a:lnTo>
                  <a:lnTo>
                    <a:pt x="711043" y="238694"/>
                  </a:lnTo>
                  <a:lnTo>
                    <a:pt x="710784" y="237919"/>
                  </a:lnTo>
                  <a:lnTo>
                    <a:pt x="709234" y="236756"/>
                  </a:lnTo>
                  <a:lnTo>
                    <a:pt x="708846" y="236110"/>
                  </a:lnTo>
                  <a:lnTo>
                    <a:pt x="710009" y="235334"/>
                  </a:lnTo>
                  <a:lnTo>
                    <a:pt x="720864" y="232233"/>
                  </a:lnTo>
                  <a:lnTo>
                    <a:pt x="722286" y="231199"/>
                  </a:lnTo>
                  <a:lnTo>
                    <a:pt x="722803" y="229519"/>
                  </a:lnTo>
                  <a:lnTo>
                    <a:pt x="722932" y="228873"/>
                  </a:lnTo>
                  <a:lnTo>
                    <a:pt x="723320" y="227968"/>
                  </a:lnTo>
                  <a:lnTo>
                    <a:pt x="723837" y="227193"/>
                  </a:lnTo>
                  <a:lnTo>
                    <a:pt x="724612" y="226934"/>
                  </a:lnTo>
                  <a:lnTo>
                    <a:pt x="726163" y="226676"/>
                  </a:lnTo>
                  <a:lnTo>
                    <a:pt x="726680" y="226159"/>
                  </a:lnTo>
                  <a:lnTo>
                    <a:pt x="726809" y="225254"/>
                  </a:lnTo>
                  <a:lnTo>
                    <a:pt x="728489" y="220602"/>
                  </a:lnTo>
                  <a:lnTo>
                    <a:pt x="729523" y="218922"/>
                  </a:lnTo>
                  <a:lnTo>
                    <a:pt x="732625" y="217500"/>
                  </a:lnTo>
                  <a:lnTo>
                    <a:pt x="733917" y="215949"/>
                  </a:lnTo>
                  <a:lnTo>
                    <a:pt x="735856" y="212977"/>
                  </a:lnTo>
                  <a:lnTo>
                    <a:pt x="738053" y="210909"/>
                  </a:lnTo>
                  <a:lnTo>
                    <a:pt x="738570" y="209617"/>
                  </a:lnTo>
                  <a:lnTo>
                    <a:pt x="738699" y="207420"/>
                  </a:lnTo>
                  <a:lnTo>
                    <a:pt x="739216" y="205481"/>
                  </a:lnTo>
                  <a:lnTo>
                    <a:pt x="740379" y="203930"/>
                  </a:lnTo>
                  <a:lnTo>
                    <a:pt x="741154" y="202380"/>
                  </a:lnTo>
                  <a:lnTo>
                    <a:pt x="741413" y="200441"/>
                  </a:lnTo>
                  <a:close/>
                  <a:moveTo>
                    <a:pt x="525334" y="147843"/>
                  </a:moveTo>
                  <a:lnTo>
                    <a:pt x="525463" y="149135"/>
                  </a:lnTo>
                  <a:lnTo>
                    <a:pt x="524947" y="150169"/>
                  </a:lnTo>
                  <a:lnTo>
                    <a:pt x="524300" y="151979"/>
                  </a:lnTo>
                  <a:lnTo>
                    <a:pt x="524430" y="153271"/>
                  </a:lnTo>
                  <a:lnTo>
                    <a:pt x="524430" y="153400"/>
                  </a:lnTo>
                  <a:lnTo>
                    <a:pt x="524947" y="154822"/>
                  </a:lnTo>
                  <a:lnTo>
                    <a:pt x="526239" y="155468"/>
                  </a:lnTo>
                  <a:lnTo>
                    <a:pt x="528048" y="155339"/>
                  </a:lnTo>
                  <a:lnTo>
                    <a:pt x="531021" y="154563"/>
                  </a:lnTo>
                  <a:lnTo>
                    <a:pt x="532184" y="153529"/>
                  </a:lnTo>
                  <a:lnTo>
                    <a:pt x="532571" y="151462"/>
                  </a:lnTo>
                  <a:lnTo>
                    <a:pt x="533218" y="149782"/>
                  </a:lnTo>
                  <a:lnTo>
                    <a:pt x="533734" y="148360"/>
                  </a:lnTo>
                  <a:lnTo>
                    <a:pt x="532959" y="146422"/>
                  </a:lnTo>
                  <a:lnTo>
                    <a:pt x="531796" y="146422"/>
                  </a:lnTo>
                  <a:lnTo>
                    <a:pt x="530245" y="147585"/>
                  </a:lnTo>
                  <a:lnTo>
                    <a:pt x="530116" y="147843"/>
                  </a:lnTo>
                  <a:lnTo>
                    <a:pt x="529082" y="149265"/>
                  </a:lnTo>
                  <a:lnTo>
                    <a:pt x="528824" y="149394"/>
                  </a:lnTo>
                  <a:lnTo>
                    <a:pt x="527661" y="149135"/>
                  </a:lnTo>
                  <a:lnTo>
                    <a:pt x="527661" y="149135"/>
                  </a:lnTo>
                  <a:lnTo>
                    <a:pt x="527790" y="147197"/>
                  </a:lnTo>
                  <a:lnTo>
                    <a:pt x="528177" y="145646"/>
                  </a:lnTo>
                  <a:lnTo>
                    <a:pt x="527661" y="144354"/>
                  </a:lnTo>
                  <a:lnTo>
                    <a:pt x="526497" y="144225"/>
                  </a:lnTo>
                  <a:lnTo>
                    <a:pt x="524688" y="145000"/>
                  </a:lnTo>
                  <a:lnTo>
                    <a:pt x="524559" y="145129"/>
                  </a:lnTo>
                  <a:lnTo>
                    <a:pt x="523783" y="145905"/>
                  </a:lnTo>
                  <a:lnTo>
                    <a:pt x="524688" y="146809"/>
                  </a:lnTo>
                  <a:lnTo>
                    <a:pt x="525334" y="147843"/>
                  </a:lnTo>
                  <a:close/>
                  <a:moveTo>
                    <a:pt x="453222" y="186872"/>
                  </a:moveTo>
                  <a:lnTo>
                    <a:pt x="454256" y="186613"/>
                  </a:lnTo>
                  <a:lnTo>
                    <a:pt x="455677" y="181702"/>
                  </a:lnTo>
                  <a:lnTo>
                    <a:pt x="456065" y="175628"/>
                  </a:lnTo>
                  <a:lnTo>
                    <a:pt x="451154" y="178084"/>
                  </a:lnTo>
                  <a:lnTo>
                    <a:pt x="448957" y="179764"/>
                  </a:lnTo>
                  <a:lnTo>
                    <a:pt x="445856" y="185709"/>
                  </a:lnTo>
                  <a:lnTo>
                    <a:pt x="445080" y="188810"/>
                  </a:lnTo>
                  <a:lnTo>
                    <a:pt x="444951" y="190490"/>
                  </a:lnTo>
                  <a:lnTo>
                    <a:pt x="445209" y="192170"/>
                  </a:lnTo>
                  <a:lnTo>
                    <a:pt x="447148" y="196435"/>
                  </a:lnTo>
                  <a:lnTo>
                    <a:pt x="447406" y="198244"/>
                  </a:lnTo>
                  <a:lnTo>
                    <a:pt x="447148" y="199537"/>
                  </a:lnTo>
                  <a:lnTo>
                    <a:pt x="446243" y="202121"/>
                  </a:lnTo>
                  <a:lnTo>
                    <a:pt x="445856" y="204706"/>
                  </a:lnTo>
                  <a:lnTo>
                    <a:pt x="445339" y="205740"/>
                  </a:lnTo>
                  <a:lnTo>
                    <a:pt x="444563" y="206774"/>
                  </a:lnTo>
                  <a:lnTo>
                    <a:pt x="443271" y="209229"/>
                  </a:lnTo>
                  <a:lnTo>
                    <a:pt x="443142" y="209617"/>
                  </a:lnTo>
                  <a:lnTo>
                    <a:pt x="443142" y="210651"/>
                  </a:lnTo>
                  <a:lnTo>
                    <a:pt x="443271" y="211038"/>
                  </a:lnTo>
                  <a:lnTo>
                    <a:pt x="443529" y="211555"/>
                  </a:lnTo>
                  <a:lnTo>
                    <a:pt x="443788" y="212331"/>
                  </a:lnTo>
                  <a:lnTo>
                    <a:pt x="443788" y="213235"/>
                  </a:lnTo>
                  <a:lnTo>
                    <a:pt x="444563" y="213235"/>
                  </a:lnTo>
                  <a:lnTo>
                    <a:pt x="444692" y="212718"/>
                  </a:lnTo>
                  <a:lnTo>
                    <a:pt x="444822" y="212460"/>
                  </a:lnTo>
                  <a:lnTo>
                    <a:pt x="445339" y="211814"/>
                  </a:lnTo>
                  <a:lnTo>
                    <a:pt x="445209" y="210651"/>
                  </a:lnTo>
                  <a:lnTo>
                    <a:pt x="448182" y="207161"/>
                  </a:lnTo>
                  <a:lnTo>
                    <a:pt x="450250" y="203672"/>
                  </a:lnTo>
                  <a:lnTo>
                    <a:pt x="452705" y="202638"/>
                  </a:lnTo>
                  <a:lnTo>
                    <a:pt x="454643" y="201475"/>
                  </a:lnTo>
                  <a:lnTo>
                    <a:pt x="453739" y="197856"/>
                  </a:lnTo>
                  <a:lnTo>
                    <a:pt x="454256" y="196564"/>
                  </a:lnTo>
                  <a:lnTo>
                    <a:pt x="455161" y="195143"/>
                  </a:lnTo>
                  <a:lnTo>
                    <a:pt x="455548" y="193204"/>
                  </a:lnTo>
                  <a:lnTo>
                    <a:pt x="456324" y="184804"/>
                  </a:lnTo>
                  <a:lnTo>
                    <a:pt x="453480" y="187906"/>
                  </a:lnTo>
                  <a:lnTo>
                    <a:pt x="452705" y="189198"/>
                  </a:lnTo>
                  <a:lnTo>
                    <a:pt x="452576" y="188035"/>
                  </a:lnTo>
                  <a:lnTo>
                    <a:pt x="452834" y="187130"/>
                  </a:lnTo>
                  <a:lnTo>
                    <a:pt x="453222" y="186872"/>
                  </a:lnTo>
                  <a:close/>
                  <a:moveTo>
                    <a:pt x="400365" y="35927"/>
                  </a:moveTo>
                  <a:lnTo>
                    <a:pt x="402692" y="36573"/>
                  </a:lnTo>
                  <a:lnTo>
                    <a:pt x="404501" y="35927"/>
                  </a:lnTo>
                  <a:lnTo>
                    <a:pt x="404759" y="33471"/>
                  </a:lnTo>
                  <a:lnTo>
                    <a:pt x="405793" y="33859"/>
                  </a:lnTo>
                  <a:lnTo>
                    <a:pt x="406698" y="33730"/>
                  </a:lnTo>
                  <a:lnTo>
                    <a:pt x="407602" y="33342"/>
                  </a:lnTo>
                  <a:lnTo>
                    <a:pt x="408507" y="32696"/>
                  </a:lnTo>
                  <a:lnTo>
                    <a:pt x="409024" y="31921"/>
                  </a:lnTo>
                  <a:lnTo>
                    <a:pt x="409670" y="31016"/>
                  </a:lnTo>
                  <a:lnTo>
                    <a:pt x="410446" y="30241"/>
                  </a:lnTo>
                  <a:lnTo>
                    <a:pt x="411350" y="29724"/>
                  </a:lnTo>
                  <a:lnTo>
                    <a:pt x="410446" y="29207"/>
                  </a:lnTo>
                  <a:lnTo>
                    <a:pt x="409799" y="28561"/>
                  </a:lnTo>
                  <a:lnTo>
                    <a:pt x="409412" y="27785"/>
                  </a:lnTo>
                  <a:lnTo>
                    <a:pt x="409283" y="26881"/>
                  </a:lnTo>
                  <a:lnTo>
                    <a:pt x="410187" y="27268"/>
                  </a:lnTo>
                  <a:lnTo>
                    <a:pt x="411092" y="27785"/>
                  </a:lnTo>
                  <a:lnTo>
                    <a:pt x="411738" y="28431"/>
                  </a:lnTo>
                  <a:lnTo>
                    <a:pt x="412126" y="29078"/>
                  </a:lnTo>
                  <a:lnTo>
                    <a:pt x="412901" y="29078"/>
                  </a:lnTo>
                  <a:lnTo>
                    <a:pt x="413806" y="25847"/>
                  </a:lnTo>
                  <a:lnTo>
                    <a:pt x="413547" y="24684"/>
                  </a:lnTo>
                  <a:lnTo>
                    <a:pt x="412126" y="23262"/>
                  </a:lnTo>
                  <a:lnTo>
                    <a:pt x="410446" y="22228"/>
                  </a:lnTo>
                  <a:lnTo>
                    <a:pt x="409541" y="21840"/>
                  </a:lnTo>
                  <a:lnTo>
                    <a:pt x="408766" y="21711"/>
                  </a:lnTo>
                  <a:lnTo>
                    <a:pt x="407861" y="22099"/>
                  </a:lnTo>
                  <a:lnTo>
                    <a:pt x="407086" y="22874"/>
                  </a:lnTo>
                  <a:lnTo>
                    <a:pt x="406181" y="23520"/>
                  </a:lnTo>
                  <a:lnTo>
                    <a:pt x="403338" y="22228"/>
                  </a:lnTo>
                  <a:lnTo>
                    <a:pt x="402304" y="23262"/>
                  </a:lnTo>
                  <a:lnTo>
                    <a:pt x="401787" y="24813"/>
                  </a:lnTo>
                  <a:lnTo>
                    <a:pt x="401528" y="25588"/>
                  </a:lnTo>
                  <a:lnTo>
                    <a:pt x="403079" y="26493"/>
                  </a:lnTo>
                  <a:lnTo>
                    <a:pt x="402821" y="28561"/>
                  </a:lnTo>
                  <a:lnTo>
                    <a:pt x="401270" y="32050"/>
                  </a:lnTo>
                  <a:lnTo>
                    <a:pt x="401399" y="30370"/>
                  </a:lnTo>
                  <a:lnTo>
                    <a:pt x="401141" y="29078"/>
                  </a:lnTo>
                  <a:lnTo>
                    <a:pt x="400365" y="28173"/>
                  </a:lnTo>
                  <a:lnTo>
                    <a:pt x="399073" y="27656"/>
                  </a:lnTo>
                  <a:lnTo>
                    <a:pt x="398427" y="28819"/>
                  </a:lnTo>
                  <a:lnTo>
                    <a:pt x="397910" y="30628"/>
                  </a:lnTo>
                  <a:lnTo>
                    <a:pt x="397910" y="32696"/>
                  </a:lnTo>
                  <a:lnTo>
                    <a:pt x="398815" y="34505"/>
                  </a:lnTo>
                  <a:lnTo>
                    <a:pt x="400365" y="35927"/>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1" name="Graphic 2">
              <a:extLst>
                <a:ext uri="{FF2B5EF4-FFF2-40B4-BE49-F238E27FC236}">
                  <a16:creationId xmlns:a16="http://schemas.microsoft.com/office/drawing/2014/main" id="{43311FEB-1CB5-4288-AC68-D2DC2EE621B2}"/>
                </a:ext>
              </a:extLst>
            </p:cNvPr>
            <p:cNvSpPr/>
            <p:nvPr/>
          </p:nvSpPr>
          <p:spPr>
            <a:xfrm>
              <a:off x="5904605" y="3129953"/>
              <a:ext cx="784964" cy="784576"/>
            </a:xfrm>
            <a:custGeom>
              <a:avLst/>
              <a:gdLst>
                <a:gd name="connsiteX0" fmla="*/ 784448 w 784964"/>
                <a:gd name="connsiteY0" fmla="*/ 247611 h 784576"/>
                <a:gd name="connsiteX1" fmla="*/ 783801 w 784964"/>
                <a:gd name="connsiteY1" fmla="*/ 245415 h 784576"/>
                <a:gd name="connsiteX2" fmla="*/ 783414 w 784964"/>
                <a:gd name="connsiteY2" fmla="*/ 242830 h 784576"/>
                <a:gd name="connsiteX3" fmla="*/ 781346 w 784964"/>
                <a:gd name="connsiteY3" fmla="*/ 238307 h 784576"/>
                <a:gd name="connsiteX4" fmla="*/ 780312 w 784964"/>
                <a:gd name="connsiteY4" fmla="*/ 236368 h 784576"/>
                <a:gd name="connsiteX5" fmla="*/ 780054 w 784964"/>
                <a:gd name="connsiteY5" fmla="*/ 235851 h 784576"/>
                <a:gd name="connsiteX6" fmla="*/ 779407 w 784964"/>
                <a:gd name="connsiteY6" fmla="*/ 233525 h 784576"/>
                <a:gd name="connsiteX7" fmla="*/ 779149 w 784964"/>
                <a:gd name="connsiteY7" fmla="*/ 231199 h 784576"/>
                <a:gd name="connsiteX8" fmla="*/ 779149 w 784964"/>
                <a:gd name="connsiteY8" fmla="*/ 228485 h 784576"/>
                <a:gd name="connsiteX9" fmla="*/ 779278 w 784964"/>
                <a:gd name="connsiteY9" fmla="*/ 227063 h 784576"/>
                <a:gd name="connsiteX10" fmla="*/ 779537 w 784964"/>
                <a:gd name="connsiteY10" fmla="*/ 226159 h 784576"/>
                <a:gd name="connsiteX11" fmla="*/ 782380 w 784964"/>
                <a:gd name="connsiteY11" fmla="*/ 220602 h 784576"/>
                <a:gd name="connsiteX12" fmla="*/ 783931 w 784964"/>
                <a:gd name="connsiteY12" fmla="*/ 215561 h 784576"/>
                <a:gd name="connsiteX13" fmla="*/ 784189 w 784964"/>
                <a:gd name="connsiteY13" fmla="*/ 214269 h 784576"/>
                <a:gd name="connsiteX14" fmla="*/ 784060 w 784964"/>
                <a:gd name="connsiteY14" fmla="*/ 213235 h 784576"/>
                <a:gd name="connsiteX15" fmla="*/ 783801 w 784964"/>
                <a:gd name="connsiteY15" fmla="*/ 212848 h 784576"/>
                <a:gd name="connsiteX16" fmla="*/ 783414 w 784964"/>
                <a:gd name="connsiteY16" fmla="*/ 212460 h 784576"/>
                <a:gd name="connsiteX17" fmla="*/ 782897 w 784964"/>
                <a:gd name="connsiteY17" fmla="*/ 212201 h 784576"/>
                <a:gd name="connsiteX18" fmla="*/ 782509 w 784964"/>
                <a:gd name="connsiteY18" fmla="*/ 211814 h 784576"/>
                <a:gd name="connsiteX19" fmla="*/ 779666 w 784964"/>
                <a:gd name="connsiteY19" fmla="*/ 210780 h 784576"/>
                <a:gd name="connsiteX20" fmla="*/ 775143 w 784964"/>
                <a:gd name="connsiteY20" fmla="*/ 208454 h 784576"/>
                <a:gd name="connsiteX21" fmla="*/ 774755 w 784964"/>
                <a:gd name="connsiteY21" fmla="*/ 208066 h 784576"/>
                <a:gd name="connsiteX22" fmla="*/ 774367 w 784964"/>
                <a:gd name="connsiteY22" fmla="*/ 207678 h 784576"/>
                <a:gd name="connsiteX23" fmla="*/ 771524 w 784964"/>
                <a:gd name="connsiteY23" fmla="*/ 202380 h 784576"/>
                <a:gd name="connsiteX24" fmla="*/ 769327 w 784964"/>
                <a:gd name="connsiteY24" fmla="*/ 200053 h 784576"/>
                <a:gd name="connsiteX25" fmla="*/ 768552 w 784964"/>
                <a:gd name="connsiteY25" fmla="*/ 199407 h 784576"/>
                <a:gd name="connsiteX26" fmla="*/ 762866 w 784964"/>
                <a:gd name="connsiteY26" fmla="*/ 196306 h 784576"/>
                <a:gd name="connsiteX27" fmla="*/ 762478 w 784964"/>
                <a:gd name="connsiteY27" fmla="*/ 196047 h 784576"/>
                <a:gd name="connsiteX28" fmla="*/ 762090 w 784964"/>
                <a:gd name="connsiteY28" fmla="*/ 195530 h 784576"/>
                <a:gd name="connsiteX29" fmla="*/ 761832 w 784964"/>
                <a:gd name="connsiteY29" fmla="*/ 195013 h 784576"/>
                <a:gd name="connsiteX30" fmla="*/ 757308 w 784964"/>
                <a:gd name="connsiteY30" fmla="*/ 182865 h 784576"/>
                <a:gd name="connsiteX31" fmla="*/ 756662 w 784964"/>
                <a:gd name="connsiteY31" fmla="*/ 181702 h 784576"/>
                <a:gd name="connsiteX32" fmla="*/ 751622 w 784964"/>
                <a:gd name="connsiteY32" fmla="*/ 174594 h 784576"/>
                <a:gd name="connsiteX33" fmla="*/ 747745 w 784964"/>
                <a:gd name="connsiteY33" fmla="*/ 160379 h 784576"/>
                <a:gd name="connsiteX34" fmla="*/ 746065 w 784964"/>
                <a:gd name="connsiteY34" fmla="*/ 147455 h 784576"/>
                <a:gd name="connsiteX35" fmla="*/ 746324 w 784964"/>
                <a:gd name="connsiteY35" fmla="*/ 137246 h 784576"/>
                <a:gd name="connsiteX36" fmla="*/ 746453 w 784964"/>
                <a:gd name="connsiteY36" fmla="*/ 136600 h 784576"/>
                <a:gd name="connsiteX37" fmla="*/ 747228 w 784964"/>
                <a:gd name="connsiteY37" fmla="*/ 135049 h 784576"/>
                <a:gd name="connsiteX38" fmla="*/ 748521 w 784964"/>
                <a:gd name="connsiteY38" fmla="*/ 130138 h 784576"/>
                <a:gd name="connsiteX39" fmla="*/ 750588 w 784964"/>
                <a:gd name="connsiteY39" fmla="*/ 124581 h 784576"/>
                <a:gd name="connsiteX40" fmla="*/ 752656 w 784964"/>
                <a:gd name="connsiteY40" fmla="*/ 116310 h 784576"/>
                <a:gd name="connsiteX41" fmla="*/ 754465 w 784964"/>
                <a:gd name="connsiteY41" fmla="*/ 111141 h 784576"/>
                <a:gd name="connsiteX42" fmla="*/ 755628 w 784964"/>
                <a:gd name="connsiteY42" fmla="*/ 109590 h 784576"/>
                <a:gd name="connsiteX43" fmla="*/ 759635 w 784964"/>
                <a:gd name="connsiteY43" fmla="*/ 107781 h 784576"/>
                <a:gd name="connsiteX44" fmla="*/ 761832 w 784964"/>
                <a:gd name="connsiteY44" fmla="*/ 106359 h 784576"/>
                <a:gd name="connsiteX45" fmla="*/ 765062 w 784964"/>
                <a:gd name="connsiteY45" fmla="*/ 103645 h 784576"/>
                <a:gd name="connsiteX46" fmla="*/ 765967 w 784964"/>
                <a:gd name="connsiteY46" fmla="*/ 102741 h 784576"/>
                <a:gd name="connsiteX47" fmla="*/ 766613 w 784964"/>
                <a:gd name="connsiteY47" fmla="*/ 101965 h 784576"/>
                <a:gd name="connsiteX48" fmla="*/ 767001 w 784964"/>
                <a:gd name="connsiteY48" fmla="*/ 101190 h 784576"/>
                <a:gd name="connsiteX49" fmla="*/ 767389 w 784964"/>
                <a:gd name="connsiteY49" fmla="*/ 99251 h 784576"/>
                <a:gd name="connsiteX50" fmla="*/ 767647 w 784964"/>
                <a:gd name="connsiteY50" fmla="*/ 97701 h 784576"/>
                <a:gd name="connsiteX51" fmla="*/ 767647 w 784964"/>
                <a:gd name="connsiteY51" fmla="*/ 94857 h 784576"/>
                <a:gd name="connsiteX52" fmla="*/ 767518 w 784964"/>
                <a:gd name="connsiteY52" fmla="*/ 94211 h 784576"/>
                <a:gd name="connsiteX53" fmla="*/ 767259 w 784964"/>
                <a:gd name="connsiteY53" fmla="*/ 93694 h 784576"/>
                <a:gd name="connsiteX54" fmla="*/ 767001 w 784964"/>
                <a:gd name="connsiteY54" fmla="*/ 93307 h 784576"/>
                <a:gd name="connsiteX55" fmla="*/ 766613 w 784964"/>
                <a:gd name="connsiteY55" fmla="*/ 92919 h 784576"/>
                <a:gd name="connsiteX56" fmla="*/ 759247 w 784964"/>
                <a:gd name="connsiteY56" fmla="*/ 90334 h 784576"/>
                <a:gd name="connsiteX57" fmla="*/ 756792 w 784964"/>
                <a:gd name="connsiteY57" fmla="*/ 89042 h 784576"/>
                <a:gd name="connsiteX58" fmla="*/ 756404 w 784964"/>
                <a:gd name="connsiteY58" fmla="*/ 88525 h 784576"/>
                <a:gd name="connsiteX59" fmla="*/ 756145 w 784964"/>
                <a:gd name="connsiteY59" fmla="*/ 86457 h 784576"/>
                <a:gd name="connsiteX60" fmla="*/ 756275 w 784964"/>
                <a:gd name="connsiteY60" fmla="*/ 82839 h 784576"/>
                <a:gd name="connsiteX61" fmla="*/ 758213 w 784964"/>
                <a:gd name="connsiteY61" fmla="*/ 70562 h 784576"/>
                <a:gd name="connsiteX62" fmla="*/ 758730 w 784964"/>
                <a:gd name="connsiteY62" fmla="*/ 69398 h 784576"/>
                <a:gd name="connsiteX63" fmla="*/ 758988 w 784964"/>
                <a:gd name="connsiteY63" fmla="*/ 68881 h 784576"/>
                <a:gd name="connsiteX64" fmla="*/ 759376 w 784964"/>
                <a:gd name="connsiteY64" fmla="*/ 68494 h 784576"/>
                <a:gd name="connsiteX65" fmla="*/ 765579 w 784964"/>
                <a:gd name="connsiteY65" fmla="*/ 64100 h 784576"/>
                <a:gd name="connsiteX66" fmla="*/ 766613 w 784964"/>
                <a:gd name="connsiteY66" fmla="*/ 63712 h 784576"/>
                <a:gd name="connsiteX67" fmla="*/ 767259 w 784964"/>
                <a:gd name="connsiteY67" fmla="*/ 63324 h 784576"/>
                <a:gd name="connsiteX68" fmla="*/ 767776 w 784964"/>
                <a:gd name="connsiteY68" fmla="*/ 62807 h 784576"/>
                <a:gd name="connsiteX69" fmla="*/ 768552 w 784964"/>
                <a:gd name="connsiteY69" fmla="*/ 61774 h 784576"/>
                <a:gd name="connsiteX70" fmla="*/ 768810 w 784964"/>
                <a:gd name="connsiteY70" fmla="*/ 60998 h 784576"/>
                <a:gd name="connsiteX71" fmla="*/ 768940 w 784964"/>
                <a:gd name="connsiteY71" fmla="*/ 60223 h 784576"/>
                <a:gd name="connsiteX72" fmla="*/ 768810 w 784964"/>
                <a:gd name="connsiteY72" fmla="*/ 59706 h 784576"/>
                <a:gd name="connsiteX73" fmla="*/ 768552 w 784964"/>
                <a:gd name="connsiteY73" fmla="*/ 59189 h 784576"/>
                <a:gd name="connsiteX74" fmla="*/ 768035 w 784964"/>
                <a:gd name="connsiteY74" fmla="*/ 58284 h 784576"/>
                <a:gd name="connsiteX75" fmla="*/ 766226 w 784964"/>
                <a:gd name="connsiteY75" fmla="*/ 56346 h 784576"/>
                <a:gd name="connsiteX76" fmla="*/ 753432 w 784964"/>
                <a:gd name="connsiteY76" fmla="*/ 47170 h 784576"/>
                <a:gd name="connsiteX77" fmla="*/ 752010 w 784964"/>
                <a:gd name="connsiteY77" fmla="*/ 45361 h 784576"/>
                <a:gd name="connsiteX78" fmla="*/ 750588 w 784964"/>
                <a:gd name="connsiteY78" fmla="*/ 43293 h 784576"/>
                <a:gd name="connsiteX79" fmla="*/ 743351 w 784964"/>
                <a:gd name="connsiteY79" fmla="*/ 47170 h 784576"/>
                <a:gd name="connsiteX80" fmla="*/ 738440 w 784964"/>
                <a:gd name="connsiteY80" fmla="*/ 48463 h 784576"/>
                <a:gd name="connsiteX81" fmla="*/ 729136 w 784964"/>
                <a:gd name="connsiteY81" fmla="*/ 48592 h 784576"/>
                <a:gd name="connsiteX82" fmla="*/ 727843 w 784964"/>
                <a:gd name="connsiteY82" fmla="*/ 48850 h 784576"/>
                <a:gd name="connsiteX83" fmla="*/ 726680 w 784964"/>
                <a:gd name="connsiteY83" fmla="*/ 49238 h 784576"/>
                <a:gd name="connsiteX84" fmla="*/ 723191 w 784964"/>
                <a:gd name="connsiteY84" fmla="*/ 51306 h 784576"/>
                <a:gd name="connsiteX85" fmla="*/ 719185 w 784964"/>
                <a:gd name="connsiteY85" fmla="*/ 52469 h 784576"/>
                <a:gd name="connsiteX86" fmla="*/ 712335 w 784964"/>
                <a:gd name="connsiteY86" fmla="*/ 53890 h 784576"/>
                <a:gd name="connsiteX87" fmla="*/ 709363 w 784964"/>
                <a:gd name="connsiteY87" fmla="*/ 55053 h 784576"/>
                <a:gd name="connsiteX88" fmla="*/ 707554 w 784964"/>
                <a:gd name="connsiteY88" fmla="*/ 56217 h 784576"/>
                <a:gd name="connsiteX89" fmla="*/ 706391 w 784964"/>
                <a:gd name="connsiteY89" fmla="*/ 57250 h 784576"/>
                <a:gd name="connsiteX90" fmla="*/ 695147 w 784964"/>
                <a:gd name="connsiteY90" fmla="*/ 69269 h 784576"/>
                <a:gd name="connsiteX91" fmla="*/ 693726 w 784964"/>
                <a:gd name="connsiteY91" fmla="*/ 70432 h 784576"/>
                <a:gd name="connsiteX92" fmla="*/ 692175 w 784964"/>
                <a:gd name="connsiteY92" fmla="*/ 71466 h 784576"/>
                <a:gd name="connsiteX93" fmla="*/ 689849 w 784964"/>
                <a:gd name="connsiteY93" fmla="*/ 72241 h 784576"/>
                <a:gd name="connsiteX94" fmla="*/ 687006 w 784964"/>
                <a:gd name="connsiteY94" fmla="*/ 73017 h 784576"/>
                <a:gd name="connsiteX95" fmla="*/ 681578 w 784964"/>
                <a:gd name="connsiteY95" fmla="*/ 73663 h 784576"/>
                <a:gd name="connsiteX96" fmla="*/ 676667 w 784964"/>
                <a:gd name="connsiteY96" fmla="*/ 73663 h 784576"/>
                <a:gd name="connsiteX97" fmla="*/ 674082 w 784964"/>
                <a:gd name="connsiteY97" fmla="*/ 73017 h 784576"/>
                <a:gd name="connsiteX98" fmla="*/ 672402 w 784964"/>
                <a:gd name="connsiteY98" fmla="*/ 72888 h 784576"/>
                <a:gd name="connsiteX99" fmla="*/ 671368 w 784964"/>
                <a:gd name="connsiteY99" fmla="*/ 72888 h 784576"/>
                <a:gd name="connsiteX100" fmla="*/ 663226 w 784964"/>
                <a:gd name="connsiteY100" fmla="*/ 74438 h 784576"/>
                <a:gd name="connsiteX101" fmla="*/ 658574 w 784964"/>
                <a:gd name="connsiteY101" fmla="*/ 75860 h 784576"/>
                <a:gd name="connsiteX102" fmla="*/ 639318 w 784964"/>
                <a:gd name="connsiteY102" fmla="*/ 85811 h 784576"/>
                <a:gd name="connsiteX103" fmla="*/ 638543 w 784964"/>
                <a:gd name="connsiteY103" fmla="*/ 86457 h 784576"/>
                <a:gd name="connsiteX104" fmla="*/ 637897 w 784964"/>
                <a:gd name="connsiteY104" fmla="*/ 86845 h 784576"/>
                <a:gd name="connsiteX105" fmla="*/ 636992 w 784964"/>
                <a:gd name="connsiteY105" fmla="*/ 86974 h 784576"/>
                <a:gd name="connsiteX106" fmla="*/ 635312 w 784964"/>
                <a:gd name="connsiteY106" fmla="*/ 86845 h 784576"/>
                <a:gd name="connsiteX107" fmla="*/ 634407 w 784964"/>
                <a:gd name="connsiteY107" fmla="*/ 86716 h 784576"/>
                <a:gd name="connsiteX108" fmla="*/ 632857 w 784964"/>
                <a:gd name="connsiteY108" fmla="*/ 87103 h 784576"/>
                <a:gd name="connsiteX109" fmla="*/ 625749 w 784964"/>
                <a:gd name="connsiteY109" fmla="*/ 90205 h 784576"/>
                <a:gd name="connsiteX110" fmla="*/ 623939 w 784964"/>
                <a:gd name="connsiteY110" fmla="*/ 91497 h 784576"/>
                <a:gd name="connsiteX111" fmla="*/ 621226 w 784964"/>
                <a:gd name="connsiteY111" fmla="*/ 92660 h 784576"/>
                <a:gd name="connsiteX112" fmla="*/ 614118 w 784964"/>
                <a:gd name="connsiteY112" fmla="*/ 93436 h 784576"/>
                <a:gd name="connsiteX113" fmla="*/ 613601 w 784964"/>
                <a:gd name="connsiteY113" fmla="*/ 94470 h 784576"/>
                <a:gd name="connsiteX114" fmla="*/ 613601 w 784964"/>
                <a:gd name="connsiteY114" fmla="*/ 94728 h 784576"/>
                <a:gd name="connsiteX115" fmla="*/ 613472 w 784964"/>
                <a:gd name="connsiteY115" fmla="*/ 95116 h 784576"/>
                <a:gd name="connsiteX116" fmla="*/ 613472 w 784964"/>
                <a:gd name="connsiteY116" fmla="*/ 95374 h 784576"/>
                <a:gd name="connsiteX117" fmla="*/ 613472 w 784964"/>
                <a:gd name="connsiteY117" fmla="*/ 95504 h 784576"/>
                <a:gd name="connsiteX118" fmla="*/ 612955 w 784964"/>
                <a:gd name="connsiteY118" fmla="*/ 95891 h 784576"/>
                <a:gd name="connsiteX119" fmla="*/ 612567 w 784964"/>
                <a:gd name="connsiteY119" fmla="*/ 96279 h 784576"/>
                <a:gd name="connsiteX120" fmla="*/ 611792 w 784964"/>
                <a:gd name="connsiteY120" fmla="*/ 97830 h 784576"/>
                <a:gd name="connsiteX121" fmla="*/ 611404 w 784964"/>
                <a:gd name="connsiteY121" fmla="*/ 97959 h 784576"/>
                <a:gd name="connsiteX122" fmla="*/ 610887 w 784964"/>
                <a:gd name="connsiteY122" fmla="*/ 97959 h 784576"/>
                <a:gd name="connsiteX123" fmla="*/ 610499 w 784964"/>
                <a:gd name="connsiteY123" fmla="*/ 97313 h 784576"/>
                <a:gd name="connsiteX124" fmla="*/ 609465 w 784964"/>
                <a:gd name="connsiteY124" fmla="*/ 94470 h 784576"/>
                <a:gd name="connsiteX125" fmla="*/ 609465 w 784964"/>
                <a:gd name="connsiteY125" fmla="*/ 93953 h 784576"/>
                <a:gd name="connsiteX126" fmla="*/ 609465 w 784964"/>
                <a:gd name="connsiteY126" fmla="*/ 93307 h 784576"/>
                <a:gd name="connsiteX127" fmla="*/ 609465 w 784964"/>
                <a:gd name="connsiteY127" fmla="*/ 92790 h 784576"/>
                <a:gd name="connsiteX128" fmla="*/ 609336 w 784964"/>
                <a:gd name="connsiteY128" fmla="*/ 92402 h 784576"/>
                <a:gd name="connsiteX129" fmla="*/ 609078 w 784964"/>
                <a:gd name="connsiteY129" fmla="*/ 92014 h 784576"/>
                <a:gd name="connsiteX130" fmla="*/ 605847 w 784964"/>
                <a:gd name="connsiteY130" fmla="*/ 88396 h 784576"/>
                <a:gd name="connsiteX131" fmla="*/ 605588 w 784964"/>
                <a:gd name="connsiteY131" fmla="*/ 87879 h 784576"/>
                <a:gd name="connsiteX132" fmla="*/ 605459 w 784964"/>
                <a:gd name="connsiteY132" fmla="*/ 87233 h 784576"/>
                <a:gd name="connsiteX133" fmla="*/ 605330 w 784964"/>
                <a:gd name="connsiteY133" fmla="*/ 85940 h 784576"/>
                <a:gd name="connsiteX134" fmla="*/ 605201 w 784964"/>
                <a:gd name="connsiteY134" fmla="*/ 85294 h 784576"/>
                <a:gd name="connsiteX135" fmla="*/ 604942 w 784964"/>
                <a:gd name="connsiteY135" fmla="*/ 84777 h 784576"/>
                <a:gd name="connsiteX136" fmla="*/ 604554 w 784964"/>
                <a:gd name="connsiteY136" fmla="*/ 84389 h 784576"/>
                <a:gd name="connsiteX137" fmla="*/ 601453 w 784964"/>
                <a:gd name="connsiteY137" fmla="*/ 81417 h 784576"/>
                <a:gd name="connsiteX138" fmla="*/ 600807 w 784964"/>
                <a:gd name="connsiteY138" fmla="*/ 79996 h 784576"/>
                <a:gd name="connsiteX139" fmla="*/ 599902 w 784964"/>
                <a:gd name="connsiteY139" fmla="*/ 77799 h 784576"/>
                <a:gd name="connsiteX140" fmla="*/ 599644 w 784964"/>
                <a:gd name="connsiteY140" fmla="*/ 77411 h 784576"/>
                <a:gd name="connsiteX141" fmla="*/ 599256 w 784964"/>
                <a:gd name="connsiteY141" fmla="*/ 76894 h 784576"/>
                <a:gd name="connsiteX142" fmla="*/ 598868 w 784964"/>
                <a:gd name="connsiteY142" fmla="*/ 76635 h 784576"/>
                <a:gd name="connsiteX143" fmla="*/ 598351 w 784964"/>
                <a:gd name="connsiteY143" fmla="*/ 76506 h 784576"/>
                <a:gd name="connsiteX144" fmla="*/ 597576 w 784964"/>
                <a:gd name="connsiteY144" fmla="*/ 76765 h 784576"/>
                <a:gd name="connsiteX145" fmla="*/ 596930 w 784964"/>
                <a:gd name="connsiteY145" fmla="*/ 77152 h 784576"/>
                <a:gd name="connsiteX146" fmla="*/ 592406 w 784964"/>
                <a:gd name="connsiteY146" fmla="*/ 80900 h 784576"/>
                <a:gd name="connsiteX147" fmla="*/ 591890 w 784964"/>
                <a:gd name="connsiteY147" fmla="*/ 81417 h 784576"/>
                <a:gd name="connsiteX148" fmla="*/ 591373 w 784964"/>
                <a:gd name="connsiteY148" fmla="*/ 82063 h 784576"/>
                <a:gd name="connsiteX149" fmla="*/ 590985 w 784964"/>
                <a:gd name="connsiteY149" fmla="*/ 82968 h 784576"/>
                <a:gd name="connsiteX150" fmla="*/ 590856 w 784964"/>
                <a:gd name="connsiteY150" fmla="*/ 83743 h 784576"/>
                <a:gd name="connsiteX151" fmla="*/ 590985 w 784964"/>
                <a:gd name="connsiteY151" fmla="*/ 84777 h 784576"/>
                <a:gd name="connsiteX152" fmla="*/ 591760 w 784964"/>
                <a:gd name="connsiteY152" fmla="*/ 86974 h 784576"/>
                <a:gd name="connsiteX153" fmla="*/ 597834 w 784964"/>
                <a:gd name="connsiteY153" fmla="*/ 100544 h 784576"/>
                <a:gd name="connsiteX154" fmla="*/ 598222 w 784964"/>
                <a:gd name="connsiteY154" fmla="*/ 101836 h 784576"/>
                <a:gd name="connsiteX155" fmla="*/ 598351 w 784964"/>
                <a:gd name="connsiteY155" fmla="*/ 103128 h 784576"/>
                <a:gd name="connsiteX156" fmla="*/ 598093 w 784964"/>
                <a:gd name="connsiteY156" fmla="*/ 103904 h 784576"/>
                <a:gd name="connsiteX157" fmla="*/ 597059 w 784964"/>
                <a:gd name="connsiteY157" fmla="*/ 104291 h 784576"/>
                <a:gd name="connsiteX158" fmla="*/ 595508 w 784964"/>
                <a:gd name="connsiteY158" fmla="*/ 104162 h 784576"/>
                <a:gd name="connsiteX159" fmla="*/ 576898 w 784964"/>
                <a:gd name="connsiteY159" fmla="*/ 97571 h 784576"/>
                <a:gd name="connsiteX160" fmla="*/ 572505 w 784964"/>
                <a:gd name="connsiteY160" fmla="*/ 94987 h 784576"/>
                <a:gd name="connsiteX161" fmla="*/ 569791 w 784964"/>
                <a:gd name="connsiteY161" fmla="*/ 92790 h 784576"/>
                <a:gd name="connsiteX162" fmla="*/ 568111 w 784964"/>
                <a:gd name="connsiteY162" fmla="*/ 92014 h 784576"/>
                <a:gd name="connsiteX163" fmla="*/ 567206 w 784964"/>
                <a:gd name="connsiteY163" fmla="*/ 91756 h 784576"/>
                <a:gd name="connsiteX164" fmla="*/ 566560 w 784964"/>
                <a:gd name="connsiteY164" fmla="*/ 92144 h 784576"/>
                <a:gd name="connsiteX165" fmla="*/ 565397 w 784964"/>
                <a:gd name="connsiteY165" fmla="*/ 93307 h 784576"/>
                <a:gd name="connsiteX166" fmla="*/ 564751 w 784964"/>
                <a:gd name="connsiteY166" fmla="*/ 93823 h 784576"/>
                <a:gd name="connsiteX167" fmla="*/ 563200 w 784964"/>
                <a:gd name="connsiteY167" fmla="*/ 93823 h 784576"/>
                <a:gd name="connsiteX168" fmla="*/ 561132 w 784964"/>
                <a:gd name="connsiteY168" fmla="*/ 92660 h 784576"/>
                <a:gd name="connsiteX169" fmla="*/ 557255 w 784964"/>
                <a:gd name="connsiteY169" fmla="*/ 89430 h 784576"/>
                <a:gd name="connsiteX170" fmla="*/ 553378 w 784964"/>
                <a:gd name="connsiteY170" fmla="*/ 86716 h 784576"/>
                <a:gd name="connsiteX171" fmla="*/ 550923 w 784964"/>
                <a:gd name="connsiteY171" fmla="*/ 85811 h 784576"/>
                <a:gd name="connsiteX172" fmla="*/ 547950 w 784964"/>
                <a:gd name="connsiteY172" fmla="*/ 85165 h 784576"/>
                <a:gd name="connsiteX173" fmla="*/ 545624 w 784964"/>
                <a:gd name="connsiteY173" fmla="*/ 84906 h 784576"/>
                <a:gd name="connsiteX174" fmla="*/ 543427 w 784964"/>
                <a:gd name="connsiteY174" fmla="*/ 85036 h 784576"/>
                <a:gd name="connsiteX175" fmla="*/ 543039 w 784964"/>
                <a:gd name="connsiteY175" fmla="*/ 84777 h 784576"/>
                <a:gd name="connsiteX176" fmla="*/ 542910 w 784964"/>
                <a:gd name="connsiteY176" fmla="*/ 84260 h 784576"/>
                <a:gd name="connsiteX177" fmla="*/ 543556 w 784964"/>
                <a:gd name="connsiteY177" fmla="*/ 81546 h 784576"/>
                <a:gd name="connsiteX178" fmla="*/ 545882 w 784964"/>
                <a:gd name="connsiteY178" fmla="*/ 75860 h 784576"/>
                <a:gd name="connsiteX179" fmla="*/ 546270 w 784964"/>
                <a:gd name="connsiteY179" fmla="*/ 74697 h 784576"/>
                <a:gd name="connsiteX180" fmla="*/ 546270 w 784964"/>
                <a:gd name="connsiteY180" fmla="*/ 74051 h 784576"/>
                <a:gd name="connsiteX181" fmla="*/ 546270 w 784964"/>
                <a:gd name="connsiteY181" fmla="*/ 73405 h 784576"/>
                <a:gd name="connsiteX182" fmla="*/ 545882 w 784964"/>
                <a:gd name="connsiteY182" fmla="*/ 73017 h 784576"/>
                <a:gd name="connsiteX183" fmla="*/ 545624 w 784964"/>
                <a:gd name="connsiteY183" fmla="*/ 72629 h 784576"/>
                <a:gd name="connsiteX184" fmla="*/ 543685 w 784964"/>
                <a:gd name="connsiteY184" fmla="*/ 72500 h 784576"/>
                <a:gd name="connsiteX185" fmla="*/ 539809 w 784964"/>
                <a:gd name="connsiteY185" fmla="*/ 74309 h 784576"/>
                <a:gd name="connsiteX186" fmla="*/ 537353 w 784964"/>
                <a:gd name="connsiteY186" fmla="*/ 75731 h 784576"/>
                <a:gd name="connsiteX187" fmla="*/ 526497 w 784964"/>
                <a:gd name="connsiteY187" fmla="*/ 84002 h 784576"/>
                <a:gd name="connsiteX188" fmla="*/ 523913 w 784964"/>
                <a:gd name="connsiteY188" fmla="*/ 85423 h 784576"/>
                <a:gd name="connsiteX189" fmla="*/ 522233 w 784964"/>
                <a:gd name="connsiteY189" fmla="*/ 85940 h 784576"/>
                <a:gd name="connsiteX190" fmla="*/ 520165 w 784964"/>
                <a:gd name="connsiteY190" fmla="*/ 86328 h 784576"/>
                <a:gd name="connsiteX191" fmla="*/ 518097 w 784964"/>
                <a:gd name="connsiteY191" fmla="*/ 86586 h 784576"/>
                <a:gd name="connsiteX192" fmla="*/ 509826 w 784964"/>
                <a:gd name="connsiteY192" fmla="*/ 86716 h 784576"/>
                <a:gd name="connsiteX193" fmla="*/ 506466 w 784964"/>
                <a:gd name="connsiteY193" fmla="*/ 85940 h 784576"/>
                <a:gd name="connsiteX194" fmla="*/ 500392 w 784964"/>
                <a:gd name="connsiteY194" fmla="*/ 83356 h 784576"/>
                <a:gd name="connsiteX195" fmla="*/ 498454 w 784964"/>
                <a:gd name="connsiteY195" fmla="*/ 82451 h 784576"/>
                <a:gd name="connsiteX196" fmla="*/ 497032 w 784964"/>
                <a:gd name="connsiteY196" fmla="*/ 82193 h 784576"/>
                <a:gd name="connsiteX197" fmla="*/ 494964 w 784964"/>
                <a:gd name="connsiteY197" fmla="*/ 82193 h 784576"/>
                <a:gd name="connsiteX198" fmla="*/ 493543 w 784964"/>
                <a:gd name="connsiteY198" fmla="*/ 82580 h 784576"/>
                <a:gd name="connsiteX199" fmla="*/ 492509 w 784964"/>
                <a:gd name="connsiteY199" fmla="*/ 83226 h 784576"/>
                <a:gd name="connsiteX200" fmla="*/ 491734 w 784964"/>
                <a:gd name="connsiteY200" fmla="*/ 83873 h 784576"/>
                <a:gd name="connsiteX201" fmla="*/ 491217 w 784964"/>
                <a:gd name="connsiteY201" fmla="*/ 84777 h 784576"/>
                <a:gd name="connsiteX202" fmla="*/ 490829 w 784964"/>
                <a:gd name="connsiteY202" fmla="*/ 85811 h 784576"/>
                <a:gd name="connsiteX203" fmla="*/ 490312 w 784964"/>
                <a:gd name="connsiteY203" fmla="*/ 88654 h 784576"/>
                <a:gd name="connsiteX204" fmla="*/ 489795 w 784964"/>
                <a:gd name="connsiteY204" fmla="*/ 94728 h 784576"/>
                <a:gd name="connsiteX205" fmla="*/ 489020 w 784964"/>
                <a:gd name="connsiteY205" fmla="*/ 99897 h 784576"/>
                <a:gd name="connsiteX206" fmla="*/ 488503 w 784964"/>
                <a:gd name="connsiteY206" fmla="*/ 101578 h 784576"/>
                <a:gd name="connsiteX207" fmla="*/ 488115 w 784964"/>
                <a:gd name="connsiteY207" fmla="*/ 102353 h 784576"/>
                <a:gd name="connsiteX208" fmla="*/ 487727 w 784964"/>
                <a:gd name="connsiteY208" fmla="*/ 102870 h 784576"/>
                <a:gd name="connsiteX209" fmla="*/ 487210 w 784964"/>
                <a:gd name="connsiteY209" fmla="*/ 103516 h 784576"/>
                <a:gd name="connsiteX210" fmla="*/ 486047 w 784964"/>
                <a:gd name="connsiteY210" fmla="*/ 104679 h 784576"/>
                <a:gd name="connsiteX211" fmla="*/ 482299 w 784964"/>
                <a:gd name="connsiteY211" fmla="*/ 107264 h 784576"/>
                <a:gd name="connsiteX212" fmla="*/ 481783 w 784964"/>
                <a:gd name="connsiteY212" fmla="*/ 107522 h 784576"/>
                <a:gd name="connsiteX213" fmla="*/ 481266 w 784964"/>
                <a:gd name="connsiteY213" fmla="*/ 107522 h 784576"/>
                <a:gd name="connsiteX214" fmla="*/ 480490 w 784964"/>
                <a:gd name="connsiteY214" fmla="*/ 107134 h 784576"/>
                <a:gd name="connsiteX215" fmla="*/ 479715 w 784964"/>
                <a:gd name="connsiteY215" fmla="*/ 106230 h 784576"/>
                <a:gd name="connsiteX216" fmla="*/ 479198 w 784964"/>
                <a:gd name="connsiteY216" fmla="*/ 105067 h 784576"/>
                <a:gd name="connsiteX217" fmla="*/ 478681 w 784964"/>
                <a:gd name="connsiteY217" fmla="*/ 103904 h 784576"/>
                <a:gd name="connsiteX218" fmla="*/ 478164 w 784964"/>
                <a:gd name="connsiteY218" fmla="*/ 101319 h 784576"/>
                <a:gd name="connsiteX219" fmla="*/ 477906 w 784964"/>
                <a:gd name="connsiteY219" fmla="*/ 100027 h 784576"/>
                <a:gd name="connsiteX220" fmla="*/ 477906 w 784964"/>
                <a:gd name="connsiteY220" fmla="*/ 98605 h 784576"/>
                <a:gd name="connsiteX221" fmla="*/ 478164 w 784964"/>
                <a:gd name="connsiteY221" fmla="*/ 97054 h 784576"/>
                <a:gd name="connsiteX222" fmla="*/ 479973 w 784964"/>
                <a:gd name="connsiteY222" fmla="*/ 88396 h 784576"/>
                <a:gd name="connsiteX223" fmla="*/ 479198 w 784964"/>
                <a:gd name="connsiteY223" fmla="*/ 75989 h 784576"/>
                <a:gd name="connsiteX224" fmla="*/ 478552 w 784964"/>
                <a:gd name="connsiteY224" fmla="*/ 73922 h 784576"/>
                <a:gd name="connsiteX225" fmla="*/ 476225 w 784964"/>
                <a:gd name="connsiteY225" fmla="*/ 69140 h 784576"/>
                <a:gd name="connsiteX226" fmla="*/ 475709 w 784964"/>
                <a:gd name="connsiteY226" fmla="*/ 67848 h 784576"/>
                <a:gd name="connsiteX227" fmla="*/ 475450 w 784964"/>
                <a:gd name="connsiteY227" fmla="*/ 66555 h 784576"/>
                <a:gd name="connsiteX228" fmla="*/ 475450 w 784964"/>
                <a:gd name="connsiteY228" fmla="*/ 65780 h 784576"/>
                <a:gd name="connsiteX229" fmla="*/ 475450 w 784964"/>
                <a:gd name="connsiteY229" fmla="*/ 65263 h 784576"/>
                <a:gd name="connsiteX230" fmla="*/ 476355 w 784964"/>
                <a:gd name="connsiteY230" fmla="*/ 60611 h 784576"/>
                <a:gd name="connsiteX231" fmla="*/ 476355 w 784964"/>
                <a:gd name="connsiteY231" fmla="*/ 59189 h 784576"/>
                <a:gd name="connsiteX232" fmla="*/ 476096 w 784964"/>
                <a:gd name="connsiteY232" fmla="*/ 57638 h 784576"/>
                <a:gd name="connsiteX233" fmla="*/ 474804 w 784964"/>
                <a:gd name="connsiteY233" fmla="*/ 54407 h 784576"/>
                <a:gd name="connsiteX234" fmla="*/ 473253 w 784964"/>
                <a:gd name="connsiteY234" fmla="*/ 51693 h 784576"/>
                <a:gd name="connsiteX235" fmla="*/ 471573 w 784964"/>
                <a:gd name="connsiteY235" fmla="*/ 49367 h 784576"/>
                <a:gd name="connsiteX236" fmla="*/ 469376 w 784964"/>
                <a:gd name="connsiteY236" fmla="*/ 47170 h 784576"/>
                <a:gd name="connsiteX237" fmla="*/ 462398 w 784964"/>
                <a:gd name="connsiteY237" fmla="*/ 42001 h 784576"/>
                <a:gd name="connsiteX238" fmla="*/ 454773 w 784964"/>
                <a:gd name="connsiteY238" fmla="*/ 38124 h 784576"/>
                <a:gd name="connsiteX239" fmla="*/ 454127 w 784964"/>
                <a:gd name="connsiteY239" fmla="*/ 37607 h 784576"/>
                <a:gd name="connsiteX240" fmla="*/ 453480 w 784964"/>
                <a:gd name="connsiteY240" fmla="*/ 37090 h 784576"/>
                <a:gd name="connsiteX241" fmla="*/ 453222 w 784964"/>
                <a:gd name="connsiteY241" fmla="*/ 36315 h 784576"/>
                <a:gd name="connsiteX242" fmla="*/ 452834 w 784964"/>
                <a:gd name="connsiteY242" fmla="*/ 35410 h 784576"/>
                <a:gd name="connsiteX243" fmla="*/ 452834 w 784964"/>
                <a:gd name="connsiteY243" fmla="*/ 34376 h 784576"/>
                <a:gd name="connsiteX244" fmla="*/ 452964 w 784964"/>
                <a:gd name="connsiteY244" fmla="*/ 33342 h 784576"/>
                <a:gd name="connsiteX245" fmla="*/ 454127 w 784964"/>
                <a:gd name="connsiteY245" fmla="*/ 28302 h 784576"/>
                <a:gd name="connsiteX246" fmla="*/ 454127 w 784964"/>
                <a:gd name="connsiteY246" fmla="*/ 27914 h 784576"/>
                <a:gd name="connsiteX247" fmla="*/ 453997 w 784964"/>
                <a:gd name="connsiteY247" fmla="*/ 27785 h 784576"/>
                <a:gd name="connsiteX248" fmla="*/ 453610 w 784964"/>
                <a:gd name="connsiteY248" fmla="*/ 27656 h 784576"/>
                <a:gd name="connsiteX249" fmla="*/ 453093 w 784964"/>
                <a:gd name="connsiteY249" fmla="*/ 27656 h 784576"/>
                <a:gd name="connsiteX250" fmla="*/ 452576 w 784964"/>
                <a:gd name="connsiteY250" fmla="*/ 27914 h 784576"/>
                <a:gd name="connsiteX251" fmla="*/ 447923 w 784964"/>
                <a:gd name="connsiteY251" fmla="*/ 30499 h 784576"/>
                <a:gd name="connsiteX252" fmla="*/ 439653 w 784964"/>
                <a:gd name="connsiteY252" fmla="*/ 36444 h 784576"/>
                <a:gd name="connsiteX253" fmla="*/ 422723 w 784964"/>
                <a:gd name="connsiteY253" fmla="*/ 65780 h 784576"/>
                <a:gd name="connsiteX254" fmla="*/ 416132 w 784964"/>
                <a:gd name="connsiteY254" fmla="*/ 80125 h 784576"/>
                <a:gd name="connsiteX255" fmla="*/ 415098 w 784964"/>
                <a:gd name="connsiteY255" fmla="*/ 83614 h 784576"/>
                <a:gd name="connsiteX256" fmla="*/ 414840 w 784964"/>
                <a:gd name="connsiteY256" fmla="*/ 85682 h 784576"/>
                <a:gd name="connsiteX257" fmla="*/ 414840 w 784964"/>
                <a:gd name="connsiteY257" fmla="*/ 89171 h 784576"/>
                <a:gd name="connsiteX258" fmla="*/ 414710 w 784964"/>
                <a:gd name="connsiteY258" fmla="*/ 89947 h 784576"/>
                <a:gd name="connsiteX259" fmla="*/ 414452 w 784964"/>
                <a:gd name="connsiteY259" fmla="*/ 90851 h 784576"/>
                <a:gd name="connsiteX260" fmla="*/ 414064 w 784964"/>
                <a:gd name="connsiteY260" fmla="*/ 91627 h 784576"/>
                <a:gd name="connsiteX261" fmla="*/ 413289 w 784964"/>
                <a:gd name="connsiteY261" fmla="*/ 92531 h 784576"/>
                <a:gd name="connsiteX262" fmla="*/ 411867 w 784964"/>
                <a:gd name="connsiteY262" fmla="*/ 92790 h 784576"/>
                <a:gd name="connsiteX263" fmla="*/ 409541 w 784964"/>
                <a:gd name="connsiteY263" fmla="*/ 92402 h 784576"/>
                <a:gd name="connsiteX264" fmla="*/ 398944 w 784964"/>
                <a:gd name="connsiteY264" fmla="*/ 87362 h 784576"/>
                <a:gd name="connsiteX265" fmla="*/ 393904 w 784964"/>
                <a:gd name="connsiteY265" fmla="*/ 85940 h 784576"/>
                <a:gd name="connsiteX266" fmla="*/ 381110 w 784964"/>
                <a:gd name="connsiteY266" fmla="*/ 84648 h 784576"/>
                <a:gd name="connsiteX267" fmla="*/ 356814 w 784964"/>
                <a:gd name="connsiteY267" fmla="*/ 73275 h 784576"/>
                <a:gd name="connsiteX268" fmla="*/ 350611 w 784964"/>
                <a:gd name="connsiteY268" fmla="*/ 68364 h 784576"/>
                <a:gd name="connsiteX269" fmla="*/ 349318 w 784964"/>
                <a:gd name="connsiteY269" fmla="*/ 67718 h 784576"/>
                <a:gd name="connsiteX270" fmla="*/ 348414 w 784964"/>
                <a:gd name="connsiteY270" fmla="*/ 67460 h 784576"/>
                <a:gd name="connsiteX271" fmla="*/ 347250 w 784964"/>
                <a:gd name="connsiteY271" fmla="*/ 67848 h 784576"/>
                <a:gd name="connsiteX272" fmla="*/ 341823 w 784964"/>
                <a:gd name="connsiteY272" fmla="*/ 67718 h 784576"/>
                <a:gd name="connsiteX273" fmla="*/ 321662 w 784964"/>
                <a:gd name="connsiteY273" fmla="*/ 58155 h 784576"/>
                <a:gd name="connsiteX274" fmla="*/ 319724 w 784964"/>
                <a:gd name="connsiteY274" fmla="*/ 56734 h 784576"/>
                <a:gd name="connsiteX275" fmla="*/ 318948 w 784964"/>
                <a:gd name="connsiteY275" fmla="*/ 55570 h 784576"/>
                <a:gd name="connsiteX276" fmla="*/ 318431 w 784964"/>
                <a:gd name="connsiteY276" fmla="*/ 53761 h 784576"/>
                <a:gd name="connsiteX277" fmla="*/ 317914 w 784964"/>
                <a:gd name="connsiteY277" fmla="*/ 42259 h 784576"/>
                <a:gd name="connsiteX278" fmla="*/ 318173 w 784964"/>
                <a:gd name="connsiteY278" fmla="*/ 40708 h 784576"/>
                <a:gd name="connsiteX279" fmla="*/ 318690 w 784964"/>
                <a:gd name="connsiteY279" fmla="*/ 39029 h 784576"/>
                <a:gd name="connsiteX280" fmla="*/ 319465 w 784964"/>
                <a:gd name="connsiteY280" fmla="*/ 37478 h 784576"/>
                <a:gd name="connsiteX281" fmla="*/ 325152 w 784964"/>
                <a:gd name="connsiteY281" fmla="*/ 29207 h 784576"/>
                <a:gd name="connsiteX282" fmla="*/ 325927 w 784964"/>
                <a:gd name="connsiteY282" fmla="*/ 27785 h 784576"/>
                <a:gd name="connsiteX283" fmla="*/ 326315 w 784964"/>
                <a:gd name="connsiteY283" fmla="*/ 25718 h 784576"/>
                <a:gd name="connsiteX284" fmla="*/ 326444 w 784964"/>
                <a:gd name="connsiteY284" fmla="*/ 23779 h 784576"/>
                <a:gd name="connsiteX285" fmla="*/ 325668 w 784964"/>
                <a:gd name="connsiteY285" fmla="*/ 18739 h 784576"/>
                <a:gd name="connsiteX286" fmla="*/ 325539 w 784964"/>
                <a:gd name="connsiteY286" fmla="*/ 17447 h 784576"/>
                <a:gd name="connsiteX287" fmla="*/ 325798 w 784964"/>
                <a:gd name="connsiteY287" fmla="*/ 16542 h 784576"/>
                <a:gd name="connsiteX288" fmla="*/ 326444 w 784964"/>
                <a:gd name="connsiteY288" fmla="*/ 15508 h 784576"/>
                <a:gd name="connsiteX289" fmla="*/ 327090 w 784964"/>
                <a:gd name="connsiteY289" fmla="*/ 14474 h 784576"/>
                <a:gd name="connsiteX290" fmla="*/ 332647 w 784964"/>
                <a:gd name="connsiteY290" fmla="*/ 8529 h 784576"/>
                <a:gd name="connsiteX291" fmla="*/ 333423 w 784964"/>
                <a:gd name="connsiteY291" fmla="*/ 7496 h 784576"/>
                <a:gd name="connsiteX292" fmla="*/ 333810 w 784964"/>
                <a:gd name="connsiteY292" fmla="*/ 6203 h 784576"/>
                <a:gd name="connsiteX293" fmla="*/ 334069 w 784964"/>
                <a:gd name="connsiteY293" fmla="*/ 4135 h 784576"/>
                <a:gd name="connsiteX294" fmla="*/ 333810 w 784964"/>
                <a:gd name="connsiteY294" fmla="*/ 2972 h 784576"/>
                <a:gd name="connsiteX295" fmla="*/ 333423 w 784964"/>
                <a:gd name="connsiteY295" fmla="*/ 2068 h 784576"/>
                <a:gd name="connsiteX296" fmla="*/ 332518 w 784964"/>
                <a:gd name="connsiteY296" fmla="*/ 1034 h 784576"/>
                <a:gd name="connsiteX297" fmla="*/ 331226 w 784964"/>
                <a:gd name="connsiteY297" fmla="*/ 0 h 784576"/>
                <a:gd name="connsiteX298" fmla="*/ 322050 w 784964"/>
                <a:gd name="connsiteY298" fmla="*/ 5557 h 784576"/>
                <a:gd name="connsiteX299" fmla="*/ 319982 w 784964"/>
                <a:gd name="connsiteY299" fmla="*/ 7366 h 784576"/>
                <a:gd name="connsiteX300" fmla="*/ 317398 w 784964"/>
                <a:gd name="connsiteY300" fmla="*/ 8917 h 784576"/>
                <a:gd name="connsiteX301" fmla="*/ 315717 w 784964"/>
                <a:gd name="connsiteY301" fmla="*/ 10339 h 784576"/>
                <a:gd name="connsiteX302" fmla="*/ 315459 w 784964"/>
                <a:gd name="connsiteY302" fmla="*/ 10726 h 784576"/>
                <a:gd name="connsiteX303" fmla="*/ 315201 w 784964"/>
                <a:gd name="connsiteY303" fmla="*/ 10985 h 784576"/>
                <a:gd name="connsiteX304" fmla="*/ 314554 w 784964"/>
                <a:gd name="connsiteY304" fmla="*/ 11889 h 784576"/>
                <a:gd name="connsiteX305" fmla="*/ 313779 w 784964"/>
                <a:gd name="connsiteY305" fmla="*/ 12019 h 784576"/>
                <a:gd name="connsiteX306" fmla="*/ 313133 w 784964"/>
                <a:gd name="connsiteY306" fmla="*/ 12277 h 784576"/>
                <a:gd name="connsiteX307" fmla="*/ 312745 w 784964"/>
                <a:gd name="connsiteY307" fmla="*/ 12923 h 784576"/>
                <a:gd name="connsiteX308" fmla="*/ 312616 w 784964"/>
                <a:gd name="connsiteY308" fmla="*/ 13699 h 784576"/>
                <a:gd name="connsiteX309" fmla="*/ 311841 w 784964"/>
                <a:gd name="connsiteY309" fmla="*/ 14345 h 784576"/>
                <a:gd name="connsiteX310" fmla="*/ 310936 w 784964"/>
                <a:gd name="connsiteY310" fmla="*/ 14733 h 784576"/>
                <a:gd name="connsiteX311" fmla="*/ 309773 w 784964"/>
                <a:gd name="connsiteY311" fmla="*/ 15508 h 784576"/>
                <a:gd name="connsiteX312" fmla="*/ 309385 w 784964"/>
                <a:gd name="connsiteY312" fmla="*/ 16671 h 784576"/>
                <a:gd name="connsiteX313" fmla="*/ 309127 w 784964"/>
                <a:gd name="connsiteY313" fmla="*/ 17705 h 784576"/>
                <a:gd name="connsiteX314" fmla="*/ 308868 w 784964"/>
                <a:gd name="connsiteY314" fmla="*/ 18610 h 784576"/>
                <a:gd name="connsiteX315" fmla="*/ 307834 w 784964"/>
                <a:gd name="connsiteY315" fmla="*/ 19644 h 784576"/>
                <a:gd name="connsiteX316" fmla="*/ 304603 w 784964"/>
                <a:gd name="connsiteY316" fmla="*/ 23262 h 784576"/>
                <a:gd name="connsiteX317" fmla="*/ 303828 w 784964"/>
                <a:gd name="connsiteY317" fmla="*/ 24942 h 784576"/>
                <a:gd name="connsiteX318" fmla="*/ 303311 w 784964"/>
                <a:gd name="connsiteY318" fmla="*/ 26364 h 784576"/>
                <a:gd name="connsiteX319" fmla="*/ 303311 w 784964"/>
                <a:gd name="connsiteY319" fmla="*/ 27527 h 784576"/>
                <a:gd name="connsiteX320" fmla="*/ 303053 w 784964"/>
                <a:gd name="connsiteY320" fmla="*/ 28819 h 784576"/>
                <a:gd name="connsiteX321" fmla="*/ 302536 w 784964"/>
                <a:gd name="connsiteY321" fmla="*/ 30241 h 784576"/>
                <a:gd name="connsiteX322" fmla="*/ 301502 w 784964"/>
                <a:gd name="connsiteY322" fmla="*/ 31145 h 784576"/>
                <a:gd name="connsiteX323" fmla="*/ 300339 w 784964"/>
                <a:gd name="connsiteY323" fmla="*/ 31921 h 784576"/>
                <a:gd name="connsiteX324" fmla="*/ 299563 w 784964"/>
                <a:gd name="connsiteY324" fmla="*/ 32696 h 784576"/>
                <a:gd name="connsiteX325" fmla="*/ 298917 w 784964"/>
                <a:gd name="connsiteY325" fmla="*/ 35152 h 784576"/>
                <a:gd name="connsiteX326" fmla="*/ 298917 w 784964"/>
                <a:gd name="connsiteY326" fmla="*/ 36185 h 784576"/>
                <a:gd name="connsiteX327" fmla="*/ 298917 w 784964"/>
                <a:gd name="connsiteY327" fmla="*/ 37348 h 784576"/>
                <a:gd name="connsiteX328" fmla="*/ 298271 w 784964"/>
                <a:gd name="connsiteY328" fmla="*/ 39287 h 784576"/>
                <a:gd name="connsiteX329" fmla="*/ 298142 w 784964"/>
                <a:gd name="connsiteY329" fmla="*/ 40450 h 784576"/>
                <a:gd name="connsiteX330" fmla="*/ 298142 w 784964"/>
                <a:gd name="connsiteY330" fmla="*/ 41613 h 784576"/>
                <a:gd name="connsiteX331" fmla="*/ 297496 w 784964"/>
                <a:gd name="connsiteY331" fmla="*/ 44327 h 784576"/>
                <a:gd name="connsiteX332" fmla="*/ 295557 w 784964"/>
                <a:gd name="connsiteY332" fmla="*/ 48463 h 784576"/>
                <a:gd name="connsiteX333" fmla="*/ 295945 w 784964"/>
                <a:gd name="connsiteY333" fmla="*/ 49496 h 784576"/>
                <a:gd name="connsiteX334" fmla="*/ 296203 w 784964"/>
                <a:gd name="connsiteY334" fmla="*/ 50660 h 784576"/>
                <a:gd name="connsiteX335" fmla="*/ 296203 w 784964"/>
                <a:gd name="connsiteY335" fmla="*/ 52210 h 784576"/>
                <a:gd name="connsiteX336" fmla="*/ 294265 w 784964"/>
                <a:gd name="connsiteY336" fmla="*/ 60094 h 784576"/>
                <a:gd name="connsiteX337" fmla="*/ 294006 w 784964"/>
                <a:gd name="connsiteY337" fmla="*/ 60869 h 784576"/>
                <a:gd name="connsiteX338" fmla="*/ 293360 w 784964"/>
                <a:gd name="connsiteY338" fmla="*/ 62032 h 784576"/>
                <a:gd name="connsiteX339" fmla="*/ 292456 w 784964"/>
                <a:gd name="connsiteY339" fmla="*/ 63195 h 784576"/>
                <a:gd name="connsiteX340" fmla="*/ 291939 w 784964"/>
                <a:gd name="connsiteY340" fmla="*/ 63583 h 784576"/>
                <a:gd name="connsiteX341" fmla="*/ 288320 w 784964"/>
                <a:gd name="connsiteY341" fmla="*/ 65909 h 784576"/>
                <a:gd name="connsiteX342" fmla="*/ 287545 w 784964"/>
                <a:gd name="connsiteY342" fmla="*/ 66555 h 784576"/>
                <a:gd name="connsiteX343" fmla="*/ 287157 w 784964"/>
                <a:gd name="connsiteY343" fmla="*/ 66943 h 784576"/>
                <a:gd name="connsiteX344" fmla="*/ 287028 w 784964"/>
                <a:gd name="connsiteY344" fmla="*/ 67460 h 784576"/>
                <a:gd name="connsiteX345" fmla="*/ 287286 w 784964"/>
                <a:gd name="connsiteY345" fmla="*/ 68106 h 784576"/>
                <a:gd name="connsiteX346" fmla="*/ 288061 w 784964"/>
                <a:gd name="connsiteY346" fmla="*/ 68881 h 784576"/>
                <a:gd name="connsiteX347" fmla="*/ 288449 w 784964"/>
                <a:gd name="connsiteY347" fmla="*/ 69269 h 784576"/>
                <a:gd name="connsiteX348" fmla="*/ 288579 w 784964"/>
                <a:gd name="connsiteY348" fmla="*/ 69786 h 784576"/>
                <a:gd name="connsiteX349" fmla="*/ 288579 w 784964"/>
                <a:gd name="connsiteY349" fmla="*/ 70303 h 784576"/>
                <a:gd name="connsiteX350" fmla="*/ 288449 w 784964"/>
                <a:gd name="connsiteY350" fmla="*/ 70949 h 784576"/>
                <a:gd name="connsiteX351" fmla="*/ 287932 w 784964"/>
                <a:gd name="connsiteY351" fmla="*/ 71337 h 784576"/>
                <a:gd name="connsiteX352" fmla="*/ 287415 w 784964"/>
                <a:gd name="connsiteY352" fmla="*/ 71725 h 784576"/>
                <a:gd name="connsiteX353" fmla="*/ 285735 w 784964"/>
                <a:gd name="connsiteY353" fmla="*/ 72371 h 784576"/>
                <a:gd name="connsiteX354" fmla="*/ 285218 w 784964"/>
                <a:gd name="connsiteY354" fmla="*/ 72629 h 784576"/>
                <a:gd name="connsiteX355" fmla="*/ 284831 w 784964"/>
                <a:gd name="connsiteY355" fmla="*/ 73017 h 784576"/>
                <a:gd name="connsiteX356" fmla="*/ 284572 w 784964"/>
                <a:gd name="connsiteY356" fmla="*/ 73405 h 784576"/>
                <a:gd name="connsiteX357" fmla="*/ 284443 w 784964"/>
                <a:gd name="connsiteY357" fmla="*/ 74051 h 784576"/>
                <a:gd name="connsiteX358" fmla="*/ 284572 w 784964"/>
                <a:gd name="connsiteY358" fmla="*/ 74826 h 784576"/>
                <a:gd name="connsiteX359" fmla="*/ 285477 w 784964"/>
                <a:gd name="connsiteY359" fmla="*/ 76248 h 784576"/>
                <a:gd name="connsiteX360" fmla="*/ 285865 w 784964"/>
                <a:gd name="connsiteY360" fmla="*/ 77411 h 784576"/>
                <a:gd name="connsiteX361" fmla="*/ 285865 w 784964"/>
                <a:gd name="connsiteY361" fmla="*/ 78833 h 784576"/>
                <a:gd name="connsiteX362" fmla="*/ 285348 w 784964"/>
                <a:gd name="connsiteY362" fmla="*/ 83226 h 784576"/>
                <a:gd name="connsiteX363" fmla="*/ 285348 w 784964"/>
                <a:gd name="connsiteY363" fmla="*/ 84648 h 784576"/>
                <a:gd name="connsiteX364" fmla="*/ 285218 w 784964"/>
                <a:gd name="connsiteY364" fmla="*/ 86586 h 784576"/>
                <a:gd name="connsiteX365" fmla="*/ 285348 w 784964"/>
                <a:gd name="connsiteY365" fmla="*/ 87233 h 784576"/>
                <a:gd name="connsiteX366" fmla="*/ 286252 w 784964"/>
                <a:gd name="connsiteY366" fmla="*/ 89171 h 784576"/>
                <a:gd name="connsiteX367" fmla="*/ 286382 w 784964"/>
                <a:gd name="connsiteY367" fmla="*/ 89688 h 784576"/>
                <a:gd name="connsiteX368" fmla="*/ 286511 w 784964"/>
                <a:gd name="connsiteY368" fmla="*/ 90334 h 784576"/>
                <a:gd name="connsiteX369" fmla="*/ 286382 w 784964"/>
                <a:gd name="connsiteY369" fmla="*/ 90980 h 784576"/>
                <a:gd name="connsiteX370" fmla="*/ 285865 w 784964"/>
                <a:gd name="connsiteY370" fmla="*/ 92402 h 784576"/>
                <a:gd name="connsiteX371" fmla="*/ 283151 w 784964"/>
                <a:gd name="connsiteY371" fmla="*/ 98476 h 784576"/>
                <a:gd name="connsiteX372" fmla="*/ 281600 w 784964"/>
                <a:gd name="connsiteY372" fmla="*/ 101448 h 784576"/>
                <a:gd name="connsiteX373" fmla="*/ 279920 w 784964"/>
                <a:gd name="connsiteY373" fmla="*/ 103645 h 784576"/>
                <a:gd name="connsiteX374" fmla="*/ 278498 w 784964"/>
                <a:gd name="connsiteY374" fmla="*/ 105196 h 784576"/>
                <a:gd name="connsiteX375" fmla="*/ 277206 w 784964"/>
                <a:gd name="connsiteY375" fmla="*/ 107005 h 784576"/>
                <a:gd name="connsiteX376" fmla="*/ 276947 w 784964"/>
                <a:gd name="connsiteY376" fmla="*/ 107652 h 784576"/>
                <a:gd name="connsiteX377" fmla="*/ 276689 w 784964"/>
                <a:gd name="connsiteY377" fmla="*/ 108427 h 784576"/>
                <a:gd name="connsiteX378" fmla="*/ 276431 w 784964"/>
                <a:gd name="connsiteY378" fmla="*/ 111658 h 784576"/>
                <a:gd name="connsiteX379" fmla="*/ 276172 w 784964"/>
                <a:gd name="connsiteY379" fmla="*/ 112433 h 784576"/>
                <a:gd name="connsiteX380" fmla="*/ 275784 w 784964"/>
                <a:gd name="connsiteY380" fmla="*/ 113208 h 784576"/>
                <a:gd name="connsiteX381" fmla="*/ 275009 w 784964"/>
                <a:gd name="connsiteY381" fmla="*/ 114242 h 784576"/>
                <a:gd name="connsiteX382" fmla="*/ 273458 w 784964"/>
                <a:gd name="connsiteY382" fmla="*/ 115664 h 784576"/>
                <a:gd name="connsiteX383" fmla="*/ 272683 w 784964"/>
                <a:gd name="connsiteY383" fmla="*/ 117086 h 784576"/>
                <a:gd name="connsiteX384" fmla="*/ 272424 w 784964"/>
                <a:gd name="connsiteY384" fmla="*/ 117603 h 784576"/>
                <a:gd name="connsiteX385" fmla="*/ 272037 w 784964"/>
                <a:gd name="connsiteY385" fmla="*/ 117990 h 784576"/>
                <a:gd name="connsiteX386" fmla="*/ 270744 w 784964"/>
                <a:gd name="connsiteY386" fmla="*/ 119670 h 784576"/>
                <a:gd name="connsiteX387" fmla="*/ 270486 w 784964"/>
                <a:gd name="connsiteY387" fmla="*/ 120058 h 784576"/>
                <a:gd name="connsiteX388" fmla="*/ 270357 w 784964"/>
                <a:gd name="connsiteY388" fmla="*/ 120058 h 784576"/>
                <a:gd name="connsiteX389" fmla="*/ 268935 w 784964"/>
                <a:gd name="connsiteY389" fmla="*/ 120833 h 784576"/>
                <a:gd name="connsiteX390" fmla="*/ 268547 w 784964"/>
                <a:gd name="connsiteY390" fmla="*/ 121221 h 784576"/>
                <a:gd name="connsiteX391" fmla="*/ 268160 w 784964"/>
                <a:gd name="connsiteY391" fmla="*/ 121479 h 784576"/>
                <a:gd name="connsiteX392" fmla="*/ 266479 w 784964"/>
                <a:gd name="connsiteY392" fmla="*/ 123806 h 784576"/>
                <a:gd name="connsiteX393" fmla="*/ 266221 w 784964"/>
                <a:gd name="connsiteY393" fmla="*/ 124581 h 784576"/>
                <a:gd name="connsiteX394" fmla="*/ 265058 w 784964"/>
                <a:gd name="connsiteY394" fmla="*/ 131301 h 784576"/>
                <a:gd name="connsiteX395" fmla="*/ 262861 w 784964"/>
                <a:gd name="connsiteY395" fmla="*/ 137892 h 784576"/>
                <a:gd name="connsiteX396" fmla="*/ 262473 w 784964"/>
                <a:gd name="connsiteY396" fmla="*/ 138668 h 784576"/>
                <a:gd name="connsiteX397" fmla="*/ 262215 w 784964"/>
                <a:gd name="connsiteY397" fmla="*/ 139314 h 784576"/>
                <a:gd name="connsiteX398" fmla="*/ 261827 w 784964"/>
                <a:gd name="connsiteY398" fmla="*/ 139701 h 784576"/>
                <a:gd name="connsiteX399" fmla="*/ 261052 w 784964"/>
                <a:gd name="connsiteY399" fmla="*/ 140477 h 784576"/>
                <a:gd name="connsiteX400" fmla="*/ 259372 w 784964"/>
                <a:gd name="connsiteY400" fmla="*/ 141769 h 784576"/>
                <a:gd name="connsiteX401" fmla="*/ 258984 w 784964"/>
                <a:gd name="connsiteY401" fmla="*/ 142028 h 784576"/>
                <a:gd name="connsiteX402" fmla="*/ 258338 w 784964"/>
                <a:gd name="connsiteY402" fmla="*/ 142157 h 784576"/>
                <a:gd name="connsiteX403" fmla="*/ 257045 w 784964"/>
                <a:gd name="connsiteY403" fmla="*/ 142415 h 784576"/>
                <a:gd name="connsiteX404" fmla="*/ 255495 w 784964"/>
                <a:gd name="connsiteY404" fmla="*/ 143061 h 784576"/>
                <a:gd name="connsiteX405" fmla="*/ 254978 w 784964"/>
                <a:gd name="connsiteY405" fmla="*/ 143191 h 784576"/>
                <a:gd name="connsiteX406" fmla="*/ 254590 w 784964"/>
                <a:gd name="connsiteY406" fmla="*/ 143708 h 784576"/>
                <a:gd name="connsiteX407" fmla="*/ 254461 w 784964"/>
                <a:gd name="connsiteY407" fmla="*/ 144354 h 784576"/>
                <a:gd name="connsiteX408" fmla="*/ 254719 w 784964"/>
                <a:gd name="connsiteY408" fmla="*/ 145388 h 784576"/>
                <a:gd name="connsiteX409" fmla="*/ 255365 w 784964"/>
                <a:gd name="connsiteY409" fmla="*/ 147197 h 784576"/>
                <a:gd name="connsiteX410" fmla="*/ 255495 w 784964"/>
                <a:gd name="connsiteY410" fmla="*/ 147843 h 784576"/>
                <a:gd name="connsiteX411" fmla="*/ 255624 w 784964"/>
                <a:gd name="connsiteY411" fmla="*/ 148489 h 784576"/>
                <a:gd name="connsiteX412" fmla="*/ 255495 w 784964"/>
                <a:gd name="connsiteY412" fmla="*/ 154563 h 784576"/>
                <a:gd name="connsiteX413" fmla="*/ 255624 w 784964"/>
                <a:gd name="connsiteY413" fmla="*/ 155468 h 784576"/>
                <a:gd name="connsiteX414" fmla="*/ 256012 w 784964"/>
                <a:gd name="connsiteY414" fmla="*/ 157277 h 784576"/>
                <a:gd name="connsiteX415" fmla="*/ 256787 w 784964"/>
                <a:gd name="connsiteY415" fmla="*/ 159474 h 784576"/>
                <a:gd name="connsiteX416" fmla="*/ 256916 w 784964"/>
                <a:gd name="connsiteY416" fmla="*/ 160379 h 784576"/>
                <a:gd name="connsiteX417" fmla="*/ 256916 w 784964"/>
                <a:gd name="connsiteY417" fmla="*/ 161671 h 784576"/>
                <a:gd name="connsiteX418" fmla="*/ 256270 w 784964"/>
                <a:gd name="connsiteY418" fmla="*/ 166065 h 784576"/>
                <a:gd name="connsiteX419" fmla="*/ 254978 w 784964"/>
                <a:gd name="connsiteY419" fmla="*/ 169942 h 784576"/>
                <a:gd name="connsiteX420" fmla="*/ 254849 w 784964"/>
                <a:gd name="connsiteY420" fmla="*/ 170718 h 784576"/>
                <a:gd name="connsiteX421" fmla="*/ 254849 w 784964"/>
                <a:gd name="connsiteY421" fmla="*/ 172268 h 784576"/>
                <a:gd name="connsiteX422" fmla="*/ 254978 w 784964"/>
                <a:gd name="connsiteY422" fmla="*/ 173173 h 784576"/>
                <a:gd name="connsiteX423" fmla="*/ 255365 w 784964"/>
                <a:gd name="connsiteY423" fmla="*/ 174853 h 784576"/>
                <a:gd name="connsiteX424" fmla="*/ 255495 w 784964"/>
                <a:gd name="connsiteY424" fmla="*/ 175241 h 784576"/>
                <a:gd name="connsiteX425" fmla="*/ 255365 w 784964"/>
                <a:gd name="connsiteY425" fmla="*/ 177955 h 784576"/>
                <a:gd name="connsiteX426" fmla="*/ 255365 w 784964"/>
                <a:gd name="connsiteY426" fmla="*/ 179247 h 784576"/>
                <a:gd name="connsiteX427" fmla="*/ 255624 w 784964"/>
                <a:gd name="connsiteY427" fmla="*/ 179893 h 784576"/>
                <a:gd name="connsiteX428" fmla="*/ 255753 w 784964"/>
                <a:gd name="connsiteY428" fmla="*/ 180281 h 784576"/>
                <a:gd name="connsiteX429" fmla="*/ 256787 w 784964"/>
                <a:gd name="connsiteY429" fmla="*/ 181573 h 784576"/>
                <a:gd name="connsiteX430" fmla="*/ 256916 w 784964"/>
                <a:gd name="connsiteY430" fmla="*/ 182219 h 784576"/>
                <a:gd name="connsiteX431" fmla="*/ 256916 w 784964"/>
                <a:gd name="connsiteY431" fmla="*/ 182995 h 784576"/>
                <a:gd name="connsiteX432" fmla="*/ 256787 w 784964"/>
                <a:gd name="connsiteY432" fmla="*/ 184029 h 784576"/>
                <a:gd name="connsiteX433" fmla="*/ 256658 w 784964"/>
                <a:gd name="connsiteY433" fmla="*/ 184804 h 784576"/>
                <a:gd name="connsiteX434" fmla="*/ 256399 w 784964"/>
                <a:gd name="connsiteY434" fmla="*/ 185321 h 784576"/>
                <a:gd name="connsiteX435" fmla="*/ 256141 w 784964"/>
                <a:gd name="connsiteY435" fmla="*/ 185708 h 784576"/>
                <a:gd name="connsiteX436" fmla="*/ 255753 w 784964"/>
                <a:gd name="connsiteY436" fmla="*/ 186226 h 784576"/>
                <a:gd name="connsiteX437" fmla="*/ 254461 w 784964"/>
                <a:gd name="connsiteY437" fmla="*/ 186872 h 784576"/>
                <a:gd name="connsiteX438" fmla="*/ 251101 w 784964"/>
                <a:gd name="connsiteY438" fmla="*/ 187905 h 784576"/>
                <a:gd name="connsiteX439" fmla="*/ 249679 w 784964"/>
                <a:gd name="connsiteY439" fmla="*/ 187518 h 784576"/>
                <a:gd name="connsiteX440" fmla="*/ 249033 w 784964"/>
                <a:gd name="connsiteY440" fmla="*/ 187518 h 784576"/>
                <a:gd name="connsiteX441" fmla="*/ 248645 w 784964"/>
                <a:gd name="connsiteY441" fmla="*/ 187647 h 784576"/>
                <a:gd name="connsiteX442" fmla="*/ 248387 w 784964"/>
                <a:gd name="connsiteY442" fmla="*/ 188164 h 784576"/>
                <a:gd name="connsiteX443" fmla="*/ 248387 w 784964"/>
                <a:gd name="connsiteY443" fmla="*/ 188939 h 784576"/>
                <a:gd name="connsiteX444" fmla="*/ 248516 w 784964"/>
                <a:gd name="connsiteY444" fmla="*/ 189456 h 784576"/>
                <a:gd name="connsiteX445" fmla="*/ 249033 w 784964"/>
                <a:gd name="connsiteY445" fmla="*/ 190361 h 784576"/>
                <a:gd name="connsiteX446" fmla="*/ 249162 w 784964"/>
                <a:gd name="connsiteY446" fmla="*/ 191007 h 784576"/>
                <a:gd name="connsiteX447" fmla="*/ 248904 w 784964"/>
                <a:gd name="connsiteY447" fmla="*/ 191912 h 784576"/>
                <a:gd name="connsiteX448" fmla="*/ 248387 w 784964"/>
                <a:gd name="connsiteY448" fmla="*/ 193075 h 784576"/>
                <a:gd name="connsiteX449" fmla="*/ 244639 w 784964"/>
                <a:gd name="connsiteY449" fmla="*/ 200700 h 784576"/>
                <a:gd name="connsiteX450" fmla="*/ 243217 w 784964"/>
                <a:gd name="connsiteY450" fmla="*/ 206257 h 784576"/>
                <a:gd name="connsiteX451" fmla="*/ 243088 w 784964"/>
                <a:gd name="connsiteY451" fmla="*/ 206903 h 784576"/>
                <a:gd name="connsiteX452" fmla="*/ 243088 w 784964"/>
                <a:gd name="connsiteY452" fmla="*/ 207678 h 784576"/>
                <a:gd name="connsiteX453" fmla="*/ 243347 w 784964"/>
                <a:gd name="connsiteY453" fmla="*/ 209229 h 784576"/>
                <a:gd name="connsiteX454" fmla="*/ 243217 w 784964"/>
                <a:gd name="connsiteY454" fmla="*/ 210392 h 784576"/>
                <a:gd name="connsiteX455" fmla="*/ 242830 w 784964"/>
                <a:gd name="connsiteY455" fmla="*/ 211685 h 784576"/>
                <a:gd name="connsiteX456" fmla="*/ 241796 w 784964"/>
                <a:gd name="connsiteY456" fmla="*/ 213882 h 784576"/>
                <a:gd name="connsiteX457" fmla="*/ 241150 w 784964"/>
                <a:gd name="connsiteY457" fmla="*/ 216208 h 784576"/>
                <a:gd name="connsiteX458" fmla="*/ 241020 w 784964"/>
                <a:gd name="connsiteY458" fmla="*/ 216854 h 784576"/>
                <a:gd name="connsiteX459" fmla="*/ 240504 w 784964"/>
                <a:gd name="connsiteY459" fmla="*/ 218663 h 784576"/>
                <a:gd name="connsiteX460" fmla="*/ 240504 w 784964"/>
                <a:gd name="connsiteY460" fmla="*/ 219309 h 784576"/>
                <a:gd name="connsiteX461" fmla="*/ 240633 w 784964"/>
                <a:gd name="connsiteY461" fmla="*/ 219826 h 784576"/>
                <a:gd name="connsiteX462" fmla="*/ 241150 w 784964"/>
                <a:gd name="connsiteY462" fmla="*/ 220860 h 784576"/>
                <a:gd name="connsiteX463" fmla="*/ 241667 w 784964"/>
                <a:gd name="connsiteY463" fmla="*/ 222411 h 784576"/>
                <a:gd name="connsiteX464" fmla="*/ 241925 w 784964"/>
                <a:gd name="connsiteY464" fmla="*/ 223703 h 784576"/>
                <a:gd name="connsiteX465" fmla="*/ 242054 w 784964"/>
                <a:gd name="connsiteY465" fmla="*/ 224220 h 784576"/>
                <a:gd name="connsiteX466" fmla="*/ 243476 w 784964"/>
                <a:gd name="connsiteY466" fmla="*/ 228226 h 784576"/>
                <a:gd name="connsiteX467" fmla="*/ 243605 w 784964"/>
                <a:gd name="connsiteY467" fmla="*/ 229906 h 784576"/>
                <a:gd name="connsiteX468" fmla="*/ 243605 w 784964"/>
                <a:gd name="connsiteY468" fmla="*/ 231716 h 784576"/>
                <a:gd name="connsiteX469" fmla="*/ 242959 w 784964"/>
                <a:gd name="connsiteY469" fmla="*/ 233267 h 784576"/>
                <a:gd name="connsiteX470" fmla="*/ 242184 w 784964"/>
                <a:gd name="connsiteY470" fmla="*/ 234559 h 784576"/>
                <a:gd name="connsiteX471" fmla="*/ 241667 w 784964"/>
                <a:gd name="connsiteY471" fmla="*/ 235722 h 784576"/>
                <a:gd name="connsiteX472" fmla="*/ 242054 w 784964"/>
                <a:gd name="connsiteY472" fmla="*/ 237014 h 784576"/>
                <a:gd name="connsiteX473" fmla="*/ 241667 w 784964"/>
                <a:gd name="connsiteY473" fmla="*/ 237531 h 784576"/>
                <a:gd name="connsiteX474" fmla="*/ 241408 w 784964"/>
                <a:gd name="connsiteY474" fmla="*/ 237790 h 784576"/>
                <a:gd name="connsiteX475" fmla="*/ 240891 w 784964"/>
                <a:gd name="connsiteY475" fmla="*/ 239470 h 784576"/>
                <a:gd name="connsiteX476" fmla="*/ 239987 w 784964"/>
                <a:gd name="connsiteY476" fmla="*/ 241537 h 784576"/>
                <a:gd name="connsiteX477" fmla="*/ 239857 w 784964"/>
                <a:gd name="connsiteY477" fmla="*/ 242571 h 784576"/>
                <a:gd name="connsiteX478" fmla="*/ 239211 w 784964"/>
                <a:gd name="connsiteY478" fmla="*/ 243734 h 784576"/>
                <a:gd name="connsiteX479" fmla="*/ 236756 w 784964"/>
                <a:gd name="connsiteY479" fmla="*/ 245802 h 784576"/>
                <a:gd name="connsiteX480" fmla="*/ 236110 w 784964"/>
                <a:gd name="connsiteY480" fmla="*/ 247094 h 784576"/>
                <a:gd name="connsiteX481" fmla="*/ 235851 w 784964"/>
                <a:gd name="connsiteY481" fmla="*/ 249808 h 784576"/>
                <a:gd name="connsiteX482" fmla="*/ 233913 w 784964"/>
                <a:gd name="connsiteY482" fmla="*/ 254073 h 784576"/>
                <a:gd name="connsiteX483" fmla="*/ 233267 w 784964"/>
                <a:gd name="connsiteY483" fmla="*/ 256529 h 784576"/>
                <a:gd name="connsiteX484" fmla="*/ 233396 w 784964"/>
                <a:gd name="connsiteY484" fmla="*/ 261181 h 784576"/>
                <a:gd name="connsiteX485" fmla="*/ 233008 w 784964"/>
                <a:gd name="connsiteY485" fmla="*/ 263119 h 784576"/>
                <a:gd name="connsiteX486" fmla="*/ 231328 w 784964"/>
                <a:gd name="connsiteY486" fmla="*/ 264024 h 784576"/>
                <a:gd name="connsiteX487" fmla="*/ 230423 w 784964"/>
                <a:gd name="connsiteY487" fmla="*/ 265187 h 784576"/>
                <a:gd name="connsiteX488" fmla="*/ 229648 w 784964"/>
                <a:gd name="connsiteY488" fmla="*/ 272295 h 784576"/>
                <a:gd name="connsiteX489" fmla="*/ 228872 w 784964"/>
                <a:gd name="connsiteY489" fmla="*/ 273070 h 784576"/>
                <a:gd name="connsiteX490" fmla="*/ 226546 w 784964"/>
                <a:gd name="connsiteY490" fmla="*/ 274234 h 784576"/>
                <a:gd name="connsiteX491" fmla="*/ 225512 w 784964"/>
                <a:gd name="connsiteY491" fmla="*/ 275009 h 784576"/>
                <a:gd name="connsiteX492" fmla="*/ 225125 w 784964"/>
                <a:gd name="connsiteY492" fmla="*/ 275914 h 784576"/>
                <a:gd name="connsiteX493" fmla="*/ 224479 w 784964"/>
                <a:gd name="connsiteY493" fmla="*/ 278627 h 784576"/>
                <a:gd name="connsiteX494" fmla="*/ 224091 w 784964"/>
                <a:gd name="connsiteY494" fmla="*/ 279144 h 784576"/>
                <a:gd name="connsiteX495" fmla="*/ 224091 w 784964"/>
                <a:gd name="connsiteY495" fmla="*/ 279661 h 784576"/>
                <a:gd name="connsiteX496" fmla="*/ 223186 w 784964"/>
                <a:gd name="connsiteY496" fmla="*/ 280566 h 784576"/>
                <a:gd name="connsiteX497" fmla="*/ 221506 w 784964"/>
                <a:gd name="connsiteY497" fmla="*/ 282117 h 784576"/>
                <a:gd name="connsiteX498" fmla="*/ 217888 w 784964"/>
                <a:gd name="connsiteY498" fmla="*/ 283668 h 784576"/>
                <a:gd name="connsiteX499" fmla="*/ 214657 w 784964"/>
                <a:gd name="connsiteY499" fmla="*/ 285606 h 784576"/>
                <a:gd name="connsiteX500" fmla="*/ 212977 w 784964"/>
                <a:gd name="connsiteY500" fmla="*/ 286382 h 784576"/>
                <a:gd name="connsiteX501" fmla="*/ 210909 w 784964"/>
                <a:gd name="connsiteY501" fmla="*/ 286640 h 784576"/>
                <a:gd name="connsiteX502" fmla="*/ 208454 w 784964"/>
                <a:gd name="connsiteY502" fmla="*/ 285864 h 784576"/>
                <a:gd name="connsiteX503" fmla="*/ 207808 w 784964"/>
                <a:gd name="connsiteY503" fmla="*/ 283797 h 784576"/>
                <a:gd name="connsiteX504" fmla="*/ 207420 w 784964"/>
                <a:gd name="connsiteY504" fmla="*/ 281471 h 784576"/>
                <a:gd name="connsiteX505" fmla="*/ 206127 w 784964"/>
                <a:gd name="connsiteY505" fmla="*/ 279920 h 784576"/>
                <a:gd name="connsiteX506" fmla="*/ 202767 w 784964"/>
                <a:gd name="connsiteY506" fmla="*/ 282634 h 784576"/>
                <a:gd name="connsiteX507" fmla="*/ 200958 w 784964"/>
                <a:gd name="connsiteY507" fmla="*/ 283409 h 784576"/>
                <a:gd name="connsiteX508" fmla="*/ 198373 w 784964"/>
                <a:gd name="connsiteY508" fmla="*/ 283668 h 784576"/>
                <a:gd name="connsiteX509" fmla="*/ 196176 w 784964"/>
                <a:gd name="connsiteY509" fmla="*/ 284185 h 784576"/>
                <a:gd name="connsiteX510" fmla="*/ 194626 w 784964"/>
                <a:gd name="connsiteY510" fmla="*/ 285477 h 784576"/>
                <a:gd name="connsiteX511" fmla="*/ 191783 w 784964"/>
                <a:gd name="connsiteY511" fmla="*/ 288578 h 784576"/>
                <a:gd name="connsiteX512" fmla="*/ 189586 w 784964"/>
                <a:gd name="connsiteY512" fmla="*/ 290000 h 784576"/>
                <a:gd name="connsiteX513" fmla="*/ 185321 w 784964"/>
                <a:gd name="connsiteY513" fmla="*/ 291551 h 784576"/>
                <a:gd name="connsiteX514" fmla="*/ 183382 w 784964"/>
                <a:gd name="connsiteY514" fmla="*/ 293489 h 784576"/>
                <a:gd name="connsiteX515" fmla="*/ 178730 w 784964"/>
                <a:gd name="connsiteY515" fmla="*/ 300080 h 784576"/>
                <a:gd name="connsiteX516" fmla="*/ 177050 w 784964"/>
                <a:gd name="connsiteY516" fmla="*/ 301114 h 784576"/>
                <a:gd name="connsiteX517" fmla="*/ 175241 w 784964"/>
                <a:gd name="connsiteY517" fmla="*/ 301631 h 784576"/>
                <a:gd name="connsiteX518" fmla="*/ 173431 w 784964"/>
                <a:gd name="connsiteY518" fmla="*/ 302923 h 784576"/>
                <a:gd name="connsiteX519" fmla="*/ 171881 w 784964"/>
                <a:gd name="connsiteY519" fmla="*/ 304474 h 784576"/>
                <a:gd name="connsiteX520" fmla="*/ 170847 w 784964"/>
                <a:gd name="connsiteY520" fmla="*/ 305637 h 784576"/>
                <a:gd name="connsiteX521" fmla="*/ 169942 w 784964"/>
                <a:gd name="connsiteY521" fmla="*/ 307834 h 784576"/>
                <a:gd name="connsiteX522" fmla="*/ 170201 w 784964"/>
                <a:gd name="connsiteY522" fmla="*/ 309514 h 784576"/>
                <a:gd name="connsiteX523" fmla="*/ 170847 w 784964"/>
                <a:gd name="connsiteY523" fmla="*/ 311453 h 784576"/>
                <a:gd name="connsiteX524" fmla="*/ 170847 w 784964"/>
                <a:gd name="connsiteY524" fmla="*/ 313908 h 784576"/>
                <a:gd name="connsiteX525" fmla="*/ 170330 w 784964"/>
                <a:gd name="connsiteY525" fmla="*/ 314684 h 784576"/>
                <a:gd name="connsiteX526" fmla="*/ 168391 w 784964"/>
                <a:gd name="connsiteY526" fmla="*/ 315717 h 784576"/>
                <a:gd name="connsiteX527" fmla="*/ 168004 w 784964"/>
                <a:gd name="connsiteY527" fmla="*/ 316493 h 784576"/>
                <a:gd name="connsiteX528" fmla="*/ 167874 w 784964"/>
                <a:gd name="connsiteY528" fmla="*/ 317397 h 784576"/>
                <a:gd name="connsiteX529" fmla="*/ 167357 w 784964"/>
                <a:gd name="connsiteY529" fmla="*/ 318948 h 784576"/>
                <a:gd name="connsiteX530" fmla="*/ 167228 w 784964"/>
                <a:gd name="connsiteY530" fmla="*/ 320241 h 784576"/>
                <a:gd name="connsiteX531" fmla="*/ 167357 w 784964"/>
                <a:gd name="connsiteY531" fmla="*/ 321404 h 784576"/>
                <a:gd name="connsiteX532" fmla="*/ 168004 w 784964"/>
                <a:gd name="connsiteY532" fmla="*/ 323859 h 784576"/>
                <a:gd name="connsiteX533" fmla="*/ 168004 w 784964"/>
                <a:gd name="connsiteY533" fmla="*/ 325152 h 784576"/>
                <a:gd name="connsiteX534" fmla="*/ 167616 w 784964"/>
                <a:gd name="connsiteY534" fmla="*/ 326444 h 784576"/>
                <a:gd name="connsiteX535" fmla="*/ 166194 w 784964"/>
                <a:gd name="connsiteY535" fmla="*/ 328641 h 784576"/>
                <a:gd name="connsiteX536" fmla="*/ 165677 w 784964"/>
                <a:gd name="connsiteY536" fmla="*/ 329675 h 784576"/>
                <a:gd name="connsiteX537" fmla="*/ 164902 w 784964"/>
                <a:gd name="connsiteY537" fmla="*/ 334973 h 784576"/>
                <a:gd name="connsiteX538" fmla="*/ 164127 w 784964"/>
                <a:gd name="connsiteY538" fmla="*/ 336912 h 784576"/>
                <a:gd name="connsiteX539" fmla="*/ 162446 w 784964"/>
                <a:gd name="connsiteY539" fmla="*/ 339238 h 784576"/>
                <a:gd name="connsiteX540" fmla="*/ 160250 w 784964"/>
                <a:gd name="connsiteY540" fmla="*/ 343115 h 784576"/>
                <a:gd name="connsiteX541" fmla="*/ 158699 w 784964"/>
                <a:gd name="connsiteY541" fmla="*/ 344020 h 784576"/>
                <a:gd name="connsiteX542" fmla="*/ 156243 w 784964"/>
                <a:gd name="connsiteY542" fmla="*/ 342598 h 784576"/>
                <a:gd name="connsiteX543" fmla="*/ 155468 w 784964"/>
                <a:gd name="connsiteY543" fmla="*/ 344149 h 784576"/>
                <a:gd name="connsiteX544" fmla="*/ 156631 w 784964"/>
                <a:gd name="connsiteY544" fmla="*/ 346346 h 784576"/>
                <a:gd name="connsiteX545" fmla="*/ 157406 w 784964"/>
                <a:gd name="connsiteY545" fmla="*/ 349189 h 784576"/>
                <a:gd name="connsiteX546" fmla="*/ 157536 w 784964"/>
                <a:gd name="connsiteY546" fmla="*/ 352032 h 784576"/>
                <a:gd name="connsiteX547" fmla="*/ 156631 w 784964"/>
                <a:gd name="connsiteY547" fmla="*/ 354358 h 784576"/>
                <a:gd name="connsiteX548" fmla="*/ 155080 w 784964"/>
                <a:gd name="connsiteY548" fmla="*/ 356555 h 784576"/>
                <a:gd name="connsiteX549" fmla="*/ 151849 w 784964"/>
                <a:gd name="connsiteY549" fmla="*/ 363792 h 784576"/>
                <a:gd name="connsiteX550" fmla="*/ 147972 w 784964"/>
                <a:gd name="connsiteY550" fmla="*/ 368574 h 784576"/>
                <a:gd name="connsiteX551" fmla="*/ 147068 w 784964"/>
                <a:gd name="connsiteY551" fmla="*/ 372193 h 784576"/>
                <a:gd name="connsiteX552" fmla="*/ 145775 w 784964"/>
                <a:gd name="connsiteY552" fmla="*/ 373485 h 784576"/>
                <a:gd name="connsiteX553" fmla="*/ 144225 w 784964"/>
                <a:gd name="connsiteY553" fmla="*/ 374260 h 784576"/>
                <a:gd name="connsiteX554" fmla="*/ 142286 w 784964"/>
                <a:gd name="connsiteY554" fmla="*/ 374390 h 784576"/>
                <a:gd name="connsiteX555" fmla="*/ 141252 w 784964"/>
                <a:gd name="connsiteY555" fmla="*/ 374002 h 784576"/>
                <a:gd name="connsiteX556" fmla="*/ 139572 w 784964"/>
                <a:gd name="connsiteY556" fmla="*/ 373097 h 784576"/>
                <a:gd name="connsiteX557" fmla="*/ 138280 w 784964"/>
                <a:gd name="connsiteY557" fmla="*/ 372839 h 784576"/>
                <a:gd name="connsiteX558" fmla="*/ 136858 w 784964"/>
                <a:gd name="connsiteY558" fmla="*/ 373097 h 784576"/>
                <a:gd name="connsiteX559" fmla="*/ 136600 w 784964"/>
                <a:gd name="connsiteY559" fmla="*/ 373614 h 784576"/>
                <a:gd name="connsiteX560" fmla="*/ 136600 w 784964"/>
                <a:gd name="connsiteY560" fmla="*/ 374390 h 784576"/>
                <a:gd name="connsiteX561" fmla="*/ 136083 w 784964"/>
                <a:gd name="connsiteY561" fmla="*/ 375553 h 784576"/>
                <a:gd name="connsiteX562" fmla="*/ 132335 w 784964"/>
                <a:gd name="connsiteY562" fmla="*/ 379171 h 784576"/>
                <a:gd name="connsiteX563" fmla="*/ 130138 w 784964"/>
                <a:gd name="connsiteY563" fmla="*/ 380464 h 784576"/>
                <a:gd name="connsiteX564" fmla="*/ 127553 w 784964"/>
                <a:gd name="connsiteY564" fmla="*/ 381239 h 784576"/>
                <a:gd name="connsiteX565" fmla="*/ 116310 w 784964"/>
                <a:gd name="connsiteY565" fmla="*/ 381885 h 784576"/>
                <a:gd name="connsiteX566" fmla="*/ 111141 w 784964"/>
                <a:gd name="connsiteY566" fmla="*/ 382919 h 784576"/>
                <a:gd name="connsiteX567" fmla="*/ 108556 w 784964"/>
                <a:gd name="connsiteY567" fmla="*/ 383824 h 784576"/>
                <a:gd name="connsiteX568" fmla="*/ 107522 w 784964"/>
                <a:gd name="connsiteY568" fmla="*/ 384599 h 784576"/>
                <a:gd name="connsiteX569" fmla="*/ 106488 w 784964"/>
                <a:gd name="connsiteY569" fmla="*/ 385504 h 784576"/>
                <a:gd name="connsiteX570" fmla="*/ 106101 w 784964"/>
                <a:gd name="connsiteY570" fmla="*/ 386279 h 784576"/>
                <a:gd name="connsiteX571" fmla="*/ 105325 w 784964"/>
                <a:gd name="connsiteY571" fmla="*/ 388217 h 784576"/>
                <a:gd name="connsiteX572" fmla="*/ 100415 w 784964"/>
                <a:gd name="connsiteY572" fmla="*/ 393516 h 784576"/>
                <a:gd name="connsiteX573" fmla="*/ 98088 w 784964"/>
                <a:gd name="connsiteY573" fmla="*/ 399331 h 784576"/>
                <a:gd name="connsiteX574" fmla="*/ 97442 w 784964"/>
                <a:gd name="connsiteY574" fmla="*/ 400236 h 784576"/>
                <a:gd name="connsiteX575" fmla="*/ 96667 w 784964"/>
                <a:gd name="connsiteY575" fmla="*/ 400495 h 784576"/>
                <a:gd name="connsiteX576" fmla="*/ 95633 w 784964"/>
                <a:gd name="connsiteY576" fmla="*/ 400495 h 784576"/>
                <a:gd name="connsiteX577" fmla="*/ 94599 w 784964"/>
                <a:gd name="connsiteY577" fmla="*/ 400624 h 784576"/>
                <a:gd name="connsiteX578" fmla="*/ 91627 w 784964"/>
                <a:gd name="connsiteY578" fmla="*/ 402562 h 784576"/>
                <a:gd name="connsiteX579" fmla="*/ 87233 w 784964"/>
                <a:gd name="connsiteY579" fmla="*/ 404242 h 784576"/>
                <a:gd name="connsiteX580" fmla="*/ 85682 w 784964"/>
                <a:gd name="connsiteY580" fmla="*/ 405535 h 784576"/>
                <a:gd name="connsiteX581" fmla="*/ 85294 w 784964"/>
                <a:gd name="connsiteY581" fmla="*/ 407344 h 784576"/>
                <a:gd name="connsiteX582" fmla="*/ 83743 w 784964"/>
                <a:gd name="connsiteY582" fmla="*/ 408249 h 784576"/>
                <a:gd name="connsiteX583" fmla="*/ 78186 w 784964"/>
                <a:gd name="connsiteY583" fmla="*/ 410575 h 784576"/>
                <a:gd name="connsiteX584" fmla="*/ 77023 w 784964"/>
                <a:gd name="connsiteY584" fmla="*/ 411221 h 784576"/>
                <a:gd name="connsiteX585" fmla="*/ 76248 w 784964"/>
                <a:gd name="connsiteY585" fmla="*/ 411867 h 784576"/>
                <a:gd name="connsiteX586" fmla="*/ 75731 w 784964"/>
                <a:gd name="connsiteY586" fmla="*/ 412772 h 784576"/>
                <a:gd name="connsiteX587" fmla="*/ 75602 w 784964"/>
                <a:gd name="connsiteY587" fmla="*/ 413806 h 784576"/>
                <a:gd name="connsiteX588" fmla="*/ 76119 w 784964"/>
                <a:gd name="connsiteY588" fmla="*/ 418717 h 784576"/>
                <a:gd name="connsiteX589" fmla="*/ 76119 w 784964"/>
                <a:gd name="connsiteY589" fmla="*/ 419492 h 784576"/>
                <a:gd name="connsiteX590" fmla="*/ 75860 w 784964"/>
                <a:gd name="connsiteY590" fmla="*/ 420138 h 784576"/>
                <a:gd name="connsiteX591" fmla="*/ 75602 w 784964"/>
                <a:gd name="connsiteY591" fmla="*/ 420913 h 784576"/>
                <a:gd name="connsiteX592" fmla="*/ 74697 w 784964"/>
                <a:gd name="connsiteY592" fmla="*/ 421818 h 784576"/>
                <a:gd name="connsiteX593" fmla="*/ 73663 w 784964"/>
                <a:gd name="connsiteY593" fmla="*/ 422335 h 784576"/>
                <a:gd name="connsiteX594" fmla="*/ 72371 w 784964"/>
                <a:gd name="connsiteY594" fmla="*/ 422852 h 784576"/>
                <a:gd name="connsiteX595" fmla="*/ 66685 w 784964"/>
                <a:gd name="connsiteY595" fmla="*/ 424403 h 784576"/>
                <a:gd name="connsiteX596" fmla="*/ 64229 w 784964"/>
                <a:gd name="connsiteY596" fmla="*/ 425566 h 784576"/>
                <a:gd name="connsiteX597" fmla="*/ 62290 w 784964"/>
                <a:gd name="connsiteY597" fmla="*/ 426858 h 784576"/>
                <a:gd name="connsiteX598" fmla="*/ 61644 w 784964"/>
                <a:gd name="connsiteY598" fmla="*/ 427375 h 784576"/>
                <a:gd name="connsiteX599" fmla="*/ 60998 w 784964"/>
                <a:gd name="connsiteY599" fmla="*/ 428409 h 784576"/>
                <a:gd name="connsiteX600" fmla="*/ 60611 w 784964"/>
                <a:gd name="connsiteY600" fmla="*/ 429831 h 784576"/>
                <a:gd name="connsiteX601" fmla="*/ 60352 w 784964"/>
                <a:gd name="connsiteY601" fmla="*/ 432674 h 784576"/>
                <a:gd name="connsiteX602" fmla="*/ 60223 w 784964"/>
                <a:gd name="connsiteY602" fmla="*/ 435129 h 784576"/>
                <a:gd name="connsiteX603" fmla="*/ 60352 w 784964"/>
                <a:gd name="connsiteY603" fmla="*/ 436034 h 784576"/>
                <a:gd name="connsiteX604" fmla="*/ 60869 w 784964"/>
                <a:gd name="connsiteY604" fmla="*/ 437456 h 784576"/>
                <a:gd name="connsiteX605" fmla="*/ 61386 w 784964"/>
                <a:gd name="connsiteY605" fmla="*/ 438231 h 784576"/>
                <a:gd name="connsiteX606" fmla="*/ 61774 w 784964"/>
                <a:gd name="connsiteY606" fmla="*/ 438748 h 784576"/>
                <a:gd name="connsiteX607" fmla="*/ 62420 w 784964"/>
                <a:gd name="connsiteY607" fmla="*/ 439265 h 784576"/>
                <a:gd name="connsiteX608" fmla="*/ 63195 w 784964"/>
                <a:gd name="connsiteY608" fmla="*/ 439782 h 784576"/>
                <a:gd name="connsiteX609" fmla="*/ 65134 w 784964"/>
                <a:gd name="connsiteY609" fmla="*/ 440816 h 784576"/>
                <a:gd name="connsiteX610" fmla="*/ 65521 w 784964"/>
                <a:gd name="connsiteY610" fmla="*/ 441074 h 784576"/>
                <a:gd name="connsiteX611" fmla="*/ 65780 w 784964"/>
                <a:gd name="connsiteY611" fmla="*/ 441332 h 784576"/>
                <a:gd name="connsiteX612" fmla="*/ 67331 w 784964"/>
                <a:gd name="connsiteY612" fmla="*/ 442237 h 784576"/>
                <a:gd name="connsiteX613" fmla="*/ 66426 w 784964"/>
                <a:gd name="connsiteY613" fmla="*/ 446502 h 784576"/>
                <a:gd name="connsiteX614" fmla="*/ 66038 w 784964"/>
                <a:gd name="connsiteY614" fmla="*/ 451413 h 784576"/>
                <a:gd name="connsiteX615" fmla="*/ 65521 w 784964"/>
                <a:gd name="connsiteY615" fmla="*/ 453739 h 784576"/>
                <a:gd name="connsiteX616" fmla="*/ 64487 w 784964"/>
                <a:gd name="connsiteY616" fmla="*/ 455160 h 784576"/>
                <a:gd name="connsiteX617" fmla="*/ 61515 w 784964"/>
                <a:gd name="connsiteY617" fmla="*/ 457099 h 784576"/>
                <a:gd name="connsiteX618" fmla="*/ 59835 w 784964"/>
                <a:gd name="connsiteY618" fmla="*/ 458650 h 784576"/>
                <a:gd name="connsiteX619" fmla="*/ 58672 w 784964"/>
                <a:gd name="connsiteY619" fmla="*/ 460330 h 784576"/>
                <a:gd name="connsiteX620" fmla="*/ 58155 w 784964"/>
                <a:gd name="connsiteY620" fmla="*/ 462527 h 784576"/>
                <a:gd name="connsiteX621" fmla="*/ 57897 w 784964"/>
                <a:gd name="connsiteY621" fmla="*/ 465111 h 784576"/>
                <a:gd name="connsiteX622" fmla="*/ 56992 w 784964"/>
                <a:gd name="connsiteY622" fmla="*/ 467179 h 784576"/>
                <a:gd name="connsiteX623" fmla="*/ 55053 w 784964"/>
                <a:gd name="connsiteY623" fmla="*/ 469376 h 784576"/>
                <a:gd name="connsiteX624" fmla="*/ 50660 w 784964"/>
                <a:gd name="connsiteY624" fmla="*/ 473124 h 784576"/>
                <a:gd name="connsiteX625" fmla="*/ 46653 w 784964"/>
                <a:gd name="connsiteY625" fmla="*/ 477776 h 784576"/>
                <a:gd name="connsiteX626" fmla="*/ 44586 w 784964"/>
                <a:gd name="connsiteY626" fmla="*/ 478681 h 784576"/>
                <a:gd name="connsiteX627" fmla="*/ 42776 w 784964"/>
                <a:gd name="connsiteY627" fmla="*/ 480102 h 784576"/>
                <a:gd name="connsiteX628" fmla="*/ 41872 w 784964"/>
                <a:gd name="connsiteY628" fmla="*/ 480749 h 784576"/>
                <a:gd name="connsiteX629" fmla="*/ 37348 w 784964"/>
                <a:gd name="connsiteY629" fmla="*/ 482299 h 784576"/>
                <a:gd name="connsiteX630" fmla="*/ 30111 w 784964"/>
                <a:gd name="connsiteY630" fmla="*/ 485918 h 784576"/>
                <a:gd name="connsiteX631" fmla="*/ 27139 w 784964"/>
                <a:gd name="connsiteY631" fmla="*/ 488115 h 784576"/>
                <a:gd name="connsiteX632" fmla="*/ 24167 w 784964"/>
                <a:gd name="connsiteY632" fmla="*/ 491346 h 784576"/>
                <a:gd name="connsiteX633" fmla="*/ 24813 w 784964"/>
                <a:gd name="connsiteY633" fmla="*/ 493284 h 784576"/>
                <a:gd name="connsiteX634" fmla="*/ 23262 w 784964"/>
                <a:gd name="connsiteY634" fmla="*/ 500392 h 784576"/>
                <a:gd name="connsiteX635" fmla="*/ 22228 w 784964"/>
                <a:gd name="connsiteY635" fmla="*/ 502848 h 784576"/>
                <a:gd name="connsiteX636" fmla="*/ 21970 w 784964"/>
                <a:gd name="connsiteY636" fmla="*/ 504011 h 784576"/>
                <a:gd name="connsiteX637" fmla="*/ 22099 w 784964"/>
                <a:gd name="connsiteY637" fmla="*/ 505045 h 784576"/>
                <a:gd name="connsiteX638" fmla="*/ 22616 w 784964"/>
                <a:gd name="connsiteY638" fmla="*/ 507242 h 784576"/>
                <a:gd name="connsiteX639" fmla="*/ 22745 w 784964"/>
                <a:gd name="connsiteY639" fmla="*/ 508146 h 784576"/>
                <a:gd name="connsiteX640" fmla="*/ 22228 w 784964"/>
                <a:gd name="connsiteY640" fmla="*/ 510214 h 784576"/>
                <a:gd name="connsiteX641" fmla="*/ 21194 w 784964"/>
                <a:gd name="connsiteY641" fmla="*/ 512411 h 784576"/>
                <a:gd name="connsiteX642" fmla="*/ 20031 w 784964"/>
                <a:gd name="connsiteY642" fmla="*/ 514220 h 784576"/>
                <a:gd name="connsiteX643" fmla="*/ 18610 w 784964"/>
                <a:gd name="connsiteY643" fmla="*/ 514996 h 784576"/>
                <a:gd name="connsiteX644" fmla="*/ 17834 w 784964"/>
                <a:gd name="connsiteY644" fmla="*/ 515900 h 784576"/>
                <a:gd name="connsiteX645" fmla="*/ 13957 w 784964"/>
                <a:gd name="connsiteY645" fmla="*/ 521974 h 784576"/>
                <a:gd name="connsiteX646" fmla="*/ 12148 w 784964"/>
                <a:gd name="connsiteY646" fmla="*/ 523654 h 784576"/>
                <a:gd name="connsiteX647" fmla="*/ 11760 w 784964"/>
                <a:gd name="connsiteY647" fmla="*/ 524171 h 784576"/>
                <a:gd name="connsiteX648" fmla="*/ 10985 w 784964"/>
                <a:gd name="connsiteY648" fmla="*/ 526885 h 784576"/>
                <a:gd name="connsiteX649" fmla="*/ 10080 w 784964"/>
                <a:gd name="connsiteY649" fmla="*/ 528694 h 784576"/>
                <a:gd name="connsiteX650" fmla="*/ 9305 w 784964"/>
                <a:gd name="connsiteY650" fmla="*/ 531020 h 784576"/>
                <a:gd name="connsiteX651" fmla="*/ 8400 w 784964"/>
                <a:gd name="connsiteY651" fmla="*/ 532184 h 784576"/>
                <a:gd name="connsiteX652" fmla="*/ 5686 w 784964"/>
                <a:gd name="connsiteY652" fmla="*/ 534510 h 784576"/>
                <a:gd name="connsiteX653" fmla="*/ 5040 w 784964"/>
                <a:gd name="connsiteY653" fmla="*/ 535673 h 784576"/>
                <a:gd name="connsiteX654" fmla="*/ 4523 w 784964"/>
                <a:gd name="connsiteY654" fmla="*/ 537482 h 784576"/>
                <a:gd name="connsiteX655" fmla="*/ 5040 w 784964"/>
                <a:gd name="connsiteY655" fmla="*/ 542910 h 784576"/>
                <a:gd name="connsiteX656" fmla="*/ 5299 w 784964"/>
                <a:gd name="connsiteY656" fmla="*/ 544073 h 784576"/>
                <a:gd name="connsiteX657" fmla="*/ 5686 w 784964"/>
                <a:gd name="connsiteY657" fmla="*/ 545236 h 784576"/>
                <a:gd name="connsiteX658" fmla="*/ 5945 w 784964"/>
                <a:gd name="connsiteY658" fmla="*/ 546399 h 784576"/>
                <a:gd name="connsiteX659" fmla="*/ 5428 w 784964"/>
                <a:gd name="connsiteY659" fmla="*/ 547433 h 784576"/>
                <a:gd name="connsiteX660" fmla="*/ 4782 w 784964"/>
                <a:gd name="connsiteY660" fmla="*/ 548338 h 784576"/>
                <a:gd name="connsiteX661" fmla="*/ 4265 w 784964"/>
                <a:gd name="connsiteY661" fmla="*/ 549501 h 784576"/>
                <a:gd name="connsiteX662" fmla="*/ 3619 w 784964"/>
                <a:gd name="connsiteY662" fmla="*/ 551569 h 784576"/>
                <a:gd name="connsiteX663" fmla="*/ 2585 w 784964"/>
                <a:gd name="connsiteY663" fmla="*/ 556221 h 784576"/>
                <a:gd name="connsiteX664" fmla="*/ 2326 w 784964"/>
                <a:gd name="connsiteY664" fmla="*/ 560615 h 784576"/>
                <a:gd name="connsiteX665" fmla="*/ 2455 w 784964"/>
                <a:gd name="connsiteY665" fmla="*/ 561907 h 784576"/>
                <a:gd name="connsiteX666" fmla="*/ 1292 w 784964"/>
                <a:gd name="connsiteY666" fmla="*/ 563329 h 784576"/>
                <a:gd name="connsiteX667" fmla="*/ 129 w 784964"/>
                <a:gd name="connsiteY667" fmla="*/ 568757 h 784576"/>
                <a:gd name="connsiteX668" fmla="*/ 0 w 784964"/>
                <a:gd name="connsiteY668" fmla="*/ 571987 h 784576"/>
                <a:gd name="connsiteX669" fmla="*/ 388 w 784964"/>
                <a:gd name="connsiteY669" fmla="*/ 575348 h 784576"/>
                <a:gd name="connsiteX670" fmla="*/ 1551 w 784964"/>
                <a:gd name="connsiteY670" fmla="*/ 578708 h 784576"/>
                <a:gd name="connsiteX671" fmla="*/ 7237 w 784964"/>
                <a:gd name="connsiteY671" fmla="*/ 588788 h 784576"/>
                <a:gd name="connsiteX672" fmla="*/ 10339 w 784964"/>
                <a:gd name="connsiteY672" fmla="*/ 592794 h 784576"/>
                <a:gd name="connsiteX673" fmla="*/ 10856 w 784964"/>
                <a:gd name="connsiteY673" fmla="*/ 593828 h 784576"/>
                <a:gd name="connsiteX674" fmla="*/ 11243 w 784964"/>
                <a:gd name="connsiteY674" fmla="*/ 594991 h 784576"/>
                <a:gd name="connsiteX675" fmla="*/ 12019 w 784964"/>
                <a:gd name="connsiteY675" fmla="*/ 598351 h 784576"/>
                <a:gd name="connsiteX676" fmla="*/ 14603 w 784964"/>
                <a:gd name="connsiteY676" fmla="*/ 605976 h 784576"/>
                <a:gd name="connsiteX677" fmla="*/ 18739 w 784964"/>
                <a:gd name="connsiteY677" fmla="*/ 614893 h 784576"/>
                <a:gd name="connsiteX678" fmla="*/ 20419 w 784964"/>
                <a:gd name="connsiteY678" fmla="*/ 619416 h 784576"/>
                <a:gd name="connsiteX679" fmla="*/ 20936 w 784964"/>
                <a:gd name="connsiteY679" fmla="*/ 622647 h 784576"/>
                <a:gd name="connsiteX680" fmla="*/ 21582 w 784964"/>
                <a:gd name="connsiteY680" fmla="*/ 625102 h 784576"/>
                <a:gd name="connsiteX681" fmla="*/ 21840 w 784964"/>
                <a:gd name="connsiteY681" fmla="*/ 628333 h 784576"/>
                <a:gd name="connsiteX682" fmla="*/ 20160 w 784964"/>
                <a:gd name="connsiteY682" fmla="*/ 650432 h 784576"/>
                <a:gd name="connsiteX683" fmla="*/ 20419 w 784964"/>
                <a:gd name="connsiteY683" fmla="*/ 652758 h 784576"/>
                <a:gd name="connsiteX684" fmla="*/ 20807 w 784964"/>
                <a:gd name="connsiteY684" fmla="*/ 654180 h 784576"/>
                <a:gd name="connsiteX685" fmla="*/ 21582 w 784964"/>
                <a:gd name="connsiteY685" fmla="*/ 655989 h 784576"/>
                <a:gd name="connsiteX686" fmla="*/ 22616 w 784964"/>
                <a:gd name="connsiteY686" fmla="*/ 657669 h 784576"/>
                <a:gd name="connsiteX687" fmla="*/ 25071 w 784964"/>
                <a:gd name="connsiteY687" fmla="*/ 659995 h 784576"/>
                <a:gd name="connsiteX688" fmla="*/ 26234 w 784964"/>
                <a:gd name="connsiteY688" fmla="*/ 660771 h 784576"/>
                <a:gd name="connsiteX689" fmla="*/ 27527 w 784964"/>
                <a:gd name="connsiteY689" fmla="*/ 661029 h 784576"/>
                <a:gd name="connsiteX690" fmla="*/ 28561 w 784964"/>
                <a:gd name="connsiteY690" fmla="*/ 660642 h 784576"/>
                <a:gd name="connsiteX691" fmla="*/ 29724 w 784964"/>
                <a:gd name="connsiteY691" fmla="*/ 659995 h 784576"/>
                <a:gd name="connsiteX692" fmla="*/ 34247 w 784964"/>
                <a:gd name="connsiteY692" fmla="*/ 656894 h 784576"/>
                <a:gd name="connsiteX693" fmla="*/ 35152 w 784964"/>
                <a:gd name="connsiteY693" fmla="*/ 656506 h 784576"/>
                <a:gd name="connsiteX694" fmla="*/ 35927 w 784964"/>
                <a:gd name="connsiteY694" fmla="*/ 656377 h 784576"/>
                <a:gd name="connsiteX695" fmla="*/ 36573 w 784964"/>
                <a:gd name="connsiteY695" fmla="*/ 656377 h 784576"/>
                <a:gd name="connsiteX696" fmla="*/ 37478 w 784964"/>
                <a:gd name="connsiteY696" fmla="*/ 656506 h 784576"/>
                <a:gd name="connsiteX697" fmla="*/ 39675 w 784964"/>
                <a:gd name="connsiteY697" fmla="*/ 657153 h 784576"/>
                <a:gd name="connsiteX698" fmla="*/ 49367 w 784964"/>
                <a:gd name="connsiteY698" fmla="*/ 661417 h 784576"/>
                <a:gd name="connsiteX699" fmla="*/ 50401 w 784964"/>
                <a:gd name="connsiteY699" fmla="*/ 662322 h 784576"/>
                <a:gd name="connsiteX700" fmla="*/ 50918 w 784964"/>
                <a:gd name="connsiteY700" fmla="*/ 663743 h 784576"/>
                <a:gd name="connsiteX701" fmla="*/ 50660 w 784964"/>
                <a:gd name="connsiteY701" fmla="*/ 666328 h 784576"/>
                <a:gd name="connsiteX702" fmla="*/ 50013 w 784964"/>
                <a:gd name="connsiteY702" fmla="*/ 667879 h 784576"/>
                <a:gd name="connsiteX703" fmla="*/ 49109 w 784964"/>
                <a:gd name="connsiteY703" fmla="*/ 669300 h 784576"/>
                <a:gd name="connsiteX704" fmla="*/ 42905 w 784964"/>
                <a:gd name="connsiteY704" fmla="*/ 677571 h 784576"/>
                <a:gd name="connsiteX705" fmla="*/ 41613 w 784964"/>
                <a:gd name="connsiteY705" fmla="*/ 680027 h 784576"/>
                <a:gd name="connsiteX706" fmla="*/ 37736 w 784964"/>
                <a:gd name="connsiteY706" fmla="*/ 689073 h 784576"/>
                <a:gd name="connsiteX707" fmla="*/ 37219 w 784964"/>
                <a:gd name="connsiteY707" fmla="*/ 691012 h 784576"/>
                <a:gd name="connsiteX708" fmla="*/ 37219 w 784964"/>
                <a:gd name="connsiteY708" fmla="*/ 691528 h 784576"/>
                <a:gd name="connsiteX709" fmla="*/ 37348 w 784964"/>
                <a:gd name="connsiteY709" fmla="*/ 692046 h 784576"/>
                <a:gd name="connsiteX710" fmla="*/ 40192 w 784964"/>
                <a:gd name="connsiteY710" fmla="*/ 693855 h 784576"/>
                <a:gd name="connsiteX711" fmla="*/ 51952 w 784964"/>
                <a:gd name="connsiteY711" fmla="*/ 697215 h 784576"/>
                <a:gd name="connsiteX712" fmla="*/ 59447 w 784964"/>
                <a:gd name="connsiteY712" fmla="*/ 697215 h 784576"/>
                <a:gd name="connsiteX713" fmla="*/ 64487 w 784964"/>
                <a:gd name="connsiteY713" fmla="*/ 698378 h 784576"/>
                <a:gd name="connsiteX714" fmla="*/ 67331 w 784964"/>
                <a:gd name="connsiteY714" fmla="*/ 698636 h 784576"/>
                <a:gd name="connsiteX715" fmla="*/ 80125 w 784964"/>
                <a:gd name="connsiteY715" fmla="*/ 696569 h 784576"/>
                <a:gd name="connsiteX716" fmla="*/ 81546 w 784964"/>
                <a:gd name="connsiteY716" fmla="*/ 696956 h 784576"/>
                <a:gd name="connsiteX717" fmla="*/ 82968 w 784964"/>
                <a:gd name="connsiteY717" fmla="*/ 697473 h 784576"/>
                <a:gd name="connsiteX718" fmla="*/ 86070 w 784964"/>
                <a:gd name="connsiteY718" fmla="*/ 699670 h 784576"/>
                <a:gd name="connsiteX719" fmla="*/ 94082 w 784964"/>
                <a:gd name="connsiteY719" fmla="*/ 707683 h 784576"/>
                <a:gd name="connsiteX720" fmla="*/ 95245 w 784964"/>
                <a:gd name="connsiteY720" fmla="*/ 708458 h 784576"/>
                <a:gd name="connsiteX721" fmla="*/ 96537 w 784964"/>
                <a:gd name="connsiteY721" fmla="*/ 708975 h 784576"/>
                <a:gd name="connsiteX722" fmla="*/ 98734 w 784964"/>
                <a:gd name="connsiteY722" fmla="*/ 709104 h 784576"/>
                <a:gd name="connsiteX723" fmla="*/ 104421 w 784964"/>
                <a:gd name="connsiteY723" fmla="*/ 708717 h 784576"/>
                <a:gd name="connsiteX724" fmla="*/ 105713 w 784964"/>
                <a:gd name="connsiteY724" fmla="*/ 708846 h 784576"/>
                <a:gd name="connsiteX725" fmla="*/ 108556 w 784964"/>
                <a:gd name="connsiteY725" fmla="*/ 709750 h 784576"/>
                <a:gd name="connsiteX726" fmla="*/ 114630 w 784964"/>
                <a:gd name="connsiteY726" fmla="*/ 712723 h 784576"/>
                <a:gd name="connsiteX727" fmla="*/ 122772 w 784964"/>
                <a:gd name="connsiteY727" fmla="*/ 718151 h 784576"/>
                <a:gd name="connsiteX728" fmla="*/ 124193 w 784964"/>
                <a:gd name="connsiteY728" fmla="*/ 719572 h 784576"/>
                <a:gd name="connsiteX729" fmla="*/ 124710 w 784964"/>
                <a:gd name="connsiteY729" fmla="*/ 720477 h 784576"/>
                <a:gd name="connsiteX730" fmla="*/ 125227 w 784964"/>
                <a:gd name="connsiteY730" fmla="*/ 721511 h 784576"/>
                <a:gd name="connsiteX731" fmla="*/ 125744 w 784964"/>
                <a:gd name="connsiteY731" fmla="*/ 722545 h 784576"/>
                <a:gd name="connsiteX732" fmla="*/ 126907 w 784964"/>
                <a:gd name="connsiteY732" fmla="*/ 723579 h 784576"/>
                <a:gd name="connsiteX733" fmla="*/ 128975 w 784964"/>
                <a:gd name="connsiteY733" fmla="*/ 724483 h 784576"/>
                <a:gd name="connsiteX734" fmla="*/ 132723 w 784964"/>
                <a:gd name="connsiteY734" fmla="*/ 725905 h 784576"/>
                <a:gd name="connsiteX735" fmla="*/ 138538 w 784964"/>
                <a:gd name="connsiteY735" fmla="*/ 727068 h 784576"/>
                <a:gd name="connsiteX736" fmla="*/ 142545 w 784964"/>
                <a:gd name="connsiteY736" fmla="*/ 728489 h 784576"/>
                <a:gd name="connsiteX737" fmla="*/ 146422 w 784964"/>
                <a:gd name="connsiteY737" fmla="*/ 731332 h 784576"/>
                <a:gd name="connsiteX738" fmla="*/ 149006 w 784964"/>
                <a:gd name="connsiteY738" fmla="*/ 734305 h 784576"/>
                <a:gd name="connsiteX739" fmla="*/ 150169 w 784964"/>
                <a:gd name="connsiteY739" fmla="*/ 735209 h 784576"/>
                <a:gd name="connsiteX740" fmla="*/ 171493 w 784964"/>
                <a:gd name="connsiteY740" fmla="*/ 744256 h 784576"/>
                <a:gd name="connsiteX741" fmla="*/ 172656 w 784964"/>
                <a:gd name="connsiteY741" fmla="*/ 744643 h 784576"/>
                <a:gd name="connsiteX742" fmla="*/ 177825 w 784964"/>
                <a:gd name="connsiteY742" fmla="*/ 745290 h 784576"/>
                <a:gd name="connsiteX743" fmla="*/ 182349 w 784964"/>
                <a:gd name="connsiteY743" fmla="*/ 745031 h 784576"/>
                <a:gd name="connsiteX744" fmla="*/ 183512 w 784964"/>
                <a:gd name="connsiteY744" fmla="*/ 745290 h 784576"/>
                <a:gd name="connsiteX745" fmla="*/ 190232 w 784964"/>
                <a:gd name="connsiteY745" fmla="*/ 746970 h 784576"/>
                <a:gd name="connsiteX746" fmla="*/ 194238 w 784964"/>
                <a:gd name="connsiteY746" fmla="*/ 747616 h 784576"/>
                <a:gd name="connsiteX747" fmla="*/ 195401 w 784964"/>
                <a:gd name="connsiteY747" fmla="*/ 748004 h 784576"/>
                <a:gd name="connsiteX748" fmla="*/ 196823 w 784964"/>
                <a:gd name="connsiteY748" fmla="*/ 748908 h 784576"/>
                <a:gd name="connsiteX749" fmla="*/ 203801 w 784964"/>
                <a:gd name="connsiteY749" fmla="*/ 754853 h 784576"/>
                <a:gd name="connsiteX750" fmla="*/ 205998 w 784964"/>
                <a:gd name="connsiteY750" fmla="*/ 757438 h 784576"/>
                <a:gd name="connsiteX751" fmla="*/ 207032 w 784964"/>
                <a:gd name="connsiteY751" fmla="*/ 758213 h 784576"/>
                <a:gd name="connsiteX752" fmla="*/ 208712 w 784964"/>
                <a:gd name="connsiteY752" fmla="*/ 758988 h 784576"/>
                <a:gd name="connsiteX753" fmla="*/ 210134 w 784964"/>
                <a:gd name="connsiteY753" fmla="*/ 759505 h 784576"/>
                <a:gd name="connsiteX754" fmla="*/ 211555 w 784964"/>
                <a:gd name="connsiteY754" fmla="*/ 759893 h 784576"/>
                <a:gd name="connsiteX755" fmla="*/ 215691 w 784964"/>
                <a:gd name="connsiteY755" fmla="*/ 760022 h 784576"/>
                <a:gd name="connsiteX756" fmla="*/ 217112 w 784964"/>
                <a:gd name="connsiteY756" fmla="*/ 760410 h 784576"/>
                <a:gd name="connsiteX757" fmla="*/ 220343 w 784964"/>
                <a:gd name="connsiteY757" fmla="*/ 762090 h 784576"/>
                <a:gd name="connsiteX758" fmla="*/ 221765 w 784964"/>
                <a:gd name="connsiteY758" fmla="*/ 762219 h 784576"/>
                <a:gd name="connsiteX759" fmla="*/ 224220 w 784964"/>
                <a:gd name="connsiteY759" fmla="*/ 761832 h 784576"/>
                <a:gd name="connsiteX760" fmla="*/ 225512 w 784964"/>
                <a:gd name="connsiteY760" fmla="*/ 761832 h 784576"/>
                <a:gd name="connsiteX761" fmla="*/ 226934 w 784964"/>
                <a:gd name="connsiteY761" fmla="*/ 762219 h 784576"/>
                <a:gd name="connsiteX762" fmla="*/ 228226 w 784964"/>
                <a:gd name="connsiteY762" fmla="*/ 762736 h 784576"/>
                <a:gd name="connsiteX763" fmla="*/ 229777 w 784964"/>
                <a:gd name="connsiteY763" fmla="*/ 763899 h 784576"/>
                <a:gd name="connsiteX764" fmla="*/ 231199 w 784964"/>
                <a:gd name="connsiteY764" fmla="*/ 765192 h 784576"/>
                <a:gd name="connsiteX765" fmla="*/ 236627 w 784964"/>
                <a:gd name="connsiteY765" fmla="*/ 771266 h 784576"/>
                <a:gd name="connsiteX766" fmla="*/ 244510 w 784964"/>
                <a:gd name="connsiteY766" fmla="*/ 783155 h 784576"/>
                <a:gd name="connsiteX767" fmla="*/ 245414 w 784964"/>
                <a:gd name="connsiteY767" fmla="*/ 781604 h 784576"/>
                <a:gd name="connsiteX768" fmla="*/ 246965 w 784964"/>
                <a:gd name="connsiteY768" fmla="*/ 780958 h 784576"/>
                <a:gd name="connsiteX769" fmla="*/ 249421 w 784964"/>
                <a:gd name="connsiteY769" fmla="*/ 781475 h 784576"/>
                <a:gd name="connsiteX770" fmla="*/ 250455 w 784964"/>
                <a:gd name="connsiteY770" fmla="*/ 782121 h 784576"/>
                <a:gd name="connsiteX771" fmla="*/ 251618 w 784964"/>
                <a:gd name="connsiteY771" fmla="*/ 783543 h 784576"/>
                <a:gd name="connsiteX772" fmla="*/ 253039 w 784964"/>
                <a:gd name="connsiteY772" fmla="*/ 783931 h 784576"/>
                <a:gd name="connsiteX773" fmla="*/ 253168 w 784964"/>
                <a:gd name="connsiteY773" fmla="*/ 784189 h 784576"/>
                <a:gd name="connsiteX774" fmla="*/ 253556 w 784964"/>
                <a:gd name="connsiteY774" fmla="*/ 784447 h 784576"/>
                <a:gd name="connsiteX775" fmla="*/ 254202 w 784964"/>
                <a:gd name="connsiteY775" fmla="*/ 784577 h 784576"/>
                <a:gd name="connsiteX776" fmla="*/ 254719 w 784964"/>
                <a:gd name="connsiteY776" fmla="*/ 784318 h 784576"/>
                <a:gd name="connsiteX777" fmla="*/ 255753 w 784964"/>
                <a:gd name="connsiteY777" fmla="*/ 783284 h 784576"/>
                <a:gd name="connsiteX778" fmla="*/ 256270 w 784964"/>
                <a:gd name="connsiteY778" fmla="*/ 783026 h 784576"/>
                <a:gd name="connsiteX779" fmla="*/ 257562 w 784964"/>
                <a:gd name="connsiteY779" fmla="*/ 781992 h 784576"/>
                <a:gd name="connsiteX780" fmla="*/ 256270 w 784964"/>
                <a:gd name="connsiteY780" fmla="*/ 779666 h 784576"/>
                <a:gd name="connsiteX781" fmla="*/ 253039 w 784964"/>
                <a:gd name="connsiteY781" fmla="*/ 776047 h 784576"/>
                <a:gd name="connsiteX782" fmla="*/ 253168 w 784964"/>
                <a:gd name="connsiteY782" fmla="*/ 774109 h 784576"/>
                <a:gd name="connsiteX783" fmla="*/ 255365 w 784964"/>
                <a:gd name="connsiteY783" fmla="*/ 770361 h 784576"/>
                <a:gd name="connsiteX784" fmla="*/ 256012 w 784964"/>
                <a:gd name="connsiteY784" fmla="*/ 767906 h 784576"/>
                <a:gd name="connsiteX785" fmla="*/ 256270 w 784964"/>
                <a:gd name="connsiteY785" fmla="*/ 765192 h 784576"/>
                <a:gd name="connsiteX786" fmla="*/ 257045 w 784964"/>
                <a:gd name="connsiteY786" fmla="*/ 762995 h 784576"/>
                <a:gd name="connsiteX787" fmla="*/ 258338 w 784964"/>
                <a:gd name="connsiteY787" fmla="*/ 761056 h 784576"/>
                <a:gd name="connsiteX788" fmla="*/ 260405 w 784964"/>
                <a:gd name="connsiteY788" fmla="*/ 759118 h 784576"/>
                <a:gd name="connsiteX789" fmla="*/ 263895 w 784964"/>
                <a:gd name="connsiteY789" fmla="*/ 756791 h 784576"/>
                <a:gd name="connsiteX790" fmla="*/ 265963 w 784964"/>
                <a:gd name="connsiteY790" fmla="*/ 755111 h 784576"/>
                <a:gd name="connsiteX791" fmla="*/ 266867 w 784964"/>
                <a:gd name="connsiteY791" fmla="*/ 753302 h 784576"/>
                <a:gd name="connsiteX792" fmla="*/ 267384 w 784964"/>
                <a:gd name="connsiteY792" fmla="*/ 750330 h 784576"/>
                <a:gd name="connsiteX793" fmla="*/ 268806 w 784964"/>
                <a:gd name="connsiteY793" fmla="*/ 748908 h 784576"/>
                <a:gd name="connsiteX794" fmla="*/ 270744 w 784964"/>
                <a:gd name="connsiteY794" fmla="*/ 748004 h 784576"/>
                <a:gd name="connsiteX795" fmla="*/ 272812 w 784964"/>
                <a:gd name="connsiteY795" fmla="*/ 746711 h 784576"/>
                <a:gd name="connsiteX796" fmla="*/ 275267 w 784964"/>
                <a:gd name="connsiteY796" fmla="*/ 743480 h 784576"/>
                <a:gd name="connsiteX797" fmla="*/ 277335 w 784964"/>
                <a:gd name="connsiteY797" fmla="*/ 742188 h 784576"/>
                <a:gd name="connsiteX798" fmla="*/ 281858 w 784964"/>
                <a:gd name="connsiteY798" fmla="*/ 743997 h 784576"/>
                <a:gd name="connsiteX799" fmla="*/ 284572 w 784964"/>
                <a:gd name="connsiteY799" fmla="*/ 743739 h 784576"/>
                <a:gd name="connsiteX800" fmla="*/ 287286 w 784964"/>
                <a:gd name="connsiteY800" fmla="*/ 742964 h 784576"/>
                <a:gd name="connsiteX801" fmla="*/ 288966 w 784964"/>
                <a:gd name="connsiteY801" fmla="*/ 742059 h 784576"/>
                <a:gd name="connsiteX802" fmla="*/ 290258 w 784964"/>
                <a:gd name="connsiteY802" fmla="*/ 740508 h 784576"/>
                <a:gd name="connsiteX803" fmla="*/ 292714 w 784964"/>
                <a:gd name="connsiteY803" fmla="*/ 736114 h 784576"/>
                <a:gd name="connsiteX804" fmla="*/ 293748 w 784964"/>
                <a:gd name="connsiteY804" fmla="*/ 735209 h 784576"/>
                <a:gd name="connsiteX805" fmla="*/ 294265 w 784964"/>
                <a:gd name="connsiteY805" fmla="*/ 734951 h 784576"/>
                <a:gd name="connsiteX806" fmla="*/ 294523 w 784964"/>
                <a:gd name="connsiteY806" fmla="*/ 734176 h 784576"/>
                <a:gd name="connsiteX807" fmla="*/ 294782 w 784964"/>
                <a:gd name="connsiteY807" fmla="*/ 733142 h 784576"/>
                <a:gd name="connsiteX808" fmla="*/ 294911 w 784964"/>
                <a:gd name="connsiteY808" fmla="*/ 732108 h 784576"/>
                <a:gd name="connsiteX809" fmla="*/ 295299 w 784964"/>
                <a:gd name="connsiteY809" fmla="*/ 731462 h 784576"/>
                <a:gd name="connsiteX810" fmla="*/ 295169 w 784964"/>
                <a:gd name="connsiteY810" fmla="*/ 730169 h 784576"/>
                <a:gd name="connsiteX811" fmla="*/ 294782 w 784964"/>
                <a:gd name="connsiteY811" fmla="*/ 728102 h 784576"/>
                <a:gd name="connsiteX812" fmla="*/ 294265 w 784964"/>
                <a:gd name="connsiteY812" fmla="*/ 726422 h 784576"/>
                <a:gd name="connsiteX813" fmla="*/ 293489 w 784964"/>
                <a:gd name="connsiteY813" fmla="*/ 724871 h 784576"/>
                <a:gd name="connsiteX814" fmla="*/ 293360 w 784964"/>
                <a:gd name="connsiteY814" fmla="*/ 724354 h 784576"/>
                <a:gd name="connsiteX815" fmla="*/ 293360 w 784964"/>
                <a:gd name="connsiteY815" fmla="*/ 723837 h 784576"/>
                <a:gd name="connsiteX816" fmla="*/ 293360 w 784964"/>
                <a:gd name="connsiteY816" fmla="*/ 723191 h 784576"/>
                <a:gd name="connsiteX817" fmla="*/ 293360 w 784964"/>
                <a:gd name="connsiteY817" fmla="*/ 722674 h 784576"/>
                <a:gd name="connsiteX818" fmla="*/ 293619 w 784964"/>
                <a:gd name="connsiteY818" fmla="*/ 722028 h 784576"/>
                <a:gd name="connsiteX819" fmla="*/ 294006 w 784964"/>
                <a:gd name="connsiteY819" fmla="*/ 721640 h 784576"/>
                <a:gd name="connsiteX820" fmla="*/ 296332 w 784964"/>
                <a:gd name="connsiteY820" fmla="*/ 719572 h 784576"/>
                <a:gd name="connsiteX821" fmla="*/ 299046 w 784964"/>
                <a:gd name="connsiteY821" fmla="*/ 716600 h 784576"/>
                <a:gd name="connsiteX822" fmla="*/ 312745 w 784964"/>
                <a:gd name="connsiteY822" fmla="*/ 697732 h 784576"/>
                <a:gd name="connsiteX823" fmla="*/ 315459 w 784964"/>
                <a:gd name="connsiteY823" fmla="*/ 696052 h 784576"/>
                <a:gd name="connsiteX824" fmla="*/ 319078 w 784964"/>
                <a:gd name="connsiteY824" fmla="*/ 694889 h 784576"/>
                <a:gd name="connsiteX825" fmla="*/ 335361 w 784964"/>
                <a:gd name="connsiteY825" fmla="*/ 691916 h 784576"/>
                <a:gd name="connsiteX826" fmla="*/ 338075 w 784964"/>
                <a:gd name="connsiteY826" fmla="*/ 691012 h 784576"/>
                <a:gd name="connsiteX827" fmla="*/ 341176 w 784964"/>
                <a:gd name="connsiteY827" fmla="*/ 689202 h 784576"/>
                <a:gd name="connsiteX828" fmla="*/ 343115 w 784964"/>
                <a:gd name="connsiteY828" fmla="*/ 687781 h 784576"/>
                <a:gd name="connsiteX829" fmla="*/ 345570 w 784964"/>
                <a:gd name="connsiteY829" fmla="*/ 686747 h 784576"/>
                <a:gd name="connsiteX830" fmla="*/ 348284 w 784964"/>
                <a:gd name="connsiteY830" fmla="*/ 686359 h 784576"/>
                <a:gd name="connsiteX831" fmla="*/ 358235 w 784964"/>
                <a:gd name="connsiteY831" fmla="*/ 686876 h 784576"/>
                <a:gd name="connsiteX832" fmla="*/ 364955 w 784964"/>
                <a:gd name="connsiteY832" fmla="*/ 687910 h 784576"/>
                <a:gd name="connsiteX833" fmla="*/ 368962 w 784964"/>
                <a:gd name="connsiteY833" fmla="*/ 687393 h 784576"/>
                <a:gd name="connsiteX834" fmla="*/ 390931 w 784964"/>
                <a:gd name="connsiteY834" fmla="*/ 678476 h 784576"/>
                <a:gd name="connsiteX835" fmla="*/ 393258 w 784964"/>
                <a:gd name="connsiteY835" fmla="*/ 677701 h 784576"/>
                <a:gd name="connsiteX836" fmla="*/ 395067 w 784964"/>
                <a:gd name="connsiteY836" fmla="*/ 676925 h 784576"/>
                <a:gd name="connsiteX837" fmla="*/ 396747 w 784964"/>
                <a:gd name="connsiteY837" fmla="*/ 675633 h 784576"/>
                <a:gd name="connsiteX838" fmla="*/ 398168 w 784964"/>
                <a:gd name="connsiteY838" fmla="*/ 673824 h 784576"/>
                <a:gd name="connsiteX839" fmla="*/ 398298 w 784964"/>
                <a:gd name="connsiteY839" fmla="*/ 673694 h 784576"/>
                <a:gd name="connsiteX840" fmla="*/ 398427 w 784964"/>
                <a:gd name="connsiteY840" fmla="*/ 673565 h 784576"/>
                <a:gd name="connsiteX841" fmla="*/ 399461 w 784964"/>
                <a:gd name="connsiteY841" fmla="*/ 673177 h 784576"/>
                <a:gd name="connsiteX842" fmla="*/ 400495 w 784964"/>
                <a:gd name="connsiteY842" fmla="*/ 673177 h 784576"/>
                <a:gd name="connsiteX843" fmla="*/ 401141 w 784964"/>
                <a:gd name="connsiteY843" fmla="*/ 673177 h 784576"/>
                <a:gd name="connsiteX844" fmla="*/ 401787 w 784964"/>
                <a:gd name="connsiteY844" fmla="*/ 673436 h 784576"/>
                <a:gd name="connsiteX845" fmla="*/ 402046 w 784964"/>
                <a:gd name="connsiteY845" fmla="*/ 673565 h 784576"/>
                <a:gd name="connsiteX846" fmla="*/ 402304 w 784964"/>
                <a:gd name="connsiteY846" fmla="*/ 673694 h 784576"/>
                <a:gd name="connsiteX847" fmla="*/ 402562 w 784964"/>
                <a:gd name="connsiteY847" fmla="*/ 674082 h 784576"/>
                <a:gd name="connsiteX848" fmla="*/ 402950 w 784964"/>
                <a:gd name="connsiteY848" fmla="*/ 674728 h 784576"/>
                <a:gd name="connsiteX849" fmla="*/ 404501 w 784964"/>
                <a:gd name="connsiteY849" fmla="*/ 679251 h 784576"/>
                <a:gd name="connsiteX850" fmla="*/ 405664 w 784964"/>
                <a:gd name="connsiteY850" fmla="*/ 681190 h 784576"/>
                <a:gd name="connsiteX851" fmla="*/ 409153 w 784964"/>
                <a:gd name="connsiteY851" fmla="*/ 685584 h 784576"/>
                <a:gd name="connsiteX852" fmla="*/ 411092 w 784964"/>
                <a:gd name="connsiteY852" fmla="*/ 687393 h 784576"/>
                <a:gd name="connsiteX853" fmla="*/ 412643 w 784964"/>
                <a:gd name="connsiteY853" fmla="*/ 688427 h 784576"/>
                <a:gd name="connsiteX854" fmla="*/ 414064 w 784964"/>
                <a:gd name="connsiteY854" fmla="*/ 688298 h 784576"/>
                <a:gd name="connsiteX855" fmla="*/ 415744 w 784964"/>
                <a:gd name="connsiteY855" fmla="*/ 687522 h 784576"/>
                <a:gd name="connsiteX856" fmla="*/ 433320 w 784964"/>
                <a:gd name="connsiteY856" fmla="*/ 670205 h 784576"/>
                <a:gd name="connsiteX857" fmla="*/ 436163 w 784964"/>
                <a:gd name="connsiteY857" fmla="*/ 666069 h 784576"/>
                <a:gd name="connsiteX858" fmla="*/ 437714 w 784964"/>
                <a:gd name="connsiteY858" fmla="*/ 664777 h 784576"/>
                <a:gd name="connsiteX859" fmla="*/ 440299 w 784964"/>
                <a:gd name="connsiteY859" fmla="*/ 663226 h 784576"/>
                <a:gd name="connsiteX860" fmla="*/ 452447 w 784964"/>
                <a:gd name="connsiteY860" fmla="*/ 658574 h 784576"/>
                <a:gd name="connsiteX861" fmla="*/ 459554 w 784964"/>
                <a:gd name="connsiteY861" fmla="*/ 654180 h 784576"/>
                <a:gd name="connsiteX862" fmla="*/ 463561 w 784964"/>
                <a:gd name="connsiteY862" fmla="*/ 654439 h 784576"/>
                <a:gd name="connsiteX863" fmla="*/ 470152 w 784964"/>
                <a:gd name="connsiteY863" fmla="*/ 656377 h 784576"/>
                <a:gd name="connsiteX864" fmla="*/ 473899 w 784964"/>
                <a:gd name="connsiteY864" fmla="*/ 657023 h 784576"/>
                <a:gd name="connsiteX865" fmla="*/ 495740 w 784964"/>
                <a:gd name="connsiteY865" fmla="*/ 655731 h 784576"/>
                <a:gd name="connsiteX866" fmla="*/ 522233 w 784964"/>
                <a:gd name="connsiteY866" fmla="*/ 657023 h 784576"/>
                <a:gd name="connsiteX867" fmla="*/ 529599 w 784964"/>
                <a:gd name="connsiteY867" fmla="*/ 656377 h 784576"/>
                <a:gd name="connsiteX868" fmla="*/ 533735 w 784964"/>
                <a:gd name="connsiteY868" fmla="*/ 656635 h 784576"/>
                <a:gd name="connsiteX869" fmla="*/ 538258 w 784964"/>
                <a:gd name="connsiteY869" fmla="*/ 657928 h 784576"/>
                <a:gd name="connsiteX870" fmla="*/ 543298 w 784964"/>
                <a:gd name="connsiteY870" fmla="*/ 660125 h 784576"/>
                <a:gd name="connsiteX871" fmla="*/ 546012 w 784964"/>
                <a:gd name="connsiteY871" fmla="*/ 661805 h 784576"/>
                <a:gd name="connsiteX872" fmla="*/ 547304 w 784964"/>
                <a:gd name="connsiteY872" fmla="*/ 662839 h 784576"/>
                <a:gd name="connsiteX873" fmla="*/ 547692 w 784964"/>
                <a:gd name="connsiteY873" fmla="*/ 663356 h 784576"/>
                <a:gd name="connsiteX874" fmla="*/ 548467 w 784964"/>
                <a:gd name="connsiteY874" fmla="*/ 663614 h 784576"/>
                <a:gd name="connsiteX875" fmla="*/ 549630 w 784964"/>
                <a:gd name="connsiteY875" fmla="*/ 663743 h 784576"/>
                <a:gd name="connsiteX876" fmla="*/ 552344 w 784964"/>
                <a:gd name="connsiteY876" fmla="*/ 663743 h 784576"/>
                <a:gd name="connsiteX877" fmla="*/ 553507 w 784964"/>
                <a:gd name="connsiteY877" fmla="*/ 663485 h 784576"/>
                <a:gd name="connsiteX878" fmla="*/ 554799 w 784964"/>
                <a:gd name="connsiteY878" fmla="*/ 662968 h 784576"/>
                <a:gd name="connsiteX879" fmla="*/ 555317 w 784964"/>
                <a:gd name="connsiteY879" fmla="*/ 662968 h 784576"/>
                <a:gd name="connsiteX880" fmla="*/ 555704 w 784964"/>
                <a:gd name="connsiteY880" fmla="*/ 663485 h 784576"/>
                <a:gd name="connsiteX881" fmla="*/ 555963 w 784964"/>
                <a:gd name="connsiteY881" fmla="*/ 663873 h 784576"/>
                <a:gd name="connsiteX882" fmla="*/ 556221 w 784964"/>
                <a:gd name="connsiteY882" fmla="*/ 664260 h 784576"/>
                <a:gd name="connsiteX883" fmla="*/ 556480 w 784964"/>
                <a:gd name="connsiteY883" fmla="*/ 664648 h 784576"/>
                <a:gd name="connsiteX884" fmla="*/ 557126 w 784964"/>
                <a:gd name="connsiteY884" fmla="*/ 665165 h 784576"/>
                <a:gd name="connsiteX885" fmla="*/ 557901 w 784964"/>
                <a:gd name="connsiteY885" fmla="*/ 665553 h 784576"/>
                <a:gd name="connsiteX886" fmla="*/ 559323 w 784964"/>
                <a:gd name="connsiteY886" fmla="*/ 666069 h 784576"/>
                <a:gd name="connsiteX887" fmla="*/ 560615 w 784964"/>
                <a:gd name="connsiteY887" fmla="*/ 666328 h 784576"/>
                <a:gd name="connsiteX888" fmla="*/ 564234 w 784964"/>
                <a:gd name="connsiteY888" fmla="*/ 666587 h 784576"/>
                <a:gd name="connsiteX889" fmla="*/ 567465 w 784964"/>
                <a:gd name="connsiteY889" fmla="*/ 667750 h 784576"/>
                <a:gd name="connsiteX890" fmla="*/ 568369 w 784964"/>
                <a:gd name="connsiteY890" fmla="*/ 668267 h 784576"/>
                <a:gd name="connsiteX891" fmla="*/ 569274 w 784964"/>
                <a:gd name="connsiteY891" fmla="*/ 668396 h 784576"/>
                <a:gd name="connsiteX892" fmla="*/ 570566 w 784964"/>
                <a:gd name="connsiteY892" fmla="*/ 668267 h 784576"/>
                <a:gd name="connsiteX893" fmla="*/ 572246 w 784964"/>
                <a:gd name="connsiteY893" fmla="*/ 667879 h 784576"/>
                <a:gd name="connsiteX894" fmla="*/ 598868 w 784964"/>
                <a:gd name="connsiteY894" fmla="*/ 653534 h 784576"/>
                <a:gd name="connsiteX895" fmla="*/ 600548 w 784964"/>
                <a:gd name="connsiteY895" fmla="*/ 652242 h 784576"/>
                <a:gd name="connsiteX896" fmla="*/ 602099 w 784964"/>
                <a:gd name="connsiteY896" fmla="*/ 650045 h 784576"/>
                <a:gd name="connsiteX897" fmla="*/ 603779 w 784964"/>
                <a:gd name="connsiteY897" fmla="*/ 646038 h 784576"/>
                <a:gd name="connsiteX898" fmla="*/ 604813 w 784964"/>
                <a:gd name="connsiteY898" fmla="*/ 644487 h 784576"/>
                <a:gd name="connsiteX899" fmla="*/ 606751 w 784964"/>
                <a:gd name="connsiteY899" fmla="*/ 642678 h 784576"/>
                <a:gd name="connsiteX900" fmla="*/ 609336 w 784964"/>
                <a:gd name="connsiteY900" fmla="*/ 640869 h 784576"/>
                <a:gd name="connsiteX901" fmla="*/ 622130 w 784964"/>
                <a:gd name="connsiteY901" fmla="*/ 636217 h 784576"/>
                <a:gd name="connsiteX902" fmla="*/ 622906 w 784964"/>
                <a:gd name="connsiteY902" fmla="*/ 635700 h 784576"/>
                <a:gd name="connsiteX903" fmla="*/ 623422 w 784964"/>
                <a:gd name="connsiteY903" fmla="*/ 634407 h 784576"/>
                <a:gd name="connsiteX904" fmla="*/ 623810 w 784964"/>
                <a:gd name="connsiteY904" fmla="*/ 633890 h 784576"/>
                <a:gd name="connsiteX905" fmla="*/ 624327 w 784964"/>
                <a:gd name="connsiteY905" fmla="*/ 633503 h 784576"/>
                <a:gd name="connsiteX906" fmla="*/ 625103 w 784964"/>
                <a:gd name="connsiteY906" fmla="*/ 633632 h 784576"/>
                <a:gd name="connsiteX907" fmla="*/ 625749 w 784964"/>
                <a:gd name="connsiteY907" fmla="*/ 633503 h 784576"/>
                <a:gd name="connsiteX908" fmla="*/ 626395 w 784964"/>
                <a:gd name="connsiteY908" fmla="*/ 633115 h 784576"/>
                <a:gd name="connsiteX909" fmla="*/ 626653 w 784964"/>
                <a:gd name="connsiteY909" fmla="*/ 632340 h 784576"/>
                <a:gd name="connsiteX910" fmla="*/ 627170 w 784964"/>
                <a:gd name="connsiteY910" fmla="*/ 631693 h 784576"/>
                <a:gd name="connsiteX911" fmla="*/ 627946 w 784964"/>
                <a:gd name="connsiteY911" fmla="*/ 631047 h 784576"/>
                <a:gd name="connsiteX912" fmla="*/ 629496 w 784964"/>
                <a:gd name="connsiteY912" fmla="*/ 630401 h 784576"/>
                <a:gd name="connsiteX913" fmla="*/ 630401 w 784964"/>
                <a:gd name="connsiteY913" fmla="*/ 630013 h 784576"/>
                <a:gd name="connsiteX914" fmla="*/ 631047 w 784964"/>
                <a:gd name="connsiteY914" fmla="*/ 629497 h 784576"/>
                <a:gd name="connsiteX915" fmla="*/ 631694 w 784964"/>
                <a:gd name="connsiteY915" fmla="*/ 627946 h 784576"/>
                <a:gd name="connsiteX916" fmla="*/ 632469 w 784964"/>
                <a:gd name="connsiteY916" fmla="*/ 627041 h 784576"/>
                <a:gd name="connsiteX917" fmla="*/ 634149 w 784964"/>
                <a:gd name="connsiteY917" fmla="*/ 625878 h 784576"/>
                <a:gd name="connsiteX918" fmla="*/ 635570 w 784964"/>
                <a:gd name="connsiteY918" fmla="*/ 625490 h 784576"/>
                <a:gd name="connsiteX919" fmla="*/ 636346 w 784964"/>
                <a:gd name="connsiteY919" fmla="*/ 624844 h 784576"/>
                <a:gd name="connsiteX920" fmla="*/ 636863 w 784964"/>
                <a:gd name="connsiteY920" fmla="*/ 624586 h 784576"/>
                <a:gd name="connsiteX921" fmla="*/ 638801 w 784964"/>
                <a:gd name="connsiteY921" fmla="*/ 624327 h 784576"/>
                <a:gd name="connsiteX922" fmla="*/ 636346 w 784964"/>
                <a:gd name="connsiteY922" fmla="*/ 618512 h 784576"/>
                <a:gd name="connsiteX923" fmla="*/ 635570 w 784964"/>
                <a:gd name="connsiteY923" fmla="*/ 616315 h 784576"/>
                <a:gd name="connsiteX924" fmla="*/ 635700 w 784964"/>
                <a:gd name="connsiteY924" fmla="*/ 614247 h 784576"/>
                <a:gd name="connsiteX925" fmla="*/ 635700 w 784964"/>
                <a:gd name="connsiteY925" fmla="*/ 613472 h 784576"/>
                <a:gd name="connsiteX926" fmla="*/ 635441 w 784964"/>
                <a:gd name="connsiteY926" fmla="*/ 612954 h 784576"/>
                <a:gd name="connsiteX927" fmla="*/ 633891 w 784964"/>
                <a:gd name="connsiteY927" fmla="*/ 611533 h 784576"/>
                <a:gd name="connsiteX928" fmla="*/ 633632 w 784964"/>
                <a:gd name="connsiteY928" fmla="*/ 610887 h 784576"/>
                <a:gd name="connsiteX929" fmla="*/ 633115 w 784964"/>
                <a:gd name="connsiteY929" fmla="*/ 609078 h 784576"/>
                <a:gd name="connsiteX930" fmla="*/ 632857 w 784964"/>
                <a:gd name="connsiteY930" fmla="*/ 607527 h 784576"/>
                <a:gd name="connsiteX931" fmla="*/ 632598 w 784964"/>
                <a:gd name="connsiteY931" fmla="*/ 606493 h 784576"/>
                <a:gd name="connsiteX932" fmla="*/ 631694 w 784964"/>
                <a:gd name="connsiteY932" fmla="*/ 605201 h 784576"/>
                <a:gd name="connsiteX933" fmla="*/ 631306 w 784964"/>
                <a:gd name="connsiteY933" fmla="*/ 604167 h 784576"/>
                <a:gd name="connsiteX934" fmla="*/ 630918 w 784964"/>
                <a:gd name="connsiteY934" fmla="*/ 601582 h 784576"/>
                <a:gd name="connsiteX935" fmla="*/ 630401 w 784964"/>
                <a:gd name="connsiteY935" fmla="*/ 600031 h 784576"/>
                <a:gd name="connsiteX936" fmla="*/ 630401 w 784964"/>
                <a:gd name="connsiteY936" fmla="*/ 598610 h 784576"/>
                <a:gd name="connsiteX937" fmla="*/ 630530 w 784964"/>
                <a:gd name="connsiteY937" fmla="*/ 597834 h 784576"/>
                <a:gd name="connsiteX938" fmla="*/ 631177 w 784964"/>
                <a:gd name="connsiteY938" fmla="*/ 596800 h 784576"/>
                <a:gd name="connsiteX939" fmla="*/ 631435 w 784964"/>
                <a:gd name="connsiteY939" fmla="*/ 596283 h 784576"/>
                <a:gd name="connsiteX940" fmla="*/ 631564 w 784964"/>
                <a:gd name="connsiteY940" fmla="*/ 595637 h 784576"/>
                <a:gd name="connsiteX941" fmla="*/ 631694 w 784964"/>
                <a:gd name="connsiteY941" fmla="*/ 594345 h 784576"/>
                <a:gd name="connsiteX942" fmla="*/ 631823 w 784964"/>
                <a:gd name="connsiteY942" fmla="*/ 593699 h 784576"/>
                <a:gd name="connsiteX943" fmla="*/ 632081 w 784964"/>
                <a:gd name="connsiteY943" fmla="*/ 593053 h 784576"/>
                <a:gd name="connsiteX944" fmla="*/ 632986 w 784964"/>
                <a:gd name="connsiteY944" fmla="*/ 591631 h 784576"/>
                <a:gd name="connsiteX945" fmla="*/ 633244 w 784964"/>
                <a:gd name="connsiteY945" fmla="*/ 591114 h 784576"/>
                <a:gd name="connsiteX946" fmla="*/ 633503 w 784964"/>
                <a:gd name="connsiteY946" fmla="*/ 588917 h 784576"/>
                <a:gd name="connsiteX947" fmla="*/ 633761 w 784964"/>
                <a:gd name="connsiteY947" fmla="*/ 588400 h 784576"/>
                <a:gd name="connsiteX948" fmla="*/ 634020 w 784964"/>
                <a:gd name="connsiteY948" fmla="*/ 587754 h 784576"/>
                <a:gd name="connsiteX949" fmla="*/ 634537 w 784964"/>
                <a:gd name="connsiteY949" fmla="*/ 586720 h 784576"/>
                <a:gd name="connsiteX950" fmla="*/ 635829 w 784964"/>
                <a:gd name="connsiteY950" fmla="*/ 584911 h 784576"/>
                <a:gd name="connsiteX951" fmla="*/ 636992 w 784964"/>
                <a:gd name="connsiteY951" fmla="*/ 582843 h 784576"/>
                <a:gd name="connsiteX952" fmla="*/ 637380 w 784964"/>
                <a:gd name="connsiteY952" fmla="*/ 582455 h 784576"/>
                <a:gd name="connsiteX953" fmla="*/ 638155 w 784964"/>
                <a:gd name="connsiteY953" fmla="*/ 581809 h 784576"/>
                <a:gd name="connsiteX954" fmla="*/ 639060 w 784964"/>
                <a:gd name="connsiteY954" fmla="*/ 581163 h 784576"/>
                <a:gd name="connsiteX955" fmla="*/ 639577 w 784964"/>
                <a:gd name="connsiteY955" fmla="*/ 580775 h 784576"/>
                <a:gd name="connsiteX956" fmla="*/ 639835 w 784964"/>
                <a:gd name="connsiteY956" fmla="*/ 580129 h 784576"/>
                <a:gd name="connsiteX957" fmla="*/ 639965 w 784964"/>
                <a:gd name="connsiteY957" fmla="*/ 579483 h 784576"/>
                <a:gd name="connsiteX958" fmla="*/ 640223 w 784964"/>
                <a:gd name="connsiteY958" fmla="*/ 575089 h 784576"/>
                <a:gd name="connsiteX959" fmla="*/ 639965 w 784964"/>
                <a:gd name="connsiteY959" fmla="*/ 572375 h 784576"/>
                <a:gd name="connsiteX960" fmla="*/ 639447 w 784964"/>
                <a:gd name="connsiteY960" fmla="*/ 570824 h 784576"/>
                <a:gd name="connsiteX961" fmla="*/ 638284 w 784964"/>
                <a:gd name="connsiteY961" fmla="*/ 567981 h 784576"/>
                <a:gd name="connsiteX962" fmla="*/ 637638 w 784964"/>
                <a:gd name="connsiteY962" fmla="*/ 567077 h 784576"/>
                <a:gd name="connsiteX963" fmla="*/ 636863 w 784964"/>
                <a:gd name="connsiteY963" fmla="*/ 566431 h 784576"/>
                <a:gd name="connsiteX964" fmla="*/ 635829 w 784964"/>
                <a:gd name="connsiteY964" fmla="*/ 565655 h 784576"/>
                <a:gd name="connsiteX965" fmla="*/ 632210 w 784964"/>
                <a:gd name="connsiteY965" fmla="*/ 563717 h 784576"/>
                <a:gd name="connsiteX966" fmla="*/ 631177 w 784964"/>
                <a:gd name="connsiteY966" fmla="*/ 563329 h 784576"/>
                <a:gd name="connsiteX967" fmla="*/ 630530 w 784964"/>
                <a:gd name="connsiteY967" fmla="*/ 563200 h 784576"/>
                <a:gd name="connsiteX968" fmla="*/ 629109 w 784964"/>
                <a:gd name="connsiteY968" fmla="*/ 563200 h 784576"/>
                <a:gd name="connsiteX969" fmla="*/ 628463 w 784964"/>
                <a:gd name="connsiteY969" fmla="*/ 563200 h 784576"/>
                <a:gd name="connsiteX970" fmla="*/ 627817 w 784964"/>
                <a:gd name="connsiteY970" fmla="*/ 562941 h 784576"/>
                <a:gd name="connsiteX971" fmla="*/ 625878 w 784964"/>
                <a:gd name="connsiteY971" fmla="*/ 561778 h 784576"/>
                <a:gd name="connsiteX972" fmla="*/ 625878 w 784964"/>
                <a:gd name="connsiteY972" fmla="*/ 561778 h 784576"/>
                <a:gd name="connsiteX973" fmla="*/ 625232 w 784964"/>
                <a:gd name="connsiteY973" fmla="*/ 561649 h 784576"/>
                <a:gd name="connsiteX974" fmla="*/ 624586 w 784964"/>
                <a:gd name="connsiteY974" fmla="*/ 561520 h 784576"/>
                <a:gd name="connsiteX975" fmla="*/ 623939 w 784964"/>
                <a:gd name="connsiteY975" fmla="*/ 561649 h 784576"/>
                <a:gd name="connsiteX976" fmla="*/ 622389 w 784964"/>
                <a:gd name="connsiteY976" fmla="*/ 562295 h 784576"/>
                <a:gd name="connsiteX977" fmla="*/ 621872 w 784964"/>
                <a:gd name="connsiteY977" fmla="*/ 562553 h 784576"/>
                <a:gd name="connsiteX978" fmla="*/ 621484 w 784964"/>
                <a:gd name="connsiteY978" fmla="*/ 562941 h 784576"/>
                <a:gd name="connsiteX979" fmla="*/ 620967 w 784964"/>
                <a:gd name="connsiteY979" fmla="*/ 563329 h 784576"/>
                <a:gd name="connsiteX980" fmla="*/ 619933 w 784964"/>
                <a:gd name="connsiteY980" fmla="*/ 564492 h 784576"/>
                <a:gd name="connsiteX981" fmla="*/ 619546 w 784964"/>
                <a:gd name="connsiteY981" fmla="*/ 564880 h 784576"/>
                <a:gd name="connsiteX982" fmla="*/ 618899 w 784964"/>
                <a:gd name="connsiteY982" fmla="*/ 565009 h 784576"/>
                <a:gd name="connsiteX983" fmla="*/ 618382 w 784964"/>
                <a:gd name="connsiteY983" fmla="*/ 565009 h 784576"/>
                <a:gd name="connsiteX984" fmla="*/ 617866 w 784964"/>
                <a:gd name="connsiteY984" fmla="*/ 564750 h 784576"/>
                <a:gd name="connsiteX985" fmla="*/ 617349 w 784964"/>
                <a:gd name="connsiteY985" fmla="*/ 564492 h 784576"/>
                <a:gd name="connsiteX986" fmla="*/ 616315 w 784964"/>
                <a:gd name="connsiteY986" fmla="*/ 563587 h 784576"/>
                <a:gd name="connsiteX987" fmla="*/ 612567 w 784964"/>
                <a:gd name="connsiteY987" fmla="*/ 559193 h 784576"/>
                <a:gd name="connsiteX988" fmla="*/ 612179 w 784964"/>
                <a:gd name="connsiteY988" fmla="*/ 558289 h 784576"/>
                <a:gd name="connsiteX989" fmla="*/ 611662 w 784964"/>
                <a:gd name="connsiteY989" fmla="*/ 556738 h 784576"/>
                <a:gd name="connsiteX990" fmla="*/ 611792 w 784964"/>
                <a:gd name="connsiteY990" fmla="*/ 553766 h 784576"/>
                <a:gd name="connsiteX991" fmla="*/ 611921 w 784964"/>
                <a:gd name="connsiteY991" fmla="*/ 552344 h 784576"/>
                <a:gd name="connsiteX992" fmla="*/ 612438 w 784964"/>
                <a:gd name="connsiteY992" fmla="*/ 551310 h 784576"/>
                <a:gd name="connsiteX993" fmla="*/ 612309 w 784964"/>
                <a:gd name="connsiteY993" fmla="*/ 550664 h 784576"/>
                <a:gd name="connsiteX994" fmla="*/ 612179 w 784964"/>
                <a:gd name="connsiteY994" fmla="*/ 549372 h 784576"/>
                <a:gd name="connsiteX995" fmla="*/ 612955 w 784964"/>
                <a:gd name="connsiteY995" fmla="*/ 548209 h 784576"/>
                <a:gd name="connsiteX996" fmla="*/ 613601 w 784964"/>
                <a:gd name="connsiteY996" fmla="*/ 546270 h 784576"/>
                <a:gd name="connsiteX997" fmla="*/ 613730 w 784964"/>
                <a:gd name="connsiteY997" fmla="*/ 545236 h 784576"/>
                <a:gd name="connsiteX998" fmla="*/ 615022 w 784964"/>
                <a:gd name="connsiteY998" fmla="*/ 542781 h 784576"/>
                <a:gd name="connsiteX999" fmla="*/ 615669 w 784964"/>
                <a:gd name="connsiteY999" fmla="*/ 542393 h 784576"/>
                <a:gd name="connsiteX1000" fmla="*/ 616185 w 784964"/>
                <a:gd name="connsiteY1000" fmla="*/ 542522 h 784576"/>
                <a:gd name="connsiteX1001" fmla="*/ 617478 w 784964"/>
                <a:gd name="connsiteY1001" fmla="*/ 543556 h 784576"/>
                <a:gd name="connsiteX1002" fmla="*/ 617866 w 784964"/>
                <a:gd name="connsiteY1002" fmla="*/ 543815 h 784576"/>
                <a:gd name="connsiteX1003" fmla="*/ 618382 w 784964"/>
                <a:gd name="connsiteY1003" fmla="*/ 543944 h 784576"/>
                <a:gd name="connsiteX1004" fmla="*/ 619416 w 784964"/>
                <a:gd name="connsiteY1004" fmla="*/ 544461 h 784576"/>
                <a:gd name="connsiteX1005" fmla="*/ 619933 w 784964"/>
                <a:gd name="connsiteY1005" fmla="*/ 544590 h 784576"/>
                <a:gd name="connsiteX1006" fmla="*/ 620450 w 784964"/>
                <a:gd name="connsiteY1006" fmla="*/ 544461 h 784576"/>
                <a:gd name="connsiteX1007" fmla="*/ 620838 w 784964"/>
                <a:gd name="connsiteY1007" fmla="*/ 544202 h 784576"/>
                <a:gd name="connsiteX1008" fmla="*/ 621226 w 784964"/>
                <a:gd name="connsiteY1008" fmla="*/ 544073 h 784576"/>
                <a:gd name="connsiteX1009" fmla="*/ 621613 w 784964"/>
                <a:gd name="connsiteY1009" fmla="*/ 543815 h 784576"/>
                <a:gd name="connsiteX1010" fmla="*/ 621613 w 784964"/>
                <a:gd name="connsiteY1010" fmla="*/ 543427 h 784576"/>
                <a:gd name="connsiteX1011" fmla="*/ 621484 w 784964"/>
                <a:gd name="connsiteY1011" fmla="*/ 542781 h 784576"/>
                <a:gd name="connsiteX1012" fmla="*/ 621355 w 784964"/>
                <a:gd name="connsiteY1012" fmla="*/ 542264 h 784576"/>
                <a:gd name="connsiteX1013" fmla="*/ 621743 w 784964"/>
                <a:gd name="connsiteY1013" fmla="*/ 541488 h 784576"/>
                <a:gd name="connsiteX1014" fmla="*/ 622259 w 784964"/>
                <a:gd name="connsiteY1014" fmla="*/ 541101 h 784576"/>
                <a:gd name="connsiteX1015" fmla="*/ 622906 w 784964"/>
                <a:gd name="connsiteY1015" fmla="*/ 540842 h 784576"/>
                <a:gd name="connsiteX1016" fmla="*/ 623422 w 784964"/>
                <a:gd name="connsiteY1016" fmla="*/ 540325 h 784576"/>
                <a:gd name="connsiteX1017" fmla="*/ 623810 w 784964"/>
                <a:gd name="connsiteY1017" fmla="*/ 539291 h 784576"/>
                <a:gd name="connsiteX1018" fmla="*/ 623939 w 784964"/>
                <a:gd name="connsiteY1018" fmla="*/ 538387 h 784576"/>
                <a:gd name="connsiteX1019" fmla="*/ 623681 w 784964"/>
                <a:gd name="connsiteY1019" fmla="*/ 537353 h 784576"/>
                <a:gd name="connsiteX1020" fmla="*/ 623422 w 784964"/>
                <a:gd name="connsiteY1020" fmla="*/ 536836 h 784576"/>
                <a:gd name="connsiteX1021" fmla="*/ 623293 w 784964"/>
                <a:gd name="connsiteY1021" fmla="*/ 536319 h 784576"/>
                <a:gd name="connsiteX1022" fmla="*/ 623939 w 784964"/>
                <a:gd name="connsiteY1022" fmla="*/ 535544 h 784576"/>
                <a:gd name="connsiteX1023" fmla="*/ 624715 w 784964"/>
                <a:gd name="connsiteY1023" fmla="*/ 533993 h 784576"/>
                <a:gd name="connsiteX1024" fmla="*/ 625103 w 784964"/>
                <a:gd name="connsiteY1024" fmla="*/ 533605 h 784576"/>
                <a:gd name="connsiteX1025" fmla="*/ 625490 w 784964"/>
                <a:gd name="connsiteY1025" fmla="*/ 533347 h 784576"/>
                <a:gd name="connsiteX1026" fmla="*/ 626007 w 784964"/>
                <a:gd name="connsiteY1026" fmla="*/ 532571 h 784576"/>
                <a:gd name="connsiteX1027" fmla="*/ 626395 w 784964"/>
                <a:gd name="connsiteY1027" fmla="*/ 532442 h 784576"/>
                <a:gd name="connsiteX1028" fmla="*/ 626912 w 784964"/>
                <a:gd name="connsiteY1028" fmla="*/ 532571 h 784576"/>
                <a:gd name="connsiteX1029" fmla="*/ 627299 w 784964"/>
                <a:gd name="connsiteY1029" fmla="*/ 532701 h 784576"/>
                <a:gd name="connsiteX1030" fmla="*/ 627817 w 784964"/>
                <a:gd name="connsiteY1030" fmla="*/ 532701 h 784576"/>
                <a:gd name="connsiteX1031" fmla="*/ 628333 w 784964"/>
                <a:gd name="connsiteY1031" fmla="*/ 532313 h 784576"/>
                <a:gd name="connsiteX1032" fmla="*/ 629238 w 784964"/>
                <a:gd name="connsiteY1032" fmla="*/ 530504 h 784576"/>
                <a:gd name="connsiteX1033" fmla="*/ 630789 w 784964"/>
                <a:gd name="connsiteY1033" fmla="*/ 529341 h 784576"/>
                <a:gd name="connsiteX1034" fmla="*/ 631306 w 784964"/>
                <a:gd name="connsiteY1034" fmla="*/ 528436 h 784576"/>
                <a:gd name="connsiteX1035" fmla="*/ 631694 w 784964"/>
                <a:gd name="connsiteY1035" fmla="*/ 527919 h 784576"/>
                <a:gd name="connsiteX1036" fmla="*/ 631823 w 784964"/>
                <a:gd name="connsiteY1036" fmla="*/ 527273 h 784576"/>
                <a:gd name="connsiteX1037" fmla="*/ 631306 w 784964"/>
                <a:gd name="connsiteY1037" fmla="*/ 526239 h 784576"/>
                <a:gd name="connsiteX1038" fmla="*/ 631435 w 784964"/>
                <a:gd name="connsiteY1038" fmla="*/ 525851 h 784576"/>
                <a:gd name="connsiteX1039" fmla="*/ 632469 w 784964"/>
                <a:gd name="connsiteY1039" fmla="*/ 525722 h 784576"/>
                <a:gd name="connsiteX1040" fmla="*/ 632727 w 784964"/>
                <a:gd name="connsiteY1040" fmla="*/ 525464 h 784576"/>
                <a:gd name="connsiteX1041" fmla="*/ 632598 w 784964"/>
                <a:gd name="connsiteY1041" fmla="*/ 524688 h 784576"/>
                <a:gd name="connsiteX1042" fmla="*/ 632469 w 784964"/>
                <a:gd name="connsiteY1042" fmla="*/ 524171 h 784576"/>
                <a:gd name="connsiteX1043" fmla="*/ 632727 w 784964"/>
                <a:gd name="connsiteY1043" fmla="*/ 523654 h 784576"/>
                <a:gd name="connsiteX1044" fmla="*/ 633891 w 784964"/>
                <a:gd name="connsiteY1044" fmla="*/ 523137 h 784576"/>
                <a:gd name="connsiteX1045" fmla="*/ 634278 w 784964"/>
                <a:gd name="connsiteY1045" fmla="*/ 522750 h 784576"/>
                <a:gd name="connsiteX1046" fmla="*/ 634666 w 784964"/>
                <a:gd name="connsiteY1046" fmla="*/ 522362 h 784576"/>
                <a:gd name="connsiteX1047" fmla="*/ 635054 w 784964"/>
                <a:gd name="connsiteY1047" fmla="*/ 521974 h 784576"/>
                <a:gd name="connsiteX1048" fmla="*/ 635441 w 784964"/>
                <a:gd name="connsiteY1048" fmla="*/ 521716 h 784576"/>
                <a:gd name="connsiteX1049" fmla="*/ 635958 w 784964"/>
                <a:gd name="connsiteY1049" fmla="*/ 521716 h 784576"/>
                <a:gd name="connsiteX1050" fmla="*/ 636475 w 784964"/>
                <a:gd name="connsiteY1050" fmla="*/ 521845 h 784576"/>
                <a:gd name="connsiteX1051" fmla="*/ 636863 w 784964"/>
                <a:gd name="connsiteY1051" fmla="*/ 522233 h 784576"/>
                <a:gd name="connsiteX1052" fmla="*/ 637380 w 784964"/>
                <a:gd name="connsiteY1052" fmla="*/ 522233 h 784576"/>
                <a:gd name="connsiteX1053" fmla="*/ 637767 w 784964"/>
                <a:gd name="connsiteY1053" fmla="*/ 521974 h 784576"/>
                <a:gd name="connsiteX1054" fmla="*/ 638284 w 784964"/>
                <a:gd name="connsiteY1054" fmla="*/ 521716 h 784576"/>
                <a:gd name="connsiteX1055" fmla="*/ 639060 w 784964"/>
                <a:gd name="connsiteY1055" fmla="*/ 521069 h 784576"/>
                <a:gd name="connsiteX1056" fmla="*/ 639447 w 784964"/>
                <a:gd name="connsiteY1056" fmla="*/ 520553 h 784576"/>
                <a:gd name="connsiteX1057" fmla="*/ 640094 w 784964"/>
                <a:gd name="connsiteY1057" fmla="*/ 518226 h 784576"/>
                <a:gd name="connsiteX1058" fmla="*/ 640352 w 784964"/>
                <a:gd name="connsiteY1058" fmla="*/ 517709 h 784576"/>
                <a:gd name="connsiteX1059" fmla="*/ 640740 w 784964"/>
                <a:gd name="connsiteY1059" fmla="*/ 517193 h 784576"/>
                <a:gd name="connsiteX1060" fmla="*/ 642549 w 784964"/>
                <a:gd name="connsiteY1060" fmla="*/ 515900 h 784576"/>
                <a:gd name="connsiteX1061" fmla="*/ 642807 w 784964"/>
                <a:gd name="connsiteY1061" fmla="*/ 515512 h 784576"/>
                <a:gd name="connsiteX1062" fmla="*/ 643841 w 784964"/>
                <a:gd name="connsiteY1062" fmla="*/ 514866 h 784576"/>
                <a:gd name="connsiteX1063" fmla="*/ 645005 w 784964"/>
                <a:gd name="connsiteY1063" fmla="*/ 514608 h 784576"/>
                <a:gd name="connsiteX1064" fmla="*/ 645521 w 784964"/>
                <a:gd name="connsiteY1064" fmla="*/ 514608 h 784576"/>
                <a:gd name="connsiteX1065" fmla="*/ 645909 w 784964"/>
                <a:gd name="connsiteY1065" fmla="*/ 514479 h 784576"/>
                <a:gd name="connsiteX1066" fmla="*/ 646168 w 784964"/>
                <a:gd name="connsiteY1066" fmla="*/ 514091 h 784576"/>
                <a:gd name="connsiteX1067" fmla="*/ 645780 w 784964"/>
                <a:gd name="connsiteY1067" fmla="*/ 513316 h 784576"/>
                <a:gd name="connsiteX1068" fmla="*/ 644100 w 784964"/>
                <a:gd name="connsiteY1068" fmla="*/ 510860 h 784576"/>
                <a:gd name="connsiteX1069" fmla="*/ 643841 w 784964"/>
                <a:gd name="connsiteY1069" fmla="*/ 510343 h 784576"/>
                <a:gd name="connsiteX1070" fmla="*/ 643712 w 784964"/>
                <a:gd name="connsiteY1070" fmla="*/ 509826 h 784576"/>
                <a:gd name="connsiteX1071" fmla="*/ 643712 w 784964"/>
                <a:gd name="connsiteY1071" fmla="*/ 509180 h 784576"/>
                <a:gd name="connsiteX1072" fmla="*/ 643971 w 784964"/>
                <a:gd name="connsiteY1072" fmla="*/ 508405 h 784576"/>
                <a:gd name="connsiteX1073" fmla="*/ 644358 w 784964"/>
                <a:gd name="connsiteY1073" fmla="*/ 507758 h 784576"/>
                <a:gd name="connsiteX1074" fmla="*/ 644617 w 784964"/>
                <a:gd name="connsiteY1074" fmla="*/ 507371 h 784576"/>
                <a:gd name="connsiteX1075" fmla="*/ 645521 w 784964"/>
                <a:gd name="connsiteY1075" fmla="*/ 506595 h 784576"/>
                <a:gd name="connsiteX1076" fmla="*/ 645909 w 784964"/>
                <a:gd name="connsiteY1076" fmla="*/ 506078 h 784576"/>
                <a:gd name="connsiteX1077" fmla="*/ 646943 w 784964"/>
                <a:gd name="connsiteY1077" fmla="*/ 504915 h 784576"/>
                <a:gd name="connsiteX1078" fmla="*/ 647460 w 784964"/>
                <a:gd name="connsiteY1078" fmla="*/ 504657 h 784576"/>
                <a:gd name="connsiteX1079" fmla="*/ 647977 w 784964"/>
                <a:gd name="connsiteY1079" fmla="*/ 504528 h 784576"/>
                <a:gd name="connsiteX1080" fmla="*/ 648623 w 784964"/>
                <a:gd name="connsiteY1080" fmla="*/ 504528 h 784576"/>
                <a:gd name="connsiteX1081" fmla="*/ 649140 w 784964"/>
                <a:gd name="connsiteY1081" fmla="*/ 504657 h 784576"/>
                <a:gd name="connsiteX1082" fmla="*/ 649657 w 784964"/>
                <a:gd name="connsiteY1082" fmla="*/ 504915 h 784576"/>
                <a:gd name="connsiteX1083" fmla="*/ 650174 w 784964"/>
                <a:gd name="connsiteY1083" fmla="*/ 505045 h 784576"/>
                <a:gd name="connsiteX1084" fmla="*/ 650820 w 784964"/>
                <a:gd name="connsiteY1084" fmla="*/ 505045 h 784576"/>
                <a:gd name="connsiteX1085" fmla="*/ 651208 w 784964"/>
                <a:gd name="connsiteY1085" fmla="*/ 504786 h 784576"/>
                <a:gd name="connsiteX1086" fmla="*/ 651725 w 784964"/>
                <a:gd name="connsiteY1086" fmla="*/ 504528 h 784576"/>
                <a:gd name="connsiteX1087" fmla="*/ 651983 w 784964"/>
                <a:gd name="connsiteY1087" fmla="*/ 504011 h 784576"/>
                <a:gd name="connsiteX1088" fmla="*/ 652371 w 784964"/>
                <a:gd name="connsiteY1088" fmla="*/ 503494 h 784576"/>
                <a:gd name="connsiteX1089" fmla="*/ 652371 w 784964"/>
                <a:gd name="connsiteY1089" fmla="*/ 502331 h 784576"/>
                <a:gd name="connsiteX1090" fmla="*/ 652112 w 784964"/>
                <a:gd name="connsiteY1090" fmla="*/ 500651 h 784576"/>
                <a:gd name="connsiteX1091" fmla="*/ 651208 w 784964"/>
                <a:gd name="connsiteY1091" fmla="*/ 497161 h 784576"/>
                <a:gd name="connsiteX1092" fmla="*/ 650174 w 784964"/>
                <a:gd name="connsiteY1092" fmla="*/ 494577 h 784576"/>
                <a:gd name="connsiteX1093" fmla="*/ 649528 w 784964"/>
                <a:gd name="connsiteY1093" fmla="*/ 493672 h 784576"/>
                <a:gd name="connsiteX1094" fmla="*/ 649140 w 784964"/>
                <a:gd name="connsiteY1094" fmla="*/ 492509 h 784576"/>
                <a:gd name="connsiteX1095" fmla="*/ 648235 w 784964"/>
                <a:gd name="connsiteY1095" fmla="*/ 488503 h 784576"/>
                <a:gd name="connsiteX1096" fmla="*/ 647848 w 784964"/>
                <a:gd name="connsiteY1096" fmla="*/ 487598 h 784576"/>
                <a:gd name="connsiteX1097" fmla="*/ 647589 w 784964"/>
                <a:gd name="connsiteY1097" fmla="*/ 486823 h 784576"/>
                <a:gd name="connsiteX1098" fmla="*/ 646297 w 784964"/>
                <a:gd name="connsiteY1098" fmla="*/ 485143 h 784576"/>
                <a:gd name="connsiteX1099" fmla="*/ 645651 w 784964"/>
                <a:gd name="connsiteY1099" fmla="*/ 483850 h 784576"/>
                <a:gd name="connsiteX1100" fmla="*/ 643841 w 784964"/>
                <a:gd name="connsiteY1100" fmla="*/ 476355 h 784576"/>
                <a:gd name="connsiteX1101" fmla="*/ 642161 w 784964"/>
                <a:gd name="connsiteY1101" fmla="*/ 472865 h 784576"/>
                <a:gd name="connsiteX1102" fmla="*/ 641515 w 784964"/>
                <a:gd name="connsiteY1102" fmla="*/ 471961 h 784576"/>
                <a:gd name="connsiteX1103" fmla="*/ 639965 w 784964"/>
                <a:gd name="connsiteY1103" fmla="*/ 468471 h 784576"/>
                <a:gd name="connsiteX1104" fmla="*/ 639318 w 784964"/>
                <a:gd name="connsiteY1104" fmla="*/ 467825 h 784576"/>
                <a:gd name="connsiteX1105" fmla="*/ 638543 w 784964"/>
                <a:gd name="connsiteY1105" fmla="*/ 467308 h 784576"/>
                <a:gd name="connsiteX1106" fmla="*/ 638026 w 784964"/>
                <a:gd name="connsiteY1106" fmla="*/ 467179 h 784576"/>
                <a:gd name="connsiteX1107" fmla="*/ 637638 w 784964"/>
                <a:gd name="connsiteY1107" fmla="*/ 466791 h 784576"/>
                <a:gd name="connsiteX1108" fmla="*/ 636863 w 784964"/>
                <a:gd name="connsiteY1108" fmla="*/ 465241 h 784576"/>
                <a:gd name="connsiteX1109" fmla="*/ 636604 w 784964"/>
                <a:gd name="connsiteY1109" fmla="*/ 464853 h 784576"/>
                <a:gd name="connsiteX1110" fmla="*/ 636087 w 784964"/>
                <a:gd name="connsiteY1110" fmla="*/ 464465 h 784576"/>
                <a:gd name="connsiteX1111" fmla="*/ 635700 w 784964"/>
                <a:gd name="connsiteY1111" fmla="*/ 464207 h 784576"/>
                <a:gd name="connsiteX1112" fmla="*/ 633891 w 784964"/>
                <a:gd name="connsiteY1112" fmla="*/ 463561 h 784576"/>
                <a:gd name="connsiteX1113" fmla="*/ 633373 w 784964"/>
                <a:gd name="connsiteY1113" fmla="*/ 463302 h 784576"/>
                <a:gd name="connsiteX1114" fmla="*/ 632986 w 784964"/>
                <a:gd name="connsiteY1114" fmla="*/ 462914 h 784576"/>
                <a:gd name="connsiteX1115" fmla="*/ 632469 w 784964"/>
                <a:gd name="connsiteY1115" fmla="*/ 461881 h 784576"/>
                <a:gd name="connsiteX1116" fmla="*/ 632210 w 784964"/>
                <a:gd name="connsiteY1116" fmla="*/ 461493 h 784576"/>
                <a:gd name="connsiteX1117" fmla="*/ 631306 w 784964"/>
                <a:gd name="connsiteY1117" fmla="*/ 460847 h 784576"/>
                <a:gd name="connsiteX1118" fmla="*/ 630143 w 784964"/>
                <a:gd name="connsiteY1118" fmla="*/ 460330 h 784576"/>
                <a:gd name="connsiteX1119" fmla="*/ 628204 w 784964"/>
                <a:gd name="connsiteY1119" fmla="*/ 459942 h 784576"/>
                <a:gd name="connsiteX1120" fmla="*/ 626136 w 784964"/>
                <a:gd name="connsiteY1120" fmla="*/ 458908 h 784576"/>
                <a:gd name="connsiteX1121" fmla="*/ 625232 w 784964"/>
                <a:gd name="connsiteY1121" fmla="*/ 458133 h 784576"/>
                <a:gd name="connsiteX1122" fmla="*/ 621743 w 784964"/>
                <a:gd name="connsiteY1122" fmla="*/ 453997 h 784576"/>
                <a:gd name="connsiteX1123" fmla="*/ 621226 w 784964"/>
                <a:gd name="connsiteY1123" fmla="*/ 453093 h 784576"/>
                <a:gd name="connsiteX1124" fmla="*/ 620062 w 784964"/>
                <a:gd name="connsiteY1124" fmla="*/ 450508 h 784576"/>
                <a:gd name="connsiteX1125" fmla="*/ 620062 w 784964"/>
                <a:gd name="connsiteY1125" fmla="*/ 450508 h 784576"/>
                <a:gd name="connsiteX1126" fmla="*/ 620062 w 784964"/>
                <a:gd name="connsiteY1126" fmla="*/ 450508 h 784576"/>
                <a:gd name="connsiteX1127" fmla="*/ 619933 w 784964"/>
                <a:gd name="connsiteY1127" fmla="*/ 450379 h 784576"/>
                <a:gd name="connsiteX1128" fmla="*/ 619933 w 784964"/>
                <a:gd name="connsiteY1128" fmla="*/ 449603 h 784576"/>
                <a:gd name="connsiteX1129" fmla="*/ 621743 w 784964"/>
                <a:gd name="connsiteY1129" fmla="*/ 441332 h 784576"/>
                <a:gd name="connsiteX1130" fmla="*/ 622130 w 784964"/>
                <a:gd name="connsiteY1130" fmla="*/ 440557 h 784576"/>
                <a:gd name="connsiteX1131" fmla="*/ 626007 w 784964"/>
                <a:gd name="connsiteY1131" fmla="*/ 437197 h 784576"/>
                <a:gd name="connsiteX1132" fmla="*/ 626653 w 784964"/>
                <a:gd name="connsiteY1132" fmla="*/ 436292 h 784576"/>
                <a:gd name="connsiteX1133" fmla="*/ 627817 w 784964"/>
                <a:gd name="connsiteY1133" fmla="*/ 433708 h 784576"/>
                <a:gd name="connsiteX1134" fmla="*/ 628204 w 784964"/>
                <a:gd name="connsiteY1134" fmla="*/ 433191 h 784576"/>
                <a:gd name="connsiteX1135" fmla="*/ 628592 w 784964"/>
                <a:gd name="connsiteY1135" fmla="*/ 432674 h 784576"/>
                <a:gd name="connsiteX1136" fmla="*/ 628980 w 784964"/>
                <a:gd name="connsiteY1136" fmla="*/ 432286 h 784576"/>
                <a:gd name="connsiteX1137" fmla="*/ 629367 w 784964"/>
                <a:gd name="connsiteY1137" fmla="*/ 431769 h 784576"/>
                <a:gd name="connsiteX1138" fmla="*/ 631177 w 784964"/>
                <a:gd name="connsiteY1138" fmla="*/ 428409 h 784576"/>
                <a:gd name="connsiteX1139" fmla="*/ 633503 w 784964"/>
                <a:gd name="connsiteY1139" fmla="*/ 422464 h 784576"/>
                <a:gd name="connsiteX1140" fmla="*/ 633761 w 784964"/>
                <a:gd name="connsiteY1140" fmla="*/ 421431 h 784576"/>
                <a:gd name="connsiteX1141" fmla="*/ 633891 w 784964"/>
                <a:gd name="connsiteY1141" fmla="*/ 420397 h 784576"/>
                <a:gd name="connsiteX1142" fmla="*/ 632340 w 784964"/>
                <a:gd name="connsiteY1142" fmla="*/ 411350 h 784576"/>
                <a:gd name="connsiteX1143" fmla="*/ 632469 w 784964"/>
                <a:gd name="connsiteY1143" fmla="*/ 410187 h 784576"/>
                <a:gd name="connsiteX1144" fmla="*/ 632986 w 784964"/>
                <a:gd name="connsiteY1144" fmla="*/ 408766 h 784576"/>
                <a:gd name="connsiteX1145" fmla="*/ 635700 w 784964"/>
                <a:gd name="connsiteY1145" fmla="*/ 403079 h 784576"/>
                <a:gd name="connsiteX1146" fmla="*/ 636087 w 784964"/>
                <a:gd name="connsiteY1146" fmla="*/ 399461 h 784576"/>
                <a:gd name="connsiteX1147" fmla="*/ 603521 w 784964"/>
                <a:gd name="connsiteY1147" fmla="*/ 399719 h 784576"/>
                <a:gd name="connsiteX1148" fmla="*/ 576898 w 784964"/>
                <a:gd name="connsiteY1148" fmla="*/ 399719 h 784576"/>
                <a:gd name="connsiteX1149" fmla="*/ 541876 w 784964"/>
                <a:gd name="connsiteY1149" fmla="*/ 399461 h 784576"/>
                <a:gd name="connsiteX1150" fmla="*/ 534510 w 784964"/>
                <a:gd name="connsiteY1150" fmla="*/ 398556 h 784576"/>
                <a:gd name="connsiteX1151" fmla="*/ 534381 w 784964"/>
                <a:gd name="connsiteY1151" fmla="*/ 397910 h 784576"/>
                <a:gd name="connsiteX1152" fmla="*/ 534381 w 784964"/>
                <a:gd name="connsiteY1152" fmla="*/ 397264 h 784576"/>
                <a:gd name="connsiteX1153" fmla="*/ 534510 w 784964"/>
                <a:gd name="connsiteY1153" fmla="*/ 396618 h 784576"/>
                <a:gd name="connsiteX1154" fmla="*/ 534898 w 784964"/>
                <a:gd name="connsiteY1154" fmla="*/ 395067 h 784576"/>
                <a:gd name="connsiteX1155" fmla="*/ 535544 w 784964"/>
                <a:gd name="connsiteY1155" fmla="*/ 393645 h 784576"/>
                <a:gd name="connsiteX1156" fmla="*/ 536190 w 784964"/>
                <a:gd name="connsiteY1156" fmla="*/ 391319 h 784576"/>
                <a:gd name="connsiteX1157" fmla="*/ 536448 w 784964"/>
                <a:gd name="connsiteY1157" fmla="*/ 390415 h 784576"/>
                <a:gd name="connsiteX1158" fmla="*/ 535802 w 784964"/>
                <a:gd name="connsiteY1158" fmla="*/ 388993 h 784576"/>
                <a:gd name="connsiteX1159" fmla="*/ 534251 w 784964"/>
                <a:gd name="connsiteY1159" fmla="*/ 388217 h 784576"/>
                <a:gd name="connsiteX1160" fmla="*/ 533735 w 784964"/>
                <a:gd name="connsiteY1160" fmla="*/ 387830 h 784576"/>
                <a:gd name="connsiteX1161" fmla="*/ 533476 w 784964"/>
                <a:gd name="connsiteY1161" fmla="*/ 387313 h 784576"/>
                <a:gd name="connsiteX1162" fmla="*/ 533088 w 784964"/>
                <a:gd name="connsiteY1162" fmla="*/ 384341 h 784576"/>
                <a:gd name="connsiteX1163" fmla="*/ 531667 w 784964"/>
                <a:gd name="connsiteY1163" fmla="*/ 377362 h 784576"/>
                <a:gd name="connsiteX1164" fmla="*/ 531796 w 784964"/>
                <a:gd name="connsiteY1164" fmla="*/ 376199 h 784576"/>
                <a:gd name="connsiteX1165" fmla="*/ 532054 w 784964"/>
                <a:gd name="connsiteY1165" fmla="*/ 375553 h 784576"/>
                <a:gd name="connsiteX1166" fmla="*/ 532571 w 784964"/>
                <a:gd name="connsiteY1166" fmla="*/ 375165 h 784576"/>
                <a:gd name="connsiteX1167" fmla="*/ 534122 w 784964"/>
                <a:gd name="connsiteY1167" fmla="*/ 374648 h 784576"/>
                <a:gd name="connsiteX1168" fmla="*/ 535156 w 784964"/>
                <a:gd name="connsiteY1168" fmla="*/ 374002 h 784576"/>
                <a:gd name="connsiteX1169" fmla="*/ 535931 w 784964"/>
                <a:gd name="connsiteY1169" fmla="*/ 373356 h 784576"/>
                <a:gd name="connsiteX1170" fmla="*/ 536707 w 784964"/>
                <a:gd name="connsiteY1170" fmla="*/ 372580 h 784576"/>
                <a:gd name="connsiteX1171" fmla="*/ 537353 w 784964"/>
                <a:gd name="connsiteY1171" fmla="*/ 371546 h 784576"/>
                <a:gd name="connsiteX1172" fmla="*/ 538387 w 784964"/>
                <a:gd name="connsiteY1172" fmla="*/ 369479 h 784576"/>
                <a:gd name="connsiteX1173" fmla="*/ 539809 w 784964"/>
                <a:gd name="connsiteY1173" fmla="*/ 365731 h 784576"/>
                <a:gd name="connsiteX1174" fmla="*/ 538516 w 784964"/>
                <a:gd name="connsiteY1174" fmla="*/ 364309 h 784576"/>
                <a:gd name="connsiteX1175" fmla="*/ 536707 w 784964"/>
                <a:gd name="connsiteY1175" fmla="*/ 363146 h 784576"/>
                <a:gd name="connsiteX1176" fmla="*/ 536061 w 784964"/>
                <a:gd name="connsiteY1176" fmla="*/ 362112 h 784576"/>
                <a:gd name="connsiteX1177" fmla="*/ 535802 w 784964"/>
                <a:gd name="connsiteY1177" fmla="*/ 361078 h 784576"/>
                <a:gd name="connsiteX1178" fmla="*/ 536190 w 784964"/>
                <a:gd name="connsiteY1178" fmla="*/ 357072 h 784576"/>
                <a:gd name="connsiteX1179" fmla="*/ 536448 w 784964"/>
                <a:gd name="connsiteY1179" fmla="*/ 356426 h 784576"/>
                <a:gd name="connsiteX1180" fmla="*/ 536707 w 784964"/>
                <a:gd name="connsiteY1180" fmla="*/ 355909 h 784576"/>
                <a:gd name="connsiteX1181" fmla="*/ 536965 w 784964"/>
                <a:gd name="connsiteY1181" fmla="*/ 355392 h 784576"/>
                <a:gd name="connsiteX1182" fmla="*/ 537353 w 784964"/>
                <a:gd name="connsiteY1182" fmla="*/ 355004 h 784576"/>
                <a:gd name="connsiteX1183" fmla="*/ 538387 w 784964"/>
                <a:gd name="connsiteY1183" fmla="*/ 354487 h 784576"/>
                <a:gd name="connsiteX1184" fmla="*/ 538904 w 784964"/>
                <a:gd name="connsiteY1184" fmla="*/ 352808 h 784576"/>
                <a:gd name="connsiteX1185" fmla="*/ 540325 w 784964"/>
                <a:gd name="connsiteY1185" fmla="*/ 342857 h 784576"/>
                <a:gd name="connsiteX1186" fmla="*/ 540972 w 784964"/>
                <a:gd name="connsiteY1186" fmla="*/ 340143 h 784576"/>
                <a:gd name="connsiteX1187" fmla="*/ 542264 w 784964"/>
                <a:gd name="connsiteY1187" fmla="*/ 338721 h 784576"/>
                <a:gd name="connsiteX1188" fmla="*/ 558160 w 784964"/>
                <a:gd name="connsiteY1188" fmla="*/ 338721 h 784576"/>
                <a:gd name="connsiteX1189" fmla="*/ 586462 w 784964"/>
                <a:gd name="connsiteY1189" fmla="*/ 338850 h 784576"/>
                <a:gd name="connsiteX1190" fmla="*/ 623164 w 784964"/>
                <a:gd name="connsiteY1190" fmla="*/ 339626 h 784576"/>
                <a:gd name="connsiteX1191" fmla="*/ 623293 w 784964"/>
                <a:gd name="connsiteY1191" fmla="*/ 340272 h 784576"/>
                <a:gd name="connsiteX1192" fmla="*/ 623422 w 784964"/>
                <a:gd name="connsiteY1192" fmla="*/ 342210 h 784576"/>
                <a:gd name="connsiteX1193" fmla="*/ 623810 w 784964"/>
                <a:gd name="connsiteY1193" fmla="*/ 343244 h 784576"/>
                <a:gd name="connsiteX1194" fmla="*/ 624327 w 784964"/>
                <a:gd name="connsiteY1194" fmla="*/ 343890 h 784576"/>
                <a:gd name="connsiteX1195" fmla="*/ 624715 w 784964"/>
                <a:gd name="connsiteY1195" fmla="*/ 344278 h 784576"/>
                <a:gd name="connsiteX1196" fmla="*/ 625232 w 784964"/>
                <a:gd name="connsiteY1196" fmla="*/ 344666 h 784576"/>
                <a:gd name="connsiteX1197" fmla="*/ 626783 w 784964"/>
                <a:gd name="connsiteY1197" fmla="*/ 345312 h 784576"/>
                <a:gd name="connsiteX1198" fmla="*/ 627170 w 784964"/>
                <a:gd name="connsiteY1198" fmla="*/ 345829 h 784576"/>
                <a:gd name="connsiteX1199" fmla="*/ 629626 w 784964"/>
                <a:gd name="connsiteY1199" fmla="*/ 347121 h 784576"/>
                <a:gd name="connsiteX1200" fmla="*/ 633115 w 784964"/>
                <a:gd name="connsiteY1200" fmla="*/ 348414 h 784576"/>
                <a:gd name="connsiteX1201" fmla="*/ 634666 w 784964"/>
                <a:gd name="connsiteY1201" fmla="*/ 349189 h 784576"/>
                <a:gd name="connsiteX1202" fmla="*/ 635570 w 784964"/>
                <a:gd name="connsiteY1202" fmla="*/ 349835 h 784576"/>
                <a:gd name="connsiteX1203" fmla="*/ 635700 w 784964"/>
                <a:gd name="connsiteY1203" fmla="*/ 350223 h 784576"/>
                <a:gd name="connsiteX1204" fmla="*/ 635570 w 784964"/>
                <a:gd name="connsiteY1204" fmla="*/ 350740 h 784576"/>
                <a:gd name="connsiteX1205" fmla="*/ 634924 w 784964"/>
                <a:gd name="connsiteY1205" fmla="*/ 352420 h 784576"/>
                <a:gd name="connsiteX1206" fmla="*/ 634666 w 784964"/>
                <a:gd name="connsiteY1206" fmla="*/ 353712 h 784576"/>
                <a:gd name="connsiteX1207" fmla="*/ 634537 w 784964"/>
                <a:gd name="connsiteY1207" fmla="*/ 358106 h 784576"/>
                <a:gd name="connsiteX1208" fmla="*/ 634666 w 784964"/>
                <a:gd name="connsiteY1208" fmla="*/ 360045 h 784576"/>
                <a:gd name="connsiteX1209" fmla="*/ 634795 w 784964"/>
                <a:gd name="connsiteY1209" fmla="*/ 360561 h 784576"/>
                <a:gd name="connsiteX1210" fmla="*/ 635441 w 784964"/>
                <a:gd name="connsiteY1210" fmla="*/ 361983 h 784576"/>
                <a:gd name="connsiteX1211" fmla="*/ 635570 w 784964"/>
                <a:gd name="connsiteY1211" fmla="*/ 363017 h 784576"/>
                <a:gd name="connsiteX1212" fmla="*/ 634924 w 784964"/>
                <a:gd name="connsiteY1212" fmla="*/ 368186 h 784576"/>
                <a:gd name="connsiteX1213" fmla="*/ 633632 w 784964"/>
                <a:gd name="connsiteY1213" fmla="*/ 372063 h 784576"/>
                <a:gd name="connsiteX1214" fmla="*/ 632857 w 784964"/>
                <a:gd name="connsiteY1214" fmla="*/ 373485 h 784576"/>
                <a:gd name="connsiteX1215" fmla="*/ 631047 w 784964"/>
                <a:gd name="connsiteY1215" fmla="*/ 376586 h 784576"/>
                <a:gd name="connsiteX1216" fmla="*/ 630530 w 784964"/>
                <a:gd name="connsiteY1216" fmla="*/ 378913 h 784576"/>
                <a:gd name="connsiteX1217" fmla="*/ 630272 w 784964"/>
                <a:gd name="connsiteY1217" fmla="*/ 382790 h 784576"/>
                <a:gd name="connsiteX1218" fmla="*/ 630401 w 784964"/>
                <a:gd name="connsiteY1218" fmla="*/ 383436 h 784576"/>
                <a:gd name="connsiteX1219" fmla="*/ 630789 w 784964"/>
                <a:gd name="connsiteY1219" fmla="*/ 384599 h 784576"/>
                <a:gd name="connsiteX1220" fmla="*/ 630918 w 784964"/>
                <a:gd name="connsiteY1220" fmla="*/ 385762 h 784576"/>
                <a:gd name="connsiteX1221" fmla="*/ 630789 w 784964"/>
                <a:gd name="connsiteY1221" fmla="*/ 387959 h 784576"/>
                <a:gd name="connsiteX1222" fmla="*/ 630143 w 784964"/>
                <a:gd name="connsiteY1222" fmla="*/ 390931 h 784576"/>
                <a:gd name="connsiteX1223" fmla="*/ 630013 w 784964"/>
                <a:gd name="connsiteY1223" fmla="*/ 392353 h 784576"/>
                <a:gd name="connsiteX1224" fmla="*/ 630143 w 784964"/>
                <a:gd name="connsiteY1224" fmla="*/ 393257 h 784576"/>
                <a:gd name="connsiteX1225" fmla="*/ 630272 w 784964"/>
                <a:gd name="connsiteY1225" fmla="*/ 393775 h 784576"/>
                <a:gd name="connsiteX1226" fmla="*/ 630918 w 784964"/>
                <a:gd name="connsiteY1226" fmla="*/ 394679 h 784576"/>
                <a:gd name="connsiteX1227" fmla="*/ 631177 w 784964"/>
                <a:gd name="connsiteY1227" fmla="*/ 395067 h 784576"/>
                <a:gd name="connsiteX1228" fmla="*/ 631952 w 784964"/>
                <a:gd name="connsiteY1228" fmla="*/ 395713 h 784576"/>
                <a:gd name="connsiteX1229" fmla="*/ 634666 w 784964"/>
                <a:gd name="connsiteY1229" fmla="*/ 397264 h 784576"/>
                <a:gd name="connsiteX1230" fmla="*/ 635441 w 784964"/>
                <a:gd name="connsiteY1230" fmla="*/ 398039 h 784576"/>
                <a:gd name="connsiteX1231" fmla="*/ 636087 w 784964"/>
                <a:gd name="connsiteY1231" fmla="*/ 399461 h 784576"/>
                <a:gd name="connsiteX1232" fmla="*/ 639577 w 784964"/>
                <a:gd name="connsiteY1232" fmla="*/ 398039 h 784576"/>
                <a:gd name="connsiteX1233" fmla="*/ 640094 w 784964"/>
                <a:gd name="connsiteY1233" fmla="*/ 398039 h 784576"/>
                <a:gd name="connsiteX1234" fmla="*/ 642549 w 784964"/>
                <a:gd name="connsiteY1234" fmla="*/ 398685 h 784576"/>
                <a:gd name="connsiteX1235" fmla="*/ 643195 w 784964"/>
                <a:gd name="connsiteY1235" fmla="*/ 398685 h 784576"/>
                <a:gd name="connsiteX1236" fmla="*/ 643971 w 784964"/>
                <a:gd name="connsiteY1236" fmla="*/ 398685 h 784576"/>
                <a:gd name="connsiteX1237" fmla="*/ 644488 w 784964"/>
                <a:gd name="connsiteY1237" fmla="*/ 398556 h 784576"/>
                <a:gd name="connsiteX1238" fmla="*/ 645005 w 784964"/>
                <a:gd name="connsiteY1238" fmla="*/ 398298 h 784576"/>
                <a:gd name="connsiteX1239" fmla="*/ 645521 w 784964"/>
                <a:gd name="connsiteY1239" fmla="*/ 398039 h 784576"/>
                <a:gd name="connsiteX1240" fmla="*/ 646297 w 784964"/>
                <a:gd name="connsiteY1240" fmla="*/ 397264 h 784576"/>
                <a:gd name="connsiteX1241" fmla="*/ 646943 w 784964"/>
                <a:gd name="connsiteY1241" fmla="*/ 396488 h 784576"/>
                <a:gd name="connsiteX1242" fmla="*/ 647848 w 784964"/>
                <a:gd name="connsiteY1242" fmla="*/ 395067 h 784576"/>
                <a:gd name="connsiteX1243" fmla="*/ 648365 w 784964"/>
                <a:gd name="connsiteY1243" fmla="*/ 394679 h 784576"/>
                <a:gd name="connsiteX1244" fmla="*/ 648623 w 784964"/>
                <a:gd name="connsiteY1244" fmla="*/ 394291 h 784576"/>
                <a:gd name="connsiteX1245" fmla="*/ 650174 w 784964"/>
                <a:gd name="connsiteY1245" fmla="*/ 393387 h 784576"/>
                <a:gd name="connsiteX1246" fmla="*/ 650562 w 784964"/>
                <a:gd name="connsiteY1246" fmla="*/ 393128 h 784576"/>
                <a:gd name="connsiteX1247" fmla="*/ 650820 w 784964"/>
                <a:gd name="connsiteY1247" fmla="*/ 392611 h 784576"/>
                <a:gd name="connsiteX1248" fmla="*/ 653146 w 784964"/>
                <a:gd name="connsiteY1248" fmla="*/ 387959 h 784576"/>
                <a:gd name="connsiteX1249" fmla="*/ 653792 w 784964"/>
                <a:gd name="connsiteY1249" fmla="*/ 387054 h 784576"/>
                <a:gd name="connsiteX1250" fmla="*/ 654180 w 784964"/>
                <a:gd name="connsiteY1250" fmla="*/ 386667 h 784576"/>
                <a:gd name="connsiteX1251" fmla="*/ 654697 w 784964"/>
                <a:gd name="connsiteY1251" fmla="*/ 386408 h 784576"/>
                <a:gd name="connsiteX1252" fmla="*/ 655214 w 784964"/>
                <a:gd name="connsiteY1252" fmla="*/ 386279 h 784576"/>
                <a:gd name="connsiteX1253" fmla="*/ 655602 w 784964"/>
                <a:gd name="connsiteY1253" fmla="*/ 386537 h 784576"/>
                <a:gd name="connsiteX1254" fmla="*/ 655860 w 784964"/>
                <a:gd name="connsiteY1254" fmla="*/ 386925 h 784576"/>
                <a:gd name="connsiteX1255" fmla="*/ 655989 w 784964"/>
                <a:gd name="connsiteY1255" fmla="*/ 387184 h 784576"/>
                <a:gd name="connsiteX1256" fmla="*/ 656248 w 784964"/>
                <a:gd name="connsiteY1256" fmla="*/ 387442 h 784576"/>
                <a:gd name="connsiteX1257" fmla="*/ 656636 w 784964"/>
                <a:gd name="connsiteY1257" fmla="*/ 387701 h 784576"/>
                <a:gd name="connsiteX1258" fmla="*/ 657669 w 784964"/>
                <a:gd name="connsiteY1258" fmla="*/ 388088 h 784576"/>
                <a:gd name="connsiteX1259" fmla="*/ 658186 w 784964"/>
                <a:gd name="connsiteY1259" fmla="*/ 388217 h 784576"/>
                <a:gd name="connsiteX1260" fmla="*/ 658833 w 784964"/>
                <a:gd name="connsiteY1260" fmla="*/ 388347 h 784576"/>
                <a:gd name="connsiteX1261" fmla="*/ 659479 w 784964"/>
                <a:gd name="connsiteY1261" fmla="*/ 388347 h 784576"/>
                <a:gd name="connsiteX1262" fmla="*/ 660125 w 784964"/>
                <a:gd name="connsiteY1262" fmla="*/ 388217 h 784576"/>
                <a:gd name="connsiteX1263" fmla="*/ 661805 w 784964"/>
                <a:gd name="connsiteY1263" fmla="*/ 387571 h 784576"/>
                <a:gd name="connsiteX1264" fmla="*/ 662839 w 784964"/>
                <a:gd name="connsiteY1264" fmla="*/ 387054 h 784576"/>
                <a:gd name="connsiteX1265" fmla="*/ 663743 w 784964"/>
                <a:gd name="connsiteY1265" fmla="*/ 386537 h 784576"/>
                <a:gd name="connsiteX1266" fmla="*/ 664131 w 784964"/>
                <a:gd name="connsiteY1266" fmla="*/ 386150 h 784576"/>
                <a:gd name="connsiteX1267" fmla="*/ 664519 w 784964"/>
                <a:gd name="connsiteY1267" fmla="*/ 385891 h 784576"/>
                <a:gd name="connsiteX1268" fmla="*/ 665036 w 784964"/>
                <a:gd name="connsiteY1268" fmla="*/ 385633 h 784576"/>
                <a:gd name="connsiteX1269" fmla="*/ 665682 w 784964"/>
                <a:gd name="connsiteY1269" fmla="*/ 385504 h 784576"/>
                <a:gd name="connsiteX1270" fmla="*/ 666328 w 784964"/>
                <a:gd name="connsiteY1270" fmla="*/ 385374 h 784576"/>
                <a:gd name="connsiteX1271" fmla="*/ 671368 w 784964"/>
                <a:gd name="connsiteY1271" fmla="*/ 385633 h 784576"/>
                <a:gd name="connsiteX1272" fmla="*/ 672014 w 784964"/>
                <a:gd name="connsiteY1272" fmla="*/ 385504 h 784576"/>
                <a:gd name="connsiteX1273" fmla="*/ 672661 w 784964"/>
                <a:gd name="connsiteY1273" fmla="*/ 385374 h 784576"/>
                <a:gd name="connsiteX1274" fmla="*/ 674082 w 784964"/>
                <a:gd name="connsiteY1274" fmla="*/ 384599 h 784576"/>
                <a:gd name="connsiteX1275" fmla="*/ 674599 w 784964"/>
                <a:gd name="connsiteY1275" fmla="*/ 384470 h 784576"/>
                <a:gd name="connsiteX1276" fmla="*/ 675245 w 784964"/>
                <a:gd name="connsiteY1276" fmla="*/ 384341 h 784576"/>
                <a:gd name="connsiteX1277" fmla="*/ 677313 w 784964"/>
                <a:gd name="connsiteY1277" fmla="*/ 384082 h 784576"/>
                <a:gd name="connsiteX1278" fmla="*/ 677830 w 784964"/>
                <a:gd name="connsiteY1278" fmla="*/ 383953 h 784576"/>
                <a:gd name="connsiteX1279" fmla="*/ 678993 w 784964"/>
                <a:gd name="connsiteY1279" fmla="*/ 383565 h 784576"/>
                <a:gd name="connsiteX1280" fmla="*/ 680802 w 784964"/>
                <a:gd name="connsiteY1280" fmla="*/ 382402 h 784576"/>
                <a:gd name="connsiteX1281" fmla="*/ 681448 w 784964"/>
                <a:gd name="connsiteY1281" fmla="*/ 382273 h 784576"/>
                <a:gd name="connsiteX1282" fmla="*/ 683128 w 784964"/>
                <a:gd name="connsiteY1282" fmla="*/ 381885 h 784576"/>
                <a:gd name="connsiteX1283" fmla="*/ 685584 w 784964"/>
                <a:gd name="connsiteY1283" fmla="*/ 380593 h 784576"/>
                <a:gd name="connsiteX1284" fmla="*/ 686101 w 784964"/>
                <a:gd name="connsiteY1284" fmla="*/ 380076 h 784576"/>
                <a:gd name="connsiteX1285" fmla="*/ 686359 w 784964"/>
                <a:gd name="connsiteY1285" fmla="*/ 379042 h 784576"/>
                <a:gd name="connsiteX1286" fmla="*/ 686488 w 784964"/>
                <a:gd name="connsiteY1286" fmla="*/ 377879 h 784576"/>
                <a:gd name="connsiteX1287" fmla="*/ 685842 w 784964"/>
                <a:gd name="connsiteY1287" fmla="*/ 373097 h 784576"/>
                <a:gd name="connsiteX1288" fmla="*/ 685972 w 784964"/>
                <a:gd name="connsiteY1288" fmla="*/ 370512 h 784576"/>
                <a:gd name="connsiteX1289" fmla="*/ 685972 w 784964"/>
                <a:gd name="connsiteY1289" fmla="*/ 369479 h 784576"/>
                <a:gd name="connsiteX1290" fmla="*/ 685584 w 784964"/>
                <a:gd name="connsiteY1290" fmla="*/ 368186 h 784576"/>
                <a:gd name="connsiteX1291" fmla="*/ 684550 w 784964"/>
                <a:gd name="connsiteY1291" fmla="*/ 365214 h 784576"/>
                <a:gd name="connsiteX1292" fmla="*/ 684162 w 784964"/>
                <a:gd name="connsiteY1292" fmla="*/ 364051 h 784576"/>
                <a:gd name="connsiteX1293" fmla="*/ 682611 w 784964"/>
                <a:gd name="connsiteY1293" fmla="*/ 349835 h 784576"/>
                <a:gd name="connsiteX1294" fmla="*/ 682353 w 784964"/>
                <a:gd name="connsiteY1294" fmla="*/ 348930 h 784576"/>
                <a:gd name="connsiteX1295" fmla="*/ 681965 w 784964"/>
                <a:gd name="connsiteY1295" fmla="*/ 348801 h 784576"/>
                <a:gd name="connsiteX1296" fmla="*/ 681448 w 784964"/>
                <a:gd name="connsiteY1296" fmla="*/ 348543 h 784576"/>
                <a:gd name="connsiteX1297" fmla="*/ 678864 w 784964"/>
                <a:gd name="connsiteY1297" fmla="*/ 347897 h 784576"/>
                <a:gd name="connsiteX1298" fmla="*/ 678347 w 784964"/>
                <a:gd name="connsiteY1298" fmla="*/ 347767 h 784576"/>
                <a:gd name="connsiteX1299" fmla="*/ 677054 w 784964"/>
                <a:gd name="connsiteY1299" fmla="*/ 346734 h 784576"/>
                <a:gd name="connsiteX1300" fmla="*/ 676667 w 784964"/>
                <a:gd name="connsiteY1300" fmla="*/ 346346 h 784576"/>
                <a:gd name="connsiteX1301" fmla="*/ 676408 w 784964"/>
                <a:gd name="connsiteY1301" fmla="*/ 345829 h 784576"/>
                <a:gd name="connsiteX1302" fmla="*/ 676150 w 784964"/>
                <a:gd name="connsiteY1302" fmla="*/ 345441 h 784576"/>
                <a:gd name="connsiteX1303" fmla="*/ 675891 w 784964"/>
                <a:gd name="connsiteY1303" fmla="*/ 344924 h 784576"/>
                <a:gd name="connsiteX1304" fmla="*/ 675245 w 784964"/>
                <a:gd name="connsiteY1304" fmla="*/ 332259 h 784576"/>
                <a:gd name="connsiteX1305" fmla="*/ 675374 w 784964"/>
                <a:gd name="connsiteY1305" fmla="*/ 331484 h 784576"/>
                <a:gd name="connsiteX1306" fmla="*/ 675891 w 784964"/>
                <a:gd name="connsiteY1306" fmla="*/ 330321 h 784576"/>
                <a:gd name="connsiteX1307" fmla="*/ 676408 w 784964"/>
                <a:gd name="connsiteY1307" fmla="*/ 329675 h 784576"/>
                <a:gd name="connsiteX1308" fmla="*/ 676925 w 784964"/>
                <a:gd name="connsiteY1308" fmla="*/ 329158 h 784576"/>
                <a:gd name="connsiteX1309" fmla="*/ 678993 w 784964"/>
                <a:gd name="connsiteY1309" fmla="*/ 327478 h 784576"/>
                <a:gd name="connsiteX1310" fmla="*/ 679768 w 784964"/>
                <a:gd name="connsiteY1310" fmla="*/ 326702 h 784576"/>
                <a:gd name="connsiteX1311" fmla="*/ 680414 w 784964"/>
                <a:gd name="connsiteY1311" fmla="*/ 325798 h 784576"/>
                <a:gd name="connsiteX1312" fmla="*/ 681707 w 784964"/>
                <a:gd name="connsiteY1312" fmla="*/ 323342 h 784576"/>
                <a:gd name="connsiteX1313" fmla="*/ 682741 w 784964"/>
                <a:gd name="connsiteY1313" fmla="*/ 322179 h 784576"/>
                <a:gd name="connsiteX1314" fmla="*/ 684033 w 784964"/>
                <a:gd name="connsiteY1314" fmla="*/ 320370 h 784576"/>
                <a:gd name="connsiteX1315" fmla="*/ 684162 w 784964"/>
                <a:gd name="connsiteY1315" fmla="*/ 319594 h 784576"/>
                <a:gd name="connsiteX1316" fmla="*/ 684033 w 784964"/>
                <a:gd name="connsiteY1316" fmla="*/ 318561 h 784576"/>
                <a:gd name="connsiteX1317" fmla="*/ 683387 w 784964"/>
                <a:gd name="connsiteY1317" fmla="*/ 316881 h 784576"/>
                <a:gd name="connsiteX1318" fmla="*/ 681965 w 784964"/>
                <a:gd name="connsiteY1318" fmla="*/ 314167 h 784576"/>
                <a:gd name="connsiteX1319" fmla="*/ 681190 w 784964"/>
                <a:gd name="connsiteY1319" fmla="*/ 312099 h 784576"/>
                <a:gd name="connsiteX1320" fmla="*/ 680802 w 784964"/>
                <a:gd name="connsiteY1320" fmla="*/ 311323 h 784576"/>
                <a:gd name="connsiteX1321" fmla="*/ 680414 w 784964"/>
                <a:gd name="connsiteY1321" fmla="*/ 310936 h 784576"/>
                <a:gd name="connsiteX1322" fmla="*/ 679768 w 784964"/>
                <a:gd name="connsiteY1322" fmla="*/ 310807 h 784576"/>
                <a:gd name="connsiteX1323" fmla="*/ 678476 w 784964"/>
                <a:gd name="connsiteY1323" fmla="*/ 310936 h 784576"/>
                <a:gd name="connsiteX1324" fmla="*/ 676796 w 784964"/>
                <a:gd name="connsiteY1324" fmla="*/ 311323 h 784576"/>
                <a:gd name="connsiteX1325" fmla="*/ 676150 w 784964"/>
                <a:gd name="connsiteY1325" fmla="*/ 311194 h 784576"/>
                <a:gd name="connsiteX1326" fmla="*/ 676021 w 784964"/>
                <a:gd name="connsiteY1326" fmla="*/ 309902 h 784576"/>
                <a:gd name="connsiteX1327" fmla="*/ 679768 w 784964"/>
                <a:gd name="connsiteY1327" fmla="*/ 291938 h 784576"/>
                <a:gd name="connsiteX1328" fmla="*/ 679768 w 784964"/>
                <a:gd name="connsiteY1328" fmla="*/ 291163 h 784576"/>
                <a:gd name="connsiteX1329" fmla="*/ 680156 w 784964"/>
                <a:gd name="connsiteY1329" fmla="*/ 290129 h 784576"/>
                <a:gd name="connsiteX1330" fmla="*/ 680414 w 784964"/>
                <a:gd name="connsiteY1330" fmla="*/ 289612 h 784576"/>
                <a:gd name="connsiteX1331" fmla="*/ 680802 w 784964"/>
                <a:gd name="connsiteY1331" fmla="*/ 289225 h 784576"/>
                <a:gd name="connsiteX1332" fmla="*/ 681448 w 784964"/>
                <a:gd name="connsiteY1332" fmla="*/ 288449 h 784576"/>
                <a:gd name="connsiteX1333" fmla="*/ 682224 w 784964"/>
                <a:gd name="connsiteY1333" fmla="*/ 287674 h 784576"/>
                <a:gd name="connsiteX1334" fmla="*/ 683128 w 784964"/>
                <a:gd name="connsiteY1334" fmla="*/ 287157 h 784576"/>
                <a:gd name="connsiteX1335" fmla="*/ 685196 w 784964"/>
                <a:gd name="connsiteY1335" fmla="*/ 286382 h 784576"/>
                <a:gd name="connsiteX1336" fmla="*/ 686359 w 784964"/>
                <a:gd name="connsiteY1336" fmla="*/ 286123 h 784576"/>
                <a:gd name="connsiteX1337" fmla="*/ 690624 w 784964"/>
                <a:gd name="connsiteY1337" fmla="*/ 285606 h 784576"/>
                <a:gd name="connsiteX1338" fmla="*/ 693209 w 784964"/>
                <a:gd name="connsiteY1338" fmla="*/ 285735 h 784576"/>
                <a:gd name="connsiteX1339" fmla="*/ 695793 w 784964"/>
                <a:gd name="connsiteY1339" fmla="*/ 286382 h 784576"/>
                <a:gd name="connsiteX1340" fmla="*/ 696827 w 784964"/>
                <a:gd name="connsiteY1340" fmla="*/ 286769 h 784576"/>
                <a:gd name="connsiteX1341" fmla="*/ 707424 w 784964"/>
                <a:gd name="connsiteY1341" fmla="*/ 292326 h 784576"/>
                <a:gd name="connsiteX1342" fmla="*/ 709621 w 784964"/>
                <a:gd name="connsiteY1342" fmla="*/ 293102 h 784576"/>
                <a:gd name="connsiteX1343" fmla="*/ 710267 w 784964"/>
                <a:gd name="connsiteY1343" fmla="*/ 293231 h 784576"/>
                <a:gd name="connsiteX1344" fmla="*/ 711172 w 784964"/>
                <a:gd name="connsiteY1344" fmla="*/ 293102 h 784576"/>
                <a:gd name="connsiteX1345" fmla="*/ 712206 w 784964"/>
                <a:gd name="connsiteY1345" fmla="*/ 292714 h 784576"/>
                <a:gd name="connsiteX1346" fmla="*/ 714920 w 784964"/>
                <a:gd name="connsiteY1346" fmla="*/ 290905 h 784576"/>
                <a:gd name="connsiteX1347" fmla="*/ 716858 w 784964"/>
                <a:gd name="connsiteY1347" fmla="*/ 288966 h 784576"/>
                <a:gd name="connsiteX1348" fmla="*/ 717117 w 784964"/>
                <a:gd name="connsiteY1348" fmla="*/ 288449 h 784576"/>
                <a:gd name="connsiteX1349" fmla="*/ 717117 w 784964"/>
                <a:gd name="connsiteY1349" fmla="*/ 287803 h 784576"/>
                <a:gd name="connsiteX1350" fmla="*/ 716341 w 784964"/>
                <a:gd name="connsiteY1350" fmla="*/ 285735 h 784576"/>
                <a:gd name="connsiteX1351" fmla="*/ 715825 w 784964"/>
                <a:gd name="connsiteY1351" fmla="*/ 282375 h 784576"/>
                <a:gd name="connsiteX1352" fmla="*/ 716083 w 784964"/>
                <a:gd name="connsiteY1352" fmla="*/ 279661 h 784576"/>
                <a:gd name="connsiteX1353" fmla="*/ 715954 w 784964"/>
                <a:gd name="connsiteY1353" fmla="*/ 279015 h 784576"/>
                <a:gd name="connsiteX1354" fmla="*/ 715825 w 784964"/>
                <a:gd name="connsiteY1354" fmla="*/ 278498 h 784576"/>
                <a:gd name="connsiteX1355" fmla="*/ 715437 w 784964"/>
                <a:gd name="connsiteY1355" fmla="*/ 278111 h 784576"/>
                <a:gd name="connsiteX1356" fmla="*/ 714403 w 784964"/>
                <a:gd name="connsiteY1356" fmla="*/ 276947 h 784576"/>
                <a:gd name="connsiteX1357" fmla="*/ 713886 w 784964"/>
                <a:gd name="connsiteY1357" fmla="*/ 276043 h 784576"/>
                <a:gd name="connsiteX1358" fmla="*/ 713628 w 784964"/>
                <a:gd name="connsiteY1358" fmla="*/ 275526 h 784576"/>
                <a:gd name="connsiteX1359" fmla="*/ 713757 w 784964"/>
                <a:gd name="connsiteY1359" fmla="*/ 274880 h 784576"/>
                <a:gd name="connsiteX1360" fmla="*/ 713757 w 784964"/>
                <a:gd name="connsiteY1360" fmla="*/ 274234 h 784576"/>
                <a:gd name="connsiteX1361" fmla="*/ 714015 w 784964"/>
                <a:gd name="connsiteY1361" fmla="*/ 273587 h 784576"/>
                <a:gd name="connsiteX1362" fmla="*/ 715566 w 784964"/>
                <a:gd name="connsiteY1362" fmla="*/ 271390 h 784576"/>
                <a:gd name="connsiteX1363" fmla="*/ 715825 w 784964"/>
                <a:gd name="connsiteY1363" fmla="*/ 270874 h 784576"/>
                <a:gd name="connsiteX1364" fmla="*/ 715954 w 784964"/>
                <a:gd name="connsiteY1364" fmla="*/ 270356 h 784576"/>
                <a:gd name="connsiteX1365" fmla="*/ 715825 w 784964"/>
                <a:gd name="connsiteY1365" fmla="*/ 269710 h 784576"/>
                <a:gd name="connsiteX1366" fmla="*/ 715695 w 784964"/>
                <a:gd name="connsiteY1366" fmla="*/ 269193 h 784576"/>
                <a:gd name="connsiteX1367" fmla="*/ 715566 w 784964"/>
                <a:gd name="connsiteY1367" fmla="*/ 268676 h 784576"/>
                <a:gd name="connsiteX1368" fmla="*/ 713886 w 784964"/>
                <a:gd name="connsiteY1368" fmla="*/ 266479 h 784576"/>
                <a:gd name="connsiteX1369" fmla="*/ 713628 w 784964"/>
                <a:gd name="connsiteY1369" fmla="*/ 265963 h 784576"/>
                <a:gd name="connsiteX1370" fmla="*/ 713498 w 784964"/>
                <a:gd name="connsiteY1370" fmla="*/ 265446 h 784576"/>
                <a:gd name="connsiteX1371" fmla="*/ 713240 w 784964"/>
                <a:gd name="connsiteY1371" fmla="*/ 263507 h 784576"/>
                <a:gd name="connsiteX1372" fmla="*/ 713240 w 784964"/>
                <a:gd name="connsiteY1372" fmla="*/ 262861 h 784576"/>
                <a:gd name="connsiteX1373" fmla="*/ 713369 w 784964"/>
                <a:gd name="connsiteY1373" fmla="*/ 262215 h 784576"/>
                <a:gd name="connsiteX1374" fmla="*/ 713498 w 784964"/>
                <a:gd name="connsiteY1374" fmla="*/ 261698 h 784576"/>
                <a:gd name="connsiteX1375" fmla="*/ 714661 w 784964"/>
                <a:gd name="connsiteY1375" fmla="*/ 259630 h 784576"/>
                <a:gd name="connsiteX1376" fmla="*/ 720218 w 784964"/>
                <a:gd name="connsiteY1376" fmla="*/ 253168 h 784576"/>
                <a:gd name="connsiteX1377" fmla="*/ 720865 w 784964"/>
                <a:gd name="connsiteY1377" fmla="*/ 252910 h 784576"/>
                <a:gd name="connsiteX1378" fmla="*/ 721640 w 784964"/>
                <a:gd name="connsiteY1378" fmla="*/ 253039 h 784576"/>
                <a:gd name="connsiteX1379" fmla="*/ 723191 w 784964"/>
                <a:gd name="connsiteY1379" fmla="*/ 253685 h 784576"/>
                <a:gd name="connsiteX1380" fmla="*/ 725517 w 784964"/>
                <a:gd name="connsiteY1380" fmla="*/ 255365 h 784576"/>
                <a:gd name="connsiteX1381" fmla="*/ 734047 w 784964"/>
                <a:gd name="connsiteY1381" fmla="*/ 259759 h 784576"/>
                <a:gd name="connsiteX1382" fmla="*/ 735856 w 784964"/>
                <a:gd name="connsiteY1382" fmla="*/ 260922 h 784576"/>
                <a:gd name="connsiteX1383" fmla="*/ 737794 w 784964"/>
                <a:gd name="connsiteY1383" fmla="*/ 262732 h 784576"/>
                <a:gd name="connsiteX1384" fmla="*/ 740767 w 784964"/>
                <a:gd name="connsiteY1384" fmla="*/ 266609 h 784576"/>
                <a:gd name="connsiteX1385" fmla="*/ 741154 w 784964"/>
                <a:gd name="connsiteY1385" fmla="*/ 266996 h 784576"/>
                <a:gd name="connsiteX1386" fmla="*/ 741542 w 784964"/>
                <a:gd name="connsiteY1386" fmla="*/ 268030 h 784576"/>
                <a:gd name="connsiteX1387" fmla="*/ 743481 w 784964"/>
                <a:gd name="connsiteY1387" fmla="*/ 274234 h 784576"/>
                <a:gd name="connsiteX1388" fmla="*/ 743739 w 784964"/>
                <a:gd name="connsiteY1388" fmla="*/ 274750 h 784576"/>
                <a:gd name="connsiteX1389" fmla="*/ 744644 w 784964"/>
                <a:gd name="connsiteY1389" fmla="*/ 275009 h 784576"/>
                <a:gd name="connsiteX1390" fmla="*/ 746065 w 784964"/>
                <a:gd name="connsiteY1390" fmla="*/ 275267 h 784576"/>
                <a:gd name="connsiteX1391" fmla="*/ 749167 w 784964"/>
                <a:gd name="connsiteY1391" fmla="*/ 275138 h 784576"/>
                <a:gd name="connsiteX1392" fmla="*/ 751881 w 784964"/>
                <a:gd name="connsiteY1392" fmla="*/ 275397 h 784576"/>
                <a:gd name="connsiteX1393" fmla="*/ 752398 w 784964"/>
                <a:gd name="connsiteY1393" fmla="*/ 275655 h 784576"/>
                <a:gd name="connsiteX1394" fmla="*/ 752785 w 784964"/>
                <a:gd name="connsiteY1394" fmla="*/ 275914 h 784576"/>
                <a:gd name="connsiteX1395" fmla="*/ 754465 w 784964"/>
                <a:gd name="connsiteY1395" fmla="*/ 277335 h 784576"/>
                <a:gd name="connsiteX1396" fmla="*/ 754982 w 784964"/>
                <a:gd name="connsiteY1396" fmla="*/ 277594 h 784576"/>
                <a:gd name="connsiteX1397" fmla="*/ 756016 w 784964"/>
                <a:gd name="connsiteY1397" fmla="*/ 277594 h 784576"/>
                <a:gd name="connsiteX1398" fmla="*/ 760669 w 784964"/>
                <a:gd name="connsiteY1398" fmla="*/ 276560 h 784576"/>
                <a:gd name="connsiteX1399" fmla="*/ 762090 w 784964"/>
                <a:gd name="connsiteY1399" fmla="*/ 276430 h 784576"/>
                <a:gd name="connsiteX1400" fmla="*/ 763124 w 784964"/>
                <a:gd name="connsiteY1400" fmla="*/ 276430 h 784576"/>
                <a:gd name="connsiteX1401" fmla="*/ 764675 w 784964"/>
                <a:gd name="connsiteY1401" fmla="*/ 277206 h 784576"/>
                <a:gd name="connsiteX1402" fmla="*/ 765321 w 784964"/>
                <a:gd name="connsiteY1402" fmla="*/ 277206 h 784576"/>
                <a:gd name="connsiteX1403" fmla="*/ 766096 w 784964"/>
                <a:gd name="connsiteY1403" fmla="*/ 276947 h 784576"/>
                <a:gd name="connsiteX1404" fmla="*/ 767259 w 784964"/>
                <a:gd name="connsiteY1404" fmla="*/ 276172 h 784576"/>
                <a:gd name="connsiteX1405" fmla="*/ 768164 w 784964"/>
                <a:gd name="connsiteY1405" fmla="*/ 274750 h 784576"/>
                <a:gd name="connsiteX1406" fmla="*/ 768940 w 784964"/>
                <a:gd name="connsiteY1406" fmla="*/ 272941 h 784576"/>
                <a:gd name="connsiteX1407" fmla="*/ 769973 w 784964"/>
                <a:gd name="connsiteY1407" fmla="*/ 271907 h 784576"/>
                <a:gd name="connsiteX1408" fmla="*/ 773075 w 784964"/>
                <a:gd name="connsiteY1408" fmla="*/ 270227 h 784576"/>
                <a:gd name="connsiteX1409" fmla="*/ 778503 w 784964"/>
                <a:gd name="connsiteY1409" fmla="*/ 261827 h 784576"/>
                <a:gd name="connsiteX1410" fmla="*/ 780441 w 784964"/>
                <a:gd name="connsiteY1410" fmla="*/ 259242 h 784576"/>
                <a:gd name="connsiteX1411" fmla="*/ 782897 w 784964"/>
                <a:gd name="connsiteY1411" fmla="*/ 256916 h 784576"/>
                <a:gd name="connsiteX1412" fmla="*/ 783672 w 784964"/>
                <a:gd name="connsiteY1412" fmla="*/ 255624 h 784576"/>
                <a:gd name="connsiteX1413" fmla="*/ 784189 w 784964"/>
                <a:gd name="connsiteY1413" fmla="*/ 254331 h 784576"/>
                <a:gd name="connsiteX1414" fmla="*/ 784577 w 784964"/>
                <a:gd name="connsiteY1414" fmla="*/ 252652 h 784576"/>
                <a:gd name="connsiteX1415" fmla="*/ 784964 w 784964"/>
                <a:gd name="connsiteY1415" fmla="*/ 250713 h 78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Lst>
              <a:rect l="l" t="t" r="r" b="b"/>
              <a:pathLst>
                <a:path w="784964" h="784576">
                  <a:moveTo>
                    <a:pt x="784448" y="247611"/>
                  </a:moveTo>
                  <a:lnTo>
                    <a:pt x="783801" y="245415"/>
                  </a:lnTo>
                  <a:lnTo>
                    <a:pt x="783414" y="242830"/>
                  </a:lnTo>
                  <a:lnTo>
                    <a:pt x="781346" y="238307"/>
                  </a:lnTo>
                  <a:lnTo>
                    <a:pt x="780312" y="236368"/>
                  </a:lnTo>
                  <a:lnTo>
                    <a:pt x="780054" y="235851"/>
                  </a:lnTo>
                  <a:lnTo>
                    <a:pt x="779407" y="233525"/>
                  </a:lnTo>
                  <a:lnTo>
                    <a:pt x="779149" y="231199"/>
                  </a:lnTo>
                  <a:lnTo>
                    <a:pt x="779149" y="228485"/>
                  </a:lnTo>
                  <a:lnTo>
                    <a:pt x="779278" y="227063"/>
                  </a:lnTo>
                  <a:lnTo>
                    <a:pt x="779537" y="226159"/>
                  </a:lnTo>
                  <a:lnTo>
                    <a:pt x="782380" y="220602"/>
                  </a:lnTo>
                  <a:lnTo>
                    <a:pt x="783931" y="215561"/>
                  </a:lnTo>
                  <a:lnTo>
                    <a:pt x="784189" y="214269"/>
                  </a:lnTo>
                  <a:lnTo>
                    <a:pt x="784060" y="213235"/>
                  </a:lnTo>
                  <a:lnTo>
                    <a:pt x="783801" y="212848"/>
                  </a:lnTo>
                  <a:lnTo>
                    <a:pt x="783414" y="212460"/>
                  </a:lnTo>
                  <a:lnTo>
                    <a:pt x="782897" y="212201"/>
                  </a:lnTo>
                  <a:lnTo>
                    <a:pt x="782509" y="211814"/>
                  </a:lnTo>
                  <a:lnTo>
                    <a:pt x="779666" y="210780"/>
                  </a:lnTo>
                  <a:lnTo>
                    <a:pt x="775143" y="208454"/>
                  </a:lnTo>
                  <a:lnTo>
                    <a:pt x="774755" y="208066"/>
                  </a:lnTo>
                  <a:lnTo>
                    <a:pt x="774367" y="207678"/>
                  </a:lnTo>
                  <a:lnTo>
                    <a:pt x="771524" y="202380"/>
                  </a:lnTo>
                  <a:lnTo>
                    <a:pt x="769327" y="200053"/>
                  </a:lnTo>
                  <a:lnTo>
                    <a:pt x="768552" y="199407"/>
                  </a:lnTo>
                  <a:lnTo>
                    <a:pt x="762866" y="196306"/>
                  </a:lnTo>
                  <a:lnTo>
                    <a:pt x="762478" y="196047"/>
                  </a:lnTo>
                  <a:lnTo>
                    <a:pt x="762090" y="195530"/>
                  </a:lnTo>
                  <a:lnTo>
                    <a:pt x="761832" y="195013"/>
                  </a:lnTo>
                  <a:lnTo>
                    <a:pt x="757308" y="182865"/>
                  </a:lnTo>
                  <a:lnTo>
                    <a:pt x="756662" y="181702"/>
                  </a:lnTo>
                  <a:lnTo>
                    <a:pt x="751622" y="174594"/>
                  </a:lnTo>
                  <a:lnTo>
                    <a:pt x="747745" y="160379"/>
                  </a:lnTo>
                  <a:lnTo>
                    <a:pt x="746065" y="147455"/>
                  </a:lnTo>
                  <a:lnTo>
                    <a:pt x="746324" y="137246"/>
                  </a:lnTo>
                  <a:lnTo>
                    <a:pt x="746453" y="136600"/>
                  </a:lnTo>
                  <a:lnTo>
                    <a:pt x="747228" y="135049"/>
                  </a:lnTo>
                  <a:lnTo>
                    <a:pt x="748521" y="130138"/>
                  </a:lnTo>
                  <a:lnTo>
                    <a:pt x="750588" y="124581"/>
                  </a:lnTo>
                  <a:lnTo>
                    <a:pt x="752656" y="116310"/>
                  </a:lnTo>
                  <a:lnTo>
                    <a:pt x="754465" y="111141"/>
                  </a:lnTo>
                  <a:lnTo>
                    <a:pt x="755628" y="109590"/>
                  </a:lnTo>
                  <a:lnTo>
                    <a:pt x="759635" y="107781"/>
                  </a:lnTo>
                  <a:lnTo>
                    <a:pt x="761832" y="106359"/>
                  </a:lnTo>
                  <a:lnTo>
                    <a:pt x="765062" y="103645"/>
                  </a:lnTo>
                  <a:lnTo>
                    <a:pt x="765967" y="102741"/>
                  </a:lnTo>
                  <a:lnTo>
                    <a:pt x="766613" y="101965"/>
                  </a:lnTo>
                  <a:lnTo>
                    <a:pt x="767001" y="101190"/>
                  </a:lnTo>
                  <a:lnTo>
                    <a:pt x="767389" y="99251"/>
                  </a:lnTo>
                  <a:lnTo>
                    <a:pt x="767647" y="97701"/>
                  </a:lnTo>
                  <a:lnTo>
                    <a:pt x="767647" y="94857"/>
                  </a:lnTo>
                  <a:lnTo>
                    <a:pt x="767518" y="94211"/>
                  </a:lnTo>
                  <a:lnTo>
                    <a:pt x="767259" y="93694"/>
                  </a:lnTo>
                  <a:lnTo>
                    <a:pt x="767001" y="93307"/>
                  </a:lnTo>
                  <a:lnTo>
                    <a:pt x="766613" y="92919"/>
                  </a:lnTo>
                  <a:lnTo>
                    <a:pt x="759247" y="90334"/>
                  </a:lnTo>
                  <a:lnTo>
                    <a:pt x="756792" y="89042"/>
                  </a:lnTo>
                  <a:lnTo>
                    <a:pt x="756404" y="88525"/>
                  </a:lnTo>
                  <a:lnTo>
                    <a:pt x="756145" y="86457"/>
                  </a:lnTo>
                  <a:lnTo>
                    <a:pt x="756275" y="82839"/>
                  </a:lnTo>
                  <a:lnTo>
                    <a:pt x="758213" y="70562"/>
                  </a:lnTo>
                  <a:lnTo>
                    <a:pt x="758730" y="69398"/>
                  </a:lnTo>
                  <a:lnTo>
                    <a:pt x="758988" y="68881"/>
                  </a:lnTo>
                  <a:lnTo>
                    <a:pt x="759376" y="68494"/>
                  </a:lnTo>
                  <a:lnTo>
                    <a:pt x="765579" y="64100"/>
                  </a:lnTo>
                  <a:lnTo>
                    <a:pt x="766613" y="63712"/>
                  </a:lnTo>
                  <a:lnTo>
                    <a:pt x="767259" y="63324"/>
                  </a:lnTo>
                  <a:lnTo>
                    <a:pt x="767776" y="62807"/>
                  </a:lnTo>
                  <a:lnTo>
                    <a:pt x="768552" y="61774"/>
                  </a:lnTo>
                  <a:lnTo>
                    <a:pt x="768810" y="60998"/>
                  </a:lnTo>
                  <a:lnTo>
                    <a:pt x="768940" y="60223"/>
                  </a:lnTo>
                  <a:lnTo>
                    <a:pt x="768810" y="59706"/>
                  </a:lnTo>
                  <a:lnTo>
                    <a:pt x="768552" y="59189"/>
                  </a:lnTo>
                  <a:lnTo>
                    <a:pt x="768035" y="58284"/>
                  </a:lnTo>
                  <a:lnTo>
                    <a:pt x="766226" y="56346"/>
                  </a:lnTo>
                  <a:lnTo>
                    <a:pt x="753432" y="47170"/>
                  </a:lnTo>
                  <a:lnTo>
                    <a:pt x="752010" y="45361"/>
                  </a:lnTo>
                  <a:lnTo>
                    <a:pt x="750588" y="43293"/>
                  </a:lnTo>
                  <a:lnTo>
                    <a:pt x="743351" y="47170"/>
                  </a:lnTo>
                  <a:lnTo>
                    <a:pt x="738440" y="48463"/>
                  </a:lnTo>
                  <a:lnTo>
                    <a:pt x="729136" y="48592"/>
                  </a:lnTo>
                  <a:lnTo>
                    <a:pt x="727843" y="48850"/>
                  </a:lnTo>
                  <a:lnTo>
                    <a:pt x="726680" y="49238"/>
                  </a:lnTo>
                  <a:lnTo>
                    <a:pt x="723191" y="51306"/>
                  </a:lnTo>
                  <a:lnTo>
                    <a:pt x="719185" y="52469"/>
                  </a:lnTo>
                  <a:lnTo>
                    <a:pt x="712335" y="53890"/>
                  </a:lnTo>
                  <a:lnTo>
                    <a:pt x="709363" y="55053"/>
                  </a:lnTo>
                  <a:lnTo>
                    <a:pt x="707554" y="56217"/>
                  </a:lnTo>
                  <a:lnTo>
                    <a:pt x="706391" y="57250"/>
                  </a:lnTo>
                  <a:lnTo>
                    <a:pt x="695147" y="69269"/>
                  </a:lnTo>
                  <a:lnTo>
                    <a:pt x="693726" y="70432"/>
                  </a:lnTo>
                  <a:lnTo>
                    <a:pt x="692175" y="71466"/>
                  </a:lnTo>
                  <a:lnTo>
                    <a:pt x="689849" y="72241"/>
                  </a:lnTo>
                  <a:lnTo>
                    <a:pt x="687006" y="73017"/>
                  </a:lnTo>
                  <a:lnTo>
                    <a:pt x="681578" y="73663"/>
                  </a:lnTo>
                  <a:lnTo>
                    <a:pt x="676667" y="73663"/>
                  </a:lnTo>
                  <a:lnTo>
                    <a:pt x="674082" y="73017"/>
                  </a:lnTo>
                  <a:lnTo>
                    <a:pt x="672402" y="72888"/>
                  </a:lnTo>
                  <a:lnTo>
                    <a:pt x="671368" y="72888"/>
                  </a:lnTo>
                  <a:lnTo>
                    <a:pt x="663226" y="74438"/>
                  </a:lnTo>
                  <a:lnTo>
                    <a:pt x="658574" y="75860"/>
                  </a:lnTo>
                  <a:lnTo>
                    <a:pt x="639318" y="85811"/>
                  </a:lnTo>
                  <a:lnTo>
                    <a:pt x="638543" y="86457"/>
                  </a:lnTo>
                  <a:lnTo>
                    <a:pt x="637897" y="86845"/>
                  </a:lnTo>
                  <a:lnTo>
                    <a:pt x="636992" y="86974"/>
                  </a:lnTo>
                  <a:lnTo>
                    <a:pt x="635312" y="86845"/>
                  </a:lnTo>
                  <a:lnTo>
                    <a:pt x="634407" y="86716"/>
                  </a:lnTo>
                  <a:lnTo>
                    <a:pt x="632857" y="87103"/>
                  </a:lnTo>
                  <a:lnTo>
                    <a:pt x="625749" y="90205"/>
                  </a:lnTo>
                  <a:lnTo>
                    <a:pt x="623939" y="91497"/>
                  </a:lnTo>
                  <a:lnTo>
                    <a:pt x="621226" y="92660"/>
                  </a:lnTo>
                  <a:lnTo>
                    <a:pt x="614118" y="93436"/>
                  </a:lnTo>
                  <a:lnTo>
                    <a:pt x="613601" y="94470"/>
                  </a:lnTo>
                  <a:lnTo>
                    <a:pt x="613601" y="94728"/>
                  </a:lnTo>
                  <a:lnTo>
                    <a:pt x="613472" y="95116"/>
                  </a:lnTo>
                  <a:lnTo>
                    <a:pt x="613472" y="95374"/>
                  </a:lnTo>
                  <a:lnTo>
                    <a:pt x="613472" y="95504"/>
                  </a:lnTo>
                  <a:lnTo>
                    <a:pt x="612955" y="95891"/>
                  </a:lnTo>
                  <a:lnTo>
                    <a:pt x="612567" y="96279"/>
                  </a:lnTo>
                  <a:lnTo>
                    <a:pt x="611792" y="97830"/>
                  </a:lnTo>
                  <a:lnTo>
                    <a:pt x="611404" y="97959"/>
                  </a:lnTo>
                  <a:lnTo>
                    <a:pt x="610887" y="97959"/>
                  </a:lnTo>
                  <a:lnTo>
                    <a:pt x="610499" y="97313"/>
                  </a:lnTo>
                  <a:lnTo>
                    <a:pt x="609465" y="94470"/>
                  </a:lnTo>
                  <a:lnTo>
                    <a:pt x="609465" y="93953"/>
                  </a:lnTo>
                  <a:lnTo>
                    <a:pt x="609465" y="93307"/>
                  </a:lnTo>
                  <a:lnTo>
                    <a:pt x="609465" y="92790"/>
                  </a:lnTo>
                  <a:lnTo>
                    <a:pt x="609336" y="92402"/>
                  </a:lnTo>
                  <a:lnTo>
                    <a:pt x="609078" y="92014"/>
                  </a:lnTo>
                  <a:lnTo>
                    <a:pt x="605847" y="88396"/>
                  </a:lnTo>
                  <a:lnTo>
                    <a:pt x="605588" y="87879"/>
                  </a:lnTo>
                  <a:lnTo>
                    <a:pt x="605459" y="87233"/>
                  </a:lnTo>
                  <a:lnTo>
                    <a:pt x="605330" y="85940"/>
                  </a:lnTo>
                  <a:lnTo>
                    <a:pt x="605201" y="85294"/>
                  </a:lnTo>
                  <a:lnTo>
                    <a:pt x="604942" y="84777"/>
                  </a:lnTo>
                  <a:lnTo>
                    <a:pt x="604554" y="84389"/>
                  </a:lnTo>
                  <a:lnTo>
                    <a:pt x="601453" y="81417"/>
                  </a:lnTo>
                  <a:lnTo>
                    <a:pt x="600807" y="79996"/>
                  </a:lnTo>
                  <a:lnTo>
                    <a:pt x="599902" y="77799"/>
                  </a:lnTo>
                  <a:lnTo>
                    <a:pt x="599644" y="77411"/>
                  </a:lnTo>
                  <a:lnTo>
                    <a:pt x="599256" y="76894"/>
                  </a:lnTo>
                  <a:lnTo>
                    <a:pt x="598868" y="76635"/>
                  </a:lnTo>
                  <a:lnTo>
                    <a:pt x="598351" y="76506"/>
                  </a:lnTo>
                  <a:lnTo>
                    <a:pt x="597576" y="76765"/>
                  </a:lnTo>
                  <a:lnTo>
                    <a:pt x="596930" y="77152"/>
                  </a:lnTo>
                  <a:lnTo>
                    <a:pt x="592406" y="80900"/>
                  </a:lnTo>
                  <a:lnTo>
                    <a:pt x="591890" y="81417"/>
                  </a:lnTo>
                  <a:lnTo>
                    <a:pt x="591373" y="82063"/>
                  </a:lnTo>
                  <a:lnTo>
                    <a:pt x="590985" y="82968"/>
                  </a:lnTo>
                  <a:lnTo>
                    <a:pt x="590856" y="83743"/>
                  </a:lnTo>
                  <a:lnTo>
                    <a:pt x="590985" y="84777"/>
                  </a:lnTo>
                  <a:lnTo>
                    <a:pt x="591760" y="86974"/>
                  </a:lnTo>
                  <a:lnTo>
                    <a:pt x="597834" y="100544"/>
                  </a:lnTo>
                  <a:lnTo>
                    <a:pt x="598222" y="101836"/>
                  </a:lnTo>
                  <a:lnTo>
                    <a:pt x="598351" y="103128"/>
                  </a:lnTo>
                  <a:lnTo>
                    <a:pt x="598093" y="103904"/>
                  </a:lnTo>
                  <a:lnTo>
                    <a:pt x="597059" y="104291"/>
                  </a:lnTo>
                  <a:lnTo>
                    <a:pt x="595508" y="104162"/>
                  </a:lnTo>
                  <a:lnTo>
                    <a:pt x="576898" y="97571"/>
                  </a:lnTo>
                  <a:lnTo>
                    <a:pt x="572505" y="94987"/>
                  </a:lnTo>
                  <a:lnTo>
                    <a:pt x="569791" y="92790"/>
                  </a:lnTo>
                  <a:lnTo>
                    <a:pt x="568111" y="92014"/>
                  </a:lnTo>
                  <a:lnTo>
                    <a:pt x="567206" y="91756"/>
                  </a:lnTo>
                  <a:lnTo>
                    <a:pt x="566560" y="92144"/>
                  </a:lnTo>
                  <a:lnTo>
                    <a:pt x="565397" y="93307"/>
                  </a:lnTo>
                  <a:lnTo>
                    <a:pt x="564751" y="93823"/>
                  </a:lnTo>
                  <a:lnTo>
                    <a:pt x="563200" y="93823"/>
                  </a:lnTo>
                  <a:lnTo>
                    <a:pt x="561132" y="92660"/>
                  </a:lnTo>
                  <a:lnTo>
                    <a:pt x="557255" y="89430"/>
                  </a:lnTo>
                  <a:lnTo>
                    <a:pt x="553378" y="86716"/>
                  </a:lnTo>
                  <a:lnTo>
                    <a:pt x="550923" y="85811"/>
                  </a:lnTo>
                  <a:lnTo>
                    <a:pt x="547950" y="85165"/>
                  </a:lnTo>
                  <a:lnTo>
                    <a:pt x="545624" y="84906"/>
                  </a:lnTo>
                  <a:lnTo>
                    <a:pt x="543427" y="85036"/>
                  </a:lnTo>
                  <a:lnTo>
                    <a:pt x="543039" y="84777"/>
                  </a:lnTo>
                  <a:lnTo>
                    <a:pt x="542910" y="84260"/>
                  </a:lnTo>
                  <a:lnTo>
                    <a:pt x="543556" y="81546"/>
                  </a:lnTo>
                  <a:lnTo>
                    <a:pt x="545882" y="75860"/>
                  </a:lnTo>
                  <a:lnTo>
                    <a:pt x="546270" y="74697"/>
                  </a:lnTo>
                  <a:lnTo>
                    <a:pt x="546270" y="74051"/>
                  </a:lnTo>
                  <a:lnTo>
                    <a:pt x="546270" y="73405"/>
                  </a:lnTo>
                  <a:lnTo>
                    <a:pt x="545882" y="73017"/>
                  </a:lnTo>
                  <a:lnTo>
                    <a:pt x="545624" y="72629"/>
                  </a:lnTo>
                  <a:lnTo>
                    <a:pt x="543685" y="72500"/>
                  </a:lnTo>
                  <a:lnTo>
                    <a:pt x="539809" y="74309"/>
                  </a:lnTo>
                  <a:lnTo>
                    <a:pt x="537353" y="75731"/>
                  </a:lnTo>
                  <a:lnTo>
                    <a:pt x="526497" y="84002"/>
                  </a:lnTo>
                  <a:lnTo>
                    <a:pt x="523913" y="85423"/>
                  </a:lnTo>
                  <a:lnTo>
                    <a:pt x="522233" y="85940"/>
                  </a:lnTo>
                  <a:lnTo>
                    <a:pt x="520165" y="86328"/>
                  </a:lnTo>
                  <a:lnTo>
                    <a:pt x="518097" y="86586"/>
                  </a:lnTo>
                  <a:lnTo>
                    <a:pt x="509826" y="86716"/>
                  </a:lnTo>
                  <a:lnTo>
                    <a:pt x="506466" y="85940"/>
                  </a:lnTo>
                  <a:lnTo>
                    <a:pt x="500392" y="83356"/>
                  </a:lnTo>
                  <a:lnTo>
                    <a:pt x="498454" y="82451"/>
                  </a:lnTo>
                  <a:lnTo>
                    <a:pt x="497032" y="82193"/>
                  </a:lnTo>
                  <a:lnTo>
                    <a:pt x="494964" y="82193"/>
                  </a:lnTo>
                  <a:lnTo>
                    <a:pt x="493543" y="82580"/>
                  </a:lnTo>
                  <a:lnTo>
                    <a:pt x="492509" y="83226"/>
                  </a:lnTo>
                  <a:lnTo>
                    <a:pt x="491734" y="83873"/>
                  </a:lnTo>
                  <a:lnTo>
                    <a:pt x="491217" y="84777"/>
                  </a:lnTo>
                  <a:lnTo>
                    <a:pt x="490829" y="85811"/>
                  </a:lnTo>
                  <a:lnTo>
                    <a:pt x="490312" y="88654"/>
                  </a:lnTo>
                  <a:lnTo>
                    <a:pt x="489795" y="94728"/>
                  </a:lnTo>
                  <a:lnTo>
                    <a:pt x="489020" y="99897"/>
                  </a:lnTo>
                  <a:lnTo>
                    <a:pt x="488503" y="101578"/>
                  </a:lnTo>
                  <a:lnTo>
                    <a:pt x="488115" y="102353"/>
                  </a:lnTo>
                  <a:lnTo>
                    <a:pt x="487727" y="102870"/>
                  </a:lnTo>
                  <a:lnTo>
                    <a:pt x="487210" y="103516"/>
                  </a:lnTo>
                  <a:lnTo>
                    <a:pt x="486047" y="104679"/>
                  </a:lnTo>
                  <a:lnTo>
                    <a:pt x="482299" y="107264"/>
                  </a:lnTo>
                  <a:lnTo>
                    <a:pt x="481783" y="107522"/>
                  </a:lnTo>
                  <a:lnTo>
                    <a:pt x="481266" y="107522"/>
                  </a:lnTo>
                  <a:lnTo>
                    <a:pt x="480490" y="107134"/>
                  </a:lnTo>
                  <a:lnTo>
                    <a:pt x="479715" y="106230"/>
                  </a:lnTo>
                  <a:lnTo>
                    <a:pt x="479198" y="105067"/>
                  </a:lnTo>
                  <a:lnTo>
                    <a:pt x="478681" y="103904"/>
                  </a:lnTo>
                  <a:lnTo>
                    <a:pt x="478164" y="101319"/>
                  </a:lnTo>
                  <a:lnTo>
                    <a:pt x="477906" y="100027"/>
                  </a:lnTo>
                  <a:lnTo>
                    <a:pt x="477906" y="98605"/>
                  </a:lnTo>
                  <a:lnTo>
                    <a:pt x="478164" y="97054"/>
                  </a:lnTo>
                  <a:lnTo>
                    <a:pt x="479973" y="88396"/>
                  </a:lnTo>
                  <a:lnTo>
                    <a:pt x="479198" y="75989"/>
                  </a:lnTo>
                  <a:lnTo>
                    <a:pt x="478552" y="73922"/>
                  </a:lnTo>
                  <a:lnTo>
                    <a:pt x="476225" y="69140"/>
                  </a:lnTo>
                  <a:lnTo>
                    <a:pt x="475709" y="67848"/>
                  </a:lnTo>
                  <a:lnTo>
                    <a:pt x="475450" y="66555"/>
                  </a:lnTo>
                  <a:lnTo>
                    <a:pt x="475450" y="65780"/>
                  </a:lnTo>
                  <a:lnTo>
                    <a:pt x="475450" y="65263"/>
                  </a:lnTo>
                  <a:lnTo>
                    <a:pt x="476355" y="60611"/>
                  </a:lnTo>
                  <a:lnTo>
                    <a:pt x="476355" y="59189"/>
                  </a:lnTo>
                  <a:lnTo>
                    <a:pt x="476096" y="57638"/>
                  </a:lnTo>
                  <a:lnTo>
                    <a:pt x="474804" y="54407"/>
                  </a:lnTo>
                  <a:lnTo>
                    <a:pt x="473253" y="51693"/>
                  </a:lnTo>
                  <a:lnTo>
                    <a:pt x="471573" y="49367"/>
                  </a:lnTo>
                  <a:lnTo>
                    <a:pt x="469376" y="47170"/>
                  </a:lnTo>
                  <a:lnTo>
                    <a:pt x="462398" y="42001"/>
                  </a:lnTo>
                  <a:lnTo>
                    <a:pt x="454773" y="38124"/>
                  </a:lnTo>
                  <a:lnTo>
                    <a:pt x="454127" y="37607"/>
                  </a:lnTo>
                  <a:lnTo>
                    <a:pt x="453480" y="37090"/>
                  </a:lnTo>
                  <a:lnTo>
                    <a:pt x="453222" y="36315"/>
                  </a:lnTo>
                  <a:lnTo>
                    <a:pt x="452834" y="35410"/>
                  </a:lnTo>
                  <a:lnTo>
                    <a:pt x="452834" y="34376"/>
                  </a:lnTo>
                  <a:lnTo>
                    <a:pt x="452964" y="33342"/>
                  </a:lnTo>
                  <a:lnTo>
                    <a:pt x="454127" y="28302"/>
                  </a:lnTo>
                  <a:lnTo>
                    <a:pt x="454127" y="27914"/>
                  </a:lnTo>
                  <a:lnTo>
                    <a:pt x="453997" y="27785"/>
                  </a:lnTo>
                  <a:lnTo>
                    <a:pt x="453610" y="27656"/>
                  </a:lnTo>
                  <a:lnTo>
                    <a:pt x="453093" y="27656"/>
                  </a:lnTo>
                  <a:lnTo>
                    <a:pt x="452576" y="27914"/>
                  </a:lnTo>
                  <a:lnTo>
                    <a:pt x="447923" y="30499"/>
                  </a:lnTo>
                  <a:lnTo>
                    <a:pt x="439653" y="36444"/>
                  </a:lnTo>
                  <a:lnTo>
                    <a:pt x="422723" y="65780"/>
                  </a:lnTo>
                  <a:lnTo>
                    <a:pt x="416132" y="80125"/>
                  </a:lnTo>
                  <a:lnTo>
                    <a:pt x="415098" y="83614"/>
                  </a:lnTo>
                  <a:lnTo>
                    <a:pt x="414840" y="85682"/>
                  </a:lnTo>
                  <a:lnTo>
                    <a:pt x="414840" y="89171"/>
                  </a:lnTo>
                  <a:lnTo>
                    <a:pt x="414710" y="89947"/>
                  </a:lnTo>
                  <a:lnTo>
                    <a:pt x="414452" y="90851"/>
                  </a:lnTo>
                  <a:lnTo>
                    <a:pt x="414064" y="91627"/>
                  </a:lnTo>
                  <a:lnTo>
                    <a:pt x="413289" y="92531"/>
                  </a:lnTo>
                  <a:lnTo>
                    <a:pt x="411867" y="92790"/>
                  </a:lnTo>
                  <a:lnTo>
                    <a:pt x="409541" y="92402"/>
                  </a:lnTo>
                  <a:lnTo>
                    <a:pt x="398944" y="87362"/>
                  </a:lnTo>
                  <a:lnTo>
                    <a:pt x="393904" y="85940"/>
                  </a:lnTo>
                  <a:lnTo>
                    <a:pt x="381110" y="84648"/>
                  </a:lnTo>
                  <a:lnTo>
                    <a:pt x="356814" y="73275"/>
                  </a:lnTo>
                  <a:lnTo>
                    <a:pt x="350611" y="68364"/>
                  </a:lnTo>
                  <a:lnTo>
                    <a:pt x="349318" y="67718"/>
                  </a:lnTo>
                  <a:lnTo>
                    <a:pt x="348414" y="67460"/>
                  </a:lnTo>
                  <a:lnTo>
                    <a:pt x="347250" y="67848"/>
                  </a:lnTo>
                  <a:lnTo>
                    <a:pt x="341823" y="67718"/>
                  </a:lnTo>
                  <a:lnTo>
                    <a:pt x="321662" y="58155"/>
                  </a:lnTo>
                  <a:lnTo>
                    <a:pt x="319724" y="56734"/>
                  </a:lnTo>
                  <a:lnTo>
                    <a:pt x="318948" y="55570"/>
                  </a:lnTo>
                  <a:lnTo>
                    <a:pt x="318431" y="53761"/>
                  </a:lnTo>
                  <a:lnTo>
                    <a:pt x="317914" y="42259"/>
                  </a:lnTo>
                  <a:lnTo>
                    <a:pt x="318173" y="40708"/>
                  </a:lnTo>
                  <a:lnTo>
                    <a:pt x="318690" y="39029"/>
                  </a:lnTo>
                  <a:lnTo>
                    <a:pt x="319465" y="37478"/>
                  </a:lnTo>
                  <a:lnTo>
                    <a:pt x="325152" y="29207"/>
                  </a:lnTo>
                  <a:lnTo>
                    <a:pt x="325927" y="27785"/>
                  </a:lnTo>
                  <a:lnTo>
                    <a:pt x="326315" y="25718"/>
                  </a:lnTo>
                  <a:lnTo>
                    <a:pt x="326444" y="23779"/>
                  </a:lnTo>
                  <a:lnTo>
                    <a:pt x="325668" y="18739"/>
                  </a:lnTo>
                  <a:lnTo>
                    <a:pt x="325539" y="17447"/>
                  </a:lnTo>
                  <a:lnTo>
                    <a:pt x="325798" y="16542"/>
                  </a:lnTo>
                  <a:lnTo>
                    <a:pt x="326444" y="15508"/>
                  </a:lnTo>
                  <a:lnTo>
                    <a:pt x="327090" y="14474"/>
                  </a:lnTo>
                  <a:lnTo>
                    <a:pt x="332647" y="8529"/>
                  </a:lnTo>
                  <a:lnTo>
                    <a:pt x="333423" y="7496"/>
                  </a:lnTo>
                  <a:lnTo>
                    <a:pt x="333810" y="6203"/>
                  </a:lnTo>
                  <a:lnTo>
                    <a:pt x="334069" y="4135"/>
                  </a:lnTo>
                  <a:lnTo>
                    <a:pt x="333810" y="2972"/>
                  </a:lnTo>
                  <a:lnTo>
                    <a:pt x="333423" y="2068"/>
                  </a:lnTo>
                  <a:lnTo>
                    <a:pt x="332518" y="1034"/>
                  </a:lnTo>
                  <a:lnTo>
                    <a:pt x="331226" y="0"/>
                  </a:lnTo>
                  <a:lnTo>
                    <a:pt x="322050" y="5557"/>
                  </a:lnTo>
                  <a:lnTo>
                    <a:pt x="319982" y="7366"/>
                  </a:lnTo>
                  <a:lnTo>
                    <a:pt x="317398" y="8917"/>
                  </a:lnTo>
                  <a:lnTo>
                    <a:pt x="315717" y="10339"/>
                  </a:lnTo>
                  <a:lnTo>
                    <a:pt x="315459" y="10726"/>
                  </a:lnTo>
                  <a:lnTo>
                    <a:pt x="315201" y="10985"/>
                  </a:lnTo>
                  <a:lnTo>
                    <a:pt x="314554" y="11889"/>
                  </a:lnTo>
                  <a:lnTo>
                    <a:pt x="313779" y="12019"/>
                  </a:lnTo>
                  <a:lnTo>
                    <a:pt x="313133" y="12277"/>
                  </a:lnTo>
                  <a:lnTo>
                    <a:pt x="312745" y="12923"/>
                  </a:lnTo>
                  <a:lnTo>
                    <a:pt x="312616" y="13699"/>
                  </a:lnTo>
                  <a:lnTo>
                    <a:pt x="311841" y="14345"/>
                  </a:lnTo>
                  <a:lnTo>
                    <a:pt x="310936" y="14733"/>
                  </a:lnTo>
                  <a:lnTo>
                    <a:pt x="309773" y="15508"/>
                  </a:lnTo>
                  <a:lnTo>
                    <a:pt x="309385" y="16671"/>
                  </a:lnTo>
                  <a:lnTo>
                    <a:pt x="309127" y="17705"/>
                  </a:lnTo>
                  <a:lnTo>
                    <a:pt x="308868" y="18610"/>
                  </a:lnTo>
                  <a:lnTo>
                    <a:pt x="307834" y="19644"/>
                  </a:lnTo>
                  <a:lnTo>
                    <a:pt x="304603" y="23262"/>
                  </a:lnTo>
                  <a:lnTo>
                    <a:pt x="303828" y="24942"/>
                  </a:lnTo>
                  <a:lnTo>
                    <a:pt x="303311" y="26364"/>
                  </a:lnTo>
                  <a:lnTo>
                    <a:pt x="303311" y="27527"/>
                  </a:lnTo>
                  <a:lnTo>
                    <a:pt x="303053" y="28819"/>
                  </a:lnTo>
                  <a:lnTo>
                    <a:pt x="302536" y="30241"/>
                  </a:lnTo>
                  <a:lnTo>
                    <a:pt x="301502" y="31145"/>
                  </a:lnTo>
                  <a:lnTo>
                    <a:pt x="300339" y="31921"/>
                  </a:lnTo>
                  <a:lnTo>
                    <a:pt x="299563" y="32696"/>
                  </a:lnTo>
                  <a:lnTo>
                    <a:pt x="298917" y="35152"/>
                  </a:lnTo>
                  <a:lnTo>
                    <a:pt x="298917" y="36185"/>
                  </a:lnTo>
                  <a:lnTo>
                    <a:pt x="298917" y="37348"/>
                  </a:lnTo>
                  <a:lnTo>
                    <a:pt x="298271" y="39287"/>
                  </a:lnTo>
                  <a:lnTo>
                    <a:pt x="298142" y="40450"/>
                  </a:lnTo>
                  <a:lnTo>
                    <a:pt x="298142" y="41613"/>
                  </a:lnTo>
                  <a:lnTo>
                    <a:pt x="297496" y="44327"/>
                  </a:lnTo>
                  <a:lnTo>
                    <a:pt x="295557" y="48463"/>
                  </a:lnTo>
                  <a:lnTo>
                    <a:pt x="295945" y="49496"/>
                  </a:lnTo>
                  <a:lnTo>
                    <a:pt x="296203" y="50660"/>
                  </a:lnTo>
                  <a:lnTo>
                    <a:pt x="296203" y="52210"/>
                  </a:lnTo>
                  <a:lnTo>
                    <a:pt x="294265" y="60094"/>
                  </a:lnTo>
                  <a:lnTo>
                    <a:pt x="294006" y="60869"/>
                  </a:lnTo>
                  <a:lnTo>
                    <a:pt x="293360" y="62032"/>
                  </a:lnTo>
                  <a:lnTo>
                    <a:pt x="292456" y="63195"/>
                  </a:lnTo>
                  <a:lnTo>
                    <a:pt x="291939" y="63583"/>
                  </a:lnTo>
                  <a:lnTo>
                    <a:pt x="288320" y="65909"/>
                  </a:lnTo>
                  <a:lnTo>
                    <a:pt x="287545" y="66555"/>
                  </a:lnTo>
                  <a:lnTo>
                    <a:pt x="287157" y="66943"/>
                  </a:lnTo>
                  <a:lnTo>
                    <a:pt x="287028" y="67460"/>
                  </a:lnTo>
                  <a:lnTo>
                    <a:pt x="287286" y="68106"/>
                  </a:lnTo>
                  <a:lnTo>
                    <a:pt x="288061" y="68881"/>
                  </a:lnTo>
                  <a:lnTo>
                    <a:pt x="288449" y="69269"/>
                  </a:lnTo>
                  <a:lnTo>
                    <a:pt x="288579" y="69786"/>
                  </a:lnTo>
                  <a:lnTo>
                    <a:pt x="288579" y="70303"/>
                  </a:lnTo>
                  <a:lnTo>
                    <a:pt x="288449" y="70949"/>
                  </a:lnTo>
                  <a:lnTo>
                    <a:pt x="287932" y="71337"/>
                  </a:lnTo>
                  <a:lnTo>
                    <a:pt x="287415" y="71725"/>
                  </a:lnTo>
                  <a:lnTo>
                    <a:pt x="285735" y="72371"/>
                  </a:lnTo>
                  <a:lnTo>
                    <a:pt x="285218" y="72629"/>
                  </a:lnTo>
                  <a:lnTo>
                    <a:pt x="284831" y="73017"/>
                  </a:lnTo>
                  <a:lnTo>
                    <a:pt x="284572" y="73405"/>
                  </a:lnTo>
                  <a:lnTo>
                    <a:pt x="284443" y="74051"/>
                  </a:lnTo>
                  <a:lnTo>
                    <a:pt x="284572" y="74826"/>
                  </a:lnTo>
                  <a:lnTo>
                    <a:pt x="285477" y="76248"/>
                  </a:lnTo>
                  <a:lnTo>
                    <a:pt x="285865" y="77411"/>
                  </a:lnTo>
                  <a:lnTo>
                    <a:pt x="285865" y="78833"/>
                  </a:lnTo>
                  <a:lnTo>
                    <a:pt x="285348" y="83226"/>
                  </a:lnTo>
                  <a:lnTo>
                    <a:pt x="285348" y="84648"/>
                  </a:lnTo>
                  <a:lnTo>
                    <a:pt x="285218" y="86586"/>
                  </a:lnTo>
                  <a:lnTo>
                    <a:pt x="285348" y="87233"/>
                  </a:lnTo>
                  <a:lnTo>
                    <a:pt x="286252" y="89171"/>
                  </a:lnTo>
                  <a:lnTo>
                    <a:pt x="286382" y="89688"/>
                  </a:lnTo>
                  <a:lnTo>
                    <a:pt x="286511" y="90334"/>
                  </a:lnTo>
                  <a:lnTo>
                    <a:pt x="286382" y="90980"/>
                  </a:lnTo>
                  <a:lnTo>
                    <a:pt x="285865" y="92402"/>
                  </a:lnTo>
                  <a:lnTo>
                    <a:pt x="283151" y="98476"/>
                  </a:lnTo>
                  <a:lnTo>
                    <a:pt x="281600" y="101448"/>
                  </a:lnTo>
                  <a:lnTo>
                    <a:pt x="279920" y="103645"/>
                  </a:lnTo>
                  <a:lnTo>
                    <a:pt x="278498" y="105196"/>
                  </a:lnTo>
                  <a:lnTo>
                    <a:pt x="277206" y="107005"/>
                  </a:lnTo>
                  <a:lnTo>
                    <a:pt x="276947" y="107652"/>
                  </a:lnTo>
                  <a:lnTo>
                    <a:pt x="276689" y="108427"/>
                  </a:lnTo>
                  <a:lnTo>
                    <a:pt x="276431" y="111658"/>
                  </a:lnTo>
                  <a:lnTo>
                    <a:pt x="276172" y="112433"/>
                  </a:lnTo>
                  <a:lnTo>
                    <a:pt x="275784" y="113208"/>
                  </a:lnTo>
                  <a:lnTo>
                    <a:pt x="275009" y="114242"/>
                  </a:lnTo>
                  <a:lnTo>
                    <a:pt x="273458" y="115664"/>
                  </a:lnTo>
                  <a:lnTo>
                    <a:pt x="272683" y="117086"/>
                  </a:lnTo>
                  <a:lnTo>
                    <a:pt x="272424" y="117603"/>
                  </a:lnTo>
                  <a:lnTo>
                    <a:pt x="272037" y="117990"/>
                  </a:lnTo>
                  <a:lnTo>
                    <a:pt x="270744" y="119670"/>
                  </a:lnTo>
                  <a:lnTo>
                    <a:pt x="270486" y="120058"/>
                  </a:lnTo>
                  <a:lnTo>
                    <a:pt x="270357" y="120058"/>
                  </a:lnTo>
                  <a:lnTo>
                    <a:pt x="268935" y="120833"/>
                  </a:lnTo>
                  <a:lnTo>
                    <a:pt x="268547" y="121221"/>
                  </a:lnTo>
                  <a:lnTo>
                    <a:pt x="268160" y="121479"/>
                  </a:lnTo>
                  <a:lnTo>
                    <a:pt x="266479" y="123806"/>
                  </a:lnTo>
                  <a:lnTo>
                    <a:pt x="266221" y="124581"/>
                  </a:lnTo>
                  <a:lnTo>
                    <a:pt x="265058" y="131301"/>
                  </a:lnTo>
                  <a:lnTo>
                    <a:pt x="262861" y="137892"/>
                  </a:lnTo>
                  <a:lnTo>
                    <a:pt x="262473" y="138668"/>
                  </a:lnTo>
                  <a:lnTo>
                    <a:pt x="262215" y="139314"/>
                  </a:lnTo>
                  <a:lnTo>
                    <a:pt x="261827" y="139701"/>
                  </a:lnTo>
                  <a:lnTo>
                    <a:pt x="261052" y="140477"/>
                  </a:lnTo>
                  <a:lnTo>
                    <a:pt x="259372" y="141769"/>
                  </a:lnTo>
                  <a:lnTo>
                    <a:pt x="258984" y="142028"/>
                  </a:lnTo>
                  <a:lnTo>
                    <a:pt x="258338" y="142157"/>
                  </a:lnTo>
                  <a:lnTo>
                    <a:pt x="257045" y="142415"/>
                  </a:lnTo>
                  <a:lnTo>
                    <a:pt x="255495" y="143061"/>
                  </a:lnTo>
                  <a:lnTo>
                    <a:pt x="254978" y="143191"/>
                  </a:lnTo>
                  <a:lnTo>
                    <a:pt x="254590" y="143708"/>
                  </a:lnTo>
                  <a:lnTo>
                    <a:pt x="254461" y="144354"/>
                  </a:lnTo>
                  <a:lnTo>
                    <a:pt x="254719" y="145388"/>
                  </a:lnTo>
                  <a:lnTo>
                    <a:pt x="255365" y="147197"/>
                  </a:lnTo>
                  <a:lnTo>
                    <a:pt x="255495" y="147843"/>
                  </a:lnTo>
                  <a:lnTo>
                    <a:pt x="255624" y="148489"/>
                  </a:lnTo>
                  <a:lnTo>
                    <a:pt x="255495" y="154563"/>
                  </a:lnTo>
                  <a:lnTo>
                    <a:pt x="255624" y="155468"/>
                  </a:lnTo>
                  <a:lnTo>
                    <a:pt x="256012" y="157277"/>
                  </a:lnTo>
                  <a:lnTo>
                    <a:pt x="256787" y="159474"/>
                  </a:lnTo>
                  <a:lnTo>
                    <a:pt x="256916" y="160379"/>
                  </a:lnTo>
                  <a:lnTo>
                    <a:pt x="256916" y="161671"/>
                  </a:lnTo>
                  <a:lnTo>
                    <a:pt x="256270" y="166065"/>
                  </a:lnTo>
                  <a:lnTo>
                    <a:pt x="254978" y="169942"/>
                  </a:lnTo>
                  <a:lnTo>
                    <a:pt x="254849" y="170718"/>
                  </a:lnTo>
                  <a:lnTo>
                    <a:pt x="254849" y="172268"/>
                  </a:lnTo>
                  <a:lnTo>
                    <a:pt x="254978" y="173173"/>
                  </a:lnTo>
                  <a:lnTo>
                    <a:pt x="255365" y="174853"/>
                  </a:lnTo>
                  <a:lnTo>
                    <a:pt x="255495" y="175241"/>
                  </a:lnTo>
                  <a:lnTo>
                    <a:pt x="255365" y="177955"/>
                  </a:lnTo>
                  <a:lnTo>
                    <a:pt x="255365" y="179247"/>
                  </a:lnTo>
                  <a:lnTo>
                    <a:pt x="255624" y="179893"/>
                  </a:lnTo>
                  <a:lnTo>
                    <a:pt x="255753" y="180281"/>
                  </a:lnTo>
                  <a:lnTo>
                    <a:pt x="256787" y="181573"/>
                  </a:lnTo>
                  <a:lnTo>
                    <a:pt x="256916" y="182219"/>
                  </a:lnTo>
                  <a:lnTo>
                    <a:pt x="256916" y="182995"/>
                  </a:lnTo>
                  <a:lnTo>
                    <a:pt x="256787" y="184029"/>
                  </a:lnTo>
                  <a:lnTo>
                    <a:pt x="256658" y="184804"/>
                  </a:lnTo>
                  <a:lnTo>
                    <a:pt x="256399" y="185321"/>
                  </a:lnTo>
                  <a:lnTo>
                    <a:pt x="256141" y="185708"/>
                  </a:lnTo>
                  <a:lnTo>
                    <a:pt x="255753" y="186226"/>
                  </a:lnTo>
                  <a:lnTo>
                    <a:pt x="254461" y="186872"/>
                  </a:lnTo>
                  <a:lnTo>
                    <a:pt x="251101" y="187905"/>
                  </a:lnTo>
                  <a:lnTo>
                    <a:pt x="249679" y="187518"/>
                  </a:lnTo>
                  <a:lnTo>
                    <a:pt x="249033" y="187518"/>
                  </a:lnTo>
                  <a:lnTo>
                    <a:pt x="248645" y="187647"/>
                  </a:lnTo>
                  <a:lnTo>
                    <a:pt x="248387" y="188164"/>
                  </a:lnTo>
                  <a:lnTo>
                    <a:pt x="248387" y="188939"/>
                  </a:lnTo>
                  <a:lnTo>
                    <a:pt x="248516" y="189456"/>
                  </a:lnTo>
                  <a:lnTo>
                    <a:pt x="249033" y="190361"/>
                  </a:lnTo>
                  <a:lnTo>
                    <a:pt x="249162" y="191007"/>
                  </a:lnTo>
                  <a:lnTo>
                    <a:pt x="248904" y="191912"/>
                  </a:lnTo>
                  <a:lnTo>
                    <a:pt x="248387" y="193075"/>
                  </a:lnTo>
                  <a:lnTo>
                    <a:pt x="244639" y="200700"/>
                  </a:lnTo>
                  <a:lnTo>
                    <a:pt x="243217" y="206257"/>
                  </a:lnTo>
                  <a:lnTo>
                    <a:pt x="243088" y="206903"/>
                  </a:lnTo>
                  <a:lnTo>
                    <a:pt x="243088" y="207678"/>
                  </a:lnTo>
                  <a:lnTo>
                    <a:pt x="243347" y="209229"/>
                  </a:lnTo>
                  <a:lnTo>
                    <a:pt x="243217" y="210392"/>
                  </a:lnTo>
                  <a:lnTo>
                    <a:pt x="242830" y="211685"/>
                  </a:lnTo>
                  <a:lnTo>
                    <a:pt x="241796" y="213882"/>
                  </a:lnTo>
                  <a:lnTo>
                    <a:pt x="241150" y="216208"/>
                  </a:lnTo>
                  <a:lnTo>
                    <a:pt x="241020" y="216854"/>
                  </a:lnTo>
                  <a:lnTo>
                    <a:pt x="240504" y="218663"/>
                  </a:lnTo>
                  <a:lnTo>
                    <a:pt x="240504" y="219309"/>
                  </a:lnTo>
                  <a:lnTo>
                    <a:pt x="240633" y="219826"/>
                  </a:lnTo>
                  <a:lnTo>
                    <a:pt x="241150" y="220860"/>
                  </a:lnTo>
                  <a:lnTo>
                    <a:pt x="241667" y="222411"/>
                  </a:lnTo>
                  <a:lnTo>
                    <a:pt x="241925" y="223703"/>
                  </a:lnTo>
                  <a:lnTo>
                    <a:pt x="242054" y="224220"/>
                  </a:lnTo>
                  <a:lnTo>
                    <a:pt x="243476" y="228226"/>
                  </a:lnTo>
                  <a:lnTo>
                    <a:pt x="243605" y="229906"/>
                  </a:lnTo>
                  <a:lnTo>
                    <a:pt x="243605" y="231716"/>
                  </a:lnTo>
                  <a:lnTo>
                    <a:pt x="242959" y="233267"/>
                  </a:lnTo>
                  <a:lnTo>
                    <a:pt x="242184" y="234559"/>
                  </a:lnTo>
                  <a:lnTo>
                    <a:pt x="241667" y="235722"/>
                  </a:lnTo>
                  <a:lnTo>
                    <a:pt x="242054" y="237014"/>
                  </a:lnTo>
                  <a:lnTo>
                    <a:pt x="241667" y="237531"/>
                  </a:lnTo>
                  <a:lnTo>
                    <a:pt x="241408" y="237790"/>
                  </a:lnTo>
                  <a:lnTo>
                    <a:pt x="240891" y="239470"/>
                  </a:lnTo>
                  <a:lnTo>
                    <a:pt x="239987" y="241537"/>
                  </a:lnTo>
                  <a:lnTo>
                    <a:pt x="239857" y="242571"/>
                  </a:lnTo>
                  <a:lnTo>
                    <a:pt x="239211" y="243734"/>
                  </a:lnTo>
                  <a:lnTo>
                    <a:pt x="236756" y="245802"/>
                  </a:lnTo>
                  <a:lnTo>
                    <a:pt x="236110" y="247094"/>
                  </a:lnTo>
                  <a:lnTo>
                    <a:pt x="235851" y="249808"/>
                  </a:lnTo>
                  <a:lnTo>
                    <a:pt x="233913" y="254073"/>
                  </a:lnTo>
                  <a:lnTo>
                    <a:pt x="233267" y="256529"/>
                  </a:lnTo>
                  <a:lnTo>
                    <a:pt x="233396" y="261181"/>
                  </a:lnTo>
                  <a:lnTo>
                    <a:pt x="233008" y="263119"/>
                  </a:lnTo>
                  <a:lnTo>
                    <a:pt x="231328" y="264024"/>
                  </a:lnTo>
                  <a:lnTo>
                    <a:pt x="230423" y="265187"/>
                  </a:lnTo>
                  <a:lnTo>
                    <a:pt x="229648" y="272295"/>
                  </a:lnTo>
                  <a:lnTo>
                    <a:pt x="228872" y="273070"/>
                  </a:lnTo>
                  <a:lnTo>
                    <a:pt x="226546" y="274234"/>
                  </a:lnTo>
                  <a:lnTo>
                    <a:pt x="225512" y="275009"/>
                  </a:lnTo>
                  <a:lnTo>
                    <a:pt x="225125" y="275914"/>
                  </a:lnTo>
                  <a:lnTo>
                    <a:pt x="224479" y="278627"/>
                  </a:lnTo>
                  <a:lnTo>
                    <a:pt x="224091" y="279144"/>
                  </a:lnTo>
                  <a:lnTo>
                    <a:pt x="224091" y="279661"/>
                  </a:lnTo>
                  <a:lnTo>
                    <a:pt x="223186" y="280566"/>
                  </a:lnTo>
                  <a:lnTo>
                    <a:pt x="221506" y="282117"/>
                  </a:lnTo>
                  <a:lnTo>
                    <a:pt x="217888" y="283668"/>
                  </a:lnTo>
                  <a:lnTo>
                    <a:pt x="214657" y="285606"/>
                  </a:lnTo>
                  <a:lnTo>
                    <a:pt x="212977" y="286382"/>
                  </a:lnTo>
                  <a:lnTo>
                    <a:pt x="210909" y="286640"/>
                  </a:lnTo>
                  <a:lnTo>
                    <a:pt x="208454" y="285864"/>
                  </a:lnTo>
                  <a:lnTo>
                    <a:pt x="207808" y="283797"/>
                  </a:lnTo>
                  <a:lnTo>
                    <a:pt x="207420" y="281471"/>
                  </a:lnTo>
                  <a:lnTo>
                    <a:pt x="206127" y="279920"/>
                  </a:lnTo>
                  <a:lnTo>
                    <a:pt x="202767" y="282634"/>
                  </a:lnTo>
                  <a:lnTo>
                    <a:pt x="200958" y="283409"/>
                  </a:lnTo>
                  <a:lnTo>
                    <a:pt x="198373" y="283668"/>
                  </a:lnTo>
                  <a:lnTo>
                    <a:pt x="196176" y="284185"/>
                  </a:lnTo>
                  <a:lnTo>
                    <a:pt x="194626" y="285477"/>
                  </a:lnTo>
                  <a:lnTo>
                    <a:pt x="191783" y="288578"/>
                  </a:lnTo>
                  <a:lnTo>
                    <a:pt x="189586" y="290000"/>
                  </a:lnTo>
                  <a:lnTo>
                    <a:pt x="185321" y="291551"/>
                  </a:lnTo>
                  <a:lnTo>
                    <a:pt x="183382" y="293489"/>
                  </a:lnTo>
                  <a:lnTo>
                    <a:pt x="178730" y="300080"/>
                  </a:lnTo>
                  <a:lnTo>
                    <a:pt x="177050" y="301114"/>
                  </a:lnTo>
                  <a:lnTo>
                    <a:pt x="175241" y="301631"/>
                  </a:lnTo>
                  <a:lnTo>
                    <a:pt x="173431" y="302923"/>
                  </a:lnTo>
                  <a:lnTo>
                    <a:pt x="171881" y="304474"/>
                  </a:lnTo>
                  <a:lnTo>
                    <a:pt x="170847" y="305637"/>
                  </a:lnTo>
                  <a:lnTo>
                    <a:pt x="169942" y="307834"/>
                  </a:lnTo>
                  <a:lnTo>
                    <a:pt x="170201" y="309514"/>
                  </a:lnTo>
                  <a:lnTo>
                    <a:pt x="170847" y="311453"/>
                  </a:lnTo>
                  <a:lnTo>
                    <a:pt x="170847" y="313908"/>
                  </a:lnTo>
                  <a:lnTo>
                    <a:pt x="170330" y="314684"/>
                  </a:lnTo>
                  <a:lnTo>
                    <a:pt x="168391" y="315717"/>
                  </a:lnTo>
                  <a:lnTo>
                    <a:pt x="168004" y="316493"/>
                  </a:lnTo>
                  <a:lnTo>
                    <a:pt x="167874" y="317397"/>
                  </a:lnTo>
                  <a:lnTo>
                    <a:pt x="167357" y="318948"/>
                  </a:lnTo>
                  <a:lnTo>
                    <a:pt x="167228" y="320241"/>
                  </a:lnTo>
                  <a:lnTo>
                    <a:pt x="167357" y="321404"/>
                  </a:lnTo>
                  <a:lnTo>
                    <a:pt x="168004" y="323859"/>
                  </a:lnTo>
                  <a:lnTo>
                    <a:pt x="168004" y="325152"/>
                  </a:lnTo>
                  <a:lnTo>
                    <a:pt x="167616" y="326444"/>
                  </a:lnTo>
                  <a:lnTo>
                    <a:pt x="166194" y="328641"/>
                  </a:lnTo>
                  <a:lnTo>
                    <a:pt x="165677" y="329675"/>
                  </a:lnTo>
                  <a:lnTo>
                    <a:pt x="164902" y="334973"/>
                  </a:lnTo>
                  <a:lnTo>
                    <a:pt x="164127" y="336912"/>
                  </a:lnTo>
                  <a:lnTo>
                    <a:pt x="162446" y="339238"/>
                  </a:lnTo>
                  <a:lnTo>
                    <a:pt x="160250" y="343115"/>
                  </a:lnTo>
                  <a:lnTo>
                    <a:pt x="158699" y="344020"/>
                  </a:lnTo>
                  <a:lnTo>
                    <a:pt x="156243" y="342598"/>
                  </a:lnTo>
                  <a:lnTo>
                    <a:pt x="155468" y="344149"/>
                  </a:lnTo>
                  <a:lnTo>
                    <a:pt x="156631" y="346346"/>
                  </a:lnTo>
                  <a:lnTo>
                    <a:pt x="157406" y="349189"/>
                  </a:lnTo>
                  <a:lnTo>
                    <a:pt x="157536" y="352032"/>
                  </a:lnTo>
                  <a:lnTo>
                    <a:pt x="156631" y="354358"/>
                  </a:lnTo>
                  <a:lnTo>
                    <a:pt x="155080" y="356555"/>
                  </a:lnTo>
                  <a:lnTo>
                    <a:pt x="151849" y="363792"/>
                  </a:lnTo>
                  <a:lnTo>
                    <a:pt x="147972" y="368574"/>
                  </a:lnTo>
                  <a:lnTo>
                    <a:pt x="147068" y="372193"/>
                  </a:lnTo>
                  <a:lnTo>
                    <a:pt x="145775" y="373485"/>
                  </a:lnTo>
                  <a:lnTo>
                    <a:pt x="144225" y="374260"/>
                  </a:lnTo>
                  <a:lnTo>
                    <a:pt x="142286" y="374390"/>
                  </a:lnTo>
                  <a:lnTo>
                    <a:pt x="141252" y="374002"/>
                  </a:lnTo>
                  <a:lnTo>
                    <a:pt x="139572" y="373097"/>
                  </a:lnTo>
                  <a:lnTo>
                    <a:pt x="138280" y="372839"/>
                  </a:lnTo>
                  <a:lnTo>
                    <a:pt x="136858" y="373097"/>
                  </a:lnTo>
                  <a:lnTo>
                    <a:pt x="136600" y="373614"/>
                  </a:lnTo>
                  <a:lnTo>
                    <a:pt x="136600" y="374390"/>
                  </a:lnTo>
                  <a:lnTo>
                    <a:pt x="136083" y="375553"/>
                  </a:lnTo>
                  <a:lnTo>
                    <a:pt x="132335" y="379171"/>
                  </a:lnTo>
                  <a:lnTo>
                    <a:pt x="130138" y="380464"/>
                  </a:lnTo>
                  <a:lnTo>
                    <a:pt x="127553" y="381239"/>
                  </a:lnTo>
                  <a:lnTo>
                    <a:pt x="116310" y="381885"/>
                  </a:lnTo>
                  <a:lnTo>
                    <a:pt x="111141" y="382919"/>
                  </a:lnTo>
                  <a:lnTo>
                    <a:pt x="108556" y="383824"/>
                  </a:lnTo>
                  <a:lnTo>
                    <a:pt x="107522" y="384599"/>
                  </a:lnTo>
                  <a:lnTo>
                    <a:pt x="106488" y="385504"/>
                  </a:lnTo>
                  <a:lnTo>
                    <a:pt x="106101" y="386279"/>
                  </a:lnTo>
                  <a:lnTo>
                    <a:pt x="105325" y="388217"/>
                  </a:lnTo>
                  <a:lnTo>
                    <a:pt x="100415" y="393516"/>
                  </a:lnTo>
                  <a:lnTo>
                    <a:pt x="98088" y="399331"/>
                  </a:lnTo>
                  <a:lnTo>
                    <a:pt x="97442" y="400236"/>
                  </a:lnTo>
                  <a:lnTo>
                    <a:pt x="96667" y="400495"/>
                  </a:lnTo>
                  <a:lnTo>
                    <a:pt x="95633" y="400495"/>
                  </a:lnTo>
                  <a:lnTo>
                    <a:pt x="94599" y="400624"/>
                  </a:lnTo>
                  <a:lnTo>
                    <a:pt x="91627" y="402562"/>
                  </a:lnTo>
                  <a:lnTo>
                    <a:pt x="87233" y="404242"/>
                  </a:lnTo>
                  <a:lnTo>
                    <a:pt x="85682" y="405535"/>
                  </a:lnTo>
                  <a:lnTo>
                    <a:pt x="85294" y="407344"/>
                  </a:lnTo>
                  <a:lnTo>
                    <a:pt x="83743" y="408249"/>
                  </a:lnTo>
                  <a:lnTo>
                    <a:pt x="78186" y="410575"/>
                  </a:lnTo>
                  <a:lnTo>
                    <a:pt x="77023" y="411221"/>
                  </a:lnTo>
                  <a:lnTo>
                    <a:pt x="76248" y="411867"/>
                  </a:lnTo>
                  <a:lnTo>
                    <a:pt x="75731" y="412772"/>
                  </a:lnTo>
                  <a:lnTo>
                    <a:pt x="75602" y="413806"/>
                  </a:lnTo>
                  <a:lnTo>
                    <a:pt x="76119" y="418717"/>
                  </a:lnTo>
                  <a:lnTo>
                    <a:pt x="76119" y="419492"/>
                  </a:lnTo>
                  <a:lnTo>
                    <a:pt x="75860" y="420138"/>
                  </a:lnTo>
                  <a:lnTo>
                    <a:pt x="75602" y="420913"/>
                  </a:lnTo>
                  <a:lnTo>
                    <a:pt x="74697" y="421818"/>
                  </a:lnTo>
                  <a:lnTo>
                    <a:pt x="73663" y="422335"/>
                  </a:lnTo>
                  <a:lnTo>
                    <a:pt x="72371" y="422852"/>
                  </a:lnTo>
                  <a:lnTo>
                    <a:pt x="66685" y="424403"/>
                  </a:lnTo>
                  <a:lnTo>
                    <a:pt x="64229" y="425566"/>
                  </a:lnTo>
                  <a:lnTo>
                    <a:pt x="62290" y="426858"/>
                  </a:lnTo>
                  <a:lnTo>
                    <a:pt x="61644" y="427375"/>
                  </a:lnTo>
                  <a:lnTo>
                    <a:pt x="60998" y="428409"/>
                  </a:lnTo>
                  <a:lnTo>
                    <a:pt x="60611" y="429831"/>
                  </a:lnTo>
                  <a:lnTo>
                    <a:pt x="60352" y="432674"/>
                  </a:lnTo>
                  <a:lnTo>
                    <a:pt x="60223" y="435129"/>
                  </a:lnTo>
                  <a:lnTo>
                    <a:pt x="60352" y="436034"/>
                  </a:lnTo>
                  <a:lnTo>
                    <a:pt x="60869" y="437456"/>
                  </a:lnTo>
                  <a:lnTo>
                    <a:pt x="61386" y="438231"/>
                  </a:lnTo>
                  <a:lnTo>
                    <a:pt x="61774" y="438748"/>
                  </a:lnTo>
                  <a:lnTo>
                    <a:pt x="62420" y="439265"/>
                  </a:lnTo>
                  <a:lnTo>
                    <a:pt x="63195" y="439782"/>
                  </a:lnTo>
                  <a:lnTo>
                    <a:pt x="65134" y="440816"/>
                  </a:lnTo>
                  <a:lnTo>
                    <a:pt x="65521" y="441074"/>
                  </a:lnTo>
                  <a:lnTo>
                    <a:pt x="65780" y="441332"/>
                  </a:lnTo>
                  <a:lnTo>
                    <a:pt x="67331" y="442237"/>
                  </a:lnTo>
                  <a:lnTo>
                    <a:pt x="66426" y="446502"/>
                  </a:lnTo>
                  <a:lnTo>
                    <a:pt x="66038" y="451413"/>
                  </a:lnTo>
                  <a:lnTo>
                    <a:pt x="65521" y="453739"/>
                  </a:lnTo>
                  <a:lnTo>
                    <a:pt x="64487" y="455160"/>
                  </a:lnTo>
                  <a:lnTo>
                    <a:pt x="61515" y="457099"/>
                  </a:lnTo>
                  <a:lnTo>
                    <a:pt x="59835" y="458650"/>
                  </a:lnTo>
                  <a:lnTo>
                    <a:pt x="58672" y="460330"/>
                  </a:lnTo>
                  <a:lnTo>
                    <a:pt x="58155" y="462527"/>
                  </a:lnTo>
                  <a:lnTo>
                    <a:pt x="57897" y="465111"/>
                  </a:lnTo>
                  <a:lnTo>
                    <a:pt x="56992" y="467179"/>
                  </a:lnTo>
                  <a:lnTo>
                    <a:pt x="55053" y="469376"/>
                  </a:lnTo>
                  <a:lnTo>
                    <a:pt x="50660" y="473124"/>
                  </a:lnTo>
                  <a:lnTo>
                    <a:pt x="46653" y="477776"/>
                  </a:lnTo>
                  <a:lnTo>
                    <a:pt x="44586" y="478681"/>
                  </a:lnTo>
                  <a:lnTo>
                    <a:pt x="42776" y="480102"/>
                  </a:lnTo>
                  <a:lnTo>
                    <a:pt x="41872" y="480749"/>
                  </a:lnTo>
                  <a:lnTo>
                    <a:pt x="37348" y="482299"/>
                  </a:lnTo>
                  <a:lnTo>
                    <a:pt x="30111" y="485918"/>
                  </a:lnTo>
                  <a:lnTo>
                    <a:pt x="27139" y="488115"/>
                  </a:lnTo>
                  <a:lnTo>
                    <a:pt x="24167" y="491346"/>
                  </a:lnTo>
                  <a:lnTo>
                    <a:pt x="24813" y="493284"/>
                  </a:lnTo>
                  <a:lnTo>
                    <a:pt x="23262" y="500392"/>
                  </a:lnTo>
                  <a:lnTo>
                    <a:pt x="22228" y="502848"/>
                  </a:lnTo>
                  <a:lnTo>
                    <a:pt x="21970" y="504011"/>
                  </a:lnTo>
                  <a:lnTo>
                    <a:pt x="22099" y="505045"/>
                  </a:lnTo>
                  <a:lnTo>
                    <a:pt x="22616" y="507242"/>
                  </a:lnTo>
                  <a:lnTo>
                    <a:pt x="22745" y="508146"/>
                  </a:lnTo>
                  <a:lnTo>
                    <a:pt x="22228" y="510214"/>
                  </a:lnTo>
                  <a:lnTo>
                    <a:pt x="21194" y="512411"/>
                  </a:lnTo>
                  <a:lnTo>
                    <a:pt x="20031" y="514220"/>
                  </a:lnTo>
                  <a:lnTo>
                    <a:pt x="18610" y="514996"/>
                  </a:lnTo>
                  <a:lnTo>
                    <a:pt x="17834" y="515900"/>
                  </a:lnTo>
                  <a:lnTo>
                    <a:pt x="13957" y="521974"/>
                  </a:lnTo>
                  <a:lnTo>
                    <a:pt x="12148" y="523654"/>
                  </a:lnTo>
                  <a:lnTo>
                    <a:pt x="11760" y="524171"/>
                  </a:lnTo>
                  <a:lnTo>
                    <a:pt x="10985" y="526885"/>
                  </a:lnTo>
                  <a:lnTo>
                    <a:pt x="10080" y="528694"/>
                  </a:lnTo>
                  <a:lnTo>
                    <a:pt x="9305" y="531020"/>
                  </a:lnTo>
                  <a:lnTo>
                    <a:pt x="8400" y="532184"/>
                  </a:lnTo>
                  <a:lnTo>
                    <a:pt x="5686" y="534510"/>
                  </a:lnTo>
                  <a:lnTo>
                    <a:pt x="5040" y="535673"/>
                  </a:lnTo>
                  <a:lnTo>
                    <a:pt x="4523" y="537482"/>
                  </a:lnTo>
                  <a:lnTo>
                    <a:pt x="5040" y="542910"/>
                  </a:lnTo>
                  <a:lnTo>
                    <a:pt x="5299" y="544073"/>
                  </a:lnTo>
                  <a:lnTo>
                    <a:pt x="5686" y="545236"/>
                  </a:lnTo>
                  <a:lnTo>
                    <a:pt x="5945" y="546399"/>
                  </a:lnTo>
                  <a:lnTo>
                    <a:pt x="5428" y="547433"/>
                  </a:lnTo>
                  <a:lnTo>
                    <a:pt x="4782" y="548338"/>
                  </a:lnTo>
                  <a:lnTo>
                    <a:pt x="4265" y="549501"/>
                  </a:lnTo>
                  <a:lnTo>
                    <a:pt x="3619" y="551569"/>
                  </a:lnTo>
                  <a:lnTo>
                    <a:pt x="2585" y="556221"/>
                  </a:lnTo>
                  <a:lnTo>
                    <a:pt x="2326" y="560615"/>
                  </a:lnTo>
                  <a:lnTo>
                    <a:pt x="2455" y="561907"/>
                  </a:lnTo>
                  <a:lnTo>
                    <a:pt x="1292" y="563329"/>
                  </a:lnTo>
                  <a:lnTo>
                    <a:pt x="129" y="568757"/>
                  </a:lnTo>
                  <a:lnTo>
                    <a:pt x="0" y="571987"/>
                  </a:lnTo>
                  <a:lnTo>
                    <a:pt x="388" y="575348"/>
                  </a:lnTo>
                  <a:lnTo>
                    <a:pt x="1551" y="578708"/>
                  </a:lnTo>
                  <a:lnTo>
                    <a:pt x="7237" y="588788"/>
                  </a:lnTo>
                  <a:lnTo>
                    <a:pt x="10339" y="592794"/>
                  </a:lnTo>
                  <a:lnTo>
                    <a:pt x="10856" y="593828"/>
                  </a:lnTo>
                  <a:lnTo>
                    <a:pt x="11243" y="594991"/>
                  </a:lnTo>
                  <a:lnTo>
                    <a:pt x="12019" y="598351"/>
                  </a:lnTo>
                  <a:lnTo>
                    <a:pt x="14603" y="605976"/>
                  </a:lnTo>
                  <a:lnTo>
                    <a:pt x="18739" y="614893"/>
                  </a:lnTo>
                  <a:lnTo>
                    <a:pt x="20419" y="619416"/>
                  </a:lnTo>
                  <a:lnTo>
                    <a:pt x="20936" y="622647"/>
                  </a:lnTo>
                  <a:lnTo>
                    <a:pt x="21582" y="625102"/>
                  </a:lnTo>
                  <a:lnTo>
                    <a:pt x="21840" y="628333"/>
                  </a:lnTo>
                  <a:lnTo>
                    <a:pt x="20160" y="650432"/>
                  </a:lnTo>
                  <a:lnTo>
                    <a:pt x="20419" y="652758"/>
                  </a:lnTo>
                  <a:lnTo>
                    <a:pt x="20807" y="654180"/>
                  </a:lnTo>
                  <a:lnTo>
                    <a:pt x="21582" y="655989"/>
                  </a:lnTo>
                  <a:lnTo>
                    <a:pt x="22616" y="657669"/>
                  </a:lnTo>
                  <a:lnTo>
                    <a:pt x="25071" y="659995"/>
                  </a:lnTo>
                  <a:lnTo>
                    <a:pt x="26234" y="660771"/>
                  </a:lnTo>
                  <a:lnTo>
                    <a:pt x="27527" y="661029"/>
                  </a:lnTo>
                  <a:lnTo>
                    <a:pt x="28561" y="660642"/>
                  </a:lnTo>
                  <a:lnTo>
                    <a:pt x="29724" y="659995"/>
                  </a:lnTo>
                  <a:lnTo>
                    <a:pt x="34247" y="656894"/>
                  </a:lnTo>
                  <a:lnTo>
                    <a:pt x="35152" y="656506"/>
                  </a:lnTo>
                  <a:lnTo>
                    <a:pt x="35927" y="656377"/>
                  </a:lnTo>
                  <a:lnTo>
                    <a:pt x="36573" y="656377"/>
                  </a:lnTo>
                  <a:lnTo>
                    <a:pt x="37478" y="656506"/>
                  </a:lnTo>
                  <a:lnTo>
                    <a:pt x="39675" y="657153"/>
                  </a:lnTo>
                  <a:lnTo>
                    <a:pt x="49367" y="661417"/>
                  </a:lnTo>
                  <a:lnTo>
                    <a:pt x="50401" y="662322"/>
                  </a:lnTo>
                  <a:lnTo>
                    <a:pt x="50918" y="663743"/>
                  </a:lnTo>
                  <a:lnTo>
                    <a:pt x="50660" y="666328"/>
                  </a:lnTo>
                  <a:lnTo>
                    <a:pt x="50013" y="667879"/>
                  </a:lnTo>
                  <a:lnTo>
                    <a:pt x="49109" y="669300"/>
                  </a:lnTo>
                  <a:lnTo>
                    <a:pt x="42905" y="677571"/>
                  </a:lnTo>
                  <a:lnTo>
                    <a:pt x="41613" y="680027"/>
                  </a:lnTo>
                  <a:lnTo>
                    <a:pt x="37736" y="689073"/>
                  </a:lnTo>
                  <a:lnTo>
                    <a:pt x="37219" y="691012"/>
                  </a:lnTo>
                  <a:lnTo>
                    <a:pt x="37219" y="691528"/>
                  </a:lnTo>
                  <a:lnTo>
                    <a:pt x="37348" y="692046"/>
                  </a:lnTo>
                  <a:lnTo>
                    <a:pt x="40192" y="693855"/>
                  </a:lnTo>
                  <a:lnTo>
                    <a:pt x="51952" y="697215"/>
                  </a:lnTo>
                  <a:lnTo>
                    <a:pt x="59447" y="697215"/>
                  </a:lnTo>
                  <a:lnTo>
                    <a:pt x="64487" y="698378"/>
                  </a:lnTo>
                  <a:lnTo>
                    <a:pt x="67331" y="698636"/>
                  </a:lnTo>
                  <a:lnTo>
                    <a:pt x="80125" y="696569"/>
                  </a:lnTo>
                  <a:lnTo>
                    <a:pt x="81546" y="696956"/>
                  </a:lnTo>
                  <a:lnTo>
                    <a:pt x="82968" y="697473"/>
                  </a:lnTo>
                  <a:lnTo>
                    <a:pt x="86070" y="699670"/>
                  </a:lnTo>
                  <a:lnTo>
                    <a:pt x="94082" y="707683"/>
                  </a:lnTo>
                  <a:lnTo>
                    <a:pt x="95245" y="708458"/>
                  </a:lnTo>
                  <a:lnTo>
                    <a:pt x="96537" y="708975"/>
                  </a:lnTo>
                  <a:lnTo>
                    <a:pt x="98734" y="709104"/>
                  </a:lnTo>
                  <a:lnTo>
                    <a:pt x="104421" y="708717"/>
                  </a:lnTo>
                  <a:lnTo>
                    <a:pt x="105713" y="708846"/>
                  </a:lnTo>
                  <a:lnTo>
                    <a:pt x="108556" y="709750"/>
                  </a:lnTo>
                  <a:lnTo>
                    <a:pt x="114630" y="712723"/>
                  </a:lnTo>
                  <a:lnTo>
                    <a:pt x="122772" y="718151"/>
                  </a:lnTo>
                  <a:lnTo>
                    <a:pt x="124193" y="719572"/>
                  </a:lnTo>
                  <a:lnTo>
                    <a:pt x="124710" y="720477"/>
                  </a:lnTo>
                  <a:lnTo>
                    <a:pt x="125227" y="721511"/>
                  </a:lnTo>
                  <a:lnTo>
                    <a:pt x="125744" y="722545"/>
                  </a:lnTo>
                  <a:lnTo>
                    <a:pt x="126907" y="723579"/>
                  </a:lnTo>
                  <a:lnTo>
                    <a:pt x="128975" y="724483"/>
                  </a:lnTo>
                  <a:lnTo>
                    <a:pt x="132723" y="725905"/>
                  </a:lnTo>
                  <a:lnTo>
                    <a:pt x="138538" y="727068"/>
                  </a:lnTo>
                  <a:lnTo>
                    <a:pt x="142545" y="728489"/>
                  </a:lnTo>
                  <a:lnTo>
                    <a:pt x="146422" y="731332"/>
                  </a:lnTo>
                  <a:lnTo>
                    <a:pt x="149006" y="734305"/>
                  </a:lnTo>
                  <a:lnTo>
                    <a:pt x="150169" y="735209"/>
                  </a:lnTo>
                  <a:lnTo>
                    <a:pt x="171493" y="744256"/>
                  </a:lnTo>
                  <a:lnTo>
                    <a:pt x="172656" y="744643"/>
                  </a:lnTo>
                  <a:lnTo>
                    <a:pt x="177825" y="745290"/>
                  </a:lnTo>
                  <a:lnTo>
                    <a:pt x="182349" y="745031"/>
                  </a:lnTo>
                  <a:lnTo>
                    <a:pt x="183512" y="745290"/>
                  </a:lnTo>
                  <a:lnTo>
                    <a:pt x="190232" y="746970"/>
                  </a:lnTo>
                  <a:lnTo>
                    <a:pt x="194238" y="747616"/>
                  </a:lnTo>
                  <a:lnTo>
                    <a:pt x="195401" y="748004"/>
                  </a:lnTo>
                  <a:lnTo>
                    <a:pt x="196823" y="748908"/>
                  </a:lnTo>
                  <a:lnTo>
                    <a:pt x="203801" y="754853"/>
                  </a:lnTo>
                  <a:lnTo>
                    <a:pt x="205998" y="757438"/>
                  </a:lnTo>
                  <a:lnTo>
                    <a:pt x="207032" y="758213"/>
                  </a:lnTo>
                  <a:lnTo>
                    <a:pt x="208712" y="758988"/>
                  </a:lnTo>
                  <a:lnTo>
                    <a:pt x="210134" y="759505"/>
                  </a:lnTo>
                  <a:lnTo>
                    <a:pt x="211555" y="759893"/>
                  </a:lnTo>
                  <a:lnTo>
                    <a:pt x="215691" y="760022"/>
                  </a:lnTo>
                  <a:lnTo>
                    <a:pt x="217112" y="760410"/>
                  </a:lnTo>
                  <a:lnTo>
                    <a:pt x="220343" y="762090"/>
                  </a:lnTo>
                  <a:lnTo>
                    <a:pt x="221765" y="762219"/>
                  </a:lnTo>
                  <a:lnTo>
                    <a:pt x="224220" y="761832"/>
                  </a:lnTo>
                  <a:lnTo>
                    <a:pt x="225512" y="761832"/>
                  </a:lnTo>
                  <a:lnTo>
                    <a:pt x="226934" y="762219"/>
                  </a:lnTo>
                  <a:lnTo>
                    <a:pt x="228226" y="762736"/>
                  </a:lnTo>
                  <a:lnTo>
                    <a:pt x="229777" y="763899"/>
                  </a:lnTo>
                  <a:lnTo>
                    <a:pt x="231199" y="765192"/>
                  </a:lnTo>
                  <a:lnTo>
                    <a:pt x="236627" y="771266"/>
                  </a:lnTo>
                  <a:lnTo>
                    <a:pt x="244510" y="783155"/>
                  </a:lnTo>
                  <a:lnTo>
                    <a:pt x="245414" y="781604"/>
                  </a:lnTo>
                  <a:lnTo>
                    <a:pt x="246965" y="780958"/>
                  </a:lnTo>
                  <a:lnTo>
                    <a:pt x="249421" y="781475"/>
                  </a:lnTo>
                  <a:lnTo>
                    <a:pt x="250455" y="782121"/>
                  </a:lnTo>
                  <a:lnTo>
                    <a:pt x="251618" y="783543"/>
                  </a:lnTo>
                  <a:lnTo>
                    <a:pt x="253039" y="783931"/>
                  </a:lnTo>
                  <a:lnTo>
                    <a:pt x="253168" y="784189"/>
                  </a:lnTo>
                  <a:lnTo>
                    <a:pt x="253556" y="784447"/>
                  </a:lnTo>
                  <a:lnTo>
                    <a:pt x="254202" y="784577"/>
                  </a:lnTo>
                  <a:lnTo>
                    <a:pt x="254719" y="784318"/>
                  </a:lnTo>
                  <a:lnTo>
                    <a:pt x="255753" y="783284"/>
                  </a:lnTo>
                  <a:lnTo>
                    <a:pt x="256270" y="783026"/>
                  </a:lnTo>
                  <a:lnTo>
                    <a:pt x="257562" y="781992"/>
                  </a:lnTo>
                  <a:lnTo>
                    <a:pt x="256270" y="779666"/>
                  </a:lnTo>
                  <a:lnTo>
                    <a:pt x="253039" y="776047"/>
                  </a:lnTo>
                  <a:lnTo>
                    <a:pt x="253168" y="774109"/>
                  </a:lnTo>
                  <a:lnTo>
                    <a:pt x="255365" y="770361"/>
                  </a:lnTo>
                  <a:lnTo>
                    <a:pt x="256012" y="767906"/>
                  </a:lnTo>
                  <a:lnTo>
                    <a:pt x="256270" y="765192"/>
                  </a:lnTo>
                  <a:lnTo>
                    <a:pt x="257045" y="762995"/>
                  </a:lnTo>
                  <a:lnTo>
                    <a:pt x="258338" y="761056"/>
                  </a:lnTo>
                  <a:lnTo>
                    <a:pt x="260405" y="759118"/>
                  </a:lnTo>
                  <a:lnTo>
                    <a:pt x="263895" y="756791"/>
                  </a:lnTo>
                  <a:lnTo>
                    <a:pt x="265963" y="755111"/>
                  </a:lnTo>
                  <a:lnTo>
                    <a:pt x="266867" y="753302"/>
                  </a:lnTo>
                  <a:lnTo>
                    <a:pt x="267384" y="750330"/>
                  </a:lnTo>
                  <a:lnTo>
                    <a:pt x="268806" y="748908"/>
                  </a:lnTo>
                  <a:lnTo>
                    <a:pt x="270744" y="748004"/>
                  </a:lnTo>
                  <a:lnTo>
                    <a:pt x="272812" y="746711"/>
                  </a:lnTo>
                  <a:lnTo>
                    <a:pt x="275267" y="743480"/>
                  </a:lnTo>
                  <a:lnTo>
                    <a:pt x="277335" y="742188"/>
                  </a:lnTo>
                  <a:lnTo>
                    <a:pt x="281858" y="743997"/>
                  </a:lnTo>
                  <a:lnTo>
                    <a:pt x="284572" y="743739"/>
                  </a:lnTo>
                  <a:lnTo>
                    <a:pt x="287286" y="742964"/>
                  </a:lnTo>
                  <a:lnTo>
                    <a:pt x="288966" y="742059"/>
                  </a:lnTo>
                  <a:lnTo>
                    <a:pt x="290258" y="740508"/>
                  </a:lnTo>
                  <a:lnTo>
                    <a:pt x="292714" y="736114"/>
                  </a:lnTo>
                  <a:lnTo>
                    <a:pt x="293748" y="735209"/>
                  </a:lnTo>
                  <a:lnTo>
                    <a:pt x="294265" y="734951"/>
                  </a:lnTo>
                  <a:lnTo>
                    <a:pt x="294523" y="734176"/>
                  </a:lnTo>
                  <a:lnTo>
                    <a:pt x="294782" y="733142"/>
                  </a:lnTo>
                  <a:lnTo>
                    <a:pt x="294911" y="732108"/>
                  </a:lnTo>
                  <a:lnTo>
                    <a:pt x="295299" y="731462"/>
                  </a:lnTo>
                  <a:lnTo>
                    <a:pt x="295169" y="730169"/>
                  </a:lnTo>
                  <a:lnTo>
                    <a:pt x="294782" y="728102"/>
                  </a:lnTo>
                  <a:lnTo>
                    <a:pt x="294265" y="726422"/>
                  </a:lnTo>
                  <a:lnTo>
                    <a:pt x="293489" y="724871"/>
                  </a:lnTo>
                  <a:lnTo>
                    <a:pt x="293360" y="724354"/>
                  </a:lnTo>
                  <a:lnTo>
                    <a:pt x="293360" y="723837"/>
                  </a:lnTo>
                  <a:lnTo>
                    <a:pt x="293360" y="723191"/>
                  </a:lnTo>
                  <a:lnTo>
                    <a:pt x="293360" y="722674"/>
                  </a:lnTo>
                  <a:lnTo>
                    <a:pt x="293619" y="722028"/>
                  </a:lnTo>
                  <a:lnTo>
                    <a:pt x="294006" y="721640"/>
                  </a:lnTo>
                  <a:lnTo>
                    <a:pt x="296332" y="719572"/>
                  </a:lnTo>
                  <a:lnTo>
                    <a:pt x="299046" y="716600"/>
                  </a:lnTo>
                  <a:lnTo>
                    <a:pt x="312745" y="697732"/>
                  </a:lnTo>
                  <a:lnTo>
                    <a:pt x="315459" y="696052"/>
                  </a:lnTo>
                  <a:lnTo>
                    <a:pt x="319078" y="694889"/>
                  </a:lnTo>
                  <a:lnTo>
                    <a:pt x="335361" y="691916"/>
                  </a:lnTo>
                  <a:lnTo>
                    <a:pt x="338075" y="691012"/>
                  </a:lnTo>
                  <a:lnTo>
                    <a:pt x="341176" y="689202"/>
                  </a:lnTo>
                  <a:lnTo>
                    <a:pt x="343115" y="687781"/>
                  </a:lnTo>
                  <a:lnTo>
                    <a:pt x="345570" y="686747"/>
                  </a:lnTo>
                  <a:lnTo>
                    <a:pt x="348284" y="686359"/>
                  </a:lnTo>
                  <a:lnTo>
                    <a:pt x="358235" y="686876"/>
                  </a:lnTo>
                  <a:lnTo>
                    <a:pt x="364955" y="687910"/>
                  </a:lnTo>
                  <a:lnTo>
                    <a:pt x="368962" y="687393"/>
                  </a:lnTo>
                  <a:lnTo>
                    <a:pt x="390931" y="678476"/>
                  </a:lnTo>
                  <a:lnTo>
                    <a:pt x="393258" y="677701"/>
                  </a:lnTo>
                  <a:lnTo>
                    <a:pt x="395067" y="676925"/>
                  </a:lnTo>
                  <a:lnTo>
                    <a:pt x="396747" y="675633"/>
                  </a:lnTo>
                  <a:lnTo>
                    <a:pt x="398168" y="673824"/>
                  </a:lnTo>
                  <a:lnTo>
                    <a:pt x="398298" y="673694"/>
                  </a:lnTo>
                  <a:lnTo>
                    <a:pt x="398427" y="673565"/>
                  </a:lnTo>
                  <a:lnTo>
                    <a:pt x="399461" y="673177"/>
                  </a:lnTo>
                  <a:lnTo>
                    <a:pt x="400495" y="673177"/>
                  </a:lnTo>
                  <a:lnTo>
                    <a:pt x="401141" y="673177"/>
                  </a:lnTo>
                  <a:lnTo>
                    <a:pt x="401787" y="673436"/>
                  </a:lnTo>
                  <a:lnTo>
                    <a:pt x="402046" y="673565"/>
                  </a:lnTo>
                  <a:lnTo>
                    <a:pt x="402304" y="673694"/>
                  </a:lnTo>
                  <a:lnTo>
                    <a:pt x="402562" y="674082"/>
                  </a:lnTo>
                  <a:lnTo>
                    <a:pt x="402950" y="674728"/>
                  </a:lnTo>
                  <a:lnTo>
                    <a:pt x="404501" y="679251"/>
                  </a:lnTo>
                  <a:lnTo>
                    <a:pt x="405664" y="681190"/>
                  </a:lnTo>
                  <a:lnTo>
                    <a:pt x="409153" y="685584"/>
                  </a:lnTo>
                  <a:lnTo>
                    <a:pt x="411092" y="687393"/>
                  </a:lnTo>
                  <a:lnTo>
                    <a:pt x="412643" y="688427"/>
                  </a:lnTo>
                  <a:lnTo>
                    <a:pt x="414064" y="688298"/>
                  </a:lnTo>
                  <a:lnTo>
                    <a:pt x="415744" y="687522"/>
                  </a:lnTo>
                  <a:lnTo>
                    <a:pt x="433320" y="670205"/>
                  </a:lnTo>
                  <a:lnTo>
                    <a:pt x="436163" y="666069"/>
                  </a:lnTo>
                  <a:lnTo>
                    <a:pt x="437714" y="664777"/>
                  </a:lnTo>
                  <a:lnTo>
                    <a:pt x="440299" y="663226"/>
                  </a:lnTo>
                  <a:lnTo>
                    <a:pt x="452447" y="658574"/>
                  </a:lnTo>
                  <a:lnTo>
                    <a:pt x="459554" y="654180"/>
                  </a:lnTo>
                  <a:lnTo>
                    <a:pt x="463561" y="654439"/>
                  </a:lnTo>
                  <a:lnTo>
                    <a:pt x="470152" y="656377"/>
                  </a:lnTo>
                  <a:lnTo>
                    <a:pt x="473899" y="657023"/>
                  </a:lnTo>
                  <a:lnTo>
                    <a:pt x="495740" y="655731"/>
                  </a:lnTo>
                  <a:lnTo>
                    <a:pt x="522233" y="657023"/>
                  </a:lnTo>
                  <a:lnTo>
                    <a:pt x="529599" y="656377"/>
                  </a:lnTo>
                  <a:lnTo>
                    <a:pt x="533735" y="656635"/>
                  </a:lnTo>
                  <a:lnTo>
                    <a:pt x="538258" y="657928"/>
                  </a:lnTo>
                  <a:lnTo>
                    <a:pt x="543298" y="660125"/>
                  </a:lnTo>
                  <a:lnTo>
                    <a:pt x="546012" y="661805"/>
                  </a:lnTo>
                  <a:lnTo>
                    <a:pt x="547304" y="662839"/>
                  </a:lnTo>
                  <a:lnTo>
                    <a:pt x="547692" y="663356"/>
                  </a:lnTo>
                  <a:lnTo>
                    <a:pt x="548467" y="663614"/>
                  </a:lnTo>
                  <a:lnTo>
                    <a:pt x="549630" y="663743"/>
                  </a:lnTo>
                  <a:lnTo>
                    <a:pt x="552344" y="663743"/>
                  </a:lnTo>
                  <a:lnTo>
                    <a:pt x="553507" y="663485"/>
                  </a:lnTo>
                  <a:lnTo>
                    <a:pt x="554799" y="662968"/>
                  </a:lnTo>
                  <a:lnTo>
                    <a:pt x="555317" y="662968"/>
                  </a:lnTo>
                  <a:lnTo>
                    <a:pt x="555704" y="663485"/>
                  </a:lnTo>
                  <a:lnTo>
                    <a:pt x="555963" y="663873"/>
                  </a:lnTo>
                  <a:lnTo>
                    <a:pt x="556221" y="664260"/>
                  </a:lnTo>
                  <a:lnTo>
                    <a:pt x="556480" y="664648"/>
                  </a:lnTo>
                  <a:lnTo>
                    <a:pt x="557126" y="665165"/>
                  </a:lnTo>
                  <a:lnTo>
                    <a:pt x="557901" y="665553"/>
                  </a:lnTo>
                  <a:lnTo>
                    <a:pt x="559323" y="666069"/>
                  </a:lnTo>
                  <a:lnTo>
                    <a:pt x="560615" y="666328"/>
                  </a:lnTo>
                  <a:lnTo>
                    <a:pt x="564234" y="666587"/>
                  </a:lnTo>
                  <a:lnTo>
                    <a:pt x="567465" y="667750"/>
                  </a:lnTo>
                  <a:lnTo>
                    <a:pt x="568369" y="668267"/>
                  </a:lnTo>
                  <a:lnTo>
                    <a:pt x="569274" y="668396"/>
                  </a:lnTo>
                  <a:lnTo>
                    <a:pt x="570566" y="668267"/>
                  </a:lnTo>
                  <a:lnTo>
                    <a:pt x="572246" y="667879"/>
                  </a:lnTo>
                  <a:lnTo>
                    <a:pt x="598868" y="653534"/>
                  </a:lnTo>
                  <a:lnTo>
                    <a:pt x="600548" y="652242"/>
                  </a:lnTo>
                  <a:lnTo>
                    <a:pt x="602099" y="650045"/>
                  </a:lnTo>
                  <a:lnTo>
                    <a:pt x="603779" y="646038"/>
                  </a:lnTo>
                  <a:lnTo>
                    <a:pt x="604813" y="644487"/>
                  </a:lnTo>
                  <a:lnTo>
                    <a:pt x="606751" y="642678"/>
                  </a:lnTo>
                  <a:lnTo>
                    <a:pt x="609336" y="640869"/>
                  </a:lnTo>
                  <a:lnTo>
                    <a:pt x="622130" y="636217"/>
                  </a:lnTo>
                  <a:lnTo>
                    <a:pt x="622906" y="635700"/>
                  </a:lnTo>
                  <a:lnTo>
                    <a:pt x="623422" y="634407"/>
                  </a:lnTo>
                  <a:lnTo>
                    <a:pt x="623810" y="633890"/>
                  </a:lnTo>
                  <a:lnTo>
                    <a:pt x="624327" y="633503"/>
                  </a:lnTo>
                  <a:lnTo>
                    <a:pt x="625103" y="633632"/>
                  </a:lnTo>
                  <a:lnTo>
                    <a:pt x="625749" y="633503"/>
                  </a:lnTo>
                  <a:lnTo>
                    <a:pt x="626395" y="633115"/>
                  </a:lnTo>
                  <a:lnTo>
                    <a:pt x="626653" y="632340"/>
                  </a:lnTo>
                  <a:lnTo>
                    <a:pt x="627170" y="631693"/>
                  </a:lnTo>
                  <a:lnTo>
                    <a:pt x="627946" y="631047"/>
                  </a:lnTo>
                  <a:lnTo>
                    <a:pt x="629496" y="630401"/>
                  </a:lnTo>
                  <a:lnTo>
                    <a:pt x="630401" y="630013"/>
                  </a:lnTo>
                  <a:lnTo>
                    <a:pt x="631047" y="629497"/>
                  </a:lnTo>
                  <a:lnTo>
                    <a:pt x="631694" y="627946"/>
                  </a:lnTo>
                  <a:lnTo>
                    <a:pt x="632469" y="627041"/>
                  </a:lnTo>
                  <a:lnTo>
                    <a:pt x="634149" y="625878"/>
                  </a:lnTo>
                  <a:lnTo>
                    <a:pt x="635570" y="625490"/>
                  </a:lnTo>
                  <a:lnTo>
                    <a:pt x="636346" y="624844"/>
                  </a:lnTo>
                  <a:lnTo>
                    <a:pt x="636863" y="624586"/>
                  </a:lnTo>
                  <a:lnTo>
                    <a:pt x="638801" y="624327"/>
                  </a:lnTo>
                  <a:lnTo>
                    <a:pt x="636346" y="618512"/>
                  </a:lnTo>
                  <a:lnTo>
                    <a:pt x="635570" y="616315"/>
                  </a:lnTo>
                  <a:lnTo>
                    <a:pt x="635700" y="614247"/>
                  </a:lnTo>
                  <a:lnTo>
                    <a:pt x="635700" y="613472"/>
                  </a:lnTo>
                  <a:lnTo>
                    <a:pt x="635441" y="612954"/>
                  </a:lnTo>
                  <a:lnTo>
                    <a:pt x="633891" y="611533"/>
                  </a:lnTo>
                  <a:lnTo>
                    <a:pt x="633632" y="610887"/>
                  </a:lnTo>
                  <a:lnTo>
                    <a:pt x="633115" y="609078"/>
                  </a:lnTo>
                  <a:lnTo>
                    <a:pt x="632857" y="607527"/>
                  </a:lnTo>
                  <a:lnTo>
                    <a:pt x="632598" y="606493"/>
                  </a:lnTo>
                  <a:lnTo>
                    <a:pt x="631694" y="605201"/>
                  </a:lnTo>
                  <a:lnTo>
                    <a:pt x="631306" y="604167"/>
                  </a:lnTo>
                  <a:lnTo>
                    <a:pt x="630918" y="601582"/>
                  </a:lnTo>
                  <a:lnTo>
                    <a:pt x="630401" y="600031"/>
                  </a:lnTo>
                  <a:lnTo>
                    <a:pt x="630401" y="598610"/>
                  </a:lnTo>
                  <a:lnTo>
                    <a:pt x="630530" y="597834"/>
                  </a:lnTo>
                  <a:lnTo>
                    <a:pt x="631177" y="596800"/>
                  </a:lnTo>
                  <a:lnTo>
                    <a:pt x="631435" y="596283"/>
                  </a:lnTo>
                  <a:lnTo>
                    <a:pt x="631564" y="595637"/>
                  </a:lnTo>
                  <a:lnTo>
                    <a:pt x="631694" y="594345"/>
                  </a:lnTo>
                  <a:lnTo>
                    <a:pt x="631823" y="593699"/>
                  </a:lnTo>
                  <a:lnTo>
                    <a:pt x="632081" y="593053"/>
                  </a:lnTo>
                  <a:lnTo>
                    <a:pt x="632986" y="591631"/>
                  </a:lnTo>
                  <a:lnTo>
                    <a:pt x="633244" y="591114"/>
                  </a:lnTo>
                  <a:lnTo>
                    <a:pt x="633503" y="588917"/>
                  </a:lnTo>
                  <a:lnTo>
                    <a:pt x="633761" y="588400"/>
                  </a:lnTo>
                  <a:lnTo>
                    <a:pt x="634020" y="587754"/>
                  </a:lnTo>
                  <a:lnTo>
                    <a:pt x="634537" y="586720"/>
                  </a:lnTo>
                  <a:lnTo>
                    <a:pt x="635829" y="584911"/>
                  </a:lnTo>
                  <a:lnTo>
                    <a:pt x="636992" y="582843"/>
                  </a:lnTo>
                  <a:lnTo>
                    <a:pt x="637380" y="582455"/>
                  </a:lnTo>
                  <a:lnTo>
                    <a:pt x="638155" y="581809"/>
                  </a:lnTo>
                  <a:lnTo>
                    <a:pt x="639060" y="581163"/>
                  </a:lnTo>
                  <a:lnTo>
                    <a:pt x="639577" y="580775"/>
                  </a:lnTo>
                  <a:lnTo>
                    <a:pt x="639835" y="580129"/>
                  </a:lnTo>
                  <a:lnTo>
                    <a:pt x="639965" y="579483"/>
                  </a:lnTo>
                  <a:lnTo>
                    <a:pt x="640223" y="575089"/>
                  </a:lnTo>
                  <a:lnTo>
                    <a:pt x="639965" y="572375"/>
                  </a:lnTo>
                  <a:lnTo>
                    <a:pt x="639447" y="570824"/>
                  </a:lnTo>
                  <a:lnTo>
                    <a:pt x="638284" y="567981"/>
                  </a:lnTo>
                  <a:lnTo>
                    <a:pt x="637638" y="567077"/>
                  </a:lnTo>
                  <a:lnTo>
                    <a:pt x="636863" y="566431"/>
                  </a:lnTo>
                  <a:lnTo>
                    <a:pt x="635829" y="565655"/>
                  </a:lnTo>
                  <a:lnTo>
                    <a:pt x="632210" y="563717"/>
                  </a:lnTo>
                  <a:lnTo>
                    <a:pt x="631177" y="563329"/>
                  </a:lnTo>
                  <a:lnTo>
                    <a:pt x="630530" y="563200"/>
                  </a:lnTo>
                  <a:lnTo>
                    <a:pt x="629109" y="563200"/>
                  </a:lnTo>
                  <a:lnTo>
                    <a:pt x="628463" y="563200"/>
                  </a:lnTo>
                  <a:lnTo>
                    <a:pt x="627817" y="562941"/>
                  </a:lnTo>
                  <a:lnTo>
                    <a:pt x="625878" y="561778"/>
                  </a:lnTo>
                  <a:lnTo>
                    <a:pt x="625878" y="561778"/>
                  </a:lnTo>
                  <a:lnTo>
                    <a:pt x="625232" y="561649"/>
                  </a:lnTo>
                  <a:lnTo>
                    <a:pt x="624586" y="561520"/>
                  </a:lnTo>
                  <a:lnTo>
                    <a:pt x="623939" y="561649"/>
                  </a:lnTo>
                  <a:lnTo>
                    <a:pt x="622389" y="562295"/>
                  </a:lnTo>
                  <a:lnTo>
                    <a:pt x="621872" y="562553"/>
                  </a:lnTo>
                  <a:lnTo>
                    <a:pt x="621484" y="562941"/>
                  </a:lnTo>
                  <a:lnTo>
                    <a:pt x="620967" y="563329"/>
                  </a:lnTo>
                  <a:lnTo>
                    <a:pt x="619933" y="564492"/>
                  </a:lnTo>
                  <a:lnTo>
                    <a:pt x="619546" y="564880"/>
                  </a:lnTo>
                  <a:lnTo>
                    <a:pt x="618899" y="565009"/>
                  </a:lnTo>
                  <a:lnTo>
                    <a:pt x="618382" y="565009"/>
                  </a:lnTo>
                  <a:lnTo>
                    <a:pt x="617866" y="564750"/>
                  </a:lnTo>
                  <a:lnTo>
                    <a:pt x="617349" y="564492"/>
                  </a:lnTo>
                  <a:lnTo>
                    <a:pt x="616315" y="563587"/>
                  </a:lnTo>
                  <a:lnTo>
                    <a:pt x="612567" y="559193"/>
                  </a:lnTo>
                  <a:lnTo>
                    <a:pt x="612179" y="558289"/>
                  </a:lnTo>
                  <a:lnTo>
                    <a:pt x="611662" y="556738"/>
                  </a:lnTo>
                  <a:lnTo>
                    <a:pt x="611792" y="553766"/>
                  </a:lnTo>
                  <a:lnTo>
                    <a:pt x="611921" y="552344"/>
                  </a:lnTo>
                  <a:lnTo>
                    <a:pt x="612438" y="551310"/>
                  </a:lnTo>
                  <a:lnTo>
                    <a:pt x="612309" y="550664"/>
                  </a:lnTo>
                  <a:lnTo>
                    <a:pt x="612179" y="549372"/>
                  </a:lnTo>
                  <a:lnTo>
                    <a:pt x="612955" y="548209"/>
                  </a:lnTo>
                  <a:lnTo>
                    <a:pt x="613601" y="546270"/>
                  </a:lnTo>
                  <a:lnTo>
                    <a:pt x="613730" y="545236"/>
                  </a:lnTo>
                  <a:lnTo>
                    <a:pt x="615022" y="542781"/>
                  </a:lnTo>
                  <a:lnTo>
                    <a:pt x="615669" y="542393"/>
                  </a:lnTo>
                  <a:lnTo>
                    <a:pt x="616185" y="542522"/>
                  </a:lnTo>
                  <a:lnTo>
                    <a:pt x="617478" y="543556"/>
                  </a:lnTo>
                  <a:lnTo>
                    <a:pt x="617866" y="543815"/>
                  </a:lnTo>
                  <a:lnTo>
                    <a:pt x="618382" y="543944"/>
                  </a:lnTo>
                  <a:lnTo>
                    <a:pt x="619416" y="544461"/>
                  </a:lnTo>
                  <a:lnTo>
                    <a:pt x="619933" y="544590"/>
                  </a:lnTo>
                  <a:lnTo>
                    <a:pt x="620450" y="544461"/>
                  </a:lnTo>
                  <a:lnTo>
                    <a:pt x="620838" y="544202"/>
                  </a:lnTo>
                  <a:lnTo>
                    <a:pt x="621226" y="544073"/>
                  </a:lnTo>
                  <a:lnTo>
                    <a:pt x="621613" y="543815"/>
                  </a:lnTo>
                  <a:lnTo>
                    <a:pt x="621613" y="543427"/>
                  </a:lnTo>
                  <a:lnTo>
                    <a:pt x="621484" y="542781"/>
                  </a:lnTo>
                  <a:lnTo>
                    <a:pt x="621355" y="542264"/>
                  </a:lnTo>
                  <a:lnTo>
                    <a:pt x="621743" y="541488"/>
                  </a:lnTo>
                  <a:lnTo>
                    <a:pt x="622259" y="541101"/>
                  </a:lnTo>
                  <a:lnTo>
                    <a:pt x="622906" y="540842"/>
                  </a:lnTo>
                  <a:lnTo>
                    <a:pt x="623422" y="540325"/>
                  </a:lnTo>
                  <a:lnTo>
                    <a:pt x="623810" y="539291"/>
                  </a:lnTo>
                  <a:lnTo>
                    <a:pt x="623939" y="538387"/>
                  </a:lnTo>
                  <a:lnTo>
                    <a:pt x="623681" y="537353"/>
                  </a:lnTo>
                  <a:lnTo>
                    <a:pt x="623422" y="536836"/>
                  </a:lnTo>
                  <a:lnTo>
                    <a:pt x="623293" y="536319"/>
                  </a:lnTo>
                  <a:lnTo>
                    <a:pt x="623939" y="535544"/>
                  </a:lnTo>
                  <a:lnTo>
                    <a:pt x="624715" y="533993"/>
                  </a:lnTo>
                  <a:lnTo>
                    <a:pt x="625103" y="533605"/>
                  </a:lnTo>
                  <a:lnTo>
                    <a:pt x="625490" y="533347"/>
                  </a:lnTo>
                  <a:lnTo>
                    <a:pt x="626007" y="532571"/>
                  </a:lnTo>
                  <a:lnTo>
                    <a:pt x="626395" y="532442"/>
                  </a:lnTo>
                  <a:lnTo>
                    <a:pt x="626912" y="532571"/>
                  </a:lnTo>
                  <a:lnTo>
                    <a:pt x="627299" y="532701"/>
                  </a:lnTo>
                  <a:lnTo>
                    <a:pt x="627817" y="532701"/>
                  </a:lnTo>
                  <a:lnTo>
                    <a:pt x="628333" y="532313"/>
                  </a:lnTo>
                  <a:lnTo>
                    <a:pt x="629238" y="530504"/>
                  </a:lnTo>
                  <a:lnTo>
                    <a:pt x="630789" y="529341"/>
                  </a:lnTo>
                  <a:lnTo>
                    <a:pt x="631306" y="528436"/>
                  </a:lnTo>
                  <a:lnTo>
                    <a:pt x="631694" y="527919"/>
                  </a:lnTo>
                  <a:lnTo>
                    <a:pt x="631823" y="527273"/>
                  </a:lnTo>
                  <a:lnTo>
                    <a:pt x="631306" y="526239"/>
                  </a:lnTo>
                  <a:lnTo>
                    <a:pt x="631435" y="525851"/>
                  </a:lnTo>
                  <a:lnTo>
                    <a:pt x="632469" y="525722"/>
                  </a:lnTo>
                  <a:lnTo>
                    <a:pt x="632727" y="525464"/>
                  </a:lnTo>
                  <a:lnTo>
                    <a:pt x="632598" y="524688"/>
                  </a:lnTo>
                  <a:lnTo>
                    <a:pt x="632469" y="524171"/>
                  </a:lnTo>
                  <a:lnTo>
                    <a:pt x="632727" y="523654"/>
                  </a:lnTo>
                  <a:lnTo>
                    <a:pt x="633891" y="523137"/>
                  </a:lnTo>
                  <a:lnTo>
                    <a:pt x="634278" y="522750"/>
                  </a:lnTo>
                  <a:lnTo>
                    <a:pt x="634666" y="522362"/>
                  </a:lnTo>
                  <a:lnTo>
                    <a:pt x="635054" y="521974"/>
                  </a:lnTo>
                  <a:lnTo>
                    <a:pt x="635441" y="521716"/>
                  </a:lnTo>
                  <a:lnTo>
                    <a:pt x="635958" y="521716"/>
                  </a:lnTo>
                  <a:lnTo>
                    <a:pt x="636475" y="521845"/>
                  </a:lnTo>
                  <a:lnTo>
                    <a:pt x="636863" y="522233"/>
                  </a:lnTo>
                  <a:lnTo>
                    <a:pt x="637380" y="522233"/>
                  </a:lnTo>
                  <a:lnTo>
                    <a:pt x="637767" y="521974"/>
                  </a:lnTo>
                  <a:lnTo>
                    <a:pt x="638284" y="521716"/>
                  </a:lnTo>
                  <a:lnTo>
                    <a:pt x="639060" y="521069"/>
                  </a:lnTo>
                  <a:lnTo>
                    <a:pt x="639447" y="520553"/>
                  </a:lnTo>
                  <a:lnTo>
                    <a:pt x="640094" y="518226"/>
                  </a:lnTo>
                  <a:lnTo>
                    <a:pt x="640352" y="517709"/>
                  </a:lnTo>
                  <a:lnTo>
                    <a:pt x="640740" y="517193"/>
                  </a:lnTo>
                  <a:lnTo>
                    <a:pt x="642549" y="515900"/>
                  </a:lnTo>
                  <a:lnTo>
                    <a:pt x="642807" y="515512"/>
                  </a:lnTo>
                  <a:lnTo>
                    <a:pt x="643841" y="514866"/>
                  </a:lnTo>
                  <a:lnTo>
                    <a:pt x="645005" y="514608"/>
                  </a:lnTo>
                  <a:lnTo>
                    <a:pt x="645521" y="514608"/>
                  </a:lnTo>
                  <a:lnTo>
                    <a:pt x="645909" y="514479"/>
                  </a:lnTo>
                  <a:lnTo>
                    <a:pt x="646168" y="514091"/>
                  </a:lnTo>
                  <a:lnTo>
                    <a:pt x="645780" y="513316"/>
                  </a:lnTo>
                  <a:lnTo>
                    <a:pt x="644100" y="510860"/>
                  </a:lnTo>
                  <a:lnTo>
                    <a:pt x="643841" y="510343"/>
                  </a:lnTo>
                  <a:lnTo>
                    <a:pt x="643712" y="509826"/>
                  </a:lnTo>
                  <a:lnTo>
                    <a:pt x="643712" y="509180"/>
                  </a:lnTo>
                  <a:lnTo>
                    <a:pt x="643971" y="508405"/>
                  </a:lnTo>
                  <a:lnTo>
                    <a:pt x="644358" y="507758"/>
                  </a:lnTo>
                  <a:lnTo>
                    <a:pt x="644617" y="507371"/>
                  </a:lnTo>
                  <a:lnTo>
                    <a:pt x="645521" y="506595"/>
                  </a:lnTo>
                  <a:lnTo>
                    <a:pt x="645909" y="506078"/>
                  </a:lnTo>
                  <a:lnTo>
                    <a:pt x="646943" y="504915"/>
                  </a:lnTo>
                  <a:lnTo>
                    <a:pt x="647460" y="504657"/>
                  </a:lnTo>
                  <a:lnTo>
                    <a:pt x="647977" y="504528"/>
                  </a:lnTo>
                  <a:lnTo>
                    <a:pt x="648623" y="504528"/>
                  </a:lnTo>
                  <a:lnTo>
                    <a:pt x="649140" y="504657"/>
                  </a:lnTo>
                  <a:lnTo>
                    <a:pt x="649657" y="504915"/>
                  </a:lnTo>
                  <a:lnTo>
                    <a:pt x="650174" y="505045"/>
                  </a:lnTo>
                  <a:lnTo>
                    <a:pt x="650820" y="505045"/>
                  </a:lnTo>
                  <a:lnTo>
                    <a:pt x="651208" y="504786"/>
                  </a:lnTo>
                  <a:lnTo>
                    <a:pt x="651725" y="504528"/>
                  </a:lnTo>
                  <a:lnTo>
                    <a:pt x="651983" y="504011"/>
                  </a:lnTo>
                  <a:lnTo>
                    <a:pt x="652371" y="503494"/>
                  </a:lnTo>
                  <a:lnTo>
                    <a:pt x="652371" y="502331"/>
                  </a:lnTo>
                  <a:lnTo>
                    <a:pt x="652112" y="500651"/>
                  </a:lnTo>
                  <a:lnTo>
                    <a:pt x="651208" y="497161"/>
                  </a:lnTo>
                  <a:lnTo>
                    <a:pt x="650174" y="494577"/>
                  </a:lnTo>
                  <a:lnTo>
                    <a:pt x="649528" y="493672"/>
                  </a:lnTo>
                  <a:lnTo>
                    <a:pt x="649140" y="492509"/>
                  </a:lnTo>
                  <a:lnTo>
                    <a:pt x="648235" y="488503"/>
                  </a:lnTo>
                  <a:lnTo>
                    <a:pt x="647848" y="487598"/>
                  </a:lnTo>
                  <a:lnTo>
                    <a:pt x="647589" y="486823"/>
                  </a:lnTo>
                  <a:lnTo>
                    <a:pt x="646297" y="485143"/>
                  </a:lnTo>
                  <a:lnTo>
                    <a:pt x="645651" y="483850"/>
                  </a:lnTo>
                  <a:lnTo>
                    <a:pt x="643841" y="476355"/>
                  </a:lnTo>
                  <a:lnTo>
                    <a:pt x="642161" y="472865"/>
                  </a:lnTo>
                  <a:lnTo>
                    <a:pt x="641515" y="471961"/>
                  </a:lnTo>
                  <a:lnTo>
                    <a:pt x="639965" y="468471"/>
                  </a:lnTo>
                  <a:lnTo>
                    <a:pt x="639318" y="467825"/>
                  </a:lnTo>
                  <a:lnTo>
                    <a:pt x="638543" y="467308"/>
                  </a:lnTo>
                  <a:lnTo>
                    <a:pt x="638026" y="467179"/>
                  </a:lnTo>
                  <a:lnTo>
                    <a:pt x="637638" y="466791"/>
                  </a:lnTo>
                  <a:lnTo>
                    <a:pt x="636863" y="465241"/>
                  </a:lnTo>
                  <a:lnTo>
                    <a:pt x="636604" y="464853"/>
                  </a:lnTo>
                  <a:lnTo>
                    <a:pt x="636087" y="464465"/>
                  </a:lnTo>
                  <a:lnTo>
                    <a:pt x="635700" y="464207"/>
                  </a:lnTo>
                  <a:lnTo>
                    <a:pt x="633891" y="463561"/>
                  </a:lnTo>
                  <a:lnTo>
                    <a:pt x="633373" y="463302"/>
                  </a:lnTo>
                  <a:lnTo>
                    <a:pt x="632986" y="462914"/>
                  </a:lnTo>
                  <a:lnTo>
                    <a:pt x="632469" y="461881"/>
                  </a:lnTo>
                  <a:lnTo>
                    <a:pt x="632210" y="461493"/>
                  </a:lnTo>
                  <a:lnTo>
                    <a:pt x="631306" y="460847"/>
                  </a:lnTo>
                  <a:lnTo>
                    <a:pt x="630143" y="460330"/>
                  </a:lnTo>
                  <a:lnTo>
                    <a:pt x="628204" y="459942"/>
                  </a:lnTo>
                  <a:lnTo>
                    <a:pt x="626136" y="458908"/>
                  </a:lnTo>
                  <a:lnTo>
                    <a:pt x="625232" y="458133"/>
                  </a:lnTo>
                  <a:lnTo>
                    <a:pt x="621743" y="453997"/>
                  </a:lnTo>
                  <a:lnTo>
                    <a:pt x="621226" y="453093"/>
                  </a:lnTo>
                  <a:lnTo>
                    <a:pt x="620062" y="450508"/>
                  </a:lnTo>
                  <a:lnTo>
                    <a:pt x="620062" y="450508"/>
                  </a:lnTo>
                  <a:lnTo>
                    <a:pt x="620062" y="450508"/>
                  </a:lnTo>
                  <a:lnTo>
                    <a:pt x="619933" y="450379"/>
                  </a:lnTo>
                  <a:lnTo>
                    <a:pt x="619933" y="449603"/>
                  </a:lnTo>
                  <a:lnTo>
                    <a:pt x="621743" y="441332"/>
                  </a:lnTo>
                  <a:lnTo>
                    <a:pt x="622130" y="440557"/>
                  </a:lnTo>
                  <a:lnTo>
                    <a:pt x="626007" y="437197"/>
                  </a:lnTo>
                  <a:lnTo>
                    <a:pt x="626653" y="436292"/>
                  </a:lnTo>
                  <a:lnTo>
                    <a:pt x="627817" y="433708"/>
                  </a:lnTo>
                  <a:lnTo>
                    <a:pt x="628204" y="433191"/>
                  </a:lnTo>
                  <a:lnTo>
                    <a:pt x="628592" y="432674"/>
                  </a:lnTo>
                  <a:lnTo>
                    <a:pt x="628980" y="432286"/>
                  </a:lnTo>
                  <a:lnTo>
                    <a:pt x="629367" y="431769"/>
                  </a:lnTo>
                  <a:lnTo>
                    <a:pt x="631177" y="428409"/>
                  </a:lnTo>
                  <a:lnTo>
                    <a:pt x="633503" y="422464"/>
                  </a:lnTo>
                  <a:lnTo>
                    <a:pt x="633761" y="421431"/>
                  </a:lnTo>
                  <a:lnTo>
                    <a:pt x="633891" y="420397"/>
                  </a:lnTo>
                  <a:lnTo>
                    <a:pt x="632340" y="411350"/>
                  </a:lnTo>
                  <a:lnTo>
                    <a:pt x="632469" y="410187"/>
                  </a:lnTo>
                  <a:lnTo>
                    <a:pt x="632986" y="408766"/>
                  </a:lnTo>
                  <a:lnTo>
                    <a:pt x="635700" y="403079"/>
                  </a:lnTo>
                  <a:lnTo>
                    <a:pt x="636087" y="399461"/>
                  </a:lnTo>
                  <a:lnTo>
                    <a:pt x="603521" y="399719"/>
                  </a:lnTo>
                  <a:lnTo>
                    <a:pt x="576898" y="399719"/>
                  </a:lnTo>
                  <a:lnTo>
                    <a:pt x="541876" y="399461"/>
                  </a:lnTo>
                  <a:lnTo>
                    <a:pt x="534510" y="398556"/>
                  </a:lnTo>
                  <a:lnTo>
                    <a:pt x="534381" y="397910"/>
                  </a:lnTo>
                  <a:lnTo>
                    <a:pt x="534381" y="397264"/>
                  </a:lnTo>
                  <a:lnTo>
                    <a:pt x="534510" y="396618"/>
                  </a:lnTo>
                  <a:lnTo>
                    <a:pt x="534898" y="395067"/>
                  </a:lnTo>
                  <a:lnTo>
                    <a:pt x="535544" y="393645"/>
                  </a:lnTo>
                  <a:lnTo>
                    <a:pt x="536190" y="391319"/>
                  </a:lnTo>
                  <a:lnTo>
                    <a:pt x="536448" y="390415"/>
                  </a:lnTo>
                  <a:lnTo>
                    <a:pt x="535802" y="388993"/>
                  </a:lnTo>
                  <a:lnTo>
                    <a:pt x="534251" y="388217"/>
                  </a:lnTo>
                  <a:lnTo>
                    <a:pt x="533735" y="387830"/>
                  </a:lnTo>
                  <a:lnTo>
                    <a:pt x="533476" y="387313"/>
                  </a:lnTo>
                  <a:lnTo>
                    <a:pt x="533088" y="384341"/>
                  </a:lnTo>
                  <a:lnTo>
                    <a:pt x="531667" y="377362"/>
                  </a:lnTo>
                  <a:lnTo>
                    <a:pt x="531796" y="376199"/>
                  </a:lnTo>
                  <a:lnTo>
                    <a:pt x="532054" y="375553"/>
                  </a:lnTo>
                  <a:lnTo>
                    <a:pt x="532571" y="375165"/>
                  </a:lnTo>
                  <a:lnTo>
                    <a:pt x="534122" y="374648"/>
                  </a:lnTo>
                  <a:lnTo>
                    <a:pt x="535156" y="374002"/>
                  </a:lnTo>
                  <a:lnTo>
                    <a:pt x="535931" y="373356"/>
                  </a:lnTo>
                  <a:lnTo>
                    <a:pt x="536707" y="372580"/>
                  </a:lnTo>
                  <a:lnTo>
                    <a:pt x="537353" y="371546"/>
                  </a:lnTo>
                  <a:lnTo>
                    <a:pt x="538387" y="369479"/>
                  </a:lnTo>
                  <a:lnTo>
                    <a:pt x="539809" y="365731"/>
                  </a:lnTo>
                  <a:lnTo>
                    <a:pt x="538516" y="364309"/>
                  </a:lnTo>
                  <a:lnTo>
                    <a:pt x="536707" y="363146"/>
                  </a:lnTo>
                  <a:lnTo>
                    <a:pt x="536061" y="362112"/>
                  </a:lnTo>
                  <a:lnTo>
                    <a:pt x="535802" y="361078"/>
                  </a:lnTo>
                  <a:lnTo>
                    <a:pt x="536190" y="357072"/>
                  </a:lnTo>
                  <a:lnTo>
                    <a:pt x="536448" y="356426"/>
                  </a:lnTo>
                  <a:lnTo>
                    <a:pt x="536707" y="355909"/>
                  </a:lnTo>
                  <a:lnTo>
                    <a:pt x="536965" y="355392"/>
                  </a:lnTo>
                  <a:lnTo>
                    <a:pt x="537353" y="355004"/>
                  </a:lnTo>
                  <a:lnTo>
                    <a:pt x="538387" y="354487"/>
                  </a:lnTo>
                  <a:lnTo>
                    <a:pt x="538904" y="352808"/>
                  </a:lnTo>
                  <a:lnTo>
                    <a:pt x="540325" y="342857"/>
                  </a:lnTo>
                  <a:lnTo>
                    <a:pt x="540972" y="340143"/>
                  </a:lnTo>
                  <a:lnTo>
                    <a:pt x="542264" y="338721"/>
                  </a:lnTo>
                  <a:lnTo>
                    <a:pt x="558160" y="338721"/>
                  </a:lnTo>
                  <a:lnTo>
                    <a:pt x="586462" y="338850"/>
                  </a:lnTo>
                  <a:lnTo>
                    <a:pt x="623164" y="339626"/>
                  </a:lnTo>
                  <a:lnTo>
                    <a:pt x="623293" y="340272"/>
                  </a:lnTo>
                  <a:lnTo>
                    <a:pt x="623422" y="342210"/>
                  </a:lnTo>
                  <a:lnTo>
                    <a:pt x="623810" y="343244"/>
                  </a:lnTo>
                  <a:lnTo>
                    <a:pt x="624327" y="343890"/>
                  </a:lnTo>
                  <a:lnTo>
                    <a:pt x="624715" y="344278"/>
                  </a:lnTo>
                  <a:lnTo>
                    <a:pt x="625232" y="344666"/>
                  </a:lnTo>
                  <a:lnTo>
                    <a:pt x="626783" y="345312"/>
                  </a:lnTo>
                  <a:lnTo>
                    <a:pt x="627170" y="345829"/>
                  </a:lnTo>
                  <a:lnTo>
                    <a:pt x="629626" y="347121"/>
                  </a:lnTo>
                  <a:lnTo>
                    <a:pt x="633115" y="348414"/>
                  </a:lnTo>
                  <a:lnTo>
                    <a:pt x="634666" y="349189"/>
                  </a:lnTo>
                  <a:lnTo>
                    <a:pt x="635570" y="349835"/>
                  </a:lnTo>
                  <a:lnTo>
                    <a:pt x="635700" y="350223"/>
                  </a:lnTo>
                  <a:lnTo>
                    <a:pt x="635570" y="350740"/>
                  </a:lnTo>
                  <a:lnTo>
                    <a:pt x="634924" y="352420"/>
                  </a:lnTo>
                  <a:lnTo>
                    <a:pt x="634666" y="353712"/>
                  </a:lnTo>
                  <a:lnTo>
                    <a:pt x="634537" y="358106"/>
                  </a:lnTo>
                  <a:lnTo>
                    <a:pt x="634666" y="360045"/>
                  </a:lnTo>
                  <a:lnTo>
                    <a:pt x="634795" y="360561"/>
                  </a:lnTo>
                  <a:lnTo>
                    <a:pt x="635441" y="361983"/>
                  </a:lnTo>
                  <a:lnTo>
                    <a:pt x="635570" y="363017"/>
                  </a:lnTo>
                  <a:lnTo>
                    <a:pt x="634924" y="368186"/>
                  </a:lnTo>
                  <a:lnTo>
                    <a:pt x="633632" y="372063"/>
                  </a:lnTo>
                  <a:lnTo>
                    <a:pt x="632857" y="373485"/>
                  </a:lnTo>
                  <a:lnTo>
                    <a:pt x="631047" y="376586"/>
                  </a:lnTo>
                  <a:lnTo>
                    <a:pt x="630530" y="378913"/>
                  </a:lnTo>
                  <a:lnTo>
                    <a:pt x="630272" y="382790"/>
                  </a:lnTo>
                  <a:lnTo>
                    <a:pt x="630401" y="383436"/>
                  </a:lnTo>
                  <a:lnTo>
                    <a:pt x="630789" y="384599"/>
                  </a:lnTo>
                  <a:lnTo>
                    <a:pt x="630918" y="385762"/>
                  </a:lnTo>
                  <a:lnTo>
                    <a:pt x="630789" y="387959"/>
                  </a:lnTo>
                  <a:lnTo>
                    <a:pt x="630143" y="390931"/>
                  </a:lnTo>
                  <a:lnTo>
                    <a:pt x="630013" y="392353"/>
                  </a:lnTo>
                  <a:lnTo>
                    <a:pt x="630143" y="393257"/>
                  </a:lnTo>
                  <a:lnTo>
                    <a:pt x="630272" y="393775"/>
                  </a:lnTo>
                  <a:lnTo>
                    <a:pt x="630918" y="394679"/>
                  </a:lnTo>
                  <a:lnTo>
                    <a:pt x="631177" y="395067"/>
                  </a:lnTo>
                  <a:lnTo>
                    <a:pt x="631952" y="395713"/>
                  </a:lnTo>
                  <a:lnTo>
                    <a:pt x="634666" y="397264"/>
                  </a:lnTo>
                  <a:lnTo>
                    <a:pt x="635441" y="398039"/>
                  </a:lnTo>
                  <a:lnTo>
                    <a:pt x="636087" y="399461"/>
                  </a:lnTo>
                  <a:lnTo>
                    <a:pt x="639577" y="398039"/>
                  </a:lnTo>
                  <a:lnTo>
                    <a:pt x="640094" y="398039"/>
                  </a:lnTo>
                  <a:lnTo>
                    <a:pt x="642549" y="398685"/>
                  </a:lnTo>
                  <a:lnTo>
                    <a:pt x="643195" y="398685"/>
                  </a:lnTo>
                  <a:lnTo>
                    <a:pt x="643971" y="398685"/>
                  </a:lnTo>
                  <a:lnTo>
                    <a:pt x="644488" y="398556"/>
                  </a:lnTo>
                  <a:lnTo>
                    <a:pt x="645005" y="398298"/>
                  </a:lnTo>
                  <a:lnTo>
                    <a:pt x="645521" y="398039"/>
                  </a:lnTo>
                  <a:lnTo>
                    <a:pt x="646297" y="397264"/>
                  </a:lnTo>
                  <a:lnTo>
                    <a:pt x="646943" y="396488"/>
                  </a:lnTo>
                  <a:lnTo>
                    <a:pt x="647848" y="395067"/>
                  </a:lnTo>
                  <a:lnTo>
                    <a:pt x="648365" y="394679"/>
                  </a:lnTo>
                  <a:lnTo>
                    <a:pt x="648623" y="394291"/>
                  </a:lnTo>
                  <a:lnTo>
                    <a:pt x="650174" y="393387"/>
                  </a:lnTo>
                  <a:lnTo>
                    <a:pt x="650562" y="393128"/>
                  </a:lnTo>
                  <a:lnTo>
                    <a:pt x="650820" y="392611"/>
                  </a:lnTo>
                  <a:lnTo>
                    <a:pt x="653146" y="387959"/>
                  </a:lnTo>
                  <a:lnTo>
                    <a:pt x="653792" y="387054"/>
                  </a:lnTo>
                  <a:lnTo>
                    <a:pt x="654180" y="386667"/>
                  </a:lnTo>
                  <a:lnTo>
                    <a:pt x="654697" y="386408"/>
                  </a:lnTo>
                  <a:lnTo>
                    <a:pt x="655214" y="386279"/>
                  </a:lnTo>
                  <a:lnTo>
                    <a:pt x="655602" y="386537"/>
                  </a:lnTo>
                  <a:lnTo>
                    <a:pt x="655860" y="386925"/>
                  </a:lnTo>
                  <a:lnTo>
                    <a:pt x="655989" y="387184"/>
                  </a:lnTo>
                  <a:lnTo>
                    <a:pt x="656248" y="387442"/>
                  </a:lnTo>
                  <a:lnTo>
                    <a:pt x="656636" y="387701"/>
                  </a:lnTo>
                  <a:lnTo>
                    <a:pt x="657669" y="388088"/>
                  </a:lnTo>
                  <a:lnTo>
                    <a:pt x="658186" y="388217"/>
                  </a:lnTo>
                  <a:lnTo>
                    <a:pt x="658833" y="388347"/>
                  </a:lnTo>
                  <a:lnTo>
                    <a:pt x="659479" y="388347"/>
                  </a:lnTo>
                  <a:lnTo>
                    <a:pt x="660125" y="388217"/>
                  </a:lnTo>
                  <a:lnTo>
                    <a:pt x="661805" y="387571"/>
                  </a:lnTo>
                  <a:lnTo>
                    <a:pt x="662839" y="387054"/>
                  </a:lnTo>
                  <a:lnTo>
                    <a:pt x="663743" y="386537"/>
                  </a:lnTo>
                  <a:lnTo>
                    <a:pt x="664131" y="386150"/>
                  </a:lnTo>
                  <a:lnTo>
                    <a:pt x="664519" y="385891"/>
                  </a:lnTo>
                  <a:lnTo>
                    <a:pt x="665036" y="385633"/>
                  </a:lnTo>
                  <a:lnTo>
                    <a:pt x="665682" y="385504"/>
                  </a:lnTo>
                  <a:lnTo>
                    <a:pt x="666328" y="385374"/>
                  </a:lnTo>
                  <a:lnTo>
                    <a:pt x="671368" y="385633"/>
                  </a:lnTo>
                  <a:lnTo>
                    <a:pt x="672014" y="385504"/>
                  </a:lnTo>
                  <a:lnTo>
                    <a:pt x="672661" y="385374"/>
                  </a:lnTo>
                  <a:lnTo>
                    <a:pt x="674082" y="384599"/>
                  </a:lnTo>
                  <a:lnTo>
                    <a:pt x="674599" y="384470"/>
                  </a:lnTo>
                  <a:lnTo>
                    <a:pt x="675245" y="384341"/>
                  </a:lnTo>
                  <a:lnTo>
                    <a:pt x="677313" y="384082"/>
                  </a:lnTo>
                  <a:lnTo>
                    <a:pt x="677830" y="383953"/>
                  </a:lnTo>
                  <a:lnTo>
                    <a:pt x="678993" y="383565"/>
                  </a:lnTo>
                  <a:lnTo>
                    <a:pt x="680802" y="382402"/>
                  </a:lnTo>
                  <a:lnTo>
                    <a:pt x="681448" y="382273"/>
                  </a:lnTo>
                  <a:lnTo>
                    <a:pt x="683128" y="381885"/>
                  </a:lnTo>
                  <a:lnTo>
                    <a:pt x="685584" y="380593"/>
                  </a:lnTo>
                  <a:lnTo>
                    <a:pt x="686101" y="380076"/>
                  </a:lnTo>
                  <a:lnTo>
                    <a:pt x="686359" y="379042"/>
                  </a:lnTo>
                  <a:lnTo>
                    <a:pt x="686488" y="377879"/>
                  </a:lnTo>
                  <a:lnTo>
                    <a:pt x="685842" y="373097"/>
                  </a:lnTo>
                  <a:lnTo>
                    <a:pt x="685972" y="370512"/>
                  </a:lnTo>
                  <a:lnTo>
                    <a:pt x="685972" y="369479"/>
                  </a:lnTo>
                  <a:lnTo>
                    <a:pt x="685584" y="368186"/>
                  </a:lnTo>
                  <a:lnTo>
                    <a:pt x="684550" y="365214"/>
                  </a:lnTo>
                  <a:lnTo>
                    <a:pt x="684162" y="364051"/>
                  </a:lnTo>
                  <a:lnTo>
                    <a:pt x="682611" y="349835"/>
                  </a:lnTo>
                  <a:lnTo>
                    <a:pt x="682353" y="348930"/>
                  </a:lnTo>
                  <a:lnTo>
                    <a:pt x="681965" y="348801"/>
                  </a:lnTo>
                  <a:lnTo>
                    <a:pt x="681448" y="348543"/>
                  </a:lnTo>
                  <a:lnTo>
                    <a:pt x="678864" y="347897"/>
                  </a:lnTo>
                  <a:lnTo>
                    <a:pt x="678347" y="347767"/>
                  </a:lnTo>
                  <a:lnTo>
                    <a:pt x="677054" y="346734"/>
                  </a:lnTo>
                  <a:lnTo>
                    <a:pt x="676667" y="346346"/>
                  </a:lnTo>
                  <a:lnTo>
                    <a:pt x="676408" y="345829"/>
                  </a:lnTo>
                  <a:lnTo>
                    <a:pt x="676150" y="345441"/>
                  </a:lnTo>
                  <a:lnTo>
                    <a:pt x="675891" y="344924"/>
                  </a:lnTo>
                  <a:lnTo>
                    <a:pt x="675245" y="332259"/>
                  </a:lnTo>
                  <a:lnTo>
                    <a:pt x="675374" y="331484"/>
                  </a:lnTo>
                  <a:lnTo>
                    <a:pt x="675891" y="330321"/>
                  </a:lnTo>
                  <a:lnTo>
                    <a:pt x="676408" y="329675"/>
                  </a:lnTo>
                  <a:lnTo>
                    <a:pt x="676925" y="329158"/>
                  </a:lnTo>
                  <a:lnTo>
                    <a:pt x="678993" y="327478"/>
                  </a:lnTo>
                  <a:lnTo>
                    <a:pt x="679768" y="326702"/>
                  </a:lnTo>
                  <a:lnTo>
                    <a:pt x="680414" y="325798"/>
                  </a:lnTo>
                  <a:lnTo>
                    <a:pt x="681707" y="323342"/>
                  </a:lnTo>
                  <a:lnTo>
                    <a:pt x="682741" y="322179"/>
                  </a:lnTo>
                  <a:lnTo>
                    <a:pt x="684033" y="320370"/>
                  </a:lnTo>
                  <a:lnTo>
                    <a:pt x="684162" y="319594"/>
                  </a:lnTo>
                  <a:lnTo>
                    <a:pt x="684033" y="318561"/>
                  </a:lnTo>
                  <a:lnTo>
                    <a:pt x="683387" y="316881"/>
                  </a:lnTo>
                  <a:lnTo>
                    <a:pt x="681965" y="314167"/>
                  </a:lnTo>
                  <a:lnTo>
                    <a:pt x="681190" y="312099"/>
                  </a:lnTo>
                  <a:lnTo>
                    <a:pt x="680802" y="311323"/>
                  </a:lnTo>
                  <a:lnTo>
                    <a:pt x="680414" y="310936"/>
                  </a:lnTo>
                  <a:lnTo>
                    <a:pt x="679768" y="310807"/>
                  </a:lnTo>
                  <a:lnTo>
                    <a:pt x="678476" y="310936"/>
                  </a:lnTo>
                  <a:lnTo>
                    <a:pt x="676796" y="311323"/>
                  </a:lnTo>
                  <a:lnTo>
                    <a:pt x="676150" y="311194"/>
                  </a:lnTo>
                  <a:lnTo>
                    <a:pt x="676021" y="309902"/>
                  </a:lnTo>
                  <a:lnTo>
                    <a:pt x="679768" y="291938"/>
                  </a:lnTo>
                  <a:lnTo>
                    <a:pt x="679768" y="291163"/>
                  </a:lnTo>
                  <a:lnTo>
                    <a:pt x="680156" y="290129"/>
                  </a:lnTo>
                  <a:lnTo>
                    <a:pt x="680414" y="289612"/>
                  </a:lnTo>
                  <a:lnTo>
                    <a:pt x="680802" y="289225"/>
                  </a:lnTo>
                  <a:lnTo>
                    <a:pt x="681448" y="288449"/>
                  </a:lnTo>
                  <a:lnTo>
                    <a:pt x="682224" y="287674"/>
                  </a:lnTo>
                  <a:lnTo>
                    <a:pt x="683128" y="287157"/>
                  </a:lnTo>
                  <a:lnTo>
                    <a:pt x="685196" y="286382"/>
                  </a:lnTo>
                  <a:lnTo>
                    <a:pt x="686359" y="286123"/>
                  </a:lnTo>
                  <a:lnTo>
                    <a:pt x="690624" y="285606"/>
                  </a:lnTo>
                  <a:lnTo>
                    <a:pt x="693209" y="285735"/>
                  </a:lnTo>
                  <a:lnTo>
                    <a:pt x="695793" y="286382"/>
                  </a:lnTo>
                  <a:lnTo>
                    <a:pt x="696827" y="286769"/>
                  </a:lnTo>
                  <a:lnTo>
                    <a:pt x="707424" y="292326"/>
                  </a:lnTo>
                  <a:lnTo>
                    <a:pt x="709621" y="293102"/>
                  </a:lnTo>
                  <a:lnTo>
                    <a:pt x="710267" y="293231"/>
                  </a:lnTo>
                  <a:lnTo>
                    <a:pt x="711172" y="293102"/>
                  </a:lnTo>
                  <a:lnTo>
                    <a:pt x="712206" y="292714"/>
                  </a:lnTo>
                  <a:lnTo>
                    <a:pt x="714920" y="290905"/>
                  </a:lnTo>
                  <a:lnTo>
                    <a:pt x="716858" y="288966"/>
                  </a:lnTo>
                  <a:lnTo>
                    <a:pt x="717117" y="288449"/>
                  </a:lnTo>
                  <a:lnTo>
                    <a:pt x="717117" y="287803"/>
                  </a:lnTo>
                  <a:lnTo>
                    <a:pt x="716341" y="285735"/>
                  </a:lnTo>
                  <a:lnTo>
                    <a:pt x="715825" y="282375"/>
                  </a:lnTo>
                  <a:lnTo>
                    <a:pt x="716083" y="279661"/>
                  </a:lnTo>
                  <a:lnTo>
                    <a:pt x="715954" y="279015"/>
                  </a:lnTo>
                  <a:lnTo>
                    <a:pt x="715825" y="278498"/>
                  </a:lnTo>
                  <a:lnTo>
                    <a:pt x="715437" y="278111"/>
                  </a:lnTo>
                  <a:lnTo>
                    <a:pt x="714403" y="276947"/>
                  </a:lnTo>
                  <a:lnTo>
                    <a:pt x="713886" y="276043"/>
                  </a:lnTo>
                  <a:lnTo>
                    <a:pt x="713628" y="275526"/>
                  </a:lnTo>
                  <a:lnTo>
                    <a:pt x="713757" y="274880"/>
                  </a:lnTo>
                  <a:lnTo>
                    <a:pt x="713757" y="274234"/>
                  </a:lnTo>
                  <a:lnTo>
                    <a:pt x="714015" y="273587"/>
                  </a:lnTo>
                  <a:lnTo>
                    <a:pt x="715566" y="271390"/>
                  </a:lnTo>
                  <a:lnTo>
                    <a:pt x="715825" y="270874"/>
                  </a:lnTo>
                  <a:lnTo>
                    <a:pt x="715954" y="270356"/>
                  </a:lnTo>
                  <a:lnTo>
                    <a:pt x="715825" y="269710"/>
                  </a:lnTo>
                  <a:lnTo>
                    <a:pt x="715695" y="269193"/>
                  </a:lnTo>
                  <a:lnTo>
                    <a:pt x="715566" y="268676"/>
                  </a:lnTo>
                  <a:lnTo>
                    <a:pt x="713886" y="266479"/>
                  </a:lnTo>
                  <a:lnTo>
                    <a:pt x="713628" y="265963"/>
                  </a:lnTo>
                  <a:lnTo>
                    <a:pt x="713498" y="265446"/>
                  </a:lnTo>
                  <a:lnTo>
                    <a:pt x="713240" y="263507"/>
                  </a:lnTo>
                  <a:lnTo>
                    <a:pt x="713240" y="262861"/>
                  </a:lnTo>
                  <a:lnTo>
                    <a:pt x="713369" y="262215"/>
                  </a:lnTo>
                  <a:lnTo>
                    <a:pt x="713498" y="261698"/>
                  </a:lnTo>
                  <a:lnTo>
                    <a:pt x="714661" y="259630"/>
                  </a:lnTo>
                  <a:lnTo>
                    <a:pt x="720218" y="253168"/>
                  </a:lnTo>
                  <a:lnTo>
                    <a:pt x="720865" y="252910"/>
                  </a:lnTo>
                  <a:lnTo>
                    <a:pt x="721640" y="253039"/>
                  </a:lnTo>
                  <a:lnTo>
                    <a:pt x="723191" y="253685"/>
                  </a:lnTo>
                  <a:lnTo>
                    <a:pt x="725517" y="255365"/>
                  </a:lnTo>
                  <a:lnTo>
                    <a:pt x="734047" y="259759"/>
                  </a:lnTo>
                  <a:lnTo>
                    <a:pt x="735856" y="260922"/>
                  </a:lnTo>
                  <a:lnTo>
                    <a:pt x="737794" y="262732"/>
                  </a:lnTo>
                  <a:lnTo>
                    <a:pt x="740767" y="266609"/>
                  </a:lnTo>
                  <a:lnTo>
                    <a:pt x="741154" y="266996"/>
                  </a:lnTo>
                  <a:lnTo>
                    <a:pt x="741542" y="268030"/>
                  </a:lnTo>
                  <a:lnTo>
                    <a:pt x="743481" y="274234"/>
                  </a:lnTo>
                  <a:lnTo>
                    <a:pt x="743739" y="274750"/>
                  </a:lnTo>
                  <a:lnTo>
                    <a:pt x="744644" y="275009"/>
                  </a:lnTo>
                  <a:lnTo>
                    <a:pt x="746065" y="275267"/>
                  </a:lnTo>
                  <a:lnTo>
                    <a:pt x="749167" y="275138"/>
                  </a:lnTo>
                  <a:lnTo>
                    <a:pt x="751881" y="275397"/>
                  </a:lnTo>
                  <a:lnTo>
                    <a:pt x="752398" y="275655"/>
                  </a:lnTo>
                  <a:lnTo>
                    <a:pt x="752785" y="275914"/>
                  </a:lnTo>
                  <a:lnTo>
                    <a:pt x="754465" y="277335"/>
                  </a:lnTo>
                  <a:lnTo>
                    <a:pt x="754982" y="277594"/>
                  </a:lnTo>
                  <a:lnTo>
                    <a:pt x="756016" y="277594"/>
                  </a:lnTo>
                  <a:lnTo>
                    <a:pt x="760669" y="276560"/>
                  </a:lnTo>
                  <a:lnTo>
                    <a:pt x="762090" y="276430"/>
                  </a:lnTo>
                  <a:lnTo>
                    <a:pt x="763124" y="276430"/>
                  </a:lnTo>
                  <a:lnTo>
                    <a:pt x="764675" y="277206"/>
                  </a:lnTo>
                  <a:lnTo>
                    <a:pt x="765321" y="277206"/>
                  </a:lnTo>
                  <a:lnTo>
                    <a:pt x="766096" y="276947"/>
                  </a:lnTo>
                  <a:lnTo>
                    <a:pt x="767259" y="276172"/>
                  </a:lnTo>
                  <a:lnTo>
                    <a:pt x="768164" y="274750"/>
                  </a:lnTo>
                  <a:lnTo>
                    <a:pt x="768940" y="272941"/>
                  </a:lnTo>
                  <a:lnTo>
                    <a:pt x="769973" y="271907"/>
                  </a:lnTo>
                  <a:lnTo>
                    <a:pt x="773075" y="270227"/>
                  </a:lnTo>
                  <a:lnTo>
                    <a:pt x="778503" y="261827"/>
                  </a:lnTo>
                  <a:lnTo>
                    <a:pt x="780441" y="259242"/>
                  </a:lnTo>
                  <a:lnTo>
                    <a:pt x="782897" y="256916"/>
                  </a:lnTo>
                  <a:lnTo>
                    <a:pt x="783672" y="255624"/>
                  </a:lnTo>
                  <a:lnTo>
                    <a:pt x="784189" y="254331"/>
                  </a:lnTo>
                  <a:lnTo>
                    <a:pt x="784577" y="252652"/>
                  </a:lnTo>
                  <a:lnTo>
                    <a:pt x="784964" y="250713"/>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2" name="Graphic 2">
              <a:extLst>
                <a:ext uri="{FF2B5EF4-FFF2-40B4-BE49-F238E27FC236}">
                  <a16:creationId xmlns:a16="http://schemas.microsoft.com/office/drawing/2014/main" id="{2DD93735-A166-8F42-126C-82F0BD134625}"/>
                </a:ext>
              </a:extLst>
            </p:cNvPr>
            <p:cNvSpPr/>
            <p:nvPr/>
          </p:nvSpPr>
          <p:spPr>
            <a:xfrm>
              <a:off x="7121080" y="3733086"/>
              <a:ext cx="1392103" cy="383952"/>
            </a:xfrm>
            <a:custGeom>
              <a:avLst/>
              <a:gdLst>
                <a:gd name="connsiteX0" fmla="*/ 1341961 w 1392103"/>
                <a:gd name="connsiteY0" fmla="*/ 302019 h 383952"/>
                <a:gd name="connsiteX1" fmla="*/ 1341573 w 1392103"/>
                <a:gd name="connsiteY1" fmla="*/ 303182 h 383952"/>
                <a:gd name="connsiteX2" fmla="*/ 1342607 w 1392103"/>
                <a:gd name="connsiteY2" fmla="*/ 305767 h 383952"/>
                <a:gd name="connsiteX3" fmla="*/ 1343124 w 1392103"/>
                <a:gd name="connsiteY3" fmla="*/ 305250 h 383952"/>
                <a:gd name="connsiteX4" fmla="*/ 1343641 w 1392103"/>
                <a:gd name="connsiteY4" fmla="*/ 304733 h 383952"/>
                <a:gd name="connsiteX5" fmla="*/ 1344158 w 1392103"/>
                <a:gd name="connsiteY5" fmla="*/ 304345 h 383952"/>
                <a:gd name="connsiteX6" fmla="*/ 1344933 w 1392103"/>
                <a:gd name="connsiteY6" fmla="*/ 304086 h 383952"/>
                <a:gd name="connsiteX7" fmla="*/ 1343253 w 1392103"/>
                <a:gd name="connsiteY7" fmla="*/ 302277 h 383952"/>
                <a:gd name="connsiteX8" fmla="*/ 1341961 w 1392103"/>
                <a:gd name="connsiteY8" fmla="*/ 302019 h 383952"/>
                <a:gd name="connsiteX9" fmla="*/ 236368 w 1392103"/>
                <a:gd name="connsiteY9" fmla="*/ 50660 h 383952"/>
                <a:gd name="connsiteX10" fmla="*/ 181573 w 1392103"/>
                <a:gd name="connsiteY10" fmla="*/ 15508 h 383952"/>
                <a:gd name="connsiteX11" fmla="*/ 179117 w 1392103"/>
                <a:gd name="connsiteY11" fmla="*/ 12019 h 383952"/>
                <a:gd name="connsiteX12" fmla="*/ 178084 w 1392103"/>
                <a:gd name="connsiteY12" fmla="*/ 11243 h 383952"/>
                <a:gd name="connsiteX13" fmla="*/ 176016 w 1392103"/>
                <a:gd name="connsiteY13" fmla="*/ 10468 h 383952"/>
                <a:gd name="connsiteX14" fmla="*/ 175499 w 1392103"/>
                <a:gd name="connsiteY14" fmla="*/ 10210 h 383952"/>
                <a:gd name="connsiteX15" fmla="*/ 174982 w 1392103"/>
                <a:gd name="connsiteY15" fmla="*/ 9951 h 383952"/>
                <a:gd name="connsiteX16" fmla="*/ 174078 w 1392103"/>
                <a:gd name="connsiteY16" fmla="*/ 9176 h 383952"/>
                <a:gd name="connsiteX17" fmla="*/ 173690 w 1392103"/>
                <a:gd name="connsiteY17" fmla="*/ 8788 h 383952"/>
                <a:gd name="connsiteX18" fmla="*/ 173173 w 1392103"/>
                <a:gd name="connsiteY18" fmla="*/ 8400 h 383952"/>
                <a:gd name="connsiteX19" fmla="*/ 172656 w 1392103"/>
                <a:gd name="connsiteY19" fmla="*/ 8142 h 383952"/>
                <a:gd name="connsiteX20" fmla="*/ 172010 w 1392103"/>
                <a:gd name="connsiteY20" fmla="*/ 8012 h 383952"/>
                <a:gd name="connsiteX21" fmla="*/ 171363 w 1392103"/>
                <a:gd name="connsiteY21" fmla="*/ 8012 h 383952"/>
                <a:gd name="connsiteX22" fmla="*/ 170071 w 1392103"/>
                <a:gd name="connsiteY22" fmla="*/ 8142 h 383952"/>
                <a:gd name="connsiteX23" fmla="*/ 169296 w 1392103"/>
                <a:gd name="connsiteY23" fmla="*/ 8142 h 383952"/>
                <a:gd name="connsiteX24" fmla="*/ 168650 w 1392103"/>
                <a:gd name="connsiteY24" fmla="*/ 8012 h 383952"/>
                <a:gd name="connsiteX25" fmla="*/ 168004 w 1392103"/>
                <a:gd name="connsiteY25" fmla="*/ 7883 h 383952"/>
                <a:gd name="connsiteX26" fmla="*/ 167487 w 1392103"/>
                <a:gd name="connsiteY26" fmla="*/ 7625 h 383952"/>
                <a:gd name="connsiteX27" fmla="*/ 166711 w 1392103"/>
                <a:gd name="connsiteY27" fmla="*/ 6849 h 383952"/>
                <a:gd name="connsiteX28" fmla="*/ 166323 w 1392103"/>
                <a:gd name="connsiteY28" fmla="*/ 6462 h 383952"/>
                <a:gd name="connsiteX29" fmla="*/ 165936 w 1392103"/>
                <a:gd name="connsiteY29" fmla="*/ 6074 h 383952"/>
                <a:gd name="connsiteX30" fmla="*/ 165548 w 1392103"/>
                <a:gd name="connsiteY30" fmla="*/ 5686 h 383952"/>
                <a:gd name="connsiteX31" fmla="*/ 165031 w 1392103"/>
                <a:gd name="connsiteY31" fmla="*/ 5428 h 383952"/>
                <a:gd name="connsiteX32" fmla="*/ 163093 w 1392103"/>
                <a:gd name="connsiteY32" fmla="*/ 5428 h 383952"/>
                <a:gd name="connsiteX33" fmla="*/ 162576 w 1392103"/>
                <a:gd name="connsiteY33" fmla="*/ 5299 h 383952"/>
                <a:gd name="connsiteX34" fmla="*/ 161671 w 1392103"/>
                <a:gd name="connsiteY34" fmla="*/ 4652 h 383952"/>
                <a:gd name="connsiteX35" fmla="*/ 161154 w 1392103"/>
                <a:gd name="connsiteY35" fmla="*/ 4394 h 383952"/>
                <a:gd name="connsiteX36" fmla="*/ 156243 w 1392103"/>
                <a:gd name="connsiteY36" fmla="*/ 2972 h 383952"/>
                <a:gd name="connsiteX37" fmla="*/ 155726 w 1392103"/>
                <a:gd name="connsiteY37" fmla="*/ 2714 h 383952"/>
                <a:gd name="connsiteX38" fmla="*/ 155339 w 1392103"/>
                <a:gd name="connsiteY38" fmla="*/ 2326 h 383952"/>
                <a:gd name="connsiteX39" fmla="*/ 155080 w 1392103"/>
                <a:gd name="connsiteY39" fmla="*/ 1809 h 383952"/>
                <a:gd name="connsiteX40" fmla="*/ 154693 w 1392103"/>
                <a:gd name="connsiteY40" fmla="*/ 646 h 383952"/>
                <a:gd name="connsiteX41" fmla="*/ 154434 w 1392103"/>
                <a:gd name="connsiteY41" fmla="*/ 129 h 383952"/>
                <a:gd name="connsiteX42" fmla="*/ 153917 w 1392103"/>
                <a:gd name="connsiteY42" fmla="*/ 0 h 383952"/>
                <a:gd name="connsiteX43" fmla="*/ 153271 w 1392103"/>
                <a:gd name="connsiteY43" fmla="*/ 259 h 383952"/>
                <a:gd name="connsiteX44" fmla="*/ 152754 w 1392103"/>
                <a:gd name="connsiteY44" fmla="*/ 1163 h 383952"/>
                <a:gd name="connsiteX45" fmla="*/ 152625 w 1392103"/>
                <a:gd name="connsiteY45" fmla="*/ 1938 h 383952"/>
                <a:gd name="connsiteX46" fmla="*/ 152625 w 1392103"/>
                <a:gd name="connsiteY46" fmla="*/ 2714 h 383952"/>
                <a:gd name="connsiteX47" fmla="*/ 153012 w 1392103"/>
                <a:gd name="connsiteY47" fmla="*/ 4652 h 383952"/>
                <a:gd name="connsiteX48" fmla="*/ 153012 w 1392103"/>
                <a:gd name="connsiteY48" fmla="*/ 5299 h 383952"/>
                <a:gd name="connsiteX49" fmla="*/ 152754 w 1392103"/>
                <a:gd name="connsiteY49" fmla="*/ 5815 h 383952"/>
                <a:gd name="connsiteX50" fmla="*/ 152237 w 1392103"/>
                <a:gd name="connsiteY50" fmla="*/ 6203 h 383952"/>
                <a:gd name="connsiteX51" fmla="*/ 151332 w 1392103"/>
                <a:gd name="connsiteY51" fmla="*/ 6333 h 383952"/>
                <a:gd name="connsiteX52" fmla="*/ 150686 w 1392103"/>
                <a:gd name="connsiteY52" fmla="*/ 6333 h 383952"/>
                <a:gd name="connsiteX53" fmla="*/ 150169 w 1392103"/>
                <a:gd name="connsiteY53" fmla="*/ 6203 h 383952"/>
                <a:gd name="connsiteX54" fmla="*/ 149652 w 1392103"/>
                <a:gd name="connsiteY54" fmla="*/ 5945 h 383952"/>
                <a:gd name="connsiteX55" fmla="*/ 148748 w 1392103"/>
                <a:gd name="connsiteY55" fmla="*/ 5299 h 383952"/>
                <a:gd name="connsiteX56" fmla="*/ 146809 w 1392103"/>
                <a:gd name="connsiteY56" fmla="*/ 3360 h 383952"/>
                <a:gd name="connsiteX57" fmla="*/ 146292 w 1392103"/>
                <a:gd name="connsiteY57" fmla="*/ 3102 h 383952"/>
                <a:gd name="connsiteX58" fmla="*/ 145646 w 1392103"/>
                <a:gd name="connsiteY58" fmla="*/ 2972 h 383952"/>
                <a:gd name="connsiteX59" fmla="*/ 145000 w 1392103"/>
                <a:gd name="connsiteY59" fmla="*/ 2972 h 383952"/>
                <a:gd name="connsiteX60" fmla="*/ 144354 w 1392103"/>
                <a:gd name="connsiteY60" fmla="*/ 2972 h 383952"/>
                <a:gd name="connsiteX61" fmla="*/ 140218 w 1392103"/>
                <a:gd name="connsiteY61" fmla="*/ 4265 h 383952"/>
                <a:gd name="connsiteX62" fmla="*/ 138926 w 1392103"/>
                <a:gd name="connsiteY62" fmla="*/ 4523 h 383952"/>
                <a:gd name="connsiteX63" fmla="*/ 137763 w 1392103"/>
                <a:gd name="connsiteY63" fmla="*/ 5040 h 383952"/>
                <a:gd name="connsiteX64" fmla="*/ 132981 w 1392103"/>
                <a:gd name="connsiteY64" fmla="*/ 8142 h 383952"/>
                <a:gd name="connsiteX65" fmla="*/ 131301 w 1392103"/>
                <a:gd name="connsiteY65" fmla="*/ 8917 h 383952"/>
                <a:gd name="connsiteX66" fmla="*/ 130009 w 1392103"/>
                <a:gd name="connsiteY66" fmla="*/ 9305 h 383952"/>
                <a:gd name="connsiteX67" fmla="*/ 128587 w 1392103"/>
                <a:gd name="connsiteY67" fmla="*/ 9176 h 383952"/>
                <a:gd name="connsiteX68" fmla="*/ 127295 w 1392103"/>
                <a:gd name="connsiteY68" fmla="*/ 8917 h 383952"/>
                <a:gd name="connsiteX69" fmla="*/ 124323 w 1392103"/>
                <a:gd name="connsiteY69" fmla="*/ 8012 h 383952"/>
                <a:gd name="connsiteX70" fmla="*/ 123677 w 1392103"/>
                <a:gd name="connsiteY70" fmla="*/ 7883 h 383952"/>
                <a:gd name="connsiteX71" fmla="*/ 122772 w 1392103"/>
                <a:gd name="connsiteY71" fmla="*/ 8142 h 383952"/>
                <a:gd name="connsiteX72" fmla="*/ 121738 w 1392103"/>
                <a:gd name="connsiteY72" fmla="*/ 8659 h 383952"/>
                <a:gd name="connsiteX73" fmla="*/ 120187 w 1392103"/>
                <a:gd name="connsiteY73" fmla="*/ 9693 h 383952"/>
                <a:gd name="connsiteX74" fmla="*/ 118507 w 1392103"/>
                <a:gd name="connsiteY74" fmla="*/ 10210 h 383952"/>
                <a:gd name="connsiteX75" fmla="*/ 117215 w 1392103"/>
                <a:gd name="connsiteY75" fmla="*/ 11114 h 383952"/>
                <a:gd name="connsiteX76" fmla="*/ 116698 w 1392103"/>
                <a:gd name="connsiteY76" fmla="*/ 11243 h 383952"/>
                <a:gd name="connsiteX77" fmla="*/ 116051 w 1392103"/>
                <a:gd name="connsiteY77" fmla="*/ 11243 h 383952"/>
                <a:gd name="connsiteX78" fmla="*/ 115405 w 1392103"/>
                <a:gd name="connsiteY78" fmla="*/ 11114 h 383952"/>
                <a:gd name="connsiteX79" fmla="*/ 114888 w 1392103"/>
                <a:gd name="connsiteY79" fmla="*/ 10856 h 383952"/>
                <a:gd name="connsiteX80" fmla="*/ 113984 w 1392103"/>
                <a:gd name="connsiteY80" fmla="*/ 10210 h 383952"/>
                <a:gd name="connsiteX81" fmla="*/ 113467 w 1392103"/>
                <a:gd name="connsiteY81" fmla="*/ 9951 h 383952"/>
                <a:gd name="connsiteX82" fmla="*/ 112950 w 1392103"/>
                <a:gd name="connsiteY82" fmla="*/ 9822 h 383952"/>
                <a:gd name="connsiteX83" fmla="*/ 112304 w 1392103"/>
                <a:gd name="connsiteY83" fmla="*/ 9822 h 383952"/>
                <a:gd name="connsiteX84" fmla="*/ 111658 w 1392103"/>
                <a:gd name="connsiteY84" fmla="*/ 9951 h 383952"/>
                <a:gd name="connsiteX85" fmla="*/ 109849 w 1392103"/>
                <a:gd name="connsiteY85" fmla="*/ 10468 h 383952"/>
                <a:gd name="connsiteX86" fmla="*/ 108556 w 1392103"/>
                <a:gd name="connsiteY86" fmla="*/ 10597 h 383952"/>
                <a:gd name="connsiteX87" fmla="*/ 107910 w 1392103"/>
                <a:gd name="connsiteY87" fmla="*/ 10597 h 383952"/>
                <a:gd name="connsiteX88" fmla="*/ 107264 w 1392103"/>
                <a:gd name="connsiteY88" fmla="*/ 10468 h 383952"/>
                <a:gd name="connsiteX89" fmla="*/ 106747 w 1392103"/>
                <a:gd name="connsiteY89" fmla="*/ 10210 h 383952"/>
                <a:gd name="connsiteX90" fmla="*/ 106230 w 1392103"/>
                <a:gd name="connsiteY90" fmla="*/ 9951 h 383952"/>
                <a:gd name="connsiteX91" fmla="*/ 105067 w 1392103"/>
                <a:gd name="connsiteY91" fmla="*/ 8788 h 383952"/>
                <a:gd name="connsiteX92" fmla="*/ 104550 w 1392103"/>
                <a:gd name="connsiteY92" fmla="*/ 8529 h 383952"/>
                <a:gd name="connsiteX93" fmla="*/ 104033 w 1392103"/>
                <a:gd name="connsiteY93" fmla="*/ 8529 h 383952"/>
                <a:gd name="connsiteX94" fmla="*/ 103645 w 1392103"/>
                <a:gd name="connsiteY94" fmla="*/ 8917 h 383952"/>
                <a:gd name="connsiteX95" fmla="*/ 103516 w 1392103"/>
                <a:gd name="connsiteY95" fmla="*/ 9951 h 383952"/>
                <a:gd name="connsiteX96" fmla="*/ 103645 w 1392103"/>
                <a:gd name="connsiteY96" fmla="*/ 10597 h 383952"/>
                <a:gd name="connsiteX97" fmla="*/ 104033 w 1392103"/>
                <a:gd name="connsiteY97" fmla="*/ 11114 h 383952"/>
                <a:gd name="connsiteX98" fmla="*/ 118378 w 1392103"/>
                <a:gd name="connsiteY98" fmla="*/ 24684 h 383952"/>
                <a:gd name="connsiteX99" fmla="*/ 118766 w 1392103"/>
                <a:gd name="connsiteY99" fmla="*/ 25200 h 383952"/>
                <a:gd name="connsiteX100" fmla="*/ 119024 w 1392103"/>
                <a:gd name="connsiteY100" fmla="*/ 25718 h 383952"/>
                <a:gd name="connsiteX101" fmla="*/ 119282 w 1392103"/>
                <a:gd name="connsiteY101" fmla="*/ 26234 h 383952"/>
                <a:gd name="connsiteX102" fmla="*/ 119541 w 1392103"/>
                <a:gd name="connsiteY102" fmla="*/ 27527 h 383952"/>
                <a:gd name="connsiteX103" fmla="*/ 119541 w 1392103"/>
                <a:gd name="connsiteY103" fmla="*/ 29724 h 383952"/>
                <a:gd name="connsiteX104" fmla="*/ 119282 w 1392103"/>
                <a:gd name="connsiteY104" fmla="*/ 30499 h 383952"/>
                <a:gd name="connsiteX105" fmla="*/ 118766 w 1392103"/>
                <a:gd name="connsiteY105" fmla="*/ 31016 h 383952"/>
                <a:gd name="connsiteX106" fmla="*/ 117603 w 1392103"/>
                <a:gd name="connsiteY106" fmla="*/ 31274 h 383952"/>
                <a:gd name="connsiteX107" fmla="*/ 116827 w 1392103"/>
                <a:gd name="connsiteY107" fmla="*/ 31274 h 383952"/>
                <a:gd name="connsiteX108" fmla="*/ 115405 w 1392103"/>
                <a:gd name="connsiteY108" fmla="*/ 31016 h 383952"/>
                <a:gd name="connsiteX109" fmla="*/ 112433 w 1392103"/>
                <a:gd name="connsiteY109" fmla="*/ 31016 h 383952"/>
                <a:gd name="connsiteX110" fmla="*/ 111787 w 1392103"/>
                <a:gd name="connsiteY110" fmla="*/ 30887 h 383952"/>
                <a:gd name="connsiteX111" fmla="*/ 111270 w 1392103"/>
                <a:gd name="connsiteY111" fmla="*/ 30628 h 383952"/>
                <a:gd name="connsiteX112" fmla="*/ 110753 w 1392103"/>
                <a:gd name="connsiteY112" fmla="*/ 30370 h 383952"/>
                <a:gd name="connsiteX113" fmla="*/ 109977 w 1392103"/>
                <a:gd name="connsiteY113" fmla="*/ 29595 h 383952"/>
                <a:gd name="connsiteX114" fmla="*/ 109590 w 1392103"/>
                <a:gd name="connsiteY114" fmla="*/ 29207 h 383952"/>
                <a:gd name="connsiteX115" fmla="*/ 108039 w 1392103"/>
                <a:gd name="connsiteY115" fmla="*/ 28431 h 383952"/>
                <a:gd name="connsiteX116" fmla="*/ 107522 w 1392103"/>
                <a:gd name="connsiteY116" fmla="*/ 28173 h 383952"/>
                <a:gd name="connsiteX117" fmla="*/ 107134 w 1392103"/>
                <a:gd name="connsiteY117" fmla="*/ 27785 h 383952"/>
                <a:gd name="connsiteX118" fmla="*/ 106101 w 1392103"/>
                <a:gd name="connsiteY118" fmla="*/ 26493 h 383952"/>
                <a:gd name="connsiteX119" fmla="*/ 105713 w 1392103"/>
                <a:gd name="connsiteY119" fmla="*/ 26105 h 383952"/>
                <a:gd name="connsiteX120" fmla="*/ 105196 w 1392103"/>
                <a:gd name="connsiteY120" fmla="*/ 25847 h 383952"/>
                <a:gd name="connsiteX121" fmla="*/ 104679 w 1392103"/>
                <a:gd name="connsiteY121" fmla="*/ 25588 h 383952"/>
                <a:gd name="connsiteX122" fmla="*/ 104033 w 1392103"/>
                <a:gd name="connsiteY122" fmla="*/ 25459 h 383952"/>
                <a:gd name="connsiteX123" fmla="*/ 103387 w 1392103"/>
                <a:gd name="connsiteY123" fmla="*/ 25459 h 383952"/>
                <a:gd name="connsiteX124" fmla="*/ 102740 w 1392103"/>
                <a:gd name="connsiteY124" fmla="*/ 25588 h 383952"/>
                <a:gd name="connsiteX125" fmla="*/ 101965 w 1392103"/>
                <a:gd name="connsiteY125" fmla="*/ 25847 h 383952"/>
                <a:gd name="connsiteX126" fmla="*/ 101190 w 1392103"/>
                <a:gd name="connsiteY126" fmla="*/ 26234 h 383952"/>
                <a:gd name="connsiteX127" fmla="*/ 100156 w 1392103"/>
                <a:gd name="connsiteY127" fmla="*/ 27010 h 383952"/>
                <a:gd name="connsiteX128" fmla="*/ 93048 w 1392103"/>
                <a:gd name="connsiteY128" fmla="*/ 33471 h 383952"/>
                <a:gd name="connsiteX129" fmla="*/ 92531 w 1392103"/>
                <a:gd name="connsiteY129" fmla="*/ 33730 h 383952"/>
                <a:gd name="connsiteX130" fmla="*/ 91885 w 1392103"/>
                <a:gd name="connsiteY130" fmla="*/ 33859 h 383952"/>
                <a:gd name="connsiteX131" fmla="*/ 89817 w 1392103"/>
                <a:gd name="connsiteY131" fmla="*/ 33730 h 383952"/>
                <a:gd name="connsiteX132" fmla="*/ 89171 w 1392103"/>
                <a:gd name="connsiteY132" fmla="*/ 33730 h 383952"/>
                <a:gd name="connsiteX133" fmla="*/ 88525 w 1392103"/>
                <a:gd name="connsiteY133" fmla="*/ 33859 h 383952"/>
                <a:gd name="connsiteX134" fmla="*/ 87620 w 1392103"/>
                <a:gd name="connsiteY134" fmla="*/ 34893 h 383952"/>
                <a:gd name="connsiteX135" fmla="*/ 86586 w 1392103"/>
                <a:gd name="connsiteY135" fmla="*/ 36573 h 383952"/>
                <a:gd name="connsiteX136" fmla="*/ 84518 w 1392103"/>
                <a:gd name="connsiteY136" fmla="*/ 40838 h 383952"/>
                <a:gd name="connsiteX137" fmla="*/ 82709 w 1392103"/>
                <a:gd name="connsiteY137" fmla="*/ 43681 h 383952"/>
                <a:gd name="connsiteX138" fmla="*/ 79996 w 1392103"/>
                <a:gd name="connsiteY138" fmla="*/ 45619 h 383952"/>
                <a:gd name="connsiteX139" fmla="*/ 79737 w 1392103"/>
                <a:gd name="connsiteY139" fmla="*/ 46266 h 383952"/>
                <a:gd name="connsiteX140" fmla="*/ 79608 w 1392103"/>
                <a:gd name="connsiteY140" fmla="*/ 47170 h 383952"/>
                <a:gd name="connsiteX141" fmla="*/ 79866 w 1392103"/>
                <a:gd name="connsiteY141" fmla="*/ 48850 h 383952"/>
                <a:gd name="connsiteX142" fmla="*/ 80125 w 1392103"/>
                <a:gd name="connsiteY142" fmla="*/ 49755 h 383952"/>
                <a:gd name="connsiteX143" fmla="*/ 81029 w 1392103"/>
                <a:gd name="connsiteY143" fmla="*/ 51435 h 383952"/>
                <a:gd name="connsiteX144" fmla="*/ 80900 w 1392103"/>
                <a:gd name="connsiteY144" fmla="*/ 53244 h 383952"/>
                <a:gd name="connsiteX145" fmla="*/ 78962 w 1392103"/>
                <a:gd name="connsiteY145" fmla="*/ 57509 h 383952"/>
                <a:gd name="connsiteX146" fmla="*/ 79866 w 1392103"/>
                <a:gd name="connsiteY146" fmla="*/ 57767 h 383952"/>
                <a:gd name="connsiteX147" fmla="*/ 80383 w 1392103"/>
                <a:gd name="connsiteY147" fmla="*/ 57767 h 383952"/>
                <a:gd name="connsiteX148" fmla="*/ 82063 w 1392103"/>
                <a:gd name="connsiteY148" fmla="*/ 56992 h 383952"/>
                <a:gd name="connsiteX149" fmla="*/ 85294 w 1392103"/>
                <a:gd name="connsiteY149" fmla="*/ 53761 h 383952"/>
                <a:gd name="connsiteX150" fmla="*/ 86070 w 1392103"/>
                <a:gd name="connsiteY150" fmla="*/ 54666 h 383952"/>
                <a:gd name="connsiteX151" fmla="*/ 86845 w 1392103"/>
                <a:gd name="connsiteY151" fmla="*/ 55312 h 383952"/>
                <a:gd name="connsiteX152" fmla="*/ 87749 w 1392103"/>
                <a:gd name="connsiteY152" fmla="*/ 55958 h 383952"/>
                <a:gd name="connsiteX153" fmla="*/ 89429 w 1392103"/>
                <a:gd name="connsiteY153" fmla="*/ 56734 h 383952"/>
                <a:gd name="connsiteX154" fmla="*/ 90463 w 1392103"/>
                <a:gd name="connsiteY154" fmla="*/ 57251 h 383952"/>
                <a:gd name="connsiteX155" fmla="*/ 91756 w 1392103"/>
                <a:gd name="connsiteY155" fmla="*/ 58414 h 383952"/>
                <a:gd name="connsiteX156" fmla="*/ 92531 w 1392103"/>
                <a:gd name="connsiteY156" fmla="*/ 59189 h 383952"/>
                <a:gd name="connsiteX157" fmla="*/ 93823 w 1392103"/>
                <a:gd name="connsiteY157" fmla="*/ 60998 h 383952"/>
                <a:gd name="connsiteX158" fmla="*/ 94082 w 1392103"/>
                <a:gd name="connsiteY158" fmla="*/ 61515 h 383952"/>
                <a:gd name="connsiteX159" fmla="*/ 94470 w 1392103"/>
                <a:gd name="connsiteY159" fmla="*/ 62678 h 383952"/>
                <a:gd name="connsiteX160" fmla="*/ 94728 w 1392103"/>
                <a:gd name="connsiteY160" fmla="*/ 64617 h 383952"/>
                <a:gd name="connsiteX161" fmla="*/ 94599 w 1392103"/>
                <a:gd name="connsiteY161" fmla="*/ 66167 h 383952"/>
                <a:gd name="connsiteX162" fmla="*/ 94082 w 1392103"/>
                <a:gd name="connsiteY162" fmla="*/ 69398 h 383952"/>
                <a:gd name="connsiteX163" fmla="*/ 93823 w 1392103"/>
                <a:gd name="connsiteY163" fmla="*/ 74438 h 383952"/>
                <a:gd name="connsiteX164" fmla="*/ 92531 w 1392103"/>
                <a:gd name="connsiteY164" fmla="*/ 79866 h 383952"/>
                <a:gd name="connsiteX165" fmla="*/ 91756 w 1392103"/>
                <a:gd name="connsiteY165" fmla="*/ 85423 h 383952"/>
                <a:gd name="connsiteX166" fmla="*/ 91756 w 1392103"/>
                <a:gd name="connsiteY166" fmla="*/ 86070 h 383952"/>
                <a:gd name="connsiteX167" fmla="*/ 91885 w 1392103"/>
                <a:gd name="connsiteY167" fmla="*/ 86716 h 383952"/>
                <a:gd name="connsiteX168" fmla="*/ 92014 w 1392103"/>
                <a:gd name="connsiteY168" fmla="*/ 87362 h 383952"/>
                <a:gd name="connsiteX169" fmla="*/ 92402 w 1392103"/>
                <a:gd name="connsiteY169" fmla="*/ 87879 h 383952"/>
                <a:gd name="connsiteX170" fmla="*/ 92790 w 1392103"/>
                <a:gd name="connsiteY170" fmla="*/ 88267 h 383952"/>
                <a:gd name="connsiteX171" fmla="*/ 93307 w 1392103"/>
                <a:gd name="connsiteY171" fmla="*/ 88525 h 383952"/>
                <a:gd name="connsiteX172" fmla="*/ 94470 w 1392103"/>
                <a:gd name="connsiteY172" fmla="*/ 88783 h 383952"/>
                <a:gd name="connsiteX173" fmla="*/ 99897 w 1392103"/>
                <a:gd name="connsiteY173" fmla="*/ 88913 h 383952"/>
                <a:gd name="connsiteX174" fmla="*/ 100544 w 1392103"/>
                <a:gd name="connsiteY174" fmla="*/ 89042 h 383952"/>
                <a:gd name="connsiteX175" fmla="*/ 101061 w 1392103"/>
                <a:gd name="connsiteY175" fmla="*/ 89300 h 383952"/>
                <a:gd name="connsiteX176" fmla="*/ 101448 w 1392103"/>
                <a:gd name="connsiteY176" fmla="*/ 89688 h 383952"/>
                <a:gd name="connsiteX177" fmla="*/ 101836 w 1392103"/>
                <a:gd name="connsiteY177" fmla="*/ 90076 h 383952"/>
                <a:gd name="connsiteX178" fmla="*/ 102094 w 1392103"/>
                <a:gd name="connsiteY178" fmla="*/ 90593 h 383952"/>
                <a:gd name="connsiteX179" fmla="*/ 102353 w 1392103"/>
                <a:gd name="connsiteY179" fmla="*/ 91110 h 383952"/>
                <a:gd name="connsiteX180" fmla="*/ 102482 w 1392103"/>
                <a:gd name="connsiteY180" fmla="*/ 91756 h 383952"/>
                <a:gd name="connsiteX181" fmla="*/ 103516 w 1392103"/>
                <a:gd name="connsiteY181" fmla="*/ 99251 h 383952"/>
                <a:gd name="connsiteX182" fmla="*/ 103516 w 1392103"/>
                <a:gd name="connsiteY182" fmla="*/ 100673 h 383952"/>
                <a:gd name="connsiteX183" fmla="*/ 103387 w 1392103"/>
                <a:gd name="connsiteY183" fmla="*/ 101578 h 383952"/>
                <a:gd name="connsiteX184" fmla="*/ 103128 w 1392103"/>
                <a:gd name="connsiteY184" fmla="*/ 102482 h 383952"/>
                <a:gd name="connsiteX185" fmla="*/ 102611 w 1392103"/>
                <a:gd name="connsiteY185" fmla="*/ 103516 h 383952"/>
                <a:gd name="connsiteX186" fmla="*/ 102224 w 1392103"/>
                <a:gd name="connsiteY186" fmla="*/ 104162 h 383952"/>
                <a:gd name="connsiteX187" fmla="*/ 101836 w 1392103"/>
                <a:gd name="connsiteY187" fmla="*/ 104679 h 383952"/>
                <a:gd name="connsiteX188" fmla="*/ 101061 w 1392103"/>
                <a:gd name="connsiteY188" fmla="*/ 105455 h 383952"/>
                <a:gd name="connsiteX189" fmla="*/ 100544 w 1392103"/>
                <a:gd name="connsiteY189" fmla="*/ 105713 h 383952"/>
                <a:gd name="connsiteX190" fmla="*/ 98993 w 1392103"/>
                <a:gd name="connsiteY190" fmla="*/ 106359 h 383952"/>
                <a:gd name="connsiteX191" fmla="*/ 96537 w 1392103"/>
                <a:gd name="connsiteY191" fmla="*/ 106747 h 383952"/>
                <a:gd name="connsiteX192" fmla="*/ 84907 w 1392103"/>
                <a:gd name="connsiteY192" fmla="*/ 107135 h 383952"/>
                <a:gd name="connsiteX193" fmla="*/ 84002 w 1392103"/>
                <a:gd name="connsiteY193" fmla="*/ 106876 h 383952"/>
                <a:gd name="connsiteX194" fmla="*/ 83485 w 1392103"/>
                <a:gd name="connsiteY194" fmla="*/ 106359 h 383952"/>
                <a:gd name="connsiteX195" fmla="*/ 83355 w 1392103"/>
                <a:gd name="connsiteY195" fmla="*/ 105713 h 383952"/>
                <a:gd name="connsiteX196" fmla="*/ 83097 w 1392103"/>
                <a:gd name="connsiteY196" fmla="*/ 105067 h 383952"/>
                <a:gd name="connsiteX197" fmla="*/ 82709 w 1392103"/>
                <a:gd name="connsiteY197" fmla="*/ 104679 h 383952"/>
                <a:gd name="connsiteX198" fmla="*/ 82063 w 1392103"/>
                <a:gd name="connsiteY198" fmla="*/ 104550 h 383952"/>
                <a:gd name="connsiteX199" fmla="*/ 81288 w 1392103"/>
                <a:gd name="connsiteY199" fmla="*/ 104550 h 383952"/>
                <a:gd name="connsiteX200" fmla="*/ 79220 w 1392103"/>
                <a:gd name="connsiteY200" fmla="*/ 104679 h 383952"/>
                <a:gd name="connsiteX201" fmla="*/ 76248 w 1392103"/>
                <a:gd name="connsiteY201" fmla="*/ 104550 h 383952"/>
                <a:gd name="connsiteX202" fmla="*/ 73405 w 1392103"/>
                <a:gd name="connsiteY202" fmla="*/ 104808 h 383952"/>
                <a:gd name="connsiteX203" fmla="*/ 71983 w 1392103"/>
                <a:gd name="connsiteY203" fmla="*/ 105196 h 383952"/>
                <a:gd name="connsiteX204" fmla="*/ 71207 w 1392103"/>
                <a:gd name="connsiteY204" fmla="*/ 105584 h 383952"/>
                <a:gd name="connsiteX205" fmla="*/ 70691 w 1392103"/>
                <a:gd name="connsiteY205" fmla="*/ 105971 h 383952"/>
                <a:gd name="connsiteX206" fmla="*/ 70174 w 1392103"/>
                <a:gd name="connsiteY206" fmla="*/ 106359 h 383952"/>
                <a:gd name="connsiteX207" fmla="*/ 69398 w 1392103"/>
                <a:gd name="connsiteY207" fmla="*/ 107135 h 383952"/>
                <a:gd name="connsiteX208" fmla="*/ 69140 w 1392103"/>
                <a:gd name="connsiteY208" fmla="*/ 107652 h 383952"/>
                <a:gd name="connsiteX209" fmla="*/ 68881 w 1392103"/>
                <a:gd name="connsiteY209" fmla="*/ 108168 h 383952"/>
                <a:gd name="connsiteX210" fmla="*/ 68752 w 1392103"/>
                <a:gd name="connsiteY210" fmla="*/ 108685 h 383952"/>
                <a:gd name="connsiteX211" fmla="*/ 68881 w 1392103"/>
                <a:gd name="connsiteY211" fmla="*/ 109332 h 383952"/>
                <a:gd name="connsiteX212" fmla="*/ 69140 w 1392103"/>
                <a:gd name="connsiteY212" fmla="*/ 109719 h 383952"/>
                <a:gd name="connsiteX213" fmla="*/ 70820 w 1392103"/>
                <a:gd name="connsiteY213" fmla="*/ 110624 h 383952"/>
                <a:gd name="connsiteX214" fmla="*/ 71854 w 1392103"/>
                <a:gd name="connsiteY214" fmla="*/ 112950 h 383952"/>
                <a:gd name="connsiteX215" fmla="*/ 72241 w 1392103"/>
                <a:gd name="connsiteY215" fmla="*/ 113467 h 383952"/>
                <a:gd name="connsiteX216" fmla="*/ 72759 w 1392103"/>
                <a:gd name="connsiteY216" fmla="*/ 113726 h 383952"/>
                <a:gd name="connsiteX217" fmla="*/ 74438 w 1392103"/>
                <a:gd name="connsiteY217" fmla="*/ 114372 h 383952"/>
                <a:gd name="connsiteX218" fmla="*/ 75472 w 1392103"/>
                <a:gd name="connsiteY218" fmla="*/ 114889 h 383952"/>
                <a:gd name="connsiteX219" fmla="*/ 76377 w 1392103"/>
                <a:gd name="connsiteY219" fmla="*/ 115535 h 383952"/>
                <a:gd name="connsiteX220" fmla="*/ 76894 w 1392103"/>
                <a:gd name="connsiteY220" fmla="*/ 115793 h 383952"/>
                <a:gd name="connsiteX221" fmla="*/ 77411 w 1392103"/>
                <a:gd name="connsiteY221" fmla="*/ 115793 h 383952"/>
                <a:gd name="connsiteX222" fmla="*/ 77928 w 1392103"/>
                <a:gd name="connsiteY222" fmla="*/ 115535 h 383952"/>
                <a:gd name="connsiteX223" fmla="*/ 79220 w 1392103"/>
                <a:gd name="connsiteY223" fmla="*/ 114372 h 383952"/>
                <a:gd name="connsiteX224" fmla="*/ 79737 w 1392103"/>
                <a:gd name="connsiteY224" fmla="*/ 114113 h 383952"/>
                <a:gd name="connsiteX225" fmla="*/ 80771 w 1392103"/>
                <a:gd name="connsiteY225" fmla="*/ 113596 h 383952"/>
                <a:gd name="connsiteX226" fmla="*/ 81417 w 1392103"/>
                <a:gd name="connsiteY226" fmla="*/ 113467 h 383952"/>
                <a:gd name="connsiteX227" fmla="*/ 82063 w 1392103"/>
                <a:gd name="connsiteY227" fmla="*/ 113467 h 383952"/>
                <a:gd name="connsiteX228" fmla="*/ 82709 w 1392103"/>
                <a:gd name="connsiteY228" fmla="*/ 113596 h 383952"/>
                <a:gd name="connsiteX229" fmla="*/ 83355 w 1392103"/>
                <a:gd name="connsiteY229" fmla="*/ 113726 h 383952"/>
                <a:gd name="connsiteX230" fmla="*/ 83872 w 1392103"/>
                <a:gd name="connsiteY230" fmla="*/ 113984 h 383952"/>
                <a:gd name="connsiteX231" fmla="*/ 84389 w 1392103"/>
                <a:gd name="connsiteY231" fmla="*/ 114372 h 383952"/>
                <a:gd name="connsiteX232" fmla="*/ 84777 w 1392103"/>
                <a:gd name="connsiteY232" fmla="*/ 114759 h 383952"/>
                <a:gd name="connsiteX233" fmla="*/ 85940 w 1392103"/>
                <a:gd name="connsiteY233" fmla="*/ 116698 h 383952"/>
                <a:gd name="connsiteX234" fmla="*/ 86328 w 1392103"/>
                <a:gd name="connsiteY234" fmla="*/ 117086 h 383952"/>
                <a:gd name="connsiteX235" fmla="*/ 86845 w 1392103"/>
                <a:gd name="connsiteY235" fmla="*/ 117473 h 383952"/>
                <a:gd name="connsiteX236" fmla="*/ 87362 w 1392103"/>
                <a:gd name="connsiteY236" fmla="*/ 117732 h 383952"/>
                <a:gd name="connsiteX237" fmla="*/ 88525 w 1392103"/>
                <a:gd name="connsiteY237" fmla="*/ 118119 h 383952"/>
                <a:gd name="connsiteX238" fmla="*/ 88913 w 1392103"/>
                <a:gd name="connsiteY238" fmla="*/ 118507 h 383952"/>
                <a:gd name="connsiteX239" fmla="*/ 89042 w 1392103"/>
                <a:gd name="connsiteY239" fmla="*/ 119024 h 383952"/>
                <a:gd name="connsiteX240" fmla="*/ 88654 w 1392103"/>
                <a:gd name="connsiteY240" fmla="*/ 120058 h 383952"/>
                <a:gd name="connsiteX241" fmla="*/ 88525 w 1392103"/>
                <a:gd name="connsiteY241" fmla="*/ 120833 h 383952"/>
                <a:gd name="connsiteX242" fmla="*/ 88913 w 1392103"/>
                <a:gd name="connsiteY242" fmla="*/ 121867 h 383952"/>
                <a:gd name="connsiteX243" fmla="*/ 89429 w 1392103"/>
                <a:gd name="connsiteY243" fmla="*/ 122255 h 383952"/>
                <a:gd name="connsiteX244" fmla="*/ 90205 w 1392103"/>
                <a:gd name="connsiteY244" fmla="*/ 122513 h 383952"/>
                <a:gd name="connsiteX245" fmla="*/ 90851 w 1392103"/>
                <a:gd name="connsiteY245" fmla="*/ 122643 h 383952"/>
                <a:gd name="connsiteX246" fmla="*/ 91368 w 1392103"/>
                <a:gd name="connsiteY246" fmla="*/ 122901 h 383952"/>
                <a:gd name="connsiteX247" fmla="*/ 91627 w 1392103"/>
                <a:gd name="connsiteY247" fmla="*/ 123418 h 383952"/>
                <a:gd name="connsiteX248" fmla="*/ 91627 w 1392103"/>
                <a:gd name="connsiteY248" fmla="*/ 124193 h 383952"/>
                <a:gd name="connsiteX249" fmla="*/ 90980 w 1392103"/>
                <a:gd name="connsiteY249" fmla="*/ 126132 h 383952"/>
                <a:gd name="connsiteX250" fmla="*/ 88913 w 1392103"/>
                <a:gd name="connsiteY250" fmla="*/ 130267 h 383952"/>
                <a:gd name="connsiteX251" fmla="*/ 88783 w 1392103"/>
                <a:gd name="connsiteY251" fmla="*/ 130914 h 383952"/>
                <a:gd name="connsiteX252" fmla="*/ 88783 w 1392103"/>
                <a:gd name="connsiteY252" fmla="*/ 131560 h 383952"/>
                <a:gd name="connsiteX253" fmla="*/ 89300 w 1392103"/>
                <a:gd name="connsiteY253" fmla="*/ 132464 h 383952"/>
                <a:gd name="connsiteX254" fmla="*/ 89946 w 1392103"/>
                <a:gd name="connsiteY254" fmla="*/ 132852 h 383952"/>
                <a:gd name="connsiteX255" fmla="*/ 91368 w 1392103"/>
                <a:gd name="connsiteY255" fmla="*/ 133111 h 383952"/>
                <a:gd name="connsiteX256" fmla="*/ 91885 w 1392103"/>
                <a:gd name="connsiteY256" fmla="*/ 133240 h 383952"/>
                <a:gd name="connsiteX257" fmla="*/ 92402 w 1392103"/>
                <a:gd name="connsiteY257" fmla="*/ 133498 h 383952"/>
                <a:gd name="connsiteX258" fmla="*/ 97959 w 1392103"/>
                <a:gd name="connsiteY258" fmla="*/ 138926 h 383952"/>
                <a:gd name="connsiteX259" fmla="*/ 98605 w 1392103"/>
                <a:gd name="connsiteY259" fmla="*/ 139831 h 383952"/>
                <a:gd name="connsiteX260" fmla="*/ 100156 w 1392103"/>
                <a:gd name="connsiteY260" fmla="*/ 142286 h 383952"/>
                <a:gd name="connsiteX261" fmla="*/ 100414 w 1392103"/>
                <a:gd name="connsiteY261" fmla="*/ 142803 h 383952"/>
                <a:gd name="connsiteX262" fmla="*/ 101190 w 1392103"/>
                <a:gd name="connsiteY262" fmla="*/ 145905 h 383952"/>
                <a:gd name="connsiteX263" fmla="*/ 101448 w 1392103"/>
                <a:gd name="connsiteY263" fmla="*/ 149782 h 383952"/>
                <a:gd name="connsiteX264" fmla="*/ 101190 w 1392103"/>
                <a:gd name="connsiteY264" fmla="*/ 152625 h 383952"/>
                <a:gd name="connsiteX265" fmla="*/ 100673 w 1392103"/>
                <a:gd name="connsiteY265" fmla="*/ 155339 h 383952"/>
                <a:gd name="connsiteX266" fmla="*/ 100802 w 1392103"/>
                <a:gd name="connsiteY266" fmla="*/ 156502 h 383952"/>
                <a:gd name="connsiteX267" fmla="*/ 101190 w 1392103"/>
                <a:gd name="connsiteY267" fmla="*/ 157277 h 383952"/>
                <a:gd name="connsiteX268" fmla="*/ 101707 w 1392103"/>
                <a:gd name="connsiteY268" fmla="*/ 157536 h 383952"/>
                <a:gd name="connsiteX269" fmla="*/ 102094 w 1392103"/>
                <a:gd name="connsiteY269" fmla="*/ 157923 h 383952"/>
                <a:gd name="connsiteX270" fmla="*/ 102353 w 1392103"/>
                <a:gd name="connsiteY270" fmla="*/ 158570 h 383952"/>
                <a:gd name="connsiteX271" fmla="*/ 102353 w 1392103"/>
                <a:gd name="connsiteY271" fmla="*/ 159603 h 383952"/>
                <a:gd name="connsiteX272" fmla="*/ 101965 w 1392103"/>
                <a:gd name="connsiteY272" fmla="*/ 162576 h 383952"/>
                <a:gd name="connsiteX273" fmla="*/ 101836 w 1392103"/>
                <a:gd name="connsiteY273" fmla="*/ 165677 h 383952"/>
                <a:gd name="connsiteX274" fmla="*/ 101707 w 1392103"/>
                <a:gd name="connsiteY274" fmla="*/ 167099 h 383952"/>
                <a:gd name="connsiteX275" fmla="*/ 101577 w 1392103"/>
                <a:gd name="connsiteY275" fmla="*/ 167745 h 383952"/>
                <a:gd name="connsiteX276" fmla="*/ 99251 w 1392103"/>
                <a:gd name="connsiteY276" fmla="*/ 173302 h 383952"/>
                <a:gd name="connsiteX277" fmla="*/ 98864 w 1392103"/>
                <a:gd name="connsiteY277" fmla="*/ 174724 h 383952"/>
                <a:gd name="connsiteX278" fmla="*/ 98734 w 1392103"/>
                <a:gd name="connsiteY278" fmla="*/ 175758 h 383952"/>
                <a:gd name="connsiteX279" fmla="*/ 98993 w 1392103"/>
                <a:gd name="connsiteY279" fmla="*/ 176921 h 383952"/>
                <a:gd name="connsiteX280" fmla="*/ 98993 w 1392103"/>
                <a:gd name="connsiteY280" fmla="*/ 177567 h 383952"/>
                <a:gd name="connsiteX281" fmla="*/ 98993 w 1392103"/>
                <a:gd name="connsiteY281" fmla="*/ 178213 h 383952"/>
                <a:gd name="connsiteX282" fmla="*/ 98864 w 1392103"/>
                <a:gd name="connsiteY282" fmla="*/ 178859 h 383952"/>
                <a:gd name="connsiteX283" fmla="*/ 98734 w 1392103"/>
                <a:gd name="connsiteY283" fmla="*/ 179505 h 383952"/>
                <a:gd name="connsiteX284" fmla="*/ 98347 w 1392103"/>
                <a:gd name="connsiteY284" fmla="*/ 180281 h 383952"/>
                <a:gd name="connsiteX285" fmla="*/ 97701 w 1392103"/>
                <a:gd name="connsiteY285" fmla="*/ 181056 h 383952"/>
                <a:gd name="connsiteX286" fmla="*/ 96279 w 1392103"/>
                <a:gd name="connsiteY286" fmla="*/ 182348 h 383952"/>
                <a:gd name="connsiteX287" fmla="*/ 95374 w 1392103"/>
                <a:gd name="connsiteY287" fmla="*/ 182865 h 383952"/>
                <a:gd name="connsiteX288" fmla="*/ 94599 w 1392103"/>
                <a:gd name="connsiteY288" fmla="*/ 183124 h 383952"/>
                <a:gd name="connsiteX289" fmla="*/ 93694 w 1392103"/>
                <a:gd name="connsiteY289" fmla="*/ 183124 h 383952"/>
                <a:gd name="connsiteX290" fmla="*/ 93177 w 1392103"/>
                <a:gd name="connsiteY290" fmla="*/ 182995 h 383952"/>
                <a:gd name="connsiteX291" fmla="*/ 92531 w 1392103"/>
                <a:gd name="connsiteY291" fmla="*/ 182736 h 383952"/>
                <a:gd name="connsiteX292" fmla="*/ 90592 w 1392103"/>
                <a:gd name="connsiteY292" fmla="*/ 181573 h 383952"/>
                <a:gd name="connsiteX293" fmla="*/ 90076 w 1392103"/>
                <a:gd name="connsiteY293" fmla="*/ 181573 h 383952"/>
                <a:gd name="connsiteX294" fmla="*/ 89559 w 1392103"/>
                <a:gd name="connsiteY294" fmla="*/ 181832 h 383952"/>
                <a:gd name="connsiteX295" fmla="*/ 89300 w 1392103"/>
                <a:gd name="connsiteY295" fmla="*/ 182865 h 383952"/>
                <a:gd name="connsiteX296" fmla="*/ 89171 w 1392103"/>
                <a:gd name="connsiteY296" fmla="*/ 183382 h 383952"/>
                <a:gd name="connsiteX297" fmla="*/ 89300 w 1392103"/>
                <a:gd name="connsiteY297" fmla="*/ 184029 h 383952"/>
                <a:gd name="connsiteX298" fmla="*/ 89429 w 1392103"/>
                <a:gd name="connsiteY298" fmla="*/ 184545 h 383952"/>
                <a:gd name="connsiteX299" fmla="*/ 91109 w 1392103"/>
                <a:gd name="connsiteY299" fmla="*/ 187518 h 383952"/>
                <a:gd name="connsiteX300" fmla="*/ 91239 w 1392103"/>
                <a:gd name="connsiteY300" fmla="*/ 188035 h 383952"/>
                <a:gd name="connsiteX301" fmla="*/ 90980 w 1392103"/>
                <a:gd name="connsiteY301" fmla="*/ 188810 h 383952"/>
                <a:gd name="connsiteX302" fmla="*/ 90463 w 1392103"/>
                <a:gd name="connsiteY302" fmla="*/ 189844 h 383952"/>
                <a:gd name="connsiteX303" fmla="*/ 87362 w 1392103"/>
                <a:gd name="connsiteY303" fmla="*/ 193333 h 383952"/>
                <a:gd name="connsiteX304" fmla="*/ 86974 w 1392103"/>
                <a:gd name="connsiteY304" fmla="*/ 193721 h 383952"/>
                <a:gd name="connsiteX305" fmla="*/ 86457 w 1392103"/>
                <a:gd name="connsiteY305" fmla="*/ 193850 h 383952"/>
                <a:gd name="connsiteX306" fmla="*/ 85811 w 1392103"/>
                <a:gd name="connsiteY306" fmla="*/ 193850 h 383952"/>
                <a:gd name="connsiteX307" fmla="*/ 85294 w 1392103"/>
                <a:gd name="connsiteY307" fmla="*/ 193979 h 383952"/>
                <a:gd name="connsiteX308" fmla="*/ 84648 w 1392103"/>
                <a:gd name="connsiteY308" fmla="*/ 194367 h 383952"/>
                <a:gd name="connsiteX309" fmla="*/ 84002 w 1392103"/>
                <a:gd name="connsiteY309" fmla="*/ 195660 h 383952"/>
                <a:gd name="connsiteX310" fmla="*/ 82968 w 1392103"/>
                <a:gd name="connsiteY310" fmla="*/ 196823 h 383952"/>
                <a:gd name="connsiteX311" fmla="*/ 82322 w 1392103"/>
                <a:gd name="connsiteY311" fmla="*/ 197469 h 383952"/>
                <a:gd name="connsiteX312" fmla="*/ 78703 w 1392103"/>
                <a:gd name="connsiteY312" fmla="*/ 199537 h 383952"/>
                <a:gd name="connsiteX313" fmla="*/ 78315 w 1392103"/>
                <a:gd name="connsiteY313" fmla="*/ 199924 h 383952"/>
                <a:gd name="connsiteX314" fmla="*/ 77669 w 1392103"/>
                <a:gd name="connsiteY314" fmla="*/ 200829 h 383952"/>
                <a:gd name="connsiteX315" fmla="*/ 76765 w 1392103"/>
                <a:gd name="connsiteY315" fmla="*/ 203801 h 383952"/>
                <a:gd name="connsiteX316" fmla="*/ 75085 w 1392103"/>
                <a:gd name="connsiteY316" fmla="*/ 215045 h 383952"/>
                <a:gd name="connsiteX317" fmla="*/ 75472 w 1392103"/>
                <a:gd name="connsiteY317" fmla="*/ 216337 h 383952"/>
                <a:gd name="connsiteX318" fmla="*/ 75472 w 1392103"/>
                <a:gd name="connsiteY318" fmla="*/ 217629 h 383952"/>
                <a:gd name="connsiteX319" fmla="*/ 74568 w 1392103"/>
                <a:gd name="connsiteY319" fmla="*/ 223962 h 383952"/>
                <a:gd name="connsiteX320" fmla="*/ 74309 w 1392103"/>
                <a:gd name="connsiteY320" fmla="*/ 224608 h 383952"/>
                <a:gd name="connsiteX321" fmla="*/ 73792 w 1392103"/>
                <a:gd name="connsiteY321" fmla="*/ 225254 h 383952"/>
                <a:gd name="connsiteX322" fmla="*/ 72112 w 1392103"/>
                <a:gd name="connsiteY322" fmla="*/ 226159 h 383952"/>
                <a:gd name="connsiteX323" fmla="*/ 71337 w 1392103"/>
                <a:gd name="connsiteY323" fmla="*/ 226805 h 383952"/>
                <a:gd name="connsiteX324" fmla="*/ 69269 w 1392103"/>
                <a:gd name="connsiteY324" fmla="*/ 229260 h 383952"/>
                <a:gd name="connsiteX325" fmla="*/ 68364 w 1392103"/>
                <a:gd name="connsiteY325" fmla="*/ 229777 h 383952"/>
                <a:gd name="connsiteX326" fmla="*/ 67589 w 1392103"/>
                <a:gd name="connsiteY326" fmla="*/ 229907 h 383952"/>
                <a:gd name="connsiteX327" fmla="*/ 66943 w 1392103"/>
                <a:gd name="connsiteY327" fmla="*/ 229777 h 383952"/>
                <a:gd name="connsiteX328" fmla="*/ 66297 w 1392103"/>
                <a:gd name="connsiteY328" fmla="*/ 229648 h 383952"/>
                <a:gd name="connsiteX329" fmla="*/ 65650 w 1392103"/>
                <a:gd name="connsiteY329" fmla="*/ 229777 h 383952"/>
                <a:gd name="connsiteX330" fmla="*/ 65133 w 1392103"/>
                <a:gd name="connsiteY330" fmla="*/ 230036 h 383952"/>
                <a:gd name="connsiteX331" fmla="*/ 64617 w 1392103"/>
                <a:gd name="connsiteY331" fmla="*/ 230423 h 383952"/>
                <a:gd name="connsiteX332" fmla="*/ 64100 w 1392103"/>
                <a:gd name="connsiteY332" fmla="*/ 230940 h 383952"/>
                <a:gd name="connsiteX333" fmla="*/ 63066 w 1392103"/>
                <a:gd name="connsiteY333" fmla="*/ 232491 h 383952"/>
                <a:gd name="connsiteX334" fmla="*/ 62161 w 1392103"/>
                <a:gd name="connsiteY334" fmla="*/ 233525 h 383952"/>
                <a:gd name="connsiteX335" fmla="*/ 61774 w 1392103"/>
                <a:gd name="connsiteY335" fmla="*/ 234042 h 383952"/>
                <a:gd name="connsiteX336" fmla="*/ 61515 w 1392103"/>
                <a:gd name="connsiteY336" fmla="*/ 234817 h 383952"/>
                <a:gd name="connsiteX337" fmla="*/ 61386 w 1392103"/>
                <a:gd name="connsiteY337" fmla="*/ 236368 h 383952"/>
                <a:gd name="connsiteX338" fmla="*/ 61386 w 1392103"/>
                <a:gd name="connsiteY338" fmla="*/ 238823 h 383952"/>
                <a:gd name="connsiteX339" fmla="*/ 61386 w 1392103"/>
                <a:gd name="connsiteY339" fmla="*/ 239211 h 383952"/>
                <a:gd name="connsiteX340" fmla="*/ 61127 w 1392103"/>
                <a:gd name="connsiteY340" fmla="*/ 240374 h 383952"/>
                <a:gd name="connsiteX341" fmla="*/ 58672 w 1392103"/>
                <a:gd name="connsiteY341" fmla="*/ 247870 h 383952"/>
                <a:gd name="connsiteX342" fmla="*/ 57896 w 1392103"/>
                <a:gd name="connsiteY342" fmla="*/ 251359 h 383952"/>
                <a:gd name="connsiteX343" fmla="*/ 57896 w 1392103"/>
                <a:gd name="connsiteY343" fmla="*/ 252910 h 383952"/>
                <a:gd name="connsiteX344" fmla="*/ 57767 w 1392103"/>
                <a:gd name="connsiteY344" fmla="*/ 253556 h 383952"/>
                <a:gd name="connsiteX345" fmla="*/ 57638 w 1392103"/>
                <a:gd name="connsiteY345" fmla="*/ 254202 h 383952"/>
                <a:gd name="connsiteX346" fmla="*/ 55183 w 1392103"/>
                <a:gd name="connsiteY346" fmla="*/ 260535 h 383952"/>
                <a:gd name="connsiteX347" fmla="*/ 54795 w 1392103"/>
                <a:gd name="connsiteY347" fmla="*/ 261052 h 383952"/>
                <a:gd name="connsiteX348" fmla="*/ 54149 w 1392103"/>
                <a:gd name="connsiteY348" fmla="*/ 261439 h 383952"/>
                <a:gd name="connsiteX349" fmla="*/ 52210 w 1392103"/>
                <a:gd name="connsiteY349" fmla="*/ 262086 h 383952"/>
                <a:gd name="connsiteX350" fmla="*/ 50918 w 1392103"/>
                <a:gd name="connsiteY350" fmla="*/ 263507 h 383952"/>
                <a:gd name="connsiteX351" fmla="*/ 47816 w 1392103"/>
                <a:gd name="connsiteY351" fmla="*/ 263378 h 383952"/>
                <a:gd name="connsiteX352" fmla="*/ 17705 w 1392103"/>
                <a:gd name="connsiteY352" fmla="*/ 262861 h 383952"/>
                <a:gd name="connsiteX353" fmla="*/ 16413 w 1392103"/>
                <a:gd name="connsiteY353" fmla="*/ 262990 h 383952"/>
                <a:gd name="connsiteX354" fmla="*/ 15379 w 1392103"/>
                <a:gd name="connsiteY354" fmla="*/ 263507 h 383952"/>
                <a:gd name="connsiteX355" fmla="*/ 14862 w 1392103"/>
                <a:gd name="connsiteY355" fmla="*/ 264024 h 383952"/>
                <a:gd name="connsiteX356" fmla="*/ 14474 w 1392103"/>
                <a:gd name="connsiteY356" fmla="*/ 264541 h 383952"/>
                <a:gd name="connsiteX357" fmla="*/ 13828 w 1392103"/>
                <a:gd name="connsiteY357" fmla="*/ 265446 h 383952"/>
                <a:gd name="connsiteX358" fmla="*/ 13569 w 1392103"/>
                <a:gd name="connsiteY358" fmla="*/ 265963 h 383952"/>
                <a:gd name="connsiteX359" fmla="*/ 11889 w 1392103"/>
                <a:gd name="connsiteY359" fmla="*/ 270874 h 383952"/>
                <a:gd name="connsiteX360" fmla="*/ 11243 w 1392103"/>
                <a:gd name="connsiteY360" fmla="*/ 272037 h 383952"/>
                <a:gd name="connsiteX361" fmla="*/ 10597 w 1392103"/>
                <a:gd name="connsiteY361" fmla="*/ 272683 h 383952"/>
                <a:gd name="connsiteX362" fmla="*/ 6978 w 1392103"/>
                <a:gd name="connsiteY362" fmla="*/ 274621 h 383952"/>
                <a:gd name="connsiteX363" fmla="*/ 5169 w 1392103"/>
                <a:gd name="connsiteY363" fmla="*/ 275914 h 383952"/>
                <a:gd name="connsiteX364" fmla="*/ 4394 w 1392103"/>
                <a:gd name="connsiteY364" fmla="*/ 276689 h 383952"/>
                <a:gd name="connsiteX365" fmla="*/ 3360 w 1392103"/>
                <a:gd name="connsiteY365" fmla="*/ 278111 h 383952"/>
                <a:gd name="connsiteX366" fmla="*/ 3101 w 1392103"/>
                <a:gd name="connsiteY366" fmla="*/ 278627 h 383952"/>
                <a:gd name="connsiteX367" fmla="*/ 2843 w 1392103"/>
                <a:gd name="connsiteY367" fmla="*/ 279274 h 383952"/>
                <a:gd name="connsiteX368" fmla="*/ 2714 w 1392103"/>
                <a:gd name="connsiteY368" fmla="*/ 279920 h 383952"/>
                <a:gd name="connsiteX369" fmla="*/ 2843 w 1392103"/>
                <a:gd name="connsiteY369" fmla="*/ 280954 h 383952"/>
                <a:gd name="connsiteX370" fmla="*/ 3101 w 1392103"/>
                <a:gd name="connsiteY370" fmla="*/ 281858 h 383952"/>
                <a:gd name="connsiteX371" fmla="*/ 3747 w 1392103"/>
                <a:gd name="connsiteY371" fmla="*/ 283151 h 383952"/>
                <a:gd name="connsiteX372" fmla="*/ 4265 w 1392103"/>
                <a:gd name="connsiteY372" fmla="*/ 284701 h 383952"/>
                <a:gd name="connsiteX373" fmla="*/ 4782 w 1392103"/>
                <a:gd name="connsiteY373" fmla="*/ 285348 h 383952"/>
                <a:gd name="connsiteX374" fmla="*/ 5299 w 1392103"/>
                <a:gd name="connsiteY374" fmla="*/ 285864 h 383952"/>
                <a:gd name="connsiteX375" fmla="*/ 8917 w 1392103"/>
                <a:gd name="connsiteY375" fmla="*/ 287545 h 383952"/>
                <a:gd name="connsiteX376" fmla="*/ 7754 w 1392103"/>
                <a:gd name="connsiteY376" fmla="*/ 292843 h 383952"/>
                <a:gd name="connsiteX377" fmla="*/ 7754 w 1392103"/>
                <a:gd name="connsiteY377" fmla="*/ 295816 h 383952"/>
                <a:gd name="connsiteX378" fmla="*/ 7883 w 1392103"/>
                <a:gd name="connsiteY378" fmla="*/ 296591 h 383952"/>
                <a:gd name="connsiteX379" fmla="*/ 8788 w 1392103"/>
                <a:gd name="connsiteY379" fmla="*/ 298788 h 383952"/>
                <a:gd name="connsiteX380" fmla="*/ 8917 w 1392103"/>
                <a:gd name="connsiteY380" fmla="*/ 299434 h 383952"/>
                <a:gd name="connsiteX381" fmla="*/ 8788 w 1392103"/>
                <a:gd name="connsiteY381" fmla="*/ 300080 h 383952"/>
                <a:gd name="connsiteX382" fmla="*/ 8142 w 1392103"/>
                <a:gd name="connsiteY382" fmla="*/ 300597 h 383952"/>
                <a:gd name="connsiteX383" fmla="*/ 6978 w 1392103"/>
                <a:gd name="connsiteY383" fmla="*/ 301243 h 383952"/>
                <a:gd name="connsiteX384" fmla="*/ 6591 w 1392103"/>
                <a:gd name="connsiteY384" fmla="*/ 301760 h 383952"/>
                <a:gd name="connsiteX385" fmla="*/ 6332 w 1392103"/>
                <a:gd name="connsiteY385" fmla="*/ 302406 h 383952"/>
                <a:gd name="connsiteX386" fmla="*/ 4911 w 1392103"/>
                <a:gd name="connsiteY386" fmla="*/ 306930 h 383952"/>
                <a:gd name="connsiteX387" fmla="*/ 4265 w 1392103"/>
                <a:gd name="connsiteY387" fmla="*/ 308093 h 383952"/>
                <a:gd name="connsiteX388" fmla="*/ 2972 w 1392103"/>
                <a:gd name="connsiteY388" fmla="*/ 309902 h 383952"/>
                <a:gd name="connsiteX389" fmla="*/ 2843 w 1392103"/>
                <a:gd name="connsiteY389" fmla="*/ 310419 h 383952"/>
                <a:gd name="connsiteX390" fmla="*/ 2972 w 1392103"/>
                <a:gd name="connsiteY390" fmla="*/ 310936 h 383952"/>
                <a:gd name="connsiteX391" fmla="*/ 3489 w 1392103"/>
                <a:gd name="connsiteY391" fmla="*/ 311323 h 383952"/>
                <a:gd name="connsiteX392" fmla="*/ 4006 w 1392103"/>
                <a:gd name="connsiteY392" fmla="*/ 311323 h 383952"/>
                <a:gd name="connsiteX393" fmla="*/ 4523 w 1392103"/>
                <a:gd name="connsiteY393" fmla="*/ 311065 h 383952"/>
                <a:gd name="connsiteX394" fmla="*/ 5428 w 1392103"/>
                <a:gd name="connsiteY394" fmla="*/ 310419 h 383952"/>
                <a:gd name="connsiteX395" fmla="*/ 6074 w 1392103"/>
                <a:gd name="connsiteY395" fmla="*/ 310290 h 383952"/>
                <a:gd name="connsiteX396" fmla="*/ 6720 w 1392103"/>
                <a:gd name="connsiteY396" fmla="*/ 310419 h 383952"/>
                <a:gd name="connsiteX397" fmla="*/ 7237 w 1392103"/>
                <a:gd name="connsiteY397" fmla="*/ 310677 h 383952"/>
                <a:gd name="connsiteX398" fmla="*/ 7625 w 1392103"/>
                <a:gd name="connsiteY398" fmla="*/ 311065 h 383952"/>
                <a:gd name="connsiteX399" fmla="*/ 7625 w 1392103"/>
                <a:gd name="connsiteY399" fmla="*/ 311711 h 383952"/>
                <a:gd name="connsiteX400" fmla="*/ 7366 w 1392103"/>
                <a:gd name="connsiteY400" fmla="*/ 312616 h 383952"/>
                <a:gd name="connsiteX401" fmla="*/ 5040 w 1392103"/>
                <a:gd name="connsiteY401" fmla="*/ 315718 h 383952"/>
                <a:gd name="connsiteX402" fmla="*/ 4265 w 1392103"/>
                <a:gd name="connsiteY402" fmla="*/ 317139 h 383952"/>
                <a:gd name="connsiteX403" fmla="*/ 2197 w 1392103"/>
                <a:gd name="connsiteY403" fmla="*/ 322179 h 383952"/>
                <a:gd name="connsiteX404" fmla="*/ 1421 w 1392103"/>
                <a:gd name="connsiteY404" fmla="*/ 323342 h 383952"/>
                <a:gd name="connsiteX405" fmla="*/ 775 w 1392103"/>
                <a:gd name="connsiteY405" fmla="*/ 324118 h 383952"/>
                <a:gd name="connsiteX406" fmla="*/ 258 w 1392103"/>
                <a:gd name="connsiteY406" fmla="*/ 324505 h 383952"/>
                <a:gd name="connsiteX407" fmla="*/ 0 w 1392103"/>
                <a:gd name="connsiteY407" fmla="*/ 325022 h 383952"/>
                <a:gd name="connsiteX408" fmla="*/ 129 w 1392103"/>
                <a:gd name="connsiteY408" fmla="*/ 325927 h 383952"/>
                <a:gd name="connsiteX409" fmla="*/ 388 w 1392103"/>
                <a:gd name="connsiteY409" fmla="*/ 326444 h 383952"/>
                <a:gd name="connsiteX410" fmla="*/ 1938 w 1392103"/>
                <a:gd name="connsiteY410" fmla="*/ 327349 h 383952"/>
                <a:gd name="connsiteX411" fmla="*/ 7625 w 1392103"/>
                <a:gd name="connsiteY411" fmla="*/ 329675 h 383952"/>
                <a:gd name="connsiteX412" fmla="*/ 13440 w 1392103"/>
                <a:gd name="connsiteY412" fmla="*/ 331226 h 383952"/>
                <a:gd name="connsiteX413" fmla="*/ 14345 w 1392103"/>
                <a:gd name="connsiteY413" fmla="*/ 331613 h 383952"/>
                <a:gd name="connsiteX414" fmla="*/ 14732 w 1392103"/>
                <a:gd name="connsiteY414" fmla="*/ 332001 h 383952"/>
                <a:gd name="connsiteX415" fmla="*/ 15120 w 1392103"/>
                <a:gd name="connsiteY415" fmla="*/ 332389 h 383952"/>
                <a:gd name="connsiteX416" fmla="*/ 15249 w 1392103"/>
                <a:gd name="connsiteY416" fmla="*/ 332905 h 383952"/>
                <a:gd name="connsiteX417" fmla="*/ 15249 w 1392103"/>
                <a:gd name="connsiteY417" fmla="*/ 333552 h 383952"/>
                <a:gd name="connsiteX418" fmla="*/ 14991 w 1392103"/>
                <a:gd name="connsiteY418" fmla="*/ 335619 h 383952"/>
                <a:gd name="connsiteX419" fmla="*/ 15120 w 1392103"/>
                <a:gd name="connsiteY419" fmla="*/ 336395 h 383952"/>
                <a:gd name="connsiteX420" fmla="*/ 15637 w 1392103"/>
                <a:gd name="connsiteY420" fmla="*/ 337170 h 383952"/>
                <a:gd name="connsiteX421" fmla="*/ 16283 w 1392103"/>
                <a:gd name="connsiteY421" fmla="*/ 337558 h 383952"/>
                <a:gd name="connsiteX422" fmla="*/ 17317 w 1392103"/>
                <a:gd name="connsiteY422" fmla="*/ 337946 h 383952"/>
                <a:gd name="connsiteX423" fmla="*/ 17576 w 1392103"/>
                <a:gd name="connsiteY423" fmla="*/ 338463 h 383952"/>
                <a:gd name="connsiteX424" fmla="*/ 17447 w 1392103"/>
                <a:gd name="connsiteY424" fmla="*/ 338979 h 383952"/>
                <a:gd name="connsiteX425" fmla="*/ 17188 w 1392103"/>
                <a:gd name="connsiteY425" fmla="*/ 339497 h 383952"/>
                <a:gd name="connsiteX426" fmla="*/ 17059 w 1392103"/>
                <a:gd name="connsiteY426" fmla="*/ 340143 h 383952"/>
                <a:gd name="connsiteX427" fmla="*/ 17059 w 1392103"/>
                <a:gd name="connsiteY427" fmla="*/ 342081 h 383952"/>
                <a:gd name="connsiteX428" fmla="*/ 16930 w 1392103"/>
                <a:gd name="connsiteY428" fmla="*/ 342857 h 383952"/>
                <a:gd name="connsiteX429" fmla="*/ 16413 w 1392103"/>
                <a:gd name="connsiteY429" fmla="*/ 344020 h 383952"/>
                <a:gd name="connsiteX430" fmla="*/ 16413 w 1392103"/>
                <a:gd name="connsiteY430" fmla="*/ 344924 h 383952"/>
                <a:gd name="connsiteX431" fmla="*/ 16671 w 1392103"/>
                <a:gd name="connsiteY431" fmla="*/ 346087 h 383952"/>
                <a:gd name="connsiteX432" fmla="*/ 17576 w 1392103"/>
                <a:gd name="connsiteY432" fmla="*/ 348155 h 383952"/>
                <a:gd name="connsiteX433" fmla="*/ 18222 w 1392103"/>
                <a:gd name="connsiteY433" fmla="*/ 350223 h 383952"/>
                <a:gd name="connsiteX434" fmla="*/ 18222 w 1392103"/>
                <a:gd name="connsiteY434" fmla="*/ 350869 h 383952"/>
                <a:gd name="connsiteX435" fmla="*/ 18093 w 1392103"/>
                <a:gd name="connsiteY435" fmla="*/ 351515 h 383952"/>
                <a:gd name="connsiteX436" fmla="*/ 17705 w 1392103"/>
                <a:gd name="connsiteY436" fmla="*/ 352937 h 383952"/>
                <a:gd name="connsiteX437" fmla="*/ 17705 w 1392103"/>
                <a:gd name="connsiteY437" fmla="*/ 354100 h 383952"/>
                <a:gd name="connsiteX438" fmla="*/ 17576 w 1392103"/>
                <a:gd name="connsiteY438" fmla="*/ 354746 h 383952"/>
                <a:gd name="connsiteX439" fmla="*/ 17447 w 1392103"/>
                <a:gd name="connsiteY439" fmla="*/ 355392 h 383952"/>
                <a:gd name="connsiteX440" fmla="*/ 17317 w 1392103"/>
                <a:gd name="connsiteY440" fmla="*/ 356297 h 383952"/>
                <a:gd name="connsiteX441" fmla="*/ 17059 w 1392103"/>
                <a:gd name="connsiteY441" fmla="*/ 356943 h 383952"/>
                <a:gd name="connsiteX442" fmla="*/ 16671 w 1392103"/>
                <a:gd name="connsiteY442" fmla="*/ 357331 h 383952"/>
                <a:gd name="connsiteX443" fmla="*/ 16542 w 1392103"/>
                <a:gd name="connsiteY443" fmla="*/ 357848 h 383952"/>
                <a:gd name="connsiteX444" fmla="*/ 16930 w 1392103"/>
                <a:gd name="connsiteY444" fmla="*/ 359657 h 383952"/>
                <a:gd name="connsiteX445" fmla="*/ 16930 w 1392103"/>
                <a:gd name="connsiteY445" fmla="*/ 360561 h 383952"/>
                <a:gd name="connsiteX446" fmla="*/ 16800 w 1392103"/>
                <a:gd name="connsiteY446" fmla="*/ 361337 h 383952"/>
                <a:gd name="connsiteX447" fmla="*/ 16800 w 1392103"/>
                <a:gd name="connsiteY447" fmla="*/ 362371 h 383952"/>
                <a:gd name="connsiteX448" fmla="*/ 17188 w 1392103"/>
                <a:gd name="connsiteY448" fmla="*/ 362888 h 383952"/>
                <a:gd name="connsiteX449" fmla="*/ 17834 w 1392103"/>
                <a:gd name="connsiteY449" fmla="*/ 363275 h 383952"/>
                <a:gd name="connsiteX450" fmla="*/ 18093 w 1392103"/>
                <a:gd name="connsiteY450" fmla="*/ 363792 h 383952"/>
                <a:gd name="connsiteX451" fmla="*/ 18093 w 1392103"/>
                <a:gd name="connsiteY451" fmla="*/ 364309 h 383952"/>
                <a:gd name="connsiteX452" fmla="*/ 17963 w 1392103"/>
                <a:gd name="connsiteY452" fmla="*/ 365085 h 383952"/>
                <a:gd name="connsiteX453" fmla="*/ 18222 w 1392103"/>
                <a:gd name="connsiteY453" fmla="*/ 365343 h 383952"/>
                <a:gd name="connsiteX454" fmla="*/ 18610 w 1392103"/>
                <a:gd name="connsiteY454" fmla="*/ 365343 h 383952"/>
                <a:gd name="connsiteX455" fmla="*/ 19126 w 1392103"/>
                <a:gd name="connsiteY455" fmla="*/ 365085 h 383952"/>
                <a:gd name="connsiteX456" fmla="*/ 19643 w 1392103"/>
                <a:gd name="connsiteY456" fmla="*/ 364956 h 383952"/>
                <a:gd name="connsiteX457" fmla="*/ 20290 w 1392103"/>
                <a:gd name="connsiteY457" fmla="*/ 364956 h 383952"/>
                <a:gd name="connsiteX458" fmla="*/ 20936 w 1392103"/>
                <a:gd name="connsiteY458" fmla="*/ 365085 h 383952"/>
                <a:gd name="connsiteX459" fmla="*/ 21969 w 1392103"/>
                <a:gd name="connsiteY459" fmla="*/ 365472 h 383952"/>
                <a:gd name="connsiteX460" fmla="*/ 22228 w 1392103"/>
                <a:gd name="connsiteY460" fmla="*/ 365602 h 383952"/>
                <a:gd name="connsiteX461" fmla="*/ 24425 w 1392103"/>
                <a:gd name="connsiteY461" fmla="*/ 367411 h 383952"/>
                <a:gd name="connsiteX462" fmla="*/ 25071 w 1392103"/>
                <a:gd name="connsiteY462" fmla="*/ 367799 h 383952"/>
                <a:gd name="connsiteX463" fmla="*/ 27785 w 1392103"/>
                <a:gd name="connsiteY463" fmla="*/ 368574 h 383952"/>
                <a:gd name="connsiteX464" fmla="*/ 28948 w 1392103"/>
                <a:gd name="connsiteY464" fmla="*/ 369091 h 383952"/>
                <a:gd name="connsiteX465" fmla="*/ 30887 w 1392103"/>
                <a:gd name="connsiteY465" fmla="*/ 369996 h 383952"/>
                <a:gd name="connsiteX466" fmla="*/ 32696 w 1392103"/>
                <a:gd name="connsiteY466" fmla="*/ 371159 h 383952"/>
                <a:gd name="connsiteX467" fmla="*/ 33730 w 1392103"/>
                <a:gd name="connsiteY467" fmla="*/ 371676 h 383952"/>
                <a:gd name="connsiteX468" fmla="*/ 34634 w 1392103"/>
                <a:gd name="connsiteY468" fmla="*/ 371934 h 383952"/>
                <a:gd name="connsiteX469" fmla="*/ 35410 w 1392103"/>
                <a:gd name="connsiteY469" fmla="*/ 372063 h 383952"/>
                <a:gd name="connsiteX470" fmla="*/ 36185 w 1392103"/>
                <a:gd name="connsiteY470" fmla="*/ 372322 h 383952"/>
                <a:gd name="connsiteX471" fmla="*/ 36832 w 1392103"/>
                <a:gd name="connsiteY471" fmla="*/ 372580 h 383952"/>
                <a:gd name="connsiteX472" fmla="*/ 38770 w 1392103"/>
                <a:gd name="connsiteY472" fmla="*/ 372839 h 383952"/>
                <a:gd name="connsiteX473" fmla="*/ 39416 w 1392103"/>
                <a:gd name="connsiteY473" fmla="*/ 372709 h 383952"/>
                <a:gd name="connsiteX474" fmla="*/ 39933 w 1392103"/>
                <a:gd name="connsiteY474" fmla="*/ 372451 h 383952"/>
                <a:gd name="connsiteX475" fmla="*/ 40321 w 1392103"/>
                <a:gd name="connsiteY475" fmla="*/ 372193 h 383952"/>
                <a:gd name="connsiteX476" fmla="*/ 40708 w 1392103"/>
                <a:gd name="connsiteY476" fmla="*/ 372193 h 383952"/>
                <a:gd name="connsiteX477" fmla="*/ 41096 w 1392103"/>
                <a:gd name="connsiteY477" fmla="*/ 372193 h 383952"/>
                <a:gd name="connsiteX478" fmla="*/ 42776 w 1392103"/>
                <a:gd name="connsiteY478" fmla="*/ 372968 h 383952"/>
                <a:gd name="connsiteX479" fmla="*/ 45102 w 1392103"/>
                <a:gd name="connsiteY479" fmla="*/ 374648 h 383952"/>
                <a:gd name="connsiteX480" fmla="*/ 45748 w 1392103"/>
                <a:gd name="connsiteY480" fmla="*/ 375036 h 383952"/>
                <a:gd name="connsiteX481" fmla="*/ 47558 w 1392103"/>
                <a:gd name="connsiteY481" fmla="*/ 375811 h 383952"/>
                <a:gd name="connsiteX482" fmla="*/ 48204 w 1392103"/>
                <a:gd name="connsiteY482" fmla="*/ 375940 h 383952"/>
                <a:gd name="connsiteX483" fmla="*/ 48721 w 1392103"/>
                <a:gd name="connsiteY483" fmla="*/ 376070 h 383952"/>
                <a:gd name="connsiteX484" fmla="*/ 49626 w 1392103"/>
                <a:gd name="connsiteY484" fmla="*/ 375940 h 383952"/>
                <a:gd name="connsiteX485" fmla="*/ 51176 w 1392103"/>
                <a:gd name="connsiteY485" fmla="*/ 374648 h 383952"/>
                <a:gd name="connsiteX486" fmla="*/ 51822 w 1392103"/>
                <a:gd name="connsiteY486" fmla="*/ 374390 h 383952"/>
                <a:gd name="connsiteX487" fmla="*/ 52856 w 1392103"/>
                <a:gd name="connsiteY487" fmla="*/ 374260 h 383952"/>
                <a:gd name="connsiteX488" fmla="*/ 55829 w 1392103"/>
                <a:gd name="connsiteY488" fmla="*/ 374648 h 383952"/>
                <a:gd name="connsiteX489" fmla="*/ 60223 w 1392103"/>
                <a:gd name="connsiteY489" fmla="*/ 375682 h 383952"/>
                <a:gd name="connsiteX490" fmla="*/ 61127 w 1392103"/>
                <a:gd name="connsiteY490" fmla="*/ 376070 h 383952"/>
                <a:gd name="connsiteX491" fmla="*/ 61644 w 1392103"/>
                <a:gd name="connsiteY491" fmla="*/ 376586 h 383952"/>
                <a:gd name="connsiteX492" fmla="*/ 61903 w 1392103"/>
                <a:gd name="connsiteY492" fmla="*/ 377104 h 383952"/>
                <a:gd name="connsiteX493" fmla="*/ 62161 w 1392103"/>
                <a:gd name="connsiteY493" fmla="*/ 377491 h 383952"/>
                <a:gd name="connsiteX494" fmla="*/ 62549 w 1392103"/>
                <a:gd name="connsiteY494" fmla="*/ 377750 h 383952"/>
                <a:gd name="connsiteX495" fmla="*/ 66038 w 1392103"/>
                <a:gd name="connsiteY495" fmla="*/ 379300 h 383952"/>
                <a:gd name="connsiteX496" fmla="*/ 67072 w 1392103"/>
                <a:gd name="connsiteY496" fmla="*/ 379559 h 383952"/>
                <a:gd name="connsiteX497" fmla="*/ 67977 w 1392103"/>
                <a:gd name="connsiteY497" fmla="*/ 379559 h 383952"/>
                <a:gd name="connsiteX498" fmla="*/ 70561 w 1392103"/>
                <a:gd name="connsiteY498" fmla="*/ 379042 h 383952"/>
                <a:gd name="connsiteX499" fmla="*/ 75731 w 1392103"/>
                <a:gd name="connsiteY499" fmla="*/ 379042 h 383952"/>
                <a:gd name="connsiteX500" fmla="*/ 83485 w 1392103"/>
                <a:gd name="connsiteY500" fmla="*/ 377362 h 383952"/>
                <a:gd name="connsiteX501" fmla="*/ 87233 w 1392103"/>
                <a:gd name="connsiteY501" fmla="*/ 377233 h 383952"/>
                <a:gd name="connsiteX502" fmla="*/ 87879 w 1392103"/>
                <a:gd name="connsiteY502" fmla="*/ 377491 h 383952"/>
                <a:gd name="connsiteX503" fmla="*/ 89300 w 1392103"/>
                <a:gd name="connsiteY503" fmla="*/ 378525 h 383952"/>
                <a:gd name="connsiteX504" fmla="*/ 90076 w 1392103"/>
                <a:gd name="connsiteY504" fmla="*/ 378913 h 383952"/>
                <a:gd name="connsiteX505" fmla="*/ 94987 w 1392103"/>
                <a:gd name="connsiteY505" fmla="*/ 380593 h 383952"/>
                <a:gd name="connsiteX506" fmla="*/ 95374 w 1392103"/>
                <a:gd name="connsiteY506" fmla="*/ 380851 h 383952"/>
                <a:gd name="connsiteX507" fmla="*/ 95762 w 1392103"/>
                <a:gd name="connsiteY507" fmla="*/ 381239 h 383952"/>
                <a:gd name="connsiteX508" fmla="*/ 96666 w 1392103"/>
                <a:gd name="connsiteY508" fmla="*/ 382919 h 383952"/>
                <a:gd name="connsiteX509" fmla="*/ 98218 w 1392103"/>
                <a:gd name="connsiteY509" fmla="*/ 383953 h 383952"/>
                <a:gd name="connsiteX510" fmla="*/ 98218 w 1392103"/>
                <a:gd name="connsiteY510" fmla="*/ 383953 h 383952"/>
                <a:gd name="connsiteX511" fmla="*/ 99639 w 1392103"/>
                <a:gd name="connsiteY511" fmla="*/ 379817 h 383952"/>
                <a:gd name="connsiteX512" fmla="*/ 102740 w 1392103"/>
                <a:gd name="connsiteY512" fmla="*/ 374390 h 383952"/>
                <a:gd name="connsiteX513" fmla="*/ 110882 w 1392103"/>
                <a:gd name="connsiteY513" fmla="*/ 363405 h 383952"/>
                <a:gd name="connsiteX514" fmla="*/ 111399 w 1392103"/>
                <a:gd name="connsiteY514" fmla="*/ 361725 h 383952"/>
                <a:gd name="connsiteX515" fmla="*/ 111658 w 1392103"/>
                <a:gd name="connsiteY515" fmla="*/ 360432 h 383952"/>
                <a:gd name="connsiteX516" fmla="*/ 112562 w 1392103"/>
                <a:gd name="connsiteY516" fmla="*/ 358235 h 383952"/>
                <a:gd name="connsiteX517" fmla="*/ 114242 w 1392103"/>
                <a:gd name="connsiteY517" fmla="*/ 356814 h 383952"/>
                <a:gd name="connsiteX518" fmla="*/ 114630 w 1392103"/>
                <a:gd name="connsiteY518" fmla="*/ 354746 h 383952"/>
                <a:gd name="connsiteX519" fmla="*/ 115018 w 1392103"/>
                <a:gd name="connsiteY519" fmla="*/ 352420 h 383952"/>
                <a:gd name="connsiteX520" fmla="*/ 114888 w 1392103"/>
                <a:gd name="connsiteY520" fmla="*/ 348414 h 383952"/>
                <a:gd name="connsiteX521" fmla="*/ 115664 w 1392103"/>
                <a:gd name="connsiteY521" fmla="*/ 344795 h 383952"/>
                <a:gd name="connsiteX522" fmla="*/ 116956 w 1392103"/>
                <a:gd name="connsiteY522" fmla="*/ 343115 h 383952"/>
                <a:gd name="connsiteX523" fmla="*/ 117990 w 1392103"/>
                <a:gd name="connsiteY523" fmla="*/ 341564 h 383952"/>
                <a:gd name="connsiteX524" fmla="*/ 118636 w 1392103"/>
                <a:gd name="connsiteY524" fmla="*/ 340013 h 383952"/>
                <a:gd name="connsiteX525" fmla="*/ 119929 w 1392103"/>
                <a:gd name="connsiteY525" fmla="*/ 339238 h 383952"/>
                <a:gd name="connsiteX526" fmla="*/ 120187 w 1392103"/>
                <a:gd name="connsiteY526" fmla="*/ 337170 h 383952"/>
                <a:gd name="connsiteX527" fmla="*/ 121479 w 1392103"/>
                <a:gd name="connsiteY527" fmla="*/ 335878 h 383952"/>
                <a:gd name="connsiteX528" fmla="*/ 123030 w 1392103"/>
                <a:gd name="connsiteY528" fmla="*/ 334844 h 383952"/>
                <a:gd name="connsiteX529" fmla="*/ 126261 w 1392103"/>
                <a:gd name="connsiteY529" fmla="*/ 333939 h 383952"/>
                <a:gd name="connsiteX530" fmla="*/ 129880 w 1392103"/>
                <a:gd name="connsiteY530" fmla="*/ 331613 h 383952"/>
                <a:gd name="connsiteX531" fmla="*/ 130397 w 1392103"/>
                <a:gd name="connsiteY531" fmla="*/ 331226 h 383952"/>
                <a:gd name="connsiteX532" fmla="*/ 131560 w 1392103"/>
                <a:gd name="connsiteY532" fmla="*/ 330709 h 383952"/>
                <a:gd name="connsiteX533" fmla="*/ 132723 w 1392103"/>
                <a:gd name="connsiteY533" fmla="*/ 330709 h 383952"/>
                <a:gd name="connsiteX534" fmla="*/ 133240 w 1392103"/>
                <a:gd name="connsiteY534" fmla="*/ 331872 h 383952"/>
                <a:gd name="connsiteX535" fmla="*/ 133498 w 1392103"/>
                <a:gd name="connsiteY535" fmla="*/ 333035 h 383952"/>
                <a:gd name="connsiteX536" fmla="*/ 134144 w 1392103"/>
                <a:gd name="connsiteY536" fmla="*/ 334198 h 383952"/>
                <a:gd name="connsiteX537" fmla="*/ 135049 w 1392103"/>
                <a:gd name="connsiteY537" fmla="*/ 333552 h 383952"/>
                <a:gd name="connsiteX538" fmla="*/ 136083 w 1392103"/>
                <a:gd name="connsiteY538" fmla="*/ 330579 h 383952"/>
                <a:gd name="connsiteX539" fmla="*/ 138926 w 1392103"/>
                <a:gd name="connsiteY539" fmla="*/ 329933 h 383952"/>
                <a:gd name="connsiteX540" fmla="*/ 140864 w 1392103"/>
                <a:gd name="connsiteY540" fmla="*/ 324376 h 383952"/>
                <a:gd name="connsiteX541" fmla="*/ 141898 w 1392103"/>
                <a:gd name="connsiteY541" fmla="*/ 323342 h 383952"/>
                <a:gd name="connsiteX542" fmla="*/ 144225 w 1392103"/>
                <a:gd name="connsiteY542" fmla="*/ 321404 h 383952"/>
                <a:gd name="connsiteX543" fmla="*/ 145258 w 1392103"/>
                <a:gd name="connsiteY543" fmla="*/ 320111 h 383952"/>
                <a:gd name="connsiteX544" fmla="*/ 149652 w 1392103"/>
                <a:gd name="connsiteY544" fmla="*/ 312487 h 383952"/>
                <a:gd name="connsiteX545" fmla="*/ 150557 w 1392103"/>
                <a:gd name="connsiteY545" fmla="*/ 311323 h 383952"/>
                <a:gd name="connsiteX546" fmla="*/ 153142 w 1392103"/>
                <a:gd name="connsiteY546" fmla="*/ 308997 h 383952"/>
                <a:gd name="connsiteX547" fmla="*/ 155080 w 1392103"/>
                <a:gd name="connsiteY547" fmla="*/ 310290 h 383952"/>
                <a:gd name="connsiteX548" fmla="*/ 156631 w 1392103"/>
                <a:gd name="connsiteY548" fmla="*/ 308739 h 383952"/>
                <a:gd name="connsiteX549" fmla="*/ 158957 w 1392103"/>
                <a:gd name="connsiteY549" fmla="*/ 303440 h 383952"/>
                <a:gd name="connsiteX550" fmla="*/ 164126 w 1392103"/>
                <a:gd name="connsiteY550" fmla="*/ 295557 h 383952"/>
                <a:gd name="connsiteX551" fmla="*/ 165419 w 1392103"/>
                <a:gd name="connsiteY551" fmla="*/ 290517 h 383952"/>
                <a:gd name="connsiteX552" fmla="*/ 168004 w 1392103"/>
                <a:gd name="connsiteY552" fmla="*/ 286123 h 383952"/>
                <a:gd name="connsiteX553" fmla="*/ 169037 w 1392103"/>
                <a:gd name="connsiteY553" fmla="*/ 280824 h 383952"/>
                <a:gd name="connsiteX554" fmla="*/ 170330 w 1392103"/>
                <a:gd name="connsiteY554" fmla="*/ 278498 h 383952"/>
                <a:gd name="connsiteX555" fmla="*/ 172010 w 1392103"/>
                <a:gd name="connsiteY555" fmla="*/ 276560 h 383952"/>
                <a:gd name="connsiteX556" fmla="*/ 173690 w 1392103"/>
                <a:gd name="connsiteY556" fmla="*/ 275138 h 383952"/>
                <a:gd name="connsiteX557" fmla="*/ 171234 w 1392103"/>
                <a:gd name="connsiteY557" fmla="*/ 274363 h 383952"/>
                <a:gd name="connsiteX558" fmla="*/ 169296 w 1392103"/>
                <a:gd name="connsiteY558" fmla="*/ 275009 h 383952"/>
                <a:gd name="connsiteX559" fmla="*/ 167745 w 1392103"/>
                <a:gd name="connsiteY559" fmla="*/ 276689 h 383952"/>
                <a:gd name="connsiteX560" fmla="*/ 166582 w 1392103"/>
                <a:gd name="connsiteY560" fmla="*/ 277077 h 383952"/>
                <a:gd name="connsiteX561" fmla="*/ 166711 w 1392103"/>
                <a:gd name="connsiteY561" fmla="*/ 275655 h 383952"/>
                <a:gd name="connsiteX562" fmla="*/ 164126 w 1392103"/>
                <a:gd name="connsiteY562" fmla="*/ 275784 h 383952"/>
                <a:gd name="connsiteX563" fmla="*/ 162188 w 1392103"/>
                <a:gd name="connsiteY563" fmla="*/ 275397 h 383952"/>
                <a:gd name="connsiteX564" fmla="*/ 161671 w 1392103"/>
                <a:gd name="connsiteY564" fmla="*/ 272941 h 383952"/>
                <a:gd name="connsiteX565" fmla="*/ 162576 w 1392103"/>
                <a:gd name="connsiteY565" fmla="*/ 270615 h 383952"/>
                <a:gd name="connsiteX566" fmla="*/ 161800 w 1392103"/>
                <a:gd name="connsiteY566" fmla="*/ 270098 h 383952"/>
                <a:gd name="connsiteX567" fmla="*/ 161542 w 1392103"/>
                <a:gd name="connsiteY567" fmla="*/ 269969 h 383952"/>
                <a:gd name="connsiteX568" fmla="*/ 161025 w 1392103"/>
                <a:gd name="connsiteY568" fmla="*/ 269840 h 383952"/>
                <a:gd name="connsiteX569" fmla="*/ 161025 w 1392103"/>
                <a:gd name="connsiteY569" fmla="*/ 268935 h 383952"/>
                <a:gd name="connsiteX570" fmla="*/ 163093 w 1392103"/>
                <a:gd name="connsiteY570" fmla="*/ 268935 h 383952"/>
                <a:gd name="connsiteX571" fmla="*/ 163739 w 1392103"/>
                <a:gd name="connsiteY571" fmla="*/ 267772 h 383952"/>
                <a:gd name="connsiteX572" fmla="*/ 163222 w 1392103"/>
                <a:gd name="connsiteY572" fmla="*/ 266221 h 383952"/>
                <a:gd name="connsiteX573" fmla="*/ 161800 w 1392103"/>
                <a:gd name="connsiteY573" fmla="*/ 265058 h 383952"/>
                <a:gd name="connsiteX574" fmla="*/ 165419 w 1392103"/>
                <a:gd name="connsiteY574" fmla="*/ 264541 h 383952"/>
                <a:gd name="connsiteX575" fmla="*/ 167487 w 1392103"/>
                <a:gd name="connsiteY575" fmla="*/ 264541 h 383952"/>
                <a:gd name="connsiteX576" fmla="*/ 169167 w 1392103"/>
                <a:gd name="connsiteY576" fmla="*/ 265058 h 383952"/>
                <a:gd name="connsiteX577" fmla="*/ 169942 w 1392103"/>
                <a:gd name="connsiteY577" fmla="*/ 266479 h 383952"/>
                <a:gd name="connsiteX578" fmla="*/ 169425 w 1392103"/>
                <a:gd name="connsiteY578" fmla="*/ 269710 h 383952"/>
                <a:gd name="connsiteX579" fmla="*/ 170588 w 1392103"/>
                <a:gd name="connsiteY579" fmla="*/ 270486 h 383952"/>
                <a:gd name="connsiteX580" fmla="*/ 171363 w 1392103"/>
                <a:gd name="connsiteY580" fmla="*/ 269969 h 383952"/>
                <a:gd name="connsiteX581" fmla="*/ 172010 w 1392103"/>
                <a:gd name="connsiteY581" fmla="*/ 268935 h 383952"/>
                <a:gd name="connsiteX582" fmla="*/ 172785 w 1392103"/>
                <a:gd name="connsiteY582" fmla="*/ 268160 h 383952"/>
                <a:gd name="connsiteX583" fmla="*/ 173819 w 1392103"/>
                <a:gd name="connsiteY583" fmla="*/ 268547 h 383952"/>
                <a:gd name="connsiteX584" fmla="*/ 174724 w 1392103"/>
                <a:gd name="connsiteY584" fmla="*/ 269710 h 383952"/>
                <a:gd name="connsiteX585" fmla="*/ 174982 w 1392103"/>
                <a:gd name="connsiteY585" fmla="*/ 270227 h 383952"/>
                <a:gd name="connsiteX586" fmla="*/ 175241 w 1392103"/>
                <a:gd name="connsiteY586" fmla="*/ 269969 h 383952"/>
                <a:gd name="connsiteX587" fmla="*/ 176145 w 1392103"/>
                <a:gd name="connsiteY587" fmla="*/ 268935 h 383952"/>
                <a:gd name="connsiteX588" fmla="*/ 177179 w 1392103"/>
                <a:gd name="connsiteY588" fmla="*/ 267255 h 383952"/>
                <a:gd name="connsiteX589" fmla="*/ 179376 w 1392103"/>
                <a:gd name="connsiteY589" fmla="*/ 262344 h 383952"/>
                <a:gd name="connsiteX590" fmla="*/ 180152 w 1392103"/>
                <a:gd name="connsiteY590" fmla="*/ 261310 h 383952"/>
                <a:gd name="connsiteX591" fmla="*/ 180539 w 1392103"/>
                <a:gd name="connsiteY591" fmla="*/ 260276 h 383952"/>
                <a:gd name="connsiteX592" fmla="*/ 182219 w 1392103"/>
                <a:gd name="connsiteY592" fmla="*/ 252910 h 383952"/>
                <a:gd name="connsiteX593" fmla="*/ 183253 w 1392103"/>
                <a:gd name="connsiteY593" fmla="*/ 250713 h 383952"/>
                <a:gd name="connsiteX594" fmla="*/ 183511 w 1392103"/>
                <a:gd name="connsiteY594" fmla="*/ 249550 h 383952"/>
                <a:gd name="connsiteX595" fmla="*/ 183253 w 1392103"/>
                <a:gd name="connsiteY595" fmla="*/ 248516 h 383952"/>
                <a:gd name="connsiteX596" fmla="*/ 182219 w 1392103"/>
                <a:gd name="connsiteY596" fmla="*/ 246319 h 383952"/>
                <a:gd name="connsiteX597" fmla="*/ 181961 w 1392103"/>
                <a:gd name="connsiteY597" fmla="*/ 245285 h 383952"/>
                <a:gd name="connsiteX598" fmla="*/ 181832 w 1392103"/>
                <a:gd name="connsiteY598" fmla="*/ 243605 h 383952"/>
                <a:gd name="connsiteX599" fmla="*/ 182736 w 1392103"/>
                <a:gd name="connsiteY599" fmla="*/ 242571 h 383952"/>
                <a:gd name="connsiteX600" fmla="*/ 183511 w 1392103"/>
                <a:gd name="connsiteY600" fmla="*/ 242054 h 383952"/>
                <a:gd name="connsiteX601" fmla="*/ 184416 w 1392103"/>
                <a:gd name="connsiteY601" fmla="*/ 241796 h 383952"/>
                <a:gd name="connsiteX602" fmla="*/ 185191 w 1392103"/>
                <a:gd name="connsiteY602" fmla="*/ 241279 h 383952"/>
                <a:gd name="connsiteX603" fmla="*/ 186742 w 1392103"/>
                <a:gd name="connsiteY603" fmla="*/ 235463 h 383952"/>
                <a:gd name="connsiteX604" fmla="*/ 186484 w 1392103"/>
                <a:gd name="connsiteY604" fmla="*/ 234042 h 383952"/>
                <a:gd name="connsiteX605" fmla="*/ 184028 w 1392103"/>
                <a:gd name="connsiteY605" fmla="*/ 234042 h 383952"/>
                <a:gd name="connsiteX606" fmla="*/ 185709 w 1392103"/>
                <a:gd name="connsiteY606" fmla="*/ 232491 h 383952"/>
                <a:gd name="connsiteX607" fmla="*/ 190490 w 1392103"/>
                <a:gd name="connsiteY607" fmla="*/ 230811 h 383952"/>
                <a:gd name="connsiteX608" fmla="*/ 191524 w 1392103"/>
                <a:gd name="connsiteY608" fmla="*/ 229002 h 383952"/>
                <a:gd name="connsiteX609" fmla="*/ 192041 w 1392103"/>
                <a:gd name="connsiteY609" fmla="*/ 226805 h 383952"/>
                <a:gd name="connsiteX610" fmla="*/ 198115 w 1392103"/>
                <a:gd name="connsiteY610" fmla="*/ 211943 h 383952"/>
                <a:gd name="connsiteX611" fmla="*/ 199924 w 1392103"/>
                <a:gd name="connsiteY611" fmla="*/ 210004 h 383952"/>
                <a:gd name="connsiteX612" fmla="*/ 206127 w 1392103"/>
                <a:gd name="connsiteY612" fmla="*/ 205223 h 383952"/>
                <a:gd name="connsiteX613" fmla="*/ 218534 w 1392103"/>
                <a:gd name="connsiteY613" fmla="*/ 199795 h 383952"/>
                <a:gd name="connsiteX614" fmla="*/ 221506 w 1392103"/>
                <a:gd name="connsiteY614" fmla="*/ 197469 h 383952"/>
                <a:gd name="connsiteX615" fmla="*/ 223703 w 1392103"/>
                <a:gd name="connsiteY615" fmla="*/ 193592 h 383952"/>
                <a:gd name="connsiteX616" fmla="*/ 231845 w 1392103"/>
                <a:gd name="connsiteY616" fmla="*/ 172656 h 383952"/>
                <a:gd name="connsiteX617" fmla="*/ 232749 w 1392103"/>
                <a:gd name="connsiteY617" fmla="*/ 168133 h 383952"/>
                <a:gd name="connsiteX618" fmla="*/ 233137 w 1392103"/>
                <a:gd name="connsiteY618" fmla="*/ 152754 h 383952"/>
                <a:gd name="connsiteX619" fmla="*/ 230811 w 1392103"/>
                <a:gd name="connsiteY619" fmla="*/ 135954 h 383952"/>
                <a:gd name="connsiteX620" fmla="*/ 228485 w 1392103"/>
                <a:gd name="connsiteY620" fmla="*/ 114759 h 383952"/>
                <a:gd name="connsiteX621" fmla="*/ 228097 w 1392103"/>
                <a:gd name="connsiteY621" fmla="*/ 89947 h 383952"/>
                <a:gd name="connsiteX622" fmla="*/ 230294 w 1392103"/>
                <a:gd name="connsiteY622" fmla="*/ 71595 h 383952"/>
                <a:gd name="connsiteX623" fmla="*/ 236368 w 1392103"/>
                <a:gd name="connsiteY623" fmla="*/ 50660 h 383952"/>
                <a:gd name="connsiteX624" fmla="*/ 1391587 w 1392103"/>
                <a:gd name="connsiteY624" fmla="*/ 297496 h 383952"/>
                <a:gd name="connsiteX625" fmla="*/ 1391457 w 1392103"/>
                <a:gd name="connsiteY625" fmla="*/ 297625 h 383952"/>
                <a:gd name="connsiteX626" fmla="*/ 1391457 w 1392103"/>
                <a:gd name="connsiteY626" fmla="*/ 298012 h 383952"/>
                <a:gd name="connsiteX627" fmla="*/ 1391328 w 1392103"/>
                <a:gd name="connsiteY627" fmla="*/ 298400 h 383952"/>
                <a:gd name="connsiteX628" fmla="*/ 1391587 w 1392103"/>
                <a:gd name="connsiteY628" fmla="*/ 298142 h 383952"/>
                <a:gd name="connsiteX629" fmla="*/ 1391845 w 1392103"/>
                <a:gd name="connsiteY629" fmla="*/ 298012 h 383952"/>
                <a:gd name="connsiteX630" fmla="*/ 1391974 w 1392103"/>
                <a:gd name="connsiteY630" fmla="*/ 297883 h 383952"/>
                <a:gd name="connsiteX631" fmla="*/ 1392104 w 1392103"/>
                <a:gd name="connsiteY631" fmla="*/ 297625 h 383952"/>
                <a:gd name="connsiteX632" fmla="*/ 1391587 w 1392103"/>
                <a:gd name="connsiteY632" fmla="*/ 297496 h 383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Lst>
              <a:rect l="l" t="t" r="r" b="b"/>
              <a:pathLst>
                <a:path w="1392103" h="383952">
                  <a:moveTo>
                    <a:pt x="1341961" y="302019"/>
                  </a:moveTo>
                  <a:lnTo>
                    <a:pt x="1341573" y="303182"/>
                  </a:lnTo>
                  <a:lnTo>
                    <a:pt x="1342607" y="305767"/>
                  </a:lnTo>
                  <a:lnTo>
                    <a:pt x="1343124" y="305250"/>
                  </a:lnTo>
                  <a:lnTo>
                    <a:pt x="1343641" y="304733"/>
                  </a:lnTo>
                  <a:lnTo>
                    <a:pt x="1344158" y="304345"/>
                  </a:lnTo>
                  <a:lnTo>
                    <a:pt x="1344933" y="304086"/>
                  </a:lnTo>
                  <a:lnTo>
                    <a:pt x="1343253" y="302277"/>
                  </a:lnTo>
                  <a:lnTo>
                    <a:pt x="1341961" y="302019"/>
                  </a:lnTo>
                  <a:close/>
                  <a:moveTo>
                    <a:pt x="236368" y="50660"/>
                  </a:moveTo>
                  <a:lnTo>
                    <a:pt x="181573" y="15508"/>
                  </a:lnTo>
                  <a:lnTo>
                    <a:pt x="179117" y="12019"/>
                  </a:lnTo>
                  <a:lnTo>
                    <a:pt x="178084" y="11243"/>
                  </a:lnTo>
                  <a:lnTo>
                    <a:pt x="176016" y="10468"/>
                  </a:lnTo>
                  <a:lnTo>
                    <a:pt x="175499" y="10210"/>
                  </a:lnTo>
                  <a:lnTo>
                    <a:pt x="174982" y="9951"/>
                  </a:lnTo>
                  <a:lnTo>
                    <a:pt x="174078" y="9176"/>
                  </a:lnTo>
                  <a:lnTo>
                    <a:pt x="173690" y="8788"/>
                  </a:lnTo>
                  <a:lnTo>
                    <a:pt x="173173" y="8400"/>
                  </a:lnTo>
                  <a:lnTo>
                    <a:pt x="172656" y="8142"/>
                  </a:lnTo>
                  <a:lnTo>
                    <a:pt x="172010" y="8012"/>
                  </a:lnTo>
                  <a:lnTo>
                    <a:pt x="171363" y="8012"/>
                  </a:lnTo>
                  <a:lnTo>
                    <a:pt x="170071" y="8142"/>
                  </a:lnTo>
                  <a:lnTo>
                    <a:pt x="169296" y="8142"/>
                  </a:lnTo>
                  <a:lnTo>
                    <a:pt x="168650" y="8012"/>
                  </a:lnTo>
                  <a:lnTo>
                    <a:pt x="168004" y="7883"/>
                  </a:lnTo>
                  <a:lnTo>
                    <a:pt x="167487" y="7625"/>
                  </a:lnTo>
                  <a:lnTo>
                    <a:pt x="166711" y="6849"/>
                  </a:lnTo>
                  <a:lnTo>
                    <a:pt x="166323" y="6462"/>
                  </a:lnTo>
                  <a:lnTo>
                    <a:pt x="165936" y="6074"/>
                  </a:lnTo>
                  <a:lnTo>
                    <a:pt x="165548" y="5686"/>
                  </a:lnTo>
                  <a:lnTo>
                    <a:pt x="165031" y="5428"/>
                  </a:lnTo>
                  <a:lnTo>
                    <a:pt x="163093" y="5428"/>
                  </a:lnTo>
                  <a:lnTo>
                    <a:pt x="162576" y="5299"/>
                  </a:lnTo>
                  <a:lnTo>
                    <a:pt x="161671" y="4652"/>
                  </a:lnTo>
                  <a:lnTo>
                    <a:pt x="161154" y="4394"/>
                  </a:lnTo>
                  <a:lnTo>
                    <a:pt x="156243" y="2972"/>
                  </a:lnTo>
                  <a:lnTo>
                    <a:pt x="155726" y="2714"/>
                  </a:lnTo>
                  <a:lnTo>
                    <a:pt x="155339" y="2326"/>
                  </a:lnTo>
                  <a:lnTo>
                    <a:pt x="155080" y="1809"/>
                  </a:lnTo>
                  <a:lnTo>
                    <a:pt x="154693" y="646"/>
                  </a:lnTo>
                  <a:lnTo>
                    <a:pt x="154434" y="129"/>
                  </a:lnTo>
                  <a:lnTo>
                    <a:pt x="153917" y="0"/>
                  </a:lnTo>
                  <a:lnTo>
                    <a:pt x="153271" y="259"/>
                  </a:lnTo>
                  <a:lnTo>
                    <a:pt x="152754" y="1163"/>
                  </a:lnTo>
                  <a:lnTo>
                    <a:pt x="152625" y="1938"/>
                  </a:lnTo>
                  <a:lnTo>
                    <a:pt x="152625" y="2714"/>
                  </a:lnTo>
                  <a:lnTo>
                    <a:pt x="153012" y="4652"/>
                  </a:lnTo>
                  <a:lnTo>
                    <a:pt x="153012" y="5299"/>
                  </a:lnTo>
                  <a:lnTo>
                    <a:pt x="152754" y="5815"/>
                  </a:lnTo>
                  <a:lnTo>
                    <a:pt x="152237" y="6203"/>
                  </a:lnTo>
                  <a:lnTo>
                    <a:pt x="151332" y="6333"/>
                  </a:lnTo>
                  <a:lnTo>
                    <a:pt x="150686" y="6333"/>
                  </a:lnTo>
                  <a:lnTo>
                    <a:pt x="150169" y="6203"/>
                  </a:lnTo>
                  <a:lnTo>
                    <a:pt x="149652" y="5945"/>
                  </a:lnTo>
                  <a:lnTo>
                    <a:pt x="148748" y="5299"/>
                  </a:lnTo>
                  <a:lnTo>
                    <a:pt x="146809" y="3360"/>
                  </a:lnTo>
                  <a:lnTo>
                    <a:pt x="146292" y="3102"/>
                  </a:lnTo>
                  <a:lnTo>
                    <a:pt x="145646" y="2972"/>
                  </a:lnTo>
                  <a:lnTo>
                    <a:pt x="145000" y="2972"/>
                  </a:lnTo>
                  <a:lnTo>
                    <a:pt x="144354" y="2972"/>
                  </a:lnTo>
                  <a:lnTo>
                    <a:pt x="140218" y="4265"/>
                  </a:lnTo>
                  <a:lnTo>
                    <a:pt x="138926" y="4523"/>
                  </a:lnTo>
                  <a:lnTo>
                    <a:pt x="137763" y="5040"/>
                  </a:lnTo>
                  <a:lnTo>
                    <a:pt x="132981" y="8142"/>
                  </a:lnTo>
                  <a:lnTo>
                    <a:pt x="131301" y="8917"/>
                  </a:lnTo>
                  <a:lnTo>
                    <a:pt x="130009" y="9305"/>
                  </a:lnTo>
                  <a:lnTo>
                    <a:pt x="128587" y="9176"/>
                  </a:lnTo>
                  <a:lnTo>
                    <a:pt x="127295" y="8917"/>
                  </a:lnTo>
                  <a:lnTo>
                    <a:pt x="124323" y="8012"/>
                  </a:lnTo>
                  <a:lnTo>
                    <a:pt x="123677" y="7883"/>
                  </a:lnTo>
                  <a:lnTo>
                    <a:pt x="122772" y="8142"/>
                  </a:lnTo>
                  <a:lnTo>
                    <a:pt x="121738" y="8659"/>
                  </a:lnTo>
                  <a:lnTo>
                    <a:pt x="120187" y="9693"/>
                  </a:lnTo>
                  <a:lnTo>
                    <a:pt x="118507" y="10210"/>
                  </a:lnTo>
                  <a:lnTo>
                    <a:pt x="117215" y="11114"/>
                  </a:lnTo>
                  <a:lnTo>
                    <a:pt x="116698" y="11243"/>
                  </a:lnTo>
                  <a:lnTo>
                    <a:pt x="116051" y="11243"/>
                  </a:lnTo>
                  <a:lnTo>
                    <a:pt x="115405" y="11114"/>
                  </a:lnTo>
                  <a:lnTo>
                    <a:pt x="114888" y="10856"/>
                  </a:lnTo>
                  <a:lnTo>
                    <a:pt x="113984" y="10210"/>
                  </a:lnTo>
                  <a:lnTo>
                    <a:pt x="113467" y="9951"/>
                  </a:lnTo>
                  <a:lnTo>
                    <a:pt x="112950" y="9822"/>
                  </a:lnTo>
                  <a:lnTo>
                    <a:pt x="112304" y="9822"/>
                  </a:lnTo>
                  <a:lnTo>
                    <a:pt x="111658" y="9951"/>
                  </a:lnTo>
                  <a:lnTo>
                    <a:pt x="109849" y="10468"/>
                  </a:lnTo>
                  <a:lnTo>
                    <a:pt x="108556" y="10597"/>
                  </a:lnTo>
                  <a:lnTo>
                    <a:pt x="107910" y="10597"/>
                  </a:lnTo>
                  <a:lnTo>
                    <a:pt x="107264" y="10468"/>
                  </a:lnTo>
                  <a:lnTo>
                    <a:pt x="106747" y="10210"/>
                  </a:lnTo>
                  <a:lnTo>
                    <a:pt x="106230" y="9951"/>
                  </a:lnTo>
                  <a:lnTo>
                    <a:pt x="105067" y="8788"/>
                  </a:lnTo>
                  <a:lnTo>
                    <a:pt x="104550" y="8529"/>
                  </a:lnTo>
                  <a:lnTo>
                    <a:pt x="104033" y="8529"/>
                  </a:lnTo>
                  <a:lnTo>
                    <a:pt x="103645" y="8917"/>
                  </a:lnTo>
                  <a:lnTo>
                    <a:pt x="103516" y="9951"/>
                  </a:lnTo>
                  <a:lnTo>
                    <a:pt x="103645" y="10597"/>
                  </a:lnTo>
                  <a:lnTo>
                    <a:pt x="104033" y="11114"/>
                  </a:lnTo>
                  <a:lnTo>
                    <a:pt x="118378" y="24684"/>
                  </a:lnTo>
                  <a:lnTo>
                    <a:pt x="118766" y="25200"/>
                  </a:lnTo>
                  <a:lnTo>
                    <a:pt x="119024" y="25718"/>
                  </a:lnTo>
                  <a:lnTo>
                    <a:pt x="119282" y="26234"/>
                  </a:lnTo>
                  <a:lnTo>
                    <a:pt x="119541" y="27527"/>
                  </a:lnTo>
                  <a:lnTo>
                    <a:pt x="119541" y="29724"/>
                  </a:lnTo>
                  <a:lnTo>
                    <a:pt x="119282" y="30499"/>
                  </a:lnTo>
                  <a:lnTo>
                    <a:pt x="118766" y="31016"/>
                  </a:lnTo>
                  <a:lnTo>
                    <a:pt x="117603" y="31274"/>
                  </a:lnTo>
                  <a:lnTo>
                    <a:pt x="116827" y="31274"/>
                  </a:lnTo>
                  <a:lnTo>
                    <a:pt x="115405" y="31016"/>
                  </a:lnTo>
                  <a:lnTo>
                    <a:pt x="112433" y="31016"/>
                  </a:lnTo>
                  <a:lnTo>
                    <a:pt x="111787" y="30887"/>
                  </a:lnTo>
                  <a:lnTo>
                    <a:pt x="111270" y="30628"/>
                  </a:lnTo>
                  <a:lnTo>
                    <a:pt x="110753" y="30370"/>
                  </a:lnTo>
                  <a:lnTo>
                    <a:pt x="109977" y="29595"/>
                  </a:lnTo>
                  <a:lnTo>
                    <a:pt x="109590" y="29207"/>
                  </a:lnTo>
                  <a:lnTo>
                    <a:pt x="108039" y="28431"/>
                  </a:lnTo>
                  <a:lnTo>
                    <a:pt x="107522" y="28173"/>
                  </a:lnTo>
                  <a:lnTo>
                    <a:pt x="107134" y="27785"/>
                  </a:lnTo>
                  <a:lnTo>
                    <a:pt x="106101" y="26493"/>
                  </a:lnTo>
                  <a:lnTo>
                    <a:pt x="105713" y="26105"/>
                  </a:lnTo>
                  <a:lnTo>
                    <a:pt x="105196" y="25847"/>
                  </a:lnTo>
                  <a:lnTo>
                    <a:pt x="104679" y="25588"/>
                  </a:lnTo>
                  <a:lnTo>
                    <a:pt x="104033" y="25459"/>
                  </a:lnTo>
                  <a:lnTo>
                    <a:pt x="103387" y="25459"/>
                  </a:lnTo>
                  <a:lnTo>
                    <a:pt x="102740" y="25588"/>
                  </a:lnTo>
                  <a:lnTo>
                    <a:pt x="101965" y="25847"/>
                  </a:lnTo>
                  <a:lnTo>
                    <a:pt x="101190" y="26234"/>
                  </a:lnTo>
                  <a:lnTo>
                    <a:pt x="100156" y="27010"/>
                  </a:lnTo>
                  <a:lnTo>
                    <a:pt x="93048" y="33471"/>
                  </a:lnTo>
                  <a:lnTo>
                    <a:pt x="92531" y="33730"/>
                  </a:lnTo>
                  <a:lnTo>
                    <a:pt x="91885" y="33859"/>
                  </a:lnTo>
                  <a:lnTo>
                    <a:pt x="89817" y="33730"/>
                  </a:lnTo>
                  <a:lnTo>
                    <a:pt x="89171" y="33730"/>
                  </a:lnTo>
                  <a:lnTo>
                    <a:pt x="88525" y="33859"/>
                  </a:lnTo>
                  <a:lnTo>
                    <a:pt x="87620" y="34893"/>
                  </a:lnTo>
                  <a:lnTo>
                    <a:pt x="86586" y="36573"/>
                  </a:lnTo>
                  <a:lnTo>
                    <a:pt x="84518" y="40838"/>
                  </a:lnTo>
                  <a:lnTo>
                    <a:pt x="82709" y="43681"/>
                  </a:lnTo>
                  <a:lnTo>
                    <a:pt x="79996" y="45619"/>
                  </a:lnTo>
                  <a:lnTo>
                    <a:pt x="79737" y="46266"/>
                  </a:lnTo>
                  <a:lnTo>
                    <a:pt x="79608" y="47170"/>
                  </a:lnTo>
                  <a:lnTo>
                    <a:pt x="79866" y="48850"/>
                  </a:lnTo>
                  <a:lnTo>
                    <a:pt x="80125" y="49755"/>
                  </a:lnTo>
                  <a:lnTo>
                    <a:pt x="81029" y="51435"/>
                  </a:lnTo>
                  <a:lnTo>
                    <a:pt x="80900" y="53244"/>
                  </a:lnTo>
                  <a:lnTo>
                    <a:pt x="78962" y="57509"/>
                  </a:lnTo>
                  <a:lnTo>
                    <a:pt x="79866" y="57767"/>
                  </a:lnTo>
                  <a:lnTo>
                    <a:pt x="80383" y="57767"/>
                  </a:lnTo>
                  <a:lnTo>
                    <a:pt x="82063" y="56992"/>
                  </a:lnTo>
                  <a:lnTo>
                    <a:pt x="85294" y="53761"/>
                  </a:lnTo>
                  <a:lnTo>
                    <a:pt x="86070" y="54666"/>
                  </a:lnTo>
                  <a:lnTo>
                    <a:pt x="86845" y="55312"/>
                  </a:lnTo>
                  <a:lnTo>
                    <a:pt x="87749" y="55958"/>
                  </a:lnTo>
                  <a:lnTo>
                    <a:pt x="89429" y="56734"/>
                  </a:lnTo>
                  <a:lnTo>
                    <a:pt x="90463" y="57251"/>
                  </a:lnTo>
                  <a:lnTo>
                    <a:pt x="91756" y="58414"/>
                  </a:lnTo>
                  <a:lnTo>
                    <a:pt x="92531" y="59189"/>
                  </a:lnTo>
                  <a:lnTo>
                    <a:pt x="93823" y="60998"/>
                  </a:lnTo>
                  <a:lnTo>
                    <a:pt x="94082" y="61515"/>
                  </a:lnTo>
                  <a:lnTo>
                    <a:pt x="94470" y="62678"/>
                  </a:lnTo>
                  <a:lnTo>
                    <a:pt x="94728" y="64617"/>
                  </a:lnTo>
                  <a:lnTo>
                    <a:pt x="94599" y="66167"/>
                  </a:lnTo>
                  <a:lnTo>
                    <a:pt x="94082" y="69398"/>
                  </a:lnTo>
                  <a:lnTo>
                    <a:pt x="93823" y="74438"/>
                  </a:lnTo>
                  <a:lnTo>
                    <a:pt x="92531" y="79866"/>
                  </a:lnTo>
                  <a:lnTo>
                    <a:pt x="91756" y="85423"/>
                  </a:lnTo>
                  <a:lnTo>
                    <a:pt x="91756" y="86070"/>
                  </a:lnTo>
                  <a:lnTo>
                    <a:pt x="91885" y="86716"/>
                  </a:lnTo>
                  <a:lnTo>
                    <a:pt x="92014" y="87362"/>
                  </a:lnTo>
                  <a:lnTo>
                    <a:pt x="92402" y="87879"/>
                  </a:lnTo>
                  <a:lnTo>
                    <a:pt x="92790" y="88267"/>
                  </a:lnTo>
                  <a:lnTo>
                    <a:pt x="93307" y="88525"/>
                  </a:lnTo>
                  <a:lnTo>
                    <a:pt x="94470" y="88783"/>
                  </a:lnTo>
                  <a:lnTo>
                    <a:pt x="99897" y="88913"/>
                  </a:lnTo>
                  <a:lnTo>
                    <a:pt x="100544" y="89042"/>
                  </a:lnTo>
                  <a:lnTo>
                    <a:pt x="101061" y="89300"/>
                  </a:lnTo>
                  <a:lnTo>
                    <a:pt x="101448" y="89688"/>
                  </a:lnTo>
                  <a:lnTo>
                    <a:pt x="101836" y="90076"/>
                  </a:lnTo>
                  <a:lnTo>
                    <a:pt x="102094" y="90593"/>
                  </a:lnTo>
                  <a:lnTo>
                    <a:pt x="102353" y="91110"/>
                  </a:lnTo>
                  <a:lnTo>
                    <a:pt x="102482" y="91756"/>
                  </a:lnTo>
                  <a:lnTo>
                    <a:pt x="103516" y="99251"/>
                  </a:lnTo>
                  <a:lnTo>
                    <a:pt x="103516" y="100673"/>
                  </a:lnTo>
                  <a:lnTo>
                    <a:pt x="103387" y="101578"/>
                  </a:lnTo>
                  <a:lnTo>
                    <a:pt x="103128" y="102482"/>
                  </a:lnTo>
                  <a:lnTo>
                    <a:pt x="102611" y="103516"/>
                  </a:lnTo>
                  <a:lnTo>
                    <a:pt x="102224" y="104162"/>
                  </a:lnTo>
                  <a:lnTo>
                    <a:pt x="101836" y="104679"/>
                  </a:lnTo>
                  <a:lnTo>
                    <a:pt x="101061" y="105455"/>
                  </a:lnTo>
                  <a:lnTo>
                    <a:pt x="100544" y="105713"/>
                  </a:lnTo>
                  <a:lnTo>
                    <a:pt x="98993" y="106359"/>
                  </a:lnTo>
                  <a:lnTo>
                    <a:pt x="96537" y="106747"/>
                  </a:lnTo>
                  <a:lnTo>
                    <a:pt x="84907" y="107135"/>
                  </a:lnTo>
                  <a:lnTo>
                    <a:pt x="84002" y="106876"/>
                  </a:lnTo>
                  <a:lnTo>
                    <a:pt x="83485" y="106359"/>
                  </a:lnTo>
                  <a:lnTo>
                    <a:pt x="83355" y="105713"/>
                  </a:lnTo>
                  <a:lnTo>
                    <a:pt x="83097" y="105067"/>
                  </a:lnTo>
                  <a:lnTo>
                    <a:pt x="82709" y="104679"/>
                  </a:lnTo>
                  <a:lnTo>
                    <a:pt x="82063" y="104550"/>
                  </a:lnTo>
                  <a:lnTo>
                    <a:pt x="81288" y="104550"/>
                  </a:lnTo>
                  <a:lnTo>
                    <a:pt x="79220" y="104679"/>
                  </a:lnTo>
                  <a:lnTo>
                    <a:pt x="76248" y="104550"/>
                  </a:lnTo>
                  <a:lnTo>
                    <a:pt x="73405" y="104808"/>
                  </a:lnTo>
                  <a:lnTo>
                    <a:pt x="71983" y="105196"/>
                  </a:lnTo>
                  <a:lnTo>
                    <a:pt x="71207" y="105584"/>
                  </a:lnTo>
                  <a:lnTo>
                    <a:pt x="70691" y="105971"/>
                  </a:lnTo>
                  <a:lnTo>
                    <a:pt x="70174" y="106359"/>
                  </a:lnTo>
                  <a:lnTo>
                    <a:pt x="69398" y="107135"/>
                  </a:lnTo>
                  <a:lnTo>
                    <a:pt x="69140" y="107652"/>
                  </a:lnTo>
                  <a:lnTo>
                    <a:pt x="68881" y="108168"/>
                  </a:lnTo>
                  <a:lnTo>
                    <a:pt x="68752" y="108685"/>
                  </a:lnTo>
                  <a:lnTo>
                    <a:pt x="68881" y="109332"/>
                  </a:lnTo>
                  <a:lnTo>
                    <a:pt x="69140" y="109719"/>
                  </a:lnTo>
                  <a:lnTo>
                    <a:pt x="70820" y="110624"/>
                  </a:lnTo>
                  <a:lnTo>
                    <a:pt x="71854" y="112950"/>
                  </a:lnTo>
                  <a:lnTo>
                    <a:pt x="72241" y="113467"/>
                  </a:lnTo>
                  <a:lnTo>
                    <a:pt x="72759" y="113726"/>
                  </a:lnTo>
                  <a:lnTo>
                    <a:pt x="74438" y="114372"/>
                  </a:lnTo>
                  <a:lnTo>
                    <a:pt x="75472" y="114889"/>
                  </a:lnTo>
                  <a:lnTo>
                    <a:pt x="76377" y="115535"/>
                  </a:lnTo>
                  <a:lnTo>
                    <a:pt x="76894" y="115793"/>
                  </a:lnTo>
                  <a:lnTo>
                    <a:pt x="77411" y="115793"/>
                  </a:lnTo>
                  <a:lnTo>
                    <a:pt x="77928" y="115535"/>
                  </a:lnTo>
                  <a:lnTo>
                    <a:pt x="79220" y="114372"/>
                  </a:lnTo>
                  <a:lnTo>
                    <a:pt x="79737" y="114113"/>
                  </a:lnTo>
                  <a:lnTo>
                    <a:pt x="80771" y="113596"/>
                  </a:lnTo>
                  <a:lnTo>
                    <a:pt x="81417" y="113467"/>
                  </a:lnTo>
                  <a:lnTo>
                    <a:pt x="82063" y="113467"/>
                  </a:lnTo>
                  <a:lnTo>
                    <a:pt x="82709" y="113596"/>
                  </a:lnTo>
                  <a:lnTo>
                    <a:pt x="83355" y="113726"/>
                  </a:lnTo>
                  <a:lnTo>
                    <a:pt x="83872" y="113984"/>
                  </a:lnTo>
                  <a:lnTo>
                    <a:pt x="84389" y="114372"/>
                  </a:lnTo>
                  <a:lnTo>
                    <a:pt x="84777" y="114759"/>
                  </a:lnTo>
                  <a:lnTo>
                    <a:pt x="85940" y="116698"/>
                  </a:lnTo>
                  <a:lnTo>
                    <a:pt x="86328" y="117086"/>
                  </a:lnTo>
                  <a:lnTo>
                    <a:pt x="86845" y="117473"/>
                  </a:lnTo>
                  <a:lnTo>
                    <a:pt x="87362" y="117732"/>
                  </a:lnTo>
                  <a:lnTo>
                    <a:pt x="88525" y="118119"/>
                  </a:lnTo>
                  <a:lnTo>
                    <a:pt x="88913" y="118507"/>
                  </a:lnTo>
                  <a:lnTo>
                    <a:pt x="89042" y="119024"/>
                  </a:lnTo>
                  <a:lnTo>
                    <a:pt x="88654" y="120058"/>
                  </a:lnTo>
                  <a:lnTo>
                    <a:pt x="88525" y="120833"/>
                  </a:lnTo>
                  <a:lnTo>
                    <a:pt x="88913" y="121867"/>
                  </a:lnTo>
                  <a:lnTo>
                    <a:pt x="89429" y="122255"/>
                  </a:lnTo>
                  <a:lnTo>
                    <a:pt x="90205" y="122513"/>
                  </a:lnTo>
                  <a:lnTo>
                    <a:pt x="90851" y="122643"/>
                  </a:lnTo>
                  <a:lnTo>
                    <a:pt x="91368" y="122901"/>
                  </a:lnTo>
                  <a:lnTo>
                    <a:pt x="91627" y="123418"/>
                  </a:lnTo>
                  <a:lnTo>
                    <a:pt x="91627" y="124193"/>
                  </a:lnTo>
                  <a:lnTo>
                    <a:pt x="90980" y="126132"/>
                  </a:lnTo>
                  <a:lnTo>
                    <a:pt x="88913" y="130267"/>
                  </a:lnTo>
                  <a:lnTo>
                    <a:pt x="88783" y="130914"/>
                  </a:lnTo>
                  <a:lnTo>
                    <a:pt x="88783" y="131560"/>
                  </a:lnTo>
                  <a:lnTo>
                    <a:pt x="89300" y="132464"/>
                  </a:lnTo>
                  <a:lnTo>
                    <a:pt x="89946" y="132852"/>
                  </a:lnTo>
                  <a:lnTo>
                    <a:pt x="91368" y="133111"/>
                  </a:lnTo>
                  <a:lnTo>
                    <a:pt x="91885" y="133240"/>
                  </a:lnTo>
                  <a:lnTo>
                    <a:pt x="92402" y="133498"/>
                  </a:lnTo>
                  <a:lnTo>
                    <a:pt x="97959" y="138926"/>
                  </a:lnTo>
                  <a:lnTo>
                    <a:pt x="98605" y="139831"/>
                  </a:lnTo>
                  <a:lnTo>
                    <a:pt x="100156" y="142286"/>
                  </a:lnTo>
                  <a:lnTo>
                    <a:pt x="100414" y="142803"/>
                  </a:lnTo>
                  <a:lnTo>
                    <a:pt x="101190" y="145905"/>
                  </a:lnTo>
                  <a:lnTo>
                    <a:pt x="101448" y="149782"/>
                  </a:lnTo>
                  <a:lnTo>
                    <a:pt x="101190" y="152625"/>
                  </a:lnTo>
                  <a:lnTo>
                    <a:pt x="100673" y="155339"/>
                  </a:lnTo>
                  <a:lnTo>
                    <a:pt x="100802" y="156502"/>
                  </a:lnTo>
                  <a:lnTo>
                    <a:pt x="101190" y="157277"/>
                  </a:lnTo>
                  <a:lnTo>
                    <a:pt x="101707" y="157536"/>
                  </a:lnTo>
                  <a:lnTo>
                    <a:pt x="102094" y="157923"/>
                  </a:lnTo>
                  <a:lnTo>
                    <a:pt x="102353" y="158570"/>
                  </a:lnTo>
                  <a:lnTo>
                    <a:pt x="102353" y="159603"/>
                  </a:lnTo>
                  <a:lnTo>
                    <a:pt x="101965" y="162576"/>
                  </a:lnTo>
                  <a:lnTo>
                    <a:pt x="101836" y="165677"/>
                  </a:lnTo>
                  <a:lnTo>
                    <a:pt x="101707" y="167099"/>
                  </a:lnTo>
                  <a:lnTo>
                    <a:pt x="101577" y="167745"/>
                  </a:lnTo>
                  <a:lnTo>
                    <a:pt x="99251" y="173302"/>
                  </a:lnTo>
                  <a:lnTo>
                    <a:pt x="98864" y="174724"/>
                  </a:lnTo>
                  <a:lnTo>
                    <a:pt x="98734" y="175758"/>
                  </a:lnTo>
                  <a:lnTo>
                    <a:pt x="98993" y="176921"/>
                  </a:lnTo>
                  <a:lnTo>
                    <a:pt x="98993" y="177567"/>
                  </a:lnTo>
                  <a:lnTo>
                    <a:pt x="98993" y="178213"/>
                  </a:lnTo>
                  <a:lnTo>
                    <a:pt x="98864" y="178859"/>
                  </a:lnTo>
                  <a:lnTo>
                    <a:pt x="98734" y="179505"/>
                  </a:lnTo>
                  <a:lnTo>
                    <a:pt x="98347" y="180281"/>
                  </a:lnTo>
                  <a:lnTo>
                    <a:pt x="97701" y="181056"/>
                  </a:lnTo>
                  <a:lnTo>
                    <a:pt x="96279" y="182348"/>
                  </a:lnTo>
                  <a:lnTo>
                    <a:pt x="95374" y="182865"/>
                  </a:lnTo>
                  <a:lnTo>
                    <a:pt x="94599" y="183124"/>
                  </a:lnTo>
                  <a:lnTo>
                    <a:pt x="93694" y="183124"/>
                  </a:lnTo>
                  <a:lnTo>
                    <a:pt x="93177" y="182995"/>
                  </a:lnTo>
                  <a:lnTo>
                    <a:pt x="92531" y="182736"/>
                  </a:lnTo>
                  <a:lnTo>
                    <a:pt x="90592" y="181573"/>
                  </a:lnTo>
                  <a:lnTo>
                    <a:pt x="90076" y="181573"/>
                  </a:lnTo>
                  <a:lnTo>
                    <a:pt x="89559" y="181832"/>
                  </a:lnTo>
                  <a:lnTo>
                    <a:pt x="89300" y="182865"/>
                  </a:lnTo>
                  <a:lnTo>
                    <a:pt x="89171" y="183382"/>
                  </a:lnTo>
                  <a:lnTo>
                    <a:pt x="89300" y="184029"/>
                  </a:lnTo>
                  <a:lnTo>
                    <a:pt x="89429" y="184545"/>
                  </a:lnTo>
                  <a:lnTo>
                    <a:pt x="91109" y="187518"/>
                  </a:lnTo>
                  <a:lnTo>
                    <a:pt x="91239" y="188035"/>
                  </a:lnTo>
                  <a:lnTo>
                    <a:pt x="90980" y="188810"/>
                  </a:lnTo>
                  <a:lnTo>
                    <a:pt x="90463" y="189844"/>
                  </a:lnTo>
                  <a:lnTo>
                    <a:pt x="87362" y="193333"/>
                  </a:lnTo>
                  <a:lnTo>
                    <a:pt x="86974" y="193721"/>
                  </a:lnTo>
                  <a:lnTo>
                    <a:pt x="86457" y="193850"/>
                  </a:lnTo>
                  <a:lnTo>
                    <a:pt x="85811" y="193850"/>
                  </a:lnTo>
                  <a:lnTo>
                    <a:pt x="85294" y="193979"/>
                  </a:lnTo>
                  <a:lnTo>
                    <a:pt x="84648" y="194367"/>
                  </a:lnTo>
                  <a:lnTo>
                    <a:pt x="84002" y="195660"/>
                  </a:lnTo>
                  <a:lnTo>
                    <a:pt x="82968" y="196823"/>
                  </a:lnTo>
                  <a:lnTo>
                    <a:pt x="82322" y="197469"/>
                  </a:lnTo>
                  <a:lnTo>
                    <a:pt x="78703" y="199537"/>
                  </a:lnTo>
                  <a:lnTo>
                    <a:pt x="78315" y="199924"/>
                  </a:lnTo>
                  <a:lnTo>
                    <a:pt x="77669" y="200829"/>
                  </a:lnTo>
                  <a:lnTo>
                    <a:pt x="76765" y="203801"/>
                  </a:lnTo>
                  <a:lnTo>
                    <a:pt x="75085" y="215045"/>
                  </a:lnTo>
                  <a:lnTo>
                    <a:pt x="75472" y="216337"/>
                  </a:lnTo>
                  <a:lnTo>
                    <a:pt x="75472" y="217629"/>
                  </a:lnTo>
                  <a:lnTo>
                    <a:pt x="74568" y="223962"/>
                  </a:lnTo>
                  <a:lnTo>
                    <a:pt x="74309" y="224608"/>
                  </a:lnTo>
                  <a:lnTo>
                    <a:pt x="73792" y="225254"/>
                  </a:lnTo>
                  <a:lnTo>
                    <a:pt x="72112" y="226159"/>
                  </a:lnTo>
                  <a:lnTo>
                    <a:pt x="71337" y="226805"/>
                  </a:lnTo>
                  <a:lnTo>
                    <a:pt x="69269" y="229260"/>
                  </a:lnTo>
                  <a:lnTo>
                    <a:pt x="68364" y="229777"/>
                  </a:lnTo>
                  <a:lnTo>
                    <a:pt x="67589" y="229907"/>
                  </a:lnTo>
                  <a:lnTo>
                    <a:pt x="66943" y="229777"/>
                  </a:lnTo>
                  <a:lnTo>
                    <a:pt x="66297" y="229648"/>
                  </a:lnTo>
                  <a:lnTo>
                    <a:pt x="65650" y="229777"/>
                  </a:lnTo>
                  <a:lnTo>
                    <a:pt x="65133" y="230036"/>
                  </a:lnTo>
                  <a:lnTo>
                    <a:pt x="64617" y="230423"/>
                  </a:lnTo>
                  <a:lnTo>
                    <a:pt x="64100" y="230940"/>
                  </a:lnTo>
                  <a:lnTo>
                    <a:pt x="63066" y="232491"/>
                  </a:lnTo>
                  <a:lnTo>
                    <a:pt x="62161" y="233525"/>
                  </a:lnTo>
                  <a:lnTo>
                    <a:pt x="61774" y="234042"/>
                  </a:lnTo>
                  <a:lnTo>
                    <a:pt x="61515" y="234817"/>
                  </a:lnTo>
                  <a:lnTo>
                    <a:pt x="61386" y="236368"/>
                  </a:lnTo>
                  <a:lnTo>
                    <a:pt x="61386" y="238823"/>
                  </a:lnTo>
                  <a:lnTo>
                    <a:pt x="61386" y="239211"/>
                  </a:lnTo>
                  <a:lnTo>
                    <a:pt x="61127" y="240374"/>
                  </a:lnTo>
                  <a:lnTo>
                    <a:pt x="58672" y="247870"/>
                  </a:lnTo>
                  <a:lnTo>
                    <a:pt x="57896" y="251359"/>
                  </a:lnTo>
                  <a:lnTo>
                    <a:pt x="57896" y="252910"/>
                  </a:lnTo>
                  <a:lnTo>
                    <a:pt x="57767" y="253556"/>
                  </a:lnTo>
                  <a:lnTo>
                    <a:pt x="57638" y="254202"/>
                  </a:lnTo>
                  <a:lnTo>
                    <a:pt x="55183" y="260535"/>
                  </a:lnTo>
                  <a:lnTo>
                    <a:pt x="54795" y="261052"/>
                  </a:lnTo>
                  <a:lnTo>
                    <a:pt x="54149" y="261439"/>
                  </a:lnTo>
                  <a:lnTo>
                    <a:pt x="52210" y="262086"/>
                  </a:lnTo>
                  <a:lnTo>
                    <a:pt x="50918" y="263507"/>
                  </a:lnTo>
                  <a:lnTo>
                    <a:pt x="47816" y="263378"/>
                  </a:lnTo>
                  <a:lnTo>
                    <a:pt x="17705" y="262861"/>
                  </a:lnTo>
                  <a:lnTo>
                    <a:pt x="16413" y="262990"/>
                  </a:lnTo>
                  <a:lnTo>
                    <a:pt x="15379" y="263507"/>
                  </a:lnTo>
                  <a:lnTo>
                    <a:pt x="14862" y="264024"/>
                  </a:lnTo>
                  <a:lnTo>
                    <a:pt x="14474" y="264541"/>
                  </a:lnTo>
                  <a:lnTo>
                    <a:pt x="13828" y="265446"/>
                  </a:lnTo>
                  <a:lnTo>
                    <a:pt x="13569" y="265963"/>
                  </a:lnTo>
                  <a:lnTo>
                    <a:pt x="11889" y="270874"/>
                  </a:lnTo>
                  <a:lnTo>
                    <a:pt x="11243" y="272037"/>
                  </a:lnTo>
                  <a:lnTo>
                    <a:pt x="10597" y="272683"/>
                  </a:lnTo>
                  <a:lnTo>
                    <a:pt x="6978" y="274621"/>
                  </a:lnTo>
                  <a:lnTo>
                    <a:pt x="5169" y="275914"/>
                  </a:lnTo>
                  <a:lnTo>
                    <a:pt x="4394" y="276689"/>
                  </a:lnTo>
                  <a:lnTo>
                    <a:pt x="3360" y="278111"/>
                  </a:lnTo>
                  <a:lnTo>
                    <a:pt x="3101" y="278627"/>
                  </a:lnTo>
                  <a:lnTo>
                    <a:pt x="2843" y="279274"/>
                  </a:lnTo>
                  <a:lnTo>
                    <a:pt x="2714" y="279920"/>
                  </a:lnTo>
                  <a:lnTo>
                    <a:pt x="2843" y="280954"/>
                  </a:lnTo>
                  <a:lnTo>
                    <a:pt x="3101" y="281858"/>
                  </a:lnTo>
                  <a:lnTo>
                    <a:pt x="3747" y="283151"/>
                  </a:lnTo>
                  <a:lnTo>
                    <a:pt x="4265" y="284701"/>
                  </a:lnTo>
                  <a:lnTo>
                    <a:pt x="4782" y="285348"/>
                  </a:lnTo>
                  <a:lnTo>
                    <a:pt x="5299" y="285864"/>
                  </a:lnTo>
                  <a:lnTo>
                    <a:pt x="8917" y="287545"/>
                  </a:lnTo>
                  <a:lnTo>
                    <a:pt x="7754" y="292843"/>
                  </a:lnTo>
                  <a:lnTo>
                    <a:pt x="7754" y="295816"/>
                  </a:lnTo>
                  <a:lnTo>
                    <a:pt x="7883" y="296591"/>
                  </a:lnTo>
                  <a:lnTo>
                    <a:pt x="8788" y="298788"/>
                  </a:lnTo>
                  <a:lnTo>
                    <a:pt x="8917" y="299434"/>
                  </a:lnTo>
                  <a:lnTo>
                    <a:pt x="8788" y="300080"/>
                  </a:lnTo>
                  <a:lnTo>
                    <a:pt x="8142" y="300597"/>
                  </a:lnTo>
                  <a:lnTo>
                    <a:pt x="6978" y="301243"/>
                  </a:lnTo>
                  <a:lnTo>
                    <a:pt x="6591" y="301760"/>
                  </a:lnTo>
                  <a:lnTo>
                    <a:pt x="6332" y="302406"/>
                  </a:lnTo>
                  <a:lnTo>
                    <a:pt x="4911" y="306930"/>
                  </a:lnTo>
                  <a:lnTo>
                    <a:pt x="4265" y="308093"/>
                  </a:lnTo>
                  <a:lnTo>
                    <a:pt x="2972" y="309902"/>
                  </a:lnTo>
                  <a:lnTo>
                    <a:pt x="2843" y="310419"/>
                  </a:lnTo>
                  <a:lnTo>
                    <a:pt x="2972" y="310936"/>
                  </a:lnTo>
                  <a:lnTo>
                    <a:pt x="3489" y="311323"/>
                  </a:lnTo>
                  <a:lnTo>
                    <a:pt x="4006" y="311323"/>
                  </a:lnTo>
                  <a:lnTo>
                    <a:pt x="4523" y="311065"/>
                  </a:lnTo>
                  <a:lnTo>
                    <a:pt x="5428" y="310419"/>
                  </a:lnTo>
                  <a:lnTo>
                    <a:pt x="6074" y="310290"/>
                  </a:lnTo>
                  <a:lnTo>
                    <a:pt x="6720" y="310419"/>
                  </a:lnTo>
                  <a:lnTo>
                    <a:pt x="7237" y="310677"/>
                  </a:lnTo>
                  <a:lnTo>
                    <a:pt x="7625" y="311065"/>
                  </a:lnTo>
                  <a:lnTo>
                    <a:pt x="7625" y="311711"/>
                  </a:lnTo>
                  <a:lnTo>
                    <a:pt x="7366" y="312616"/>
                  </a:lnTo>
                  <a:lnTo>
                    <a:pt x="5040" y="315718"/>
                  </a:lnTo>
                  <a:lnTo>
                    <a:pt x="4265" y="317139"/>
                  </a:lnTo>
                  <a:lnTo>
                    <a:pt x="2197" y="322179"/>
                  </a:lnTo>
                  <a:lnTo>
                    <a:pt x="1421" y="323342"/>
                  </a:lnTo>
                  <a:lnTo>
                    <a:pt x="775" y="324118"/>
                  </a:lnTo>
                  <a:lnTo>
                    <a:pt x="258" y="324505"/>
                  </a:lnTo>
                  <a:lnTo>
                    <a:pt x="0" y="325022"/>
                  </a:lnTo>
                  <a:lnTo>
                    <a:pt x="129" y="325927"/>
                  </a:lnTo>
                  <a:lnTo>
                    <a:pt x="388" y="326444"/>
                  </a:lnTo>
                  <a:lnTo>
                    <a:pt x="1938" y="327349"/>
                  </a:lnTo>
                  <a:lnTo>
                    <a:pt x="7625" y="329675"/>
                  </a:lnTo>
                  <a:lnTo>
                    <a:pt x="13440" y="331226"/>
                  </a:lnTo>
                  <a:lnTo>
                    <a:pt x="14345" y="331613"/>
                  </a:lnTo>
                  <a:lnTo>
                    <a:pt x="14732" y="332001"/>
                  </a:lnTo>
                  <a:lnTo>
                    <a:pt x="15120" y="332389"/>
                  </a:lnTo>
                  <a:lnTo>
                    <a:pt x="15249" y="332905"/>
                  </a:lnTo>
                  <a:lnTo>
                    <a:pt x="15249" y="333552"/>
                  </a:lnTo>
                  <a:lnTo>
                    <a:pt x="14991" y="335619"/>
                  </a:lnTo>
                  <a:lnTo>
                    <a:pt x="15120" y="336395"/>
                  </a:lnTo>
                  <a:lnTo>
                    <a:pt x="15637" y="337170"/>
                  </a:lnTo>
                  <a:lnTo>
                    <a:pt x="16283" y="337558"/>
                  </a:lnTo>
                  <a:lnTo>
                    <a:pt x="17317" y="337946"/>
                  </a:lnTo>
                  <a:lnTo>
                    <a:pt x="17576" y="338463"/>
                  </a:lnTo>
                  <a:lnTo>
                    <a:pt x="17447" y="338979"/>
                  </a:lnTo>
                  <a:lnTo>
                    <a:pt x="17188" y="339497"/>
                  </a:lnTo>
                  <a:lnTo>
                    <a:pt x="17059" y="340143"/>
                  </a:lnTo>
                  <a:lnTo>
                    <a:pt x="17059" y="342081"/>
                  </a:lnTo>
                  <a:lnTo>
                    <a:pt x="16930" y="342857"/>
                  </a:lnTo>
                  <a:lnTo>
                    <a:pt x="16413" y="344020"/>
                  </a:lnTo>
                  <a:lnTo>
                    <a:pt x="16413" y="344924"/>
                  </a:lnTo>
                  <a:lnTo>
                    <a:pt x="16671" y="346087"/>
                  </a:lnTo>
                  <a:lnTo>
                    <a:pt x="17576" y="348155"/>
                  </a:lnTo>
                  <a:lnTo>
                    <a:pt x="18222" y="350223"/>
                  </a:lnTo>
                  <a:lnTo>
                    <a:pt x="18222" y="350869"/>
                  </a:lnTo>
                  <a:lnTo>
                    <a:pt x="18093" y="351515"/>
                  </a:lnTo>
                  <a:lnTo>
                    <a:pt x="17705" y="352937"/>
                  </a:lnTo>
                  <a:lnTo>
                    <a:pt x="17705" y="354100"/>
                  </a:lnTo>
                  <a:lnTo>
                    <a:pt x="17576" y="354746"/>
                  </a:lnTo>
                  <a:lnTo>
                    <a:pt x="17447" y="355392"/>
                  </a:lnTo>
                  <a:lnTo>
                    <a:pt x="17317" y="356297"/>
                  </a:lnTo>
                  <a:lnTo>
                    <a:pt x="17059" y="356943"/>
                  </a:lnTo>
                  <a:lnTo>
                    <a:pt x="16671" y="357331"/>
                  </a:lnTo>
                  <a:lnTo>
                    <a:pt x="16542" y="357848"/>
                  </a:lnTo>
                  <a:lnTo>
                    <a:pt x="16930" y="359657"/>
                  </a:lnTo>
                  <a:lnTo>
                    <a:pt x="16930" y="360561"/>
                  </a:lnTo>
                  <a:lnTo>
                    <a:pt x="16800" y="361337"/>
                  </a:lnTo>
                  <a:lnTo>
                    <a:pt x="16800" y="362371"/>
                  </a:lnTo>
                  <a:lnTo>
                    <a:pt x="17188" y="362888"/>
                  </a:lnTo>
                  <a:lnTo>
                    <a:pt x="17834" y="363275"/>
                  </a:lnTo>
                  <a:lnTo>
                    <a:pt x="18093" y="363792"/>
                  </a:lnTo>
                  <a:lnTo>
                    <a:pt x="18093" y="364309"/>
                  </a:lnTo>
                  <a:lnTo>
                    <a:pt x="17963" y="365085"/>
                  </a:lnTo>
                  <a:lnTo>
                    <a:pt x="18222" y="365343"/>
                  </a:lnTo>
                  <a:lnTo>
                    <a:pt x="18610" y="365343"/>
                  </a:lnTo>
                  <a:lnTo>
                    <a:pt x="19126" y="365085"/>
                  </a:lnTo>
                  <a:lnTo>
                    <a:pt x="19643" y="364956"/>
                  </a:lnTo>
                  <a:lnTo>
                    <a:pt x="20290" y="364956"/>
                  </a:lnTo>
                  <a:lnTo>
                    <a:pt x="20936" y="365085"/>
                  </a:lnTo>
                  <a:lnTo>
                    <a:pt x="21969" y="365472"/>
                  </a:lnTo>
                  <a:lnTo>
                    <a:pt x="22228" y="365602"/>
                  </a:lnTo>
                  <a:lnTo>
                    <a:pt x="24425" y="367411"/>
                  </a:lnTo>
                  <a:lnTo>
                    <a:pt x="25071" y="367799"/>
                  </a:lnTo>
                  <a:lnTo>
                    <a:pt x="27785" y="368574"/>
                  </a:lnTo>
                  <a:lnTo>
                    <a:pt x="28948" y="369091"/>
                  </a:lnTo>
                  <a:lnTo>
                    <a:pt x="30887" y="369996"/>
                  </a:lnTo>
                  <a:lnTo>
                    <a:pt x="32696" y="371159"/>
                  </a:lnTo>
                  <a:lnTo>
                    <a:pt x="33730" y="371676"/>
                  </a:lnTo>
                  <a:lnTo>
                    <a:pt x="34634" y="371934"/>
                  </a:lnTo>
                  <a:lnTo>
                    <a:pt x="35410" y="372063"/>
                  </a:lnTo>
                  <a:lnTo>
                    <a:pt x="36185" y="372322"/>
                  </a:lnTo>
                  <a:lnTo>
                    <a:pt x="36832" y="372580"/>
                  </a:lnTo>
                  <a:lnTo>
                    <a:pt x="38770" y="372839"/>
                  </a:lnTo>
                  <a:lnTo>
                    <a:pt x="39416" y="372709"/>
                  </a:lnTo>
                  <a:lnTo>
                    <a:pt x="39933" y="372451"/>
                  </a:lnTo>
                  <a:lnTo>
                    <a:pt x="40321" y="372193"/>
                  </a:lnTo>
                  <a:lnTo>
                    <a:pt x="40708" y="372193"/>
                  </a:lnTo>
                  <a:lnTo>
                    <a:pt x="41096" y="372193"/>
                  </a:lnTo>
                  <a:lnTo>
                    <a:pt x="42776" y="372968"/>
                  </a:lnTo>
                  <a:lnTo>
                    <a:pt x="45102" y="374648"/>
                  </a:lnTo>
                  <a:lnTo>
                    <a:pt x="45748" y="375036"/>
                  </a:lnTo>
                  <a:lnTo>
                    <a:pt x="47558" y="375811"/>
                  </a:lnTo>
                  <a:lnTo>
                    <a:pt x="48204" y="375940"/>
                  </a:lnTo>
                  <a:lnTo>
                    <a:pt x="48721" y="376070"/>
                  </a:lnTo>
                  <a:lnTo>
                    <a:pt x="49626" y="375940"/>
                  </a:lnTo>
                  <a:lnTo>
                    <a:pt x="51176" y="374648"/>
                  </a:lnTo>
                  <a:lnTo>
                    <a:pt x="51822" y="374390"/>
                  </a:lnTo>
                  <a:lnTo>
                    <a:pt x="52856" y="374260"/>
                  </a:lnTo>
                  <a:lnTo>
                    <a:pt x="55829" y="374648"/>
                  </a:lnTo>
                  <a:lnTo>
                    <a:pt x="60223" y="375682"/>
                  </a:lnTo>
                  <a:lnTo>
                    <a:pt x="61127" y="376070"/>
                  </a:lnTo>
                  <a:lnTo>
                    <a:pt x="61644" y="376586"/>
                  </a:lnTo>
                  <a:lnTo>
                    <a:pt x="61903" y="377104"/>
                  </a:lnTo>
                  <a:lnTo>
                    <a:pt x="62161" y="377491"/>
                  </a:lnTo>
                  <a:lnTo>
                    <a:pt x="62549" y="377750"/>
                  </a:lnTo>
                  <a:lnTo>
                    <a:pt x="66038" y="379300"/>
                  </a:lnTo>
                  <a:lnTo>
                    <a:pt x="67072" y="379559"/>
                  </a:lnTo>
                  <a:lnTo>
                    <a:pt x="67977" y="379559"/>
                  </a:lnTo>
                  <a:lnTo>
                    <a:pt x="70561" y="379042"/>
                  </a:lnTo>
                  <a:lnTo>
                    <a:pt x="75731" y="379042"/>
                  </a:lnTo>
                  <a:lnTo>
                    <a:pt x="83485" y="377362"/>
                  </a:lnTo>
                  <a:lnTo>
                    <a:pt x="87233" y="377233"/>
                  </a:lnTo>
                  <a:lnTo>
                    <a:pt x="87879" y="377491"/>
                  </a:lnTo>
                  <a:lnTo>
                    <a:pt x="89300" y="378525"/>
                  </a:lnTo>
                  <a:lnTo>
                    <a:pt x="90076" y="378913"/>
                  </a:lnTo>
                  <a:lnTo>
                    <a:pt x="94987" y="380593"/>
                  </a:lnTo>
                  <a:lnTo>
                    <a:pt x="95374" y="380851"/>
                  </a:lnTo>
                  <a:lnTo>
                    <a:pt x="95762" y="381239"/>
                  </a:lnTo>
                  <a:lnTo>
                    <a:pt x="96666" y="382919"/>
                  </a:lnTo>
                  <a:lnTo>
                    <a:pt x="98218" y="383953"/>
                  </a:lnTo>
                  <a:lnTo>
                    <a:pt x="98218" y="383953"/>
                  </a:lnTo>
                  <a:lnTo>
                    <a:pt x="99639" y="379817"/>
                  </a:lnTo>
                  <a:lnTo>
                    <a:pt x="102740" y="374390"/>
                  </a:lnTo>
                  <a:lnTo>
                    <a:pt x="110882" y="363405"/>
                  </a:lnTo>
                  <a:lnTo>
                    <a:pt x="111399" y="361725"/>
                  </a:lnTo>
                  <a:lnTo>
                    <a:pt x="111658" y="360432"/>
                  </a:lnTo>
                  <a:lnTo>
                    <a:pt x="112562" y="358235"/>
                  </a:lnTo>
                  <a:lnTo>
                    <a:pt x="114242" y="356814"/>
                  </a:lnTo>
                  <a:lnTo>
                    <a:pt x="114630" y="354746"/>
                  </a:lnTo>
                  <a:lnTo>
                    <a:pt x="115018" y="352420"/>
                  </a:lnTo>
                  <a:lnTo>
                    <a:pt x="114888" y="348414"/>
                  </a:lnTo>
                  <a:lnTo>
                    <a:pt x="115664" y="344795"/>
                  </a:lnTo>
                  <a:lnTo>
                    <a:pt x="116956" y="343115"/>
                  </a:lnTo>
                  <a:lnTo>
                    <a:pt x="117990" y="341564"/>
                  </a:lnTo>
                  <a:lnTo>
                    <a:pt x="118636" y="340013"/>
                  </a:lnTo>
                  <a:lnTo>
                    <a:pt x="119929" y="339238"/>
                  </a:lnTo>
                  <a:lnTo>
                    <a:pt x="120187" y="337170"/>
                  </a:lnTo>
                  <a:lnTo>
                    <a:pt x="121479" y="335878"/>
                  </a:lnTo>
                  <a:lnTo>
                    <a:pt x="123030" y="334844"/>
                  </a:lnTo>
                  <a:lnTo>
                    <a:pt x="126261" y="333939"/>
                  </a:lnTo>
                  <a:lnTo>
                    <a:pt x="129880" y="331613"/>
                  </a:lnTo>
                  <a:lnTo>
                    <a:pt x="130397" y="331226"/>
                  </a:lnTo>
                  <a:lnTo>
                    <a:pt x="131560" y="330709"/>
                  </a:lnTo>
                  <a:lnTo>
                    <a:pt x="132723" y="330709"/>
                  </a:lnTo>
                  <a:lnTo>
                    <a:pt x="133240" y="331872"/>
                  </a:lnTo>
                  <a:lnTo>
                    <a:pt x="133498" y="333035"/>
                  </a:lnTo>
                  <a:lnTo>
                    <a:pt x="134144" y="334198"/>
                  </a:lnTo>
                  <a:lnTo>
                    <a:pt x="135049" y="333552"/>
                  </a:lnTo>
                  <a:lnTo>
                    <a:pt x="136083" y="330579"/>
                  </a:lnTo>
                  <a:lnTo>
                    <a:pt x="138926" y="329933"/>
                  </a:lnTo>
                  <a:lnTo>
                    <a:pt x="140864" y="324376"/>
                  </a:lnTo>
                  <a:lnTo>
                    <a:pt x="141898" y="323342"/>
                  </a:lnTo>
                  <a:lnTo>
                    <a:pt x="144225" y="321404"/>
                  </a:lnTo>
                  <a:lnTo>
                    <a:pt x="145258" y="320111"/>
                  </a:lnTo>
                  <a:lnTo>
                    <a:pt x="149652" y="312487"/>
                  </a:lnTo>
                  <a:lnTo>
                    <a:pt x="150557" y="311323"/>
                  </a:lnTo>
                  <a:lnTo>
                    <a:pt x="153142" y="308997"/>
                  </a:lnTo>
                  <a:lnTo>
                    <a:pt x="155080" y="310290"/>
                  </a:lnTo>
                  <a:lnTo>
                    <a:pt x="156631" y="308739"/>
                  </a:lnTo>
                  <a:lnTo>
                    <a:pt x="158957" y="303440"/>
                  </a:lnTo>
                  <a:lnTo>
                    <a:pt x="164126" y="295557"/>
                  </a:lnTo>
                  <a:lnTo>
                    <a:pt x="165419" y="290517"/>
                  </a:lnTo>
                  <a:lnTo>
                    <a:pt x="168004" y="286123"/>
                  </a:lnTo>
                  <a:lnTo>
                    <a:pt x="169037" y="280824"/>
                  </a:lnTo>
                  <a:lnTo>
                    <a:pt x="170330" y="278498"/>
                  </a:lnTo>
                  <a:lnTo>
                    <a:pt x="172010" y="276560"/>
                  </a:lnTo>
                  <a:lnTo>
                    <a:pt x="173690" y="275138"/>
                  </a:lnTo>
                  <a:lnTo>
                    <a:pt x="171234" y="274363"/>
                  </a:lnTo>
                  <a:lnTo>
                    <a:pt x="169296" y="275009"/>
                  </a:lnTo>
                  <a:lnTo>
                    <a:pt x="167745" y="276689"/>
                  </a:lnTo>
                  <a:lnTo>
                    <a:pt x="166582" y="277077"/>
                  </a:lnTo>
                  <a:lnTo>
                    <a:pt x="166711" y="275655"/>
                  </a:lnTo>
                  <a:lnTo>
                    <a:pt x="164126" y="275784"/>
                  </a:lnTo>
                  <a:lnTo>
                    <a:pt x="162188" y="275397"/>
                  </a:lnTo>
                  <a:lnTo>
                    <a:pt x="161671" y="272941"/>
                  </a:lnTo>
                  <a:lnTo>
                    <a:pt x="162576" y="270615"/>
                  </a:lnTo>
                  <a:lnTo>
                    <a:pt x="161800" y="270098"/>
                  </a:lnTo>
                  <a:lnTo>
                    <a:pt x="161542" y="269969"/>
                  </a:lnTo>
                  <a:lnTo>
                    <a:pt x="161025" y="269840"/>
                  </a:lnTo>
                  <a:lnTo>
                    <a:pt x="161025" y="268935"/>
                  </a:lnTo>
                  <a:lnTo>
                    <a:pt x="163093" y="268935"/>
                  </a:lnTo>
                  <a:lnTo>
                    <a:pt x="163739" y="267772"/>
                  </a:lnTo>
                  <a:lnTo>
                    <a:pt x="163222" y="266221"/>
                  </a:lnTo>
                  <a:lnTo>
                    <a:pt x="161800" y="265058"/>
                  </a:lnTo>
                  <a:lnTo>
                    <a:pt x="165419" y="264541"/>
                  </a:lnTo>
                  <a:lnTo>
                    <a:pt x="167487" y="264541"/>
                  </a:lnTo>
                  <a:lnTo>
                    <a:pt x="169167" y="265058"/>
                  </a:lnTo>
                  <a:lnTo>
                    <a:pt x="169942" y="266479"/>
                  </a:lnTo>
                  <a:lnTo>
                    <a:pt x="169425" y="269710"/>
                  </a:lnTo>
                  <a:lnTo>
                    <a:pt x="170588" y="270486"/>
                  </a:lnTo>
                  <a:lnTo>
                    <a:pt x="171363" y="269969"/>
                  </a:lnTo>
                  <a:lnTo>
                    <a:pt x="172010" y="268935"/>
                  </a:lnTo>
                  <a:lnTo>
                    <a:pt x="172785" y="268160"/>
                  </a:lnTo>
                  <a:lnTo>
                    <a:pt x="173819" y="268547"/>
                  </a:lnTo>
                  <a:lnTo>
                    <a:pt x="174724" y="269710"/>
                  </a:lnTo>
                  <a:lnTo>
                    <a:pt x="174982" y="270227"/>
                  </a:lnTo>
                  <a:lnTo>
                    <a:pt x="175241" y="269969"/>
                  </a:lnTo>
                  <a:lnTo>
                    <a:pt x="176145" y="268935"/>
                  </a:lnTo>
                  <a:lnTo>
                    <a:pt x="177179" y="267255"/>
                  </a:lnTo>
                  <a:lnTo>
                    <a:pt x="179376" y="262344"/>
                  </a:lnTo>
                  <a:lnTo>
                    <a:pt x="180152" y="261310"/>
                  </a:lnTo>
                  <a:lnTo>
                    <a:pt x="180539" y="260276"/>
                  </a:lnTo>
                  <a:lnTo>
                    <a:pt x="182219" y="252910"/>
                  </a:lnTo>
                  <a:lnTo>
                    <a:pt x="183253" y="250713"/>
                  </a:lnTo>
                  <a:lnTo>
                    <a:pt x="183511" y="249550"/>
                  </a:lnTo>
                  <a:lnTo>
                    <a:pt x="183253" y="248516"/>
                  </a:lnTo>
                  <a:lnTo>
                    <a:pt x="182219" y="246319"/>
                  </a:lnTo>
                  <a:lnTo>
                    <a:pt x="181961" y="245285"/>
                  </a:lnTo>
                  <a:lnTo>
                    <a:pt x="181832" y="243605"/>
                  </a:lnTo>
                  <a:lnTo>
                    <a:pt x="182736" y="242571"/>
                  </a:lnTo>
                  <a:lnTo>
                    <a:pt x="183511" y="242054"/>
                  </a:lnTo>
                  <a:lnTo>
                    <a:pt x="184416" y="241796"/>
                  </a:lnTo>
                  <a:lnTo>
                    <a:pt x="185191" y="241279"/>
                  </a:lnTo>
                  <a:lnTo>
                    <a:pt x="186742" y="235463"/>
                  </a:lnTo>
                  <a:lnTo>
                    <a:pt x="186484" y="234042"/>
                  </a:lnTo>
                  <a:lnTo>
                    <a:pt x="184028" y="234042"/>
                  </a:lnTo>
                  <a:lnTo>
                    <a:pt x="185709" y="232491"/>
                  </a:lnTo>
                  <a:lnTo>
                    <a:pt x="190490" y="230811"/>
                  </a:lnTo>
                  <a:lnTo>
                    <a:pt x="191524" y="229002"/>
                  </a:lnTo>
                  <a:lnTo>
                    <a:pt x="192041" y="226805"/>
                  </a:lnTo>
                  <a:lnTo>
                    <a:pt x="198115" y="211943"/>
                  </a:lnTo>
                  <a:lnTo>
                    <a:pt x="199924" y="210004"/>
                  </a:lnTo>
                  <a:lnTo>
                    <a:pt x="206127" y="205223"/>
                  </a:lnTo>
                  <a:lnTo>
                    <a:pt x="218534" y="199795"/>
                  </a:lnTo>
                  <a:lnTo>
                    <a:pt x="221506" y="197469"/>
                  </a:lnTo>
                  <a:lnTo>
                    <a:pt x="223703" y="193592"/>
                  </a:lnTo>
                  <a:lnTo>
                    <a:pt x="231845" y="172656"/>
                  </a:lnTo>
                  <a:lnTo>
                    <a:pt x="232749" y="168133"/>
                  </a:lnTo>
                  <a:lnTo>
                    <a:pt x="233137" y="152754"/>
                  </a:lnTo>
                  <a:lnTo>
                    <a:pt x="230811" y="135954"/>
                  </a:lnTo>
                  <a:lnTo>
                    <a:pt x="228485" y="114759"/>
                  </a:lnTo>
                  <a:lnTo>
                    <a:pt x="228097" y="89947"/>
                  </a:lnTo>
                  <a:lnTo>
                    <a:pt x="230294" y="71595"/>
                  </a:lnTo>
                  <a:lnTo>
                    <a:pt x="236368" y="50660"/>
                  </a:lnTo>
                  <a:close/>
                  <a:moveTo>
                    <a:pt x="1391587" y="297496"/>
                  </a:moveTo>
                  <a:lnTo>
                    <a:pt x="1391457" y="297625"/>
                  </a:lnTo>
                  <a:lnTo>
                    <a:pt x="1391457" y="298012"/>
                  </a:lnTo>
                  <a:lnTo>
                    <a:pt x="1391328" y="298400"/>
                  </a:lnTo>
                  <a:lnTo>
                    <a:pt x="1391587" y="298142"/>
                  </a:lnTo>
                  <a:lnTo>
                    <a:pt x="1391845" y="298012"/>
                  </a:lnTo>
                  <a:lnTo>
                    <a:pt x="1391974" y="297883"/>
                  </a:lnTo>
                  <a:lnTo>
                    <a:pt x="1392104" y="297625"/>
                  </a:lnTo>
                  <a:lnTo>
                    <a:pt x="1391587" y="297496"/>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3" name="Graphic 2">
              <a:extLst>
                <a:ext uri="{FF2B5EF4-FFF2-40B4-BE49-F238E27FC236}">
                  <a16:creationId xmlns:a16="http://schemas.microsoft.com/office/drawing/2014/main" id="{EFF7B33D-D751-5B28-9B5F-061DC50A70D4}"/>
                </a:ext>
              </a:extLst>
            </p:cNvPr>
            <p:cNvSpPr/>
            <p:nvPr/>
          </p:nvSpPr>
          <p:spPr>
            <a:xfrm>
              <a:off x="6436271" y="3468674"/>
              <a:ext cx="104420" cy="60998"/>
            </a:xfrm>
            <a:custGeom>
              <a:avLst/>
              <a:gdLst>
                <a:gd name="connsiteX0" fmla="*/ 103775 w 104420"/>
                <a:gd name="connsiteY0" fmla="*/ 59318 h 60998"/>
                <a:gd name="connsiteX1" fmla="*/ 102999 w 104420"/>
                <a:gd name="connsiteY1" fmla="*/ 58543 h 60998"/>
                <a:gd name="connsiteX2" fmla="*/ 100285 w 104420"/>
                <a:gd name="connsiteY2" fmla="*/ 56992 h 60998"/>
                <a:gd name="connsiteX3" fmla="*/ 99510 w 104420"/>
                <a:gd name="connsiteY3" fmla="*/ 56346 h 60998"/>
                <a:gd name="connsiteX4" fmla="*/ 99251 w 104420"/>
                <a:gd name="connsiteY4" fmla="*/ 55958 h 60998"/>
                <a:gd name="connsiteX5" fmla="*/ 98605 w 104420"/>
                <a:gd name="connsiteY5" fmla="*/ 55053 h 60998"/>
                <a:gd name="connsiteX6" fmla="*/ 98476 w 104420"/>
                <a:gd name="connsiteY6" fmla="*/ 54536 h 60998"/>
                <a:gd name="connsiteX7" fmla="*/ 98347 w 104420"/>
                <a:gd name="connsiteY7" fmla="*/ 53632 h 60998"/>
                <a:gd name="connsiteX8" fmla="*/ 98476 w 104420"/>
                <a:gd name="connsiteY8" fmla="*/ 52210 h 60998"/>
                <a:gd name="connsiteX9" fmla="*/ 99122 w 104420"/>
                <a:gd name="connsiteY9" fmla="*/ 49238 h 60998"/>
                <a:gd name="connsiteX10" fmla="*/ 99251 w 104420"/>
                <a:gd name="connsiteY10" fmla="*/ 47041 h 60998"/>
                <a:gd name="connsiteX11" fmla="*/ 99122 w 104420"/>
                <a:gd name="connsiteY11" fmla="*/ 45878 h 60998"/>
                <a:gd name="connsiteX12" fmla="*/ 98734 w 104420"/>
                <a:gd name="connsiteY12" fmla="*/ 44715 h 60998"/>
                <a:gd name="connsiteX13" fmla="*/ 98605 w 104420"/>
                <a:gd name="connsiteY13" fmla="*/ 44068 h 60998"/>
                <a:gd name="connsiteX14" fmla="*/ 98864 w 104420"/>
                <a:gd name="connsiteY14" fmla="*/ 40191 h 60998"/>
                <a:gd name="connsiteX15" fmla="*/ 99381 w 104420"/>
                <a:gd name="connsiteY15" fmla="*/ 37865 h 60998"/>
                <a:gd name="connsiteX16" fmla="*/ 101190 w 104420"/>
                <a:gd name="connsiteY16" fmla="*/ 34764 h 60998"/>
                <a:gd name="connsiteX17" fmla="*/ 101965 w 104420"/>
                <a:gd name="connsiteY17" fmla="*/ 33342 h 60998"/>
                <a:gd name="connsiteX18" fmla="*/ 103258 w 104420"/>
                <a:gd name="connsiteY18" fmla="*/ 29465 h 60998"/>
                <a:gd name="connsiteX19" fmla="*/ 103904 w 104420"/>
                <a:gd name="connsiteY19" fmla="*/ 24296 h 60998"/>
                <a:gd name="connsiteX20" fmla="*/ 103775 w 104420"/>
                <a:gd name="connsiteY20" fmla="*/ 23262 h 60998"/>
                <a:gd name="connsiteX21" fmla="*/ 103128 w 104420"/>
                <a:gd name="connsiteY21" fmla="*/ 21840 h 60998"/>
                <a:gd name="connsiteX22" fmla="*/ 102999 w 104420"/>
                <a:gd name="connsiteY22" fmla="*/ 21323 h 60998"/>
                <a:gd name="connsiteX23" fmla="*/ 102870 w 104420"/>
                <a:gd name="connsiteY23" fmla="*/ 19385 h 60998"/>
                <a:gd name="connsiteX24" fmla="*/ 102999 w 104420"/>
                <a:gd name="connsiteY24" fmla="*/ 14991 h 60998"/>
                <a:gd name="connsiteX25" fmla="*/ 103258 w 104420"/>
                <a:gd name="connsiteY25" fmla="*/ 13699 h 60998"/>
                <a:gd name="connsiteX26" fmla="*/ 103904 w 104420"/>
                <a:gd name="connsiteY26" fmla="*/ 12019 h 60998"/>
                <a:gd name="connsiteX27" fmla="*/ 104033 w 104420"/>
                <a:gd name="connsiteY27" fmla="*/ 11502 h 60998"/>
                <a:gd name="connsiteX28" fmla="*/ 103904 w 104420"/>
                <a:gd name="connsiteY28" fmla="*/ 11114 h 60998"/>
                <a:gd name="connsiteX29" fmla="*/ 102999 w 104420"/>
                <a:gd name="connsiteY29" fmla="*/ 10468 h 60998"/>
                <a:gd name="connsiteX30" fmla="*/ 101448 w 104420"/>
                <a:gd name="connsiteY30" fmla="*/ 9693 h 60998"/>
                <a:gd name="connsiteX31" fmla="*/ 97959 w 104420"/>
                <a:gd name="connsiteY31" fmla="*/ 8400 h 60998"/>
                <a:gd name="connsiteX32" fmla="*/ 95504 w 104420"/>
                <a:gd name="connsiteY32" fmla="*/ 7108 h 60998"/>
                <a:gd name="connsiteX33" fmla="*/ 95116 w 104420"/>
                <a:gd name="connsiteY33" fmla="*/ 6591 h 60998"/>
                <a:gd name="connsiteX34" fmla="*/ 93565 w 104420"/>
                <a:gd name="connsiteY34" fmla="*/ 5945 h 60998"/>
                <a:gd name="connsiteX35" fmla="*/ 93048 w 104420"/>
                <a:gd name="connsiteY35" fmla="*/ 5557 h 60998"/>
                <a:gd name="connsiteX36" fmla="*/ 92660 w 104420"/>
                <a:gd name="connsiteY36" fmla="*/ 5169 h 60998"/>
                <a:gd name="connsiteX37" fmla="*/ 92144 w 104420"/>
                <a:gd name="connsiteY37" fmla="*/ 4523 h 60998"/>
                <a:gd name="connsiteX38" fmla="*/ 91756 w 104420"/>
                <a:gd name="connsiteY38" fmla="*/ 3489 h 60998"/>
                <a:gd name="connsiteX39" fmla="*/ 91627 w 104420"/>
                <a:gd name="connsiteY39" fmla="*/ 1551 h 60998"/>
                <a:gd name="connsiteX40" fmla="*/ 91497 w 104420"/>
                <a:gd name="connsiteY40" fmla="*/ 905 h 60998"/>
                <a:gd name="connsiteX41" fmla="*/ 54795 w 104420"/>
                <a:gd name="connsiteY41" fmla="*/ 129 h 60998"/>
                <a:gd name="connsiteX42" fmla="*/ 26493 w 104420"/>
                <a:gd name="connsiteY42" fmla="*/ 0 h 60998"/>
                <a:gd name="connsiteX43" fmla="*/ 10597 w 104420"/>
                <a:gd name="connsiteY43" fmla="*/ 0 h 60998"/>
                <a:gd name="connsiteX44" fmla="*/ 9305 w 104420"/>
                <a:gd name="connsiteY44" fmla="*/ 1421 h 60998"/>
                <a:gd name="connsiteX45" fmla="*/ 8659 w 104420"/>
                <a:gd name="connsiteY45" fmla="*/ 4135 h 60998"/>
                <a:gd name="connsiteX46" fmla="*/ 7237 w 104420"/>
                <a:gd name="connsiteY46" fmla="*/ 14086 h 60998"/>
                <a:gd name="connsiteX47" fmla="*/ 6720 w 104420"/>
                <a:gd name="connsiteY47" fmla="*/ 15766 h 60998"/>
                <a:gd name="connsiteX48" fmla="*/ 5686 w 104420"/>
                <a:gd name="connsiteY48" fmla="*/ 16283 h 60998"/>
                <a:gd name="connsiteX49" fmla="*/ 5299 w 104420"/>
                <a:gd name="connsiteY49" fmla="*/ 16671 h 60998"/>
                <a:gd name="connsiteX50" fmla="*/ 5040 w 104420"/>
                <a:gd name="connsiteY50" fmla="*/ 17188 h 60998"/>
                <a:gd name="connsiteX51" fmla="*/ 4782 w 104420"/>
                <a:gd name="connsiteY51" fmla="*/ 17705 h 60998"/>
                <a:gd name="connsiteX52" fmla="*/ 4523 w 104420"/>
                <a:gd name="connsiteY52" fmla="*/ 18351 h 60998"/>
                <a:gd name="connsiteX53" fmla="*/ 4135 w 104420"/>
                <a:gd name="connsiteY53" fmla="*/ 22357 h 60998"/>
                <a:gd name="connsiteX54" fmla="*/ 4394 w 104420"/>
                <a:gd name="connsiteY54" fmla="*/ 23391 h 60998"/>
                <a:gd name="connsiteX55" fmla="*/ 5040 w 104420"/>
                <a:gd name="connsiteY55" fmla="*/ 24425 h 60998"/>
                <a:gd name="connsiteX56" fmla="*/ 6849 w 104420"/>
                <a:gd name="connsiteY56" fmla="*/ 25588 h 60998"/>
                <a:gd name="connsiteX57" fmla="*/ 8142 w 104420"/>
                <a:gd name="connsiteY57" fmla="*/ 27010 h 60998"/>
                <a:gd name="connsiteX58" fmla="*/ 6720 w 104420"/>
                <a:gd name="connsiteY58" fmla="*/ 30757 h 60998"/>
                <a:gd name="connsiteX59" fmla="*/ 5686 w 104420"/>
                <a:gd name="connsiteY59" fmla="*/ 32825 h 60998"/>
                <a:gd name="connsiteX60" fmla="*/ 5040 w 104420"/>
                <a:gd name="connsiteY60" fmla="*/ 33859 h 60998"/>
                <a:gd name="connsiteX61" fmla="*/ 4265 w 104420"/>
                <a:gd name="connsiteY61" fmla="*/ 34634 h 60998"/>
                <a:gd name="connsiteX62" fmla="*/ 3489 w 104420"/>
                <a:gd name="connsiteY62" fmla="*/ 35281 h 60998"/>
                <a:gd name="connsiteX63" fmla="*/ 2455 w 104420"/>
                <a:gd name="connsiteY63" fmla="*/ 35927 h 60998"/>
                <a:gd name="connsiteX64" fmla="*/ 905 w 104420"/>
                <a:gd name="connsiteY64" fmla="*/ 36444 h 60998"/>
                <a:gd name="connsiteX65" fmla="*/ 388 w 104420"/>
                <a:gd name="connsiteY65" fmla="*/ 36831 h 60998"/>
                <a:gd name="connsiteX66" fmla="*/ 129 w 104420"/>
                <a:gd name="connsiteY66" fmla="*/ 37478 h 60998"/>
                <a:gd name="connsiteX67" fmla="*/ 0 w 104420"/>
                <a:gd name="connsiteY67" fmla="*/ 38641 h 60998"/>
                <a:gd name="connsiteX68" fmla="*/ 1422 w 104420"/>
                <a:gd name="connsiteY68" fmla="*/ 45619 h 60998"/>
                <a:gd name="connsiteX69" fmla="*/ 1809 w 104420"/>
                <a:gd name="connsiteY69" fmla="*/ 48592 h 60998"/>
                <a:gd name="connsiteX70" fmla="*/ 2068 w 104420"/>
                <a:gd name="connsiteY70" fmla="*/ 49109 h 60998"/>
                <a:gd name="connsiteX71" fmla="*/ 2585 w 104420"/>
                <a:gd name="connsiteY71" fmla="*/ 49496 h 60998"/>
                <a:gd name="connsiteX72" fmla="*/ 4135 w 104420"/>
                <a:gd name="connsiteY72" fmla="*/ 50272 h 60998"/>
                <a:gd name="connsiteX73" fmla="*/ 4782 w 104420"/>
                <a:gd name="connsiteY73" fmla="*/ 51693 h 60998"/>
                <a:gd name="connsiteX74" fmla="*/ 4523 w 104420"/>
                <a:gd name="connsiteY74" fmla="*/ 52598 h 60998"/>
                <a:gd name="connsiteX75" fmla="*/ 3877 w 104420"/>
                <a:gd name="connsiteY75" fmla="*/ 54924 h 60998"/>
                <a:gd name="connsiteX76" fmla="*/ 3231 w 104420"/>
                <a:gd name="connsiteY76" fmla="*/ 56346 h 60998"/>
                <a:gd name="connsiteX77" fmla="*/ 2843 w 104420"/>
                <a:gd name="connsiteY77" fmla="*/ 57897 h 60998"/>
                <a:gd name="connsiteX78" fmla="*/ 2714 w 104420"/>
                <a:gd name="connsiteY78" fmla="*/ 58543 h 60998"/>
                <a:gd name="connsiteX79" fmla="*/ 2714 w 104420"/>
                <a:gd name="connsiteY79" fmla="*/ 59189 h 60998"/>
                <a:gd name="connsiteX80" fmla="*/ 2843 w 104420"/>
                <a:gd name="connsiteY80" fmla="*/ 59835 h 60998"/>
                <a:gd name="connsiteX81" fmla="*/ 10209 w 104420"/>
                <a:gd name="connsiteY81" fmla="*/ 60740 h 60998"/>
                <a:gd name="connsiteX82" fmla="*/ 45232 w 104420"/>
                <a:gd name="connsiteY82" fmla="*/ 60998 h 60998"/>
                <a:gd name="connsiteX83" fmla="*/ 71854 w 104420"/>
                <a:gd name="connsiteY83" fmla="*/ 60998 h 60998"/>
                <a:gd name="connsiteX84" fmla="*/ 104421 w 104420"/>
                <a:gd name="connsiteY84" fmla="*/ 60740 h 6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04420" h="60998">
                  <a:moveTo>
                    <a:pt x="103775" y="59318"/>
                  </a:moveTo>
                  <a:lnTo>
                    <a:pt x="102999" y="58543"/>
                  </a:lnTo>
                  <a:lnTo>
                    <a:pt x="100285" y="56992"/>
                  </a:lnTo>
                  <a:lnTo>
                    <a:pt x="99510" y="56346"/>
                  </a:lnTo>
                  <a:lnTo>
                    <a:pt x="99251" y="55958"/>
                  </a:lnTo>
                  <a:lnTo>
                    <a:pt x="98605" y="55053"/>
                  </a:lnTo>
                  <a:lnTo>
                    <a:pt x="98476" y="54536"/>
                  </a:lnTo>
                  <a:lnTo>
                    <a:pt x="98347" y="53632"/>
                  </a:lnTo>
                  <a:lnTo>
                    <a:pt x="98476" y="52210"/>
                  </a:lnTo>
                  <a:lnTo>
                    <a:pt x="99122" y="49238"/>
                  </a:lnTo>
                  <a:lnTo>
                    <a:pt x="99251" y="47041"/>
                  </a:lnTo>
                  <a:lnTo>
                    <a:pt x="99122" y="45878"/>
                  </a:lnTo>
                  <a:lnTo>
                    <a:pt x="98734" y="44715"/>
                  </a:lnTo>
                  <a:lnTo>
                    <a:pt x="98605" y="44068"/>
                  </a:lnTo>
                  <a:lnTo>
                    <a:pt x="98864" y="40191"/>
                  </a:lnTo>
                  <a:lnTo>
                    <a:pt x="99381" y="37865"/>
                  </a:lnTo>
                  <a:lnTo>
                    <a:pt x="101190" y="34764"/>
                  </a:lnTo>
                  <a:lnTo>
                    <a:pt x="101965" y="33342"/>
                  </a:lnTo>
                  <a:lnTo>
                    <a:pt x="103258" y="29465"/>
                  </a:lnTo>
                  <a:lnTo>
                    <a:pt x="103904" y="24296"/>
                  </a:lnTo>
                  <a:lnTo>
                    <a:pt x="103775" y="23262"/>
                  </a:lnTo>
                  <a:lnTo>
                    <a:pt x="103128" y="21840"/>
                  </a:lnTo>
                  <a:lnTo>
                    <a:pt x="102999" y="21323"/>
                  </a:lnTo>
                  <a:lnTo>
                    <a:pt x="102870" y="19385"/>
                  </a:lnTo>
                  <a:lnTo>
                    <a:pt x="102999" y="14991"/>
                  </a:lnTo>
                  <a:lnTo>
                    <a:pt x="103258" y="13699"/>
                  </a:lnTo>
                  <a:lnTo>
                    <a:pt x="103904" y="12019"/>
                  </a:lnTo>
                  <a:lnTo>
                    <a:pt x="104033" y="11502"/>
                  </a:lnTo>
                  <a:lnTo>
                    <a:pt x="103904" y="11114"/>
                  </a:lnTo>
                  <a:lnTo>
                    <a:pt x="102999" y="10468"/>
                  </a:lnTo>
                  <a:lnTo>
                    <a:pt x="101448" y="9693"/>
                  </a:lnTo>
                  <a:lnTo>
                    <a:pt x="97959" y="8400"/>
                  </a:lnTo>
                  <a:lnTo>
                    <a:pt x="95504" y="7108"/>
                  </a:lnTo>
                  <a:lnTo>
                    <a:pt x="95116" y="6591"/>
                  </a:lnTo>
                  <a:lnTo>
                    <a:pt x="93565" y="5945"/>
                  </a:lnTo>
                  <a:lnTo>
                    <a:pt x="93048" y="5557"/>
                  </a:lnTo>
                  <a:lnTo>
                    <a:pt x="92660" y="5169"/>
                  </a:lnTo>
                  <a:lnTo>
                    <a:pt x="92144" y="4523"/>
                  </a:lnTo>
                  <a:lnTo>
                    <a:pt x="91756" y="3489"/>
                  </a:lnTo>
                  <a:lnTo>
                    <a:pt x="91627" y="1551"/>
                  </a:lnTo>
                  <a:lnTo>
                    <a:pt x="91497" y="905"/>
                  </a:lnTo>
                  <a:lnTo>
                    <a:pt x="54795" y="129"/>
                  </a:lnTo>
                  <a:lnTo>
                    <a:pt x="26493" y="0"/>
                  </a:lnTo>
                  <a:lnTo>
                    <a:pt x="10597" y="0"/>
                  </a:lnTo>
                  <a:lnTo>
                    <a:pt x="9305" y="1421"/>
                  </a:lnTo>
                  <a:lnTo>
                    <a:pt x="8659" y="4135"/>
                  </a:lnTo>
                  <a:lnTo>
                    <a:pt x="7237" y="14086"/>
                  </a:lnTo>
                  <a:lnTo>
                    <a:pt x="6720" y="15766"/>
                  </a:lnTo>
                  <a:lnTo>
                    <a:pt x="5686" y="16283"/>
                  </a:lnTo>
                  <a:lnTo>
                    <a:pt x="5299" y="16671"/>
                  </a:lnTo>
                  <a:lnTo>
                    <a:pt x="5040" y="17188"/>
                  </a:lnTo>
                  <a:lnTo>
                    <a:pt x="4782" y="17705"/>
                  </a:lnTo>
                  <a:lnTo>
                    <a:pt x="4523" y="18351"/>
                  </a:lnTo>
                  <a:lnTo>
                    <a:pt x="4135" y="22357"/>
                  </a:lnTo>
                  <a:lnTo>
                    <a:pt x="4394" y="23391"/>
                  </a:lnTo>
                  <a:lnTo>
                    <a:pt x="5040" y="24425"/>
                  </a:lnTo>
                  <a:lnTo>
                    <a:pt x="6849" y="25588"/>
                  </a:lnTo>
                  <a:lnTo>
                    <a:pt x="8142" y="27010"/>
                  </a:lnTo>
                  <a:lnTo>
                    <a:pt x="6720" y="30757"/>
                  </a:lnTo>
                  <a:lnTo>
                    <a:pt x="5686" y="32825"/>
                  </a:lnTo>
                  <a:lnTo>
                    <a:pt x="5040" y="33859"/>
                  </a:lnTo>
                  <a:lnTo>
                    <a:pt x="4265" y="34634"/>
                  </a:lnTo>
                  <a:lnTo>
                    <a:pt x="3489" y="35281"/>
                  </a:lnTo>
                  <a:lnTo>
                    <a:pt x="2455" y="35927"/>
                  </a:lnTo>
                  <a:lnTo>
                    <a:pt x="905" y="36444"/>
                  </a:lnTo>
                  <a:lnTo>
                    <a:pt x="388" y="36831"/>
                  </a:lnTo>
                  <a:lnTo>
                    <a:pt x="129" y="37478"/>
                  </a:lnTo>
                  <a:lnTo>
                    <a:pt x="0" y="38641"/>
                  </a:lnTo>
                  <a:lnTo>
                    <a:pt x="1422" y="45619"/>
                  </a:lnTo>
                  <a:lnTo>
                    <a:pt x="1809" y="48592"/>
                  </a:lnTo>
                  <a:lnTo>
                    <a:pt x="2068" y="49109"/>
                  </a:lnTo>
                  <a:lnTo>
                    <a:pt x="2585" y="49496"/>
                  </a:lnTo>
                  <a:lnTo>
                    <a:pt x="4135" y="50272"/>
                  </a:lnTo>
                  <a:lnTo>
                    <a:pt x="4782" y="51693"/>
                  </a:lnTo>
                  <a:lnTo>
                    <a:pt x="4523" y="52598"/>
                  </a:lnTo>
                  <a:lnTo>
                    <a:pt x="3877" y="54924"/>
                  </a:lnTo>
                  <a:lnTo>
                    <a:pt x="3231" y="56346"/>
                  </a:lnTo>
                  <a:lnTo>
                    <a:pt x="2843" y="57897"/>
                  </a:lnTo>
                  <a:lnTo>
                    <a:pt x="2714" y="58543"/>
                  </a:lnTo>
                  <a:lnTo>
                    <a:pt x="2714" y="59189"/>
                  </a:lnTo>
                  <a:lnTo>
                    <a:pt x="2843" y="59835"/>
                  </a:lnTo>
                  <a:lnTo>
                    <a:pt x="10209" y="60740"/>
                  </a:lnTo>
                  <a:lnTo>
                    <a:pt x="45232" y="60998"/>
                  </a:lnTo>
                  <a:lnTo>
                    <a:pt x="71854" y="60998"/>
                  </a:lnTo>
                  <a:lnTo>
                    <a:pt x="104421" y="60740"/>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4" name="Graphic 2">
              <a:extLst>
                <a:ext uri="{FF2B5EF4-FFF2-40B4-BE49-F238E27FC236}">
                  <a16:creationId xmlns:a16="http://schemas.microsoft.com/office/drawing/2014/main" id="{D9F68701-A6F7-2252-147B-173107C76F0A}"/>
                </a:ext>
              </a:extLst>
            </p:cNvPr>
            <p:cNvSpPr/>
            <p:nvPr/>
          </p:nvSpPr>
          <p:spPr>
            <a:xfrm>
              <a:off x="7167216" y="2097377"/>
              <a:ext cx="451024" cy="541359"/>
            </a:xfrm>
            <a:custGeom>
              <a:avLst/>
              <a:gdLst>
                <a:gd name="connsiteX0" fmla="*/ 446889 w 451024"/>
                <a:gd name="connsiteY0" fmla="*/ 208454 h 541359"/>
                <a:gd name="connsiteX1" fmla="*/ 444951 w 451024"/>
                <a:gd name="connsiteY1" fmla="*/ 205740 h 541359"/>
                <a:gd name="connsiteX2" fmla="*/ 441591 w 451024"/>
                <a:gd name="connsiteY2" fmla="*/ 203543 h 541359"/>
                <a:gd name="connsiteX3" fmla="*/ 430606 w 451024"/>
                <a:gd name="connsiteY3" fmla="*/ 199666 h 541359"/>
                <a:gd name="connsiteX4" fmla="*/ 424015 w 451024"/>
                <a:gd name="connsiteY4" fmla="*/ 196435 h 541359"/>
                <a:gd name="connsiteX5" fmla="*/ 421301 w 451024"/>
                <a:gd name="connsiteY5" fmla="*/ 195789 h 541359"/>
                <a:gd name="connsiteX6" fmla="*/ 420138 w 451024"/>
                <a:gd name="connsiteY6" fmla="*/ 196693 h 541359"/>
                <a:gd name="connsiteX7" fmla="*/ 418846 w 451024"/>
                <a:gd name="connsiteY7" fmla="*/ 197340 h 541359"/>
                <a:gd name="connsiteX8" fmla="*/ 415873 w 451024"/>
                <a:gd name="connsiteY8" fmla="*/ 196306 h 541359"/>
                <a:gd name="connsiteX9" fmla="*/ 411350 w 451024"/>
                <a:gd name="connsiteY9" fmla="*/ 194109 h 541359"/>
                <a:gd name="connsiteX10" fmla="*/ 406827 w 451024"/>
                <a:gd name="connsiteY10" fmla="*/ 191007 h 541359"/>
                <a:gd name="connsiteX11" fmla="*/ 403079 w 451024"/>
                <a:gd name="connsiteY11" fmla="*/ 187776 h 541359"/>
                <a:gd name="connsiteX12" fmla="*/ 400236 w 451024"/>
                <a:gd name="connsiteY12" fmla="*/ 184158 h 541359"/>
                <a:gd name="connsiteX13" fmla="*/ 394033 w 451024"/>
                <a:gd name="connsiteY13" fmla="*/ 171493 h 541359"/>
                <a:gd name="connsiteX14" fmla="*/ 391577 w 451024"/>
                <a:gd name="connsiteY14" fmla="*/ 171364 h 541359"/>
                <a:gd name="connsiteX15" fmla="*/ 389251 w 451024"/>
                <a:gd name="connsiteY15" fmla="*/ 170976 h 541359"/>
                <a:gd name="connsiteX16" fmla="*/ 386925 w 451024"/>
                <a:gd name="connsiteY16" fmla="*/ 170330 h 541359"/>
                <a:gd name="connsiteX17" fmla="*/ 384857 w 451024"/>
                <a:gd name="connsiteY17" fmla="*/ 169296 h 541359"/>
                <a:gd name="connsiteX18" fmla="*/ 377879 w 451024"/>
                <a:gd name="connsiteY18" fmla="*/ 162834 h 541359"/>
                <a:gd name="connsiteX19" fmla="*/ 376328 w 451024"/>
                <a:gd name="connsiteY19" fmla="*/ 162059 h 541359"/>
                <a:gd name="connsiteX20" fmla="*/ 366118 w 451024"/>
                <a:gd name="connsiteY20" fmla="*/ 154563 h 541359"/>
                <a:gd name="connsiteX21" fmla="*/ 357847 w 451024"/>
                <a:gd name="connsiteY21" fmla="*/ 146034 h 541359"/>
                <a:gd name="connsiteX22" fmla="*/ 349060 w 451024"/>
                <a:gd name="connsiteY22" fmla="*/ 134791 h 541359"/>
                <a:gd name="connsiteX23" fmla="*/ 342340 w 451024"/>
                <a:gd name="connsiteY23" fmla="*/ 125227 h 541359"/>
                <a:gd name="connsiteX24" fmla="*/ 341047 w 451024"/>
                <a:gd name="connsiteY24" fmla="*/ 124064 h 541359"/>
                <a:gd name="connsiteX25" fmla="*/ 336007 w 451024"/>
                <a:gd name="connsiteY25" fmla="*/ 121738 h 541359"/>
                <a:gd name="connsiteX26" fmla="*/ 334973 w 451024"/>
                <a:gd name="connsiteY26" fmla="*/ 120963 h 541359"/>
                <a:gd name="connsiteX27" fmla="*/ 328770 w 451024"/>
                <a:gd name="connsiteY27" fmla="*/ 115406 h 541359"/>
                <a:gd name="connsiteX28" fmla="*/ 327607 w 451024"/>
                <a:gd name="connsiteY28" fmla="*/ 113855 h 541359"/>
                <a:gd name="connsiteX29" fmla="*/ 326961 w 451024"/>
                <a:gd name="connsiteY29" fmla="*/ 112304 h 541359"/>
                <a:gd name="connsiteX30" fmla="*/ 326056 w 451024"/>
                <a:gd name="connsiteY30" fmla="*/ 108944 h 541359"/>
                <a:gd name="connsiteX31" fmla="*/ 325410 w 451024"/>
                <a:gd name="connsiteY31" fmla="*/ 107135 h 541359"/>
                <a:gd name="connsiteX32" fmla="*/ 322567 w 451024"/>
                <a:gd name="connsiteY32" fmla="*/ 103516 h 541359"/>
                <a:gd name="connsiteX33" fmla="*/ 320370 w 451024"/>
                <a:gd name="connsiteY33" fmla="*/ 99251 h 541359"/>
                <a:gd name="connsiteX34" fmla="*/ 319336 w 451024"/>
                <a:gd name="connsiteY34" fmla="*/ 97830 h 541359"/>
                <a:gd name="connsiteX35" fmla="*/ 318173 w 451024"/>
                <a:gd name="connsiteY35" fmla="*/ 97054 h 541359"/>
                <a:gd name="connsiteX36" fmla="*/ 316363 w 451024"/>
                <a:gd name="connsiteY36" fmla="*/ 99510 h 541359"/>
                <a:gd name="connsiteX37" fmla="*/ 313003 w 451024"/>
                <a:gd name="connsiteY37" fmla="*/ 99122 h 541359"/>
                <a:gd name="connsiteX38" fmla="*/ 305637 w 451024"/>
                <a:gd name="connsiteY38" fmla="*/ 96279 h 541359"/>
                <a:gd name="connsiteX39" fmla="*/ 298659 w 451024"/>
                <a:gd name="connsiteY39" fmla="*/ 94728 h 541359"/>
                <a:gd name="connsiteX40" fmla="*/ 297495 w 451024"/>
                <a:gd name="connsiteY40" fmla="*/ 93953 h 541359"/>
                <a:gd name="connsiteX41" fmla="*/ 294911 w 451024"/>
                <a:gd name="connsiteY41" fmla="*/ 90463 h 541359"/>
                <a:gd name="connsiteX42" fmla="*/ 293618 w 451024"/>
                <a:gd name="connsiteY42" fmla="*/ 89688 h 541359"/>
                <a:gd name="connsiteX43" fmla="*/ 290904 w 451024"/>
                <a:gd name="connsiteY43" fmla="*/ 88783 h 541359"/>
                <a:gd name="connsiteX44" fmla="*/ 287545 w 451024"/>
                <a:gd name="connsiteY44" fmla="*/ 86457 h 541359"/>
                <a:gd name="connsiteX45" fmla="*/ 284701 w 451024"/>
                <a:gd name="connsiteY45" fmla="*/ 83873 h 541359"/>
                <a:gd name="connsiteX46" fmla="*/ 282892 w 451024"/>
                <a:gd name="connsiteY46" fmla="*/ 81029 h 541359"/>
                <a:gd name="connsiteX47" fmla="*/ 277723 w 451024"/>
                <a:gd name="connsiteY47" fmla="*/ 79479 h 541359"/>
                <a:gd name="connsiteX48" fmla="*/ 276043 w 451024"/>
                <a:gd name="connsiteY48" fmla="*/ 78186 h 541359"/>
                <a:gd name="connsiteX49" fmla="*/ 274750 w 451024"/>
                <a:gd name="connsiteY49" fmla="*/ 76765 h 541359"/>
                <a:gd name="connsiteX50" fmla="*/ 273199 w 451024"/>
                <a:gd name="connsiteY50" fmla="*/ 75989 h 541359"/>
                <a:gd name="connsiteX51" fmla="*/ 271132 w 451024"/>
                <a:gd name="connsiteY51" fmla="*/ 76506 h 541359"/>
                <a:gd name="connsiteX52" fmla="*/ 268418 w 451024"/>
                <a:gd name="connsiteY52" fmla="*/ 70045 h 541359"/>
                <a:gd name="connsiteX53" fmla="*/ 266479 w 451024"/>
                <a:gd name="connsiteY53" fmla="*/ 67201 h 541359"/>
                <a:gd name="connsiteX54" fmla="*/ 263765 w 451024"/>
                <a:gd name="connsiteY54" fmla="*/ 64875 h 541359"/>
                <a:gd name="connsiteX55" fmla="*/ 262215 w 451024"/>
                <a:gd name="connsiteY55" fmla="*/ 64100 h 541359"/>
                <a:gd name="connsiteX56" fmla="*/ 260534 w 451024"/>
                <a:gd name="connsiteY56" fmla="*/ 63583 h 541359"/>
                <a:gd name="connsiteX57" fmla="*/ 256141 w 451024"/>
                <a:gd name="connsiteY57" fmla="*/ 63454 h 541359"/>
                <a:gd name="connsiteX58" fmla="*/ 253556 w 451024"/>
                <a:gd name="connsiteY58" fmla="*/ 62807 h 541359"/>
                <a:gd name="connsiteX59" fmla="*/ 252393 w 451024"/>
                <a:gd name="connsiteY59" fmla="*/ 61515 h 541359"/>
                <a:gd name="connsiteX60" fmla="*/ 251359 w 451024"/>
                <a:gd name="connsiteY60" fmla="*/ 59835 h 541359"/>
                <a:gd name="connsiteX61" fmla="*/ 249808 w 451024"/>
                <a:gd name="connsiteY61" fmla="*/ 58284 h 541359"/>
                <a:gd name="connsiteX62" fmla="*/ 248775 w 451024"/>
                <a:gd name="connsiteY62" fmla="*/ 57897 h 541359"/>
                <a:gd name="connsiteX63" fmla="*/ 246577 w 451024"/>
                <a:gd name="connsiteY63" fmla="*/ 57767 h 541359"/>
                <a:gd name="connsiteX64" fmla="*/ 245544 w 451024"/>
                <a:gd name="connsiteY64" fmla="*/ 57638 h 541359"/>
                <a:gd name="connsiteX65" fmla="*/ 244510 w 451024"/>
                <a:gd name="connsiteY65" fmla="*/ 57121 h 541359"/>
                <a:gd name="connsiteX66" fmla="*/ 241537 w 451024"/>
                <a:gd name="connsiteY66" fmla="*/ 54278 h 541359"/>
                <a:gd name="connsiteX67" fmla="*/ 234559 w 451024"/>
                <a:gd name="connsiteY67" fmla="*/ 49496 h 541359"/>
                <a:gd name="connsiteX68" fmla="*/ 234171 w 451024"/>
                <a:gd name="connsiteY68" fmla="*/ 49109 h 541359"/>
                <a:gd name="connsiteX69" fmla="*/ 233912 w 451024"/>
                <a:gd name="connsiteY69" fmla="*/ 48463 h 541359"/>
                <a:gd name="connsiteX70" fmla="*/ 233654 w 451024"/>
                <a:gd name="connsiteY70" fmla="*/ 47946 h 541359"/>
                <a:gd name="connsiteX71" fmla="*/ 233008 w 451024"/>
                <a:gd name="connsiteY71" fmla="*/ 47429 h 541359"/>
                <a:gd name="connsiteX72" fmla="*/ 232491 w 451024"/>
                <a:gd name="connsiteY72" fmla="*/ 47300 h 541359"/>
                <a:gd name="connsiteX73" fmla="*/ 231586 w 451024"/>
                <a:gd name="connsiteY73" fmla="*/ 47429 h 541359"/>
                <a:gd name="connsiteX74" fmla="*/ 227968 w 451024"/>
                <a:gd name="connsiteY74" fmla="*/ 44844 h 541359"/>
                <a:gd name="connsiteX75" fmla="*/ 225771 w 451024"/>
                <a:gd name="connsiteY75" fmla="*/ 44069 h 541359"/>
                <a:gd name="connsiteX76" fmla="*/ 224995 w 451024"/>
                <a:gd name="connsiteY76" fmla="*/ 43293 h 541359"/>
                <a:gd name="connsiteX77" fmla="*/ 224479 w 451024"/>
                <a:gd name="connsiteY77" fmla="*/ 42647 h 541359"/>
                <a:gd name="connsiteX78" fmla="*/ 223832 w 451024"/>
                <a:gd name="connsiteY78" fmla="*/ 42259 h 541359"/>
                <a:gd name="connsiteX79" fmla="*/ 222798 w 451024"/>
                <a:gd name="connsiteY79" fmla="*/ 42389 h 541359"/>
                <a:gd name="connsiteX80" fmla="*/ 222023 w 451024"/>
                <a:gd name="connsiteY80" fmla="*/ 42518 h 541359"/>
                <a:gd name="connsiteX81" fmla="*/ 221118 w 451024"/>
                <a:gd name="connsiteY81" fmla="*/ 42518 h 541359"/>
                <a:gd name="connsiteX82" fmla="*/ 219826 w 451024"/>
                <a:gd name="connsiteY82" fmla="*/ 42259 h 541359"/>
                <a:gd name="connsiteX83" fmla="*/ 210263 w 451024"/>
                <a:gd name="connsiteY83" fmla="*/ 38253 h 541359"/>
                <a:gd name="connsiteX84" fmla="*/ 208970 w 451024"/>
                <a:gd name="connsiteY84" fmla="*/ 36702 h 541359"/>
                <a:gd name="connsiteX85" fmla="*/ 201087 w 451024"/>
                <a:gd name="connsiteY85" fmla="*/ 32438 h 541359"/>
                <a:gd name="connsiteX86" fmla="*/ 197081 w 451024"/>
                <a:gd name="connsiteY86" fmla="*/ 29078 h 541359"/>
                <a:gd name="connsiteX87" fmla="*/ 196822 w 451024"/>
                <a:gd name="connsiteY87" fmla="*/ 28561 h 541359"/>
                <a:gd name="connsiteX88" fmla="*/ 196435 w 451024"/>
                <a:gd name="connsiteY88" fmla="*/ 27268 h 541359"/>
                <a:gd name="connsiteX89" fmla="*/ 195918 w 451024"/>
                <a:gd name="connsiteY89" fmla="*/ 26881 h 541359"/>
                <a:gd name="connsiteX90" fmla="*/ 193979 w 451024"/>
                <a:gd name="connsiteY90" fmla="*/ 27010 h 541359"/>
                <a:gd name="connsiteX91" fmla="*/ 193333 w 451024"/>
                <a:gd name="connsiteY91" fmla="*/ 26881 h 541359"/>
                <a:gd name="connsiteX92" fmla="*/ 189327 w 451024"/>
                <a:gd name="connsiteY92" fmla="*/ 24942 h 541359"/>
                <a:gd name="connsiteX93" fmla="*/ 187518 w 451024"/>
                <a:gd name="connsiteY93" fmla="*/ 24554 h 541359"/>
                <a:gd name="connsiteX94" fmla="*/ 185967 w 451024"/>
                <a:gd name="connsiteY94" fmla="*/ 25459 h 541359"/>
                <a:gd name="connsiteX95" fmla="*/ 186872 w 451024"/>
                <a:gd name="connsiteY95" fmla="*/ 26881 h 541359"/>
                <a:gd name="connsiteX96" fmla="*/ 185967 w 451024"/>
                <a:gd name="connsiteY96" fmla="*/ 26881 h 541359"/>
                <a:gd name="connsiteX97" fmla="*/ 185191 w 451024"/>
                <a:gd name="connsiteY97" fmla="*/ 26751 h 541359"/>
                <a:gd name="connsiteX98" fmla="*/ 184545 w 451024"/>
                <a:gd name="connsiteY98" fmla="*/ 26493 h 541359"/>
                <a:gd name="connsiteX99" fmla="*/ 183899 w 451024"/>
                <a:gd name="connsiteY99" fmla="*/ 26105 h 541359"/>
                <a:gd name="connsiteX100" fmla="*/ 184545 w 451024"/>
                <a:gd name="connsiteY100" fmla="*/ 25071 h 541359"/>
                <a:gd name="connsiteX101" fmla="*/ 182736 w 451024"/>
                <a:gd name="connsiteY101" fmla="*/ 23133 h 541359"/>
                <a:gd name="connsiteX102" fmla="*/ 180151 w 451024"/>
                <a:gd name="connsiteY102" fmla="*/ 21194 h 541359"/>
                <a:gd name="connsiteX103" fmla="*/ 178342 w 451024"/>
                <a:gd name="connsiteY103" fmla="*/ 20290 h 541359"/>
                <a:gd name="connsiteX104" fmla="*/ 177050 w 451024"/>
                <a:gd name="connsiteY104" fmla="*/ 20031 h 541359"/>
                <a:gd name="connsiteX105" fmla="*/ 175757 w 451024"/>
                <a:gd name="connsiteY105" fmla="*/ 19256 h 541359"/>
                <a:gd name="connsiteX106" fmla="*/ 170071 w 451024"/>
                <a:gd name="connsiteY106" fmla="*/ 13699 h 541359"/>
                <a:gd name="connsiteX107" fmla="*/ 168779 w 451024"/>
                <a:gd name="connsiteY107" fmla="*/ 13053 h 541359"/>
                <a:gd name="connsiteX108" fmla="*/ 165548 w 451024"/>
                <a:gd name="connsiteY108" fmla="*/ 12277 h 541359"/>
                <a:gd name="connsiteX109" fmla="*/ 156760 w 451024"/>
                <a:gd name="connsiteY109" fmla="*/ 6591 h 541359"/>
                <a:gd name="connsiteX110" fmla="*/ 155080 w 451024"/>
                <a:gd name="connsiteY110" fmla="*/ 6332 h 541359"/>
                <a:gd name="connsiteX111" fmla="*/ 149782 w 451024"/>
                <a:gd name="connsiteY111" fmla="*/ 6591 h 541359"/>
                <a:gd name="connsiteX112" fmla="*/ 148102 w 451024"/>
                <a:gd name="connsiteY112" fmla="*/ 6203 h 541359"/>
                <a:gd name="connsiteX113" fmla="*/ 146421 w 451024"/>
                <a:gd name="connsiteY113" fmla="*/ 5299 h 541359"/>
                <a:gd name="connsiteX114" fmla="*/ 144871 w 451024"/>
                <a:gd name="connsiteY114" fmla="*/ 4652 h 541359"/>
                <a:gd name="connsiteX115" fmla="*/ 143578 w 451024"/>
                <a:gd name="connsiteY115" fmla="*/ 5040 h 541359"/>
                <a:gd name="connsiteX116" fmla="*/ 142286 w 451024"/>
                <a:gd name="connsiteY116" fmla="*/ 4394 h 541359"/>
                <a:gd name="connsiteX117" fmla="*/ 141640 w 451024"/>
                <a:gd name="connsiteY117" fmla="*/ 5040 h 541359"/>
                <a:gd name="connsiteX118" fmla="*/ 140993 w 451024"/>
                <a:gd name="connsiteY118" fmla="*/ 6074 h 541359"/>
                <a:gd name="connsiteX119" fmla="*/ 139830 w 451024"/>
                <a:gd name="connsiteY119" fmla="*/ 6591 h 541359"/>
                <a:gd name="connsiteX120" fmla="*/ 138667 w 451024"/>
                <a:gd name="connsiteY120" fmla="*/ 6074 h 541359"/>
                <a:gd name="connsiteX121" fmla="*/ 136471 w 451024"/>
                <a:gd name="connsiteY121" fmla="*/ 4006 h 541359"/>
                <a:gd name="connsiteX122" fmla="*/ 135049 w 451024"/>
                <a:gd name="connsiteY122" fmla="*/ 3619 h 541359"/>
                <a:gd name="connsiteX123" fmla="*/ 125873 w 451024"/>
                <a:gd name="connsiteY123" fmla="*/ 2197 h 541359"/>
                <a:gd name="connsiteX124" fmla="*/ 112045 w 451024"/>
                <a:gd name="connsiteY124" fmla="*/ 2068 h 541359"/>
                <a:gd name="connsiteX125" fmla="*/ 103903 w 451024"/>
                <a:gd name="connsiteY125" fmla="*/ 646 h 541359"/>
                <a:gd name="connsiteX126" fmla="*/ 103387 w 451024"/>
                <a:gd name="connsiteY126" fmla="*/ 517 h 541359"/>
                <a:gd name="connsiteX127" fmla="*/ 102999 w 451024"/>
                <a:gd name="connsiteY127" fmla="*/ 259 h 541359"/>
                <a:gd name="connsiteX128" fmla="*/ 102353 w 451024"/>
                <a:gd name="connsiteY128" fmla="*/ 0 h 541359"/>
                <a:gd name="connsiteX129" fmla="*/ 101707 w 451024"/>
                <a:gd name="connsiteY129" fmla="*/ 0 h 541359"/>
                <a:gd name="connsiteX130" fmla="*/ 100931 w 451024"/>
                <a:gd name="connsiteY130" fmla="*/ 1163 h 541359"/>
                <a:gd name="connsiteX131" fmla="*/ 100544 w 451024"/>
                <a:gd name="connsiteY131" fmla="*/ 1422 h 541359"/>
                <a:gd name="connsiteX132" fmla="*/ 98734 w 451024"/>
                <a:gd name="connsiteY132" fmla="*/ 1809 h 541359"/>
                <a:gd name="connsiteX133" fmla="*/ 92919 w 451024"/>
                <a:gd name="connsiteY133" fmla="*/ 4265 h 541359"/>
                <a:gd name="connsiteX134" fmla="*/ 74568 w 451024"/>
                <a:gd name="connsiteY134" fmla="*/ 5816 h 541359"/>
                <a:gd name="connsiteX135" fmla="*/ 72888 w 451024"/>
                <a:gd name="connsiteY135" fmla="*/ 6332 h 541359"/>
                <a:gd name="connsiteX136" fmla="*/ 67589 w 451024"/>
                <a:gd name="connsiteY136" fmla="*/ 9046 h 541359"/>
                <a:gd name="connsiteX137" fmla="*/ 66555 w 451024"/>
                <a:gd name="connsiteY137" fmla="*/ 10209 h 541359"/>
                <a:gd name="connsiteX138" fmla="*/ 65780 w 451024"/>
                <a:gd name="connsiteY138" fmla="*/ 10209 h 541359"/>
                <a:gd name="connsiteX139" fmla="*/ 65133 w 451024"/>
                <a:gd name="connsiteY139" fmla="*/ 8271 h 541359"/>
                <a:gd name="connsiteX140" fmla="*/ 64358 w 451024"/>
                <a:gd name="connsiteY140" fmla="*/ 7754 h 541359"/>
                <a:gd name="connsiteX141" fmla="*/ 60998 w 451024"/>
                <a:gd name="connsiteY141" fmla="*/ 8013 h 541359"/>
                <a:gd name="connsiteX142" fmla="*/ 60094 w 451024"/>
                <a:gd name="connsiteY142" fmla="*/ 8271 h 541359"/>
                <a:gd name="connsiteX143" fmla="*/ 59706 w 451024"/>
                <a:gd name="connsiteY143" fmla="*/ 9176 h 541359"/>
                <a:gd name="connsiteX144" fmla="*/ 58801 w 451024"/>
                <a:gd name="connsiteY144" fmla="*/ 9434 h 541359"/>
                <a:gd name="connsiteX145" fmla="*/ 57896 w 451024"/>
                <a:gd name="connsiteY145" fmla="*/ 9305 h 541359"/>
                <a:gd name="connsiteX146" fmla="*/ 55829 w 451024"/>
                <a:gd name="connsiteY146" fmla="*/ 8788 h 541359"/>
                <a:gd name="connsiteX147" fmla="*/ 54666 w 451024"/>
                <a:gd name="connsiteY147" fmla="*/ 8788 h 541359"/>
                <a:gd name="connsiteX148" fmla="*/ 39287 w 451024"/>
                <a:gd name="connsiteY148" fmla="*/ 10209 h 541359"/>
                <a:gd name="connsiteX149" fmla="*/ 38641 w 451024"/>
                <a:gd name="connsiteY149" fmla="*/ 10209 h 541359"/>
                <a:gd name="connsiteX150" fmla="*/ 37090 w 451024"/>
                <a:gd name="connsiteY150" fmla="*/ 9434 h 541359"/>
                <a:gd name="connsiteX151" fmla="*/ 38511 w 451024"/>
                <a:gd name="connsiteY151" fmla="*/ 11502 h 541359"/>
                <a:gd name="connsiteX152" fmla="*/ 39028 w 451024"/>
                <a:gd name="connsiteY152" fmla="*/ 12665 h 541359"/>
                <a:gd name="connsiteX153" fmla="*/ 39287 w 451024"/>
                <a:gd name="connsiteY153" fmla="*/ 13828 h 541359"/>
                <a:gd name="connsiteX154" fmla="*/ 38641 w 451024"/>
                <a:gd name="connsiteY154" fmla="*/ 13828 h 541359"/>
                <a:gd name="connsiteX155" fmla="*/ 36315 w 451024"/>
                <a:gd name="connsiteY155" fmla="*/ 11760 h 541359"/>
                <a:gd name="connsiteX156" fmla="*/ 33342 w 451024"/>
                <a:gd name="connsiteY156" fmla="*/ 10597 h 541359"/>
                <a:gd name="connsiteX157" fmla="*/ 30111 w 451024"/>
                <a:gd name="connsiteY157" fmla="*/ 9822 h 541359"/>
                <a:gd name="connsiteX158" fmla="*/ 26880 w 451024"/>
                <a:gd name="connsiteY158" fmla="*/ 9434 h 541359"/>
                <a:gd name="connsiteX159" fmla="*/ 20677 w 451024"/>
                <a:gd name="connsiteY159" fmla="*/ 9434 h 541359"/>
                <a:gd name="connsiteX160" fmla="*/ 18868 w 451024"/>
                <a:gd name="connsiteY160" fmla="*/ 9822 h 541359"/>
                <a:gd name="connsiteX161" fmla="*/ 16025 w 451024"/>
                <a:gd name="connsiteY161" fmla="*/ 11760 h 541359"/>
                <a:gd name="connsiteX162" fmla="*/ 14345 w 451024"/>
                <a:gd name="connsiteY162" fmla="*/ 12406 h 541359"/>
                <a:gd name="connsiteX163" fmla="*/ 15120 w 451024"/>
                <a:gd name="connsiteY163" fmla="*/ 12794 h 541359"/>
                <a:gd name="connsiteX164" fmla="*/ 15766 w 451024"/>
                <a:gd name="connsiteY164" fmla="*/ 12923 h 541359"/>
                <a:gd name="connsiteX165" fmla="*/ 16413 w 451024"/>
                <a:gd name="connsiteY165" fmla="*/ 12794 h 541359"/>
                <a:gd name="connsiteX166" fmla="*/ 17446 w 451024"/>
                <a:gd name="connsiteY166" fmla="*/ 12406 h 541359"/>
                <a:gd name="connsiteX167" fmla="*/ 17963 w 451024"/>
                <a:gd name="connsiteY167" fmla="*/ 13699 h 541359"/>
                <a:gd name="connsiteX168" fmla="*/ 19902 w 451024"/>
                <a:gd name="connsiteY168" fmla="*/ 15120 h 541359"/>
                <a:gd name="connsiteX169" fmla="*/ 20677 w 451024"/>
                <a:gd name="connsiteY169" fmla="*/ 17317 h 541359"/>
                <a:gd name="connsiteX170" fmla="*/ 22099 w 451024"/>
                <a:gd name="connsiteY170" fmla="*/ 19773 h 541359"/>
                <a:gd name="connsiteX171" fmla="*/ 22487 w 451024"/>
                <a:gd name="connsiteY171" fmla="*/ 21453 h 541359"/>
                <a:gd name="connsiteX172" fmla="*/ 21969 w 451024"/>
                <a:gd name="connsiteY172" fmla="*/ 24296 h 541359"/>
                <a:gd name="connsiteX173" fmla="*/ 21582 w 451024"/>
                <a:gd name="connsiteY173" fmla="*/ 24037 h 541359"/>
                <a:gd name="connsiteX174" fmla="*/ 21582 w 451024"/>
                <a:gd name="connsiteY174" fmla="*/ 25201 h 541359"/>
                <a:gd name="connsiteX175" fmla="*/ 21065 w 451024"/>
                <a:gd name="connsiteY175" fmla="*/ 29982 h 541359"/>
                <a:gd name="connsiteX176" fmla="*/ 20806 w 451024"/>
                <a:gd name="connsiteY176" fmla="*/ 30887 h 541359"/>
                <a:gd name="connsiteX177" fmla="*/ 7625 w 451024"/>
                <a:gd name="connsiteY177" fmla="*/ 51435 h 541359"/>
                <a:gd name="connsiteX178" fmla="*/ 4782 w 451024"/>
                <a:gd name="connsiteY178" fmla="*/ 54149 h 541359"/>
                <a:gd name="connsiteX179" fmla="*/ 2455 w 451024"/>
                <a:gd name="connsiteY179" fmla="*/ 56734 h 541359"/>
                <a:gd name="connsiteX180" fmla="*/ 1421 w 451024"/>
                <a:gd name="connsiteY180" fmla="*/ 59835 h 541359"/>
                <a:gd name="connsiteX181" fmla="*/ 904 w 451024"/>
                <a:gd name="connsiteY181" fmla="*/ 62549 h 541359"/>
                <a:gd name="connsiteX182" fmla="*/ 0 w 451024"/>
                <a:gd name="connsiteY182" fmla="*/ 66038 h 541359"/>
                <a:gd name="connsiteX183" fmla="*/ 0 w 451024"/>
                <a:gd name="connsiteY183" fmla="*/ 69269 h 541359"/>
                <a:gd name="connsiteX184" fmla="*/ 1421 w 451024"/>
                <a:gd name="connsiteY184" fmla="*/ 72500 h 541359"/>
                <a:gd name="connsiteX185" fmla="*/ 2326 w 451024"/>
                <a:gd name="connsiteY185" fmla="*/ 74955 h 541359"/>
                <a:gd name="connsiteX186" fmla="*/ 4265 w 451024"/>
                <a:gd name="connsiteY186" fmla="*/ 78574 h 541359"/>
                <a:gd name="connsiteX187" fmla="*/ 6720 w 451024"/>
                <a:gd name="connsiteY187" fmla="*/ 84260 h 541359"/>
                <a:gd name="connsiteX188" fmla="*/ 7237 w 451024"/>
                <a:gd name="connsiteY188" fmla="*/ 85940 h 541359"/>
                <a:gd name="connsiteX189" fmla="*/ 7883 w 451024"/>
                <a:gd name="connsiteY189" fmla="*/ 89947 h 541359"/>
                <a:gd name="connsiteX190" fmla="*/ 8271 w 451024"/>
                <a:gd name="connsiteY190" fmla="*/ 93177 h 541359"/>
                <a:gd name="connsiteX191" fmla="*/ 8271 w 451024"/>
                <a:gd name="connsiteY191" fmla="*/ 93824 h 541359"/>
                <a:gd name="connsiteX192" fmla="*/ 10080 w 451024"/>
                <a:gd name="connsiteY192" fmla="*/ 98217 h 541359"/>
                <a:gd name="connsiteX193" fmla="*/ 13699 w 451024"/>
                <a:gd name="connsiteY193" fmla="*/ 103774 h 541359"/>
                <a:gd name="connsiteX194" fmla="*/ 16154 w 451024"/>
                <a:gd name="connsiteY194" fmla="*/ 106488 h 541359"/>
                <a:gd name="connsiteX195" fmla="*/ 17705 w 451024"/>
                <a:gd name="connsiteY195" fmla="*/ 108944 h 541359"/>
                <a:gd name="connsiteX196" fmla="*/ 18480 w 451024"/>
                <a:gd name="connsiteY196" fmla="*/ 112692 h 541359"/>
                <a:gd name="connsiteX197" fmla="*/ 19514 w 451024"/>
                <a:gd name="connsiteY197" fmla="*/ 116052 h 541359"/>
                <a:gd name="connsiteX198" fmla="*/ 21582 w 451024"/>
                <a:gd name="connsiteY198" fmla="*/ 122513 h 541359"/>
                <a:gd name="connsiteX199" fmla="*/ 22228 w 451024"/>
                <a:gd name="connsiteY199" fmla="*/ 126390 h 541359"/>
                <a:gd name="connsiteX200" fmla="*/ 23520 w 451024"/>
                <a:gd name="connsiteY200" fmla="*/ 133886 h 541359"/>
                <a:gd name="connsiteX201" fmla="*/ 26880 w 451024"/>
                <a:gd name="connsiteY201" fmla="*/ 139572 h 541359"/>
                <a:gd name="connsiteX202" fmla="*/ 28689 w 451024"/>
                <a:gd name="connsiteY202" fmla="*/ 142674 h 541359"/>
                <a:gd name="connsiteX203" fmla="*/ 31662 w 451024"/>
                <a:gd name="connsiteY203" fmla="*/ 144612 h 541359"/>
                <a:gd name="connsiteX204" fmla="*/ 33730 w 451024"/>
                <a:gd name="connsiteY204" fmla="*/ 146422 h 541359"/>
                <a:gd name="connsiteX205" fmla="*/ 35281 w 451024"/>
                <a:gd name="connsiteY205" fmla="*/ 148102 h 541359"/>
                <a:gd name="connsiteX206" fmla="*/ 38124 w 451024"/>
                <a:gd name="connsiteY206" fmla="*/ 154305 h 541359"/>
                <a:gd name="connsiteX207" fmla="*/ 38770 w 451024"/>
                <a:gd name="connsiteY207" fmla="*/ 156760 h 541359"/>
                <a:gd name="connsiteX208" fmla="*/ 40321 w 451024"/>
                <a:gd name="connsiteY208" fmla="*/ 163997 h 541359"/>
                <a:gd name="connsiteX209" fmla="*/ 38124 w 451024"/>
                <a:gd name="connsiteY209" fmla="*/ 167616 h 541359"/>
                <a:gd name="connsiteX210" fmla="*/ 35281 w 451024"/>
                <a:gd name="connsiteY210" fmla="*/ 172398 h 541359"/>
                <a:gd name="connsiteX211" fmla="*/ 33213 w 451024"/>
                <a:gd name="connsiteY211" fmla="*/ 174853 h 541359"/>
                <a:gd name="connsiteX212" fmla="*/ 30241 w 451024"/>
                <a:gd name="connsiteY212" fmla="*/ 177308 h 541359"/>
                <a:gd name="connsiteX213" fmla="*/ 27139 w 451024"/>
                <a:gd name="connsiteY213" fmla="*/ 179505 h 541359"/>
                <a:gd name="connsiteX214" fmla="*/ 24037 w 451024"/>
                <a:gd name="connsiteY214" fmla="*/ 184416 h 541359"/>
                <a:gd name="connsiteX215" fmla="*/ 22874 w 451024"/>
                <a:gd name="connsiteY215" fmla="*/ 186613 h 541359"/>
                <a:gd name="connsiteX216" fmla="*/ 22745 w 451024"/>
                <a:gd name="connsiteY216" fmla="*/ 188681 h 541359"/>
                <a:gd name="connsiteX217" fmla="*/ 22228 w 451024"/>
                <a:gd name="connsiteY217" fmla="*/ 191524 h 541359"/>
                <a:gd name="connsiteX218" fmla="*/ 21969 w 451024"/>
                <a:gd name="connsiteY218" fmla="*/ 194884 h 541359"/>
                <a:gd name="connsiteX219" fmla="*/ 23133 w 451024"/>
                <a:gd name="connsiteY219" fmla="*/ 196435 h 541359"/>
                <a:gd name="connsiteX220" fmla="*/ 23779 w 451024"/>
                <a:gd name="connsiteY220" fmla="*/ 198890 h 541359"/>
                <a:gd name="connsiteX221" fmla="*/ 23520 w 451024"/>
                <a:gd name="connsiteY221" fmla="*/ 202767 h 541359"/>
                <a:gd name="connsiteX222" fmla="*/ 23779 w 451024"/>
                <a:gd name="connsiteY222" fmla="*/ 206515 h 541359"/>
                <a:gd name="connsiteX223" fmla="*/ 25200 w 451024"/>
                <a:gd name="connsiteY223" fmla="*/ 208712 h 541359"/>
                <a:gd name="connsiteX224" fmla="*/ 26880 w 451024"/>
                <a:gd name="connsiteY224" fmla="*/ 211684 h 541359"/>
                <a:gd name="connsiteX225" fmla="*/ 27785 w 451024"/>
                <a:gd name="connsiteY225" fmla="*/ 213494 h 541359"/>
                <a:gd name="connsiteX226" fmla="*/ 28689 w 451024"/>
                <a:gd name="connsiteY226" fmla="*/ 215949 h 541359"/>
                <a:gd name="connsiteX227" fmla="*/ 28561 w 451024"/>
                <a:gd name="connsiteY227" fmla="*/ 222799 h 541359"/>
                <a:gd name="connsiteX228" fmla="*/ 28302 w 451024"/>
                <a:gd name="connsiteY228" fmla="*/ 226805 h 541359"/>
                <a:gd name="connsiteX229" fmla="*/ 28689 w 451024"/>
                <a:gd name="connsiteY229" fmla="*/ 229389 h 541359"/>
                <a:gd name="connsiteX230" fmla="*/ 29853 w 451024"/>
                <a:gd name="connsiteY230" fmla="*/ 231328 h 541359"/>
                <a:gd name="connsiteX231" fmla="*/ 33213 w 451024"/>
                <a:gd name="connsiteY231" fmla="*/ 234430 h 541359"/>
                <a:gd name="connsiteX232" fmla="*/ 35022 w 451024"/>
                <a:gd name="connsiteY232" fmla="*/ 236756 h 541359"/>
                <a:gd name="connsiteX233" fmla="*/ 35668 w 451024"/>
                <a:gd name="connsiteY233" fmla="*/ 240116 h 541359"/>
                <a:gd name="connsiteX234" fmla="*/ 35668 w 451024"/>
                <a:gd name="connsiteY234" fmla="*/ 242701 h 541359"/>
                <a:gd name="connsiteX235" fmla="*/ 37219 w 451024"/>
                <a:gd name="connsiteY235" fmla="*/ 245156 h 541359"/>
                <a:gd name="connsiteX236" fmla="*/ 38382 w 451024"/>
                <a:gd name="connsiteY236" fmla="*/ 247870 h 541359"/>
                <a:gd name="connsiteX237" fmla="*/ 39545 w 451024"/>
                <a:gd name="connsiteY237" fmla="*/ 250971 h 541359"/>
                <a:gd name="connsiteX238" fmla="*/ 41742 w 451024"/>
                <a:gd name="connsiteY238" fmla="*/ 253944 h 541359"/>
                <a:gd name="connsiteX239" fmla="*/ 42130 w 451024"/>
                <a:gd name="connsiteY239" fmla="*/ 257950 h 541359"/>
                <a:gd name="connsiteX240" fmla="*/ 41742 w 451024"/>
                <a:gd name="connsiteY240" fmla="*/ 261569 h 541359"/>
                <a:gd name="connsiteX241" fmla="*/ 40579 w 451024"/>
                <a:gd name="connsiteY241" fmla="*/ 265058 h 541359"/>
                <a:gd name="connsiteX242" fmla="*/ 40579 w 451024"/>
                <a:gd name="connsiteY242" fmla="*/ 268676 h 541359"/>
                <a:gd name="connsiteX243" fmla="*/ 41484 w 451024"/>
                <a:gd name="connsiteY243" fmla="*/ 270486 h 541359"/>
                <a:gd name="connsiteX244" fmla="*/ 43939 w 451024"/>
                <a:gd name="connsiteY244" fmla="*/ 272424 h 541359"/>
                <a:gd name="connsiteX245" fmla="*/ 45490 w 451024"/>
                <a:gd name="connsiteY245" fmla="*/ 275009 h 541359"/>
                <a:gd name="connsiteX246" fmla="*/ 47946 w 451024"/>
                <a:gd name="connsiteY246" fmla="*/ 276172 h 541359"/>
                <a:gd name="connsiteX247" fmla="*/ 49496 w 451024"/>
                <a:gd name="connsiteY247" fmla="*/ 277852 h 541359"/>
                <a:gd name="connsiteX248" fmla="*/ 52598 w 451024"/>
                <a:gd name="connsiteY248" fmla="*/ 279532 h 541359"/>
                <a:gd name="connsiteX249" fmla="*/ 53632 w 451024"/>
                <a:gd name="connsiteY249" fmla="*/ 280437 h 541359"/>
                <a:gd name="connsiteX250" fmla="*/ 54407 w 451024"/>
                <a:gd name="connsiteY250" fmla="*/ 281858 h 541359"/>
                <a:gd name="connsiteX251" fmla="*/ 54666 w 451024"/>
                <a:gd name="connsiteY251" fmla="*/ 283797 h 541359"/>
                <a:gd name="connsiteX252" fmla="*/ 54666 w 451024"/>
                <a:gd name="connsiteY252" fmla="*/ 289354 h 541359"/>
                <a:gd name="connsiteX253" fmla="*/ 57121 w 451024"/>
                <a:gd name="connsiteY253" fmla="*/ 300339 h 541359"/>
                <a:gd name="connsiteX254" fmla="*/ 57250 w 451024"/>
                <a:gd name="connsiteY254" fmla="*/ 301760 h 541359"/>
                <a:gd name="connsiteX255" fmla="*/ 56346 w 451024"/>
                <a:gd name="connsiteY255" fmla="*/ 308739 h 541359"/>
                <a:gd name="connsiteX256" fmla="*/ 56604 w 451024"/>
                <a:gd name="connsiteY256" fmla="*/ 311840 h 541359"/>
                <a:gd name="connsiteX257" fmla="*/ 58155 w 451024"/>
                <a:gd name="connsiteY257" fmla="*/ 317914 h 541359"/>
                <a:gd name="connsiteX258" fmla="*/ 59576 w 451024"/>
                <a:gd name="connsiteY258" fmla="*/ 332389 h 541359"/>
                <a:gd name="connsiteX259" fmla="*/ 60998 w 451024"/>
                <a:gd name="connsiteY259" fmla="*/ 337429 h 541359"/>
                <a:gd name="connsiteX260" fmla="*/ 61257 w 451024"/>
                <a:gd name="connsiteY260" fmla="*/ 338850 h 541359"/>
                <a:gd name="connsiteX261" fmla="*/ 60998 w 451024"/>
                <a:gd name="connsiteY261" fmla="*/ 340013 h 541359"/>
                <a:gd name="connsiteX262" fmla="*/ 59706 w 451024"/>
                <a:gd name="connsiteY262" fmla="*/ 342598 h 541359"/>
                <a:gd name="connsiteX263" fmla="*/ 59835 w 451024"/>
                <a:gd name="connsiteY263" fmla="*/ 343373 h 541359"/>
                <a:gd name="connsiteX264" fmla="*/ 59835 w 451024"/>
                <a:gd name="connsiteY264" fmla="*/ 343890 h 541359"/>
                <a:gd name="connsiteX265" fmla="*/ 62032 w 451024"/>
                <a:gd name="connsiteY265" fmla="*/ 349060 h 541359"/>
                <a:gd name="connsiteX266" fmla="*/ 62549 w 451024"/>
                <a:gd name="connsiteY266" fmla="*/ 350869 h 541359"/>
                <a:gd name="connsiteX267" fmla="*/ 69011 w 451024"/>
                <a:gd name="connsiteY267" fmla="*/ 369996 h 541359"/>
                <a:gd name="connsiteX268" fmla="*/ 69657 w 451024"/>
                <a:gd name="connsiteY268" fmla="*/ 371159 h 541359"/>
                <a:gd name="connsiteX269" fmla="*/ 70174 w 451024"/>
                <a:gd name="connsiteY269" fmla="*/ 372839 h 541359"/>
                <a:gd name="connsiteX270" fmla="*/ 70561 w 451024"/>
                <a:gd name="connsiteY270" fmla="*/ 374648 h 541359"/>
                <a:gd name="connsiteX271" fmla="*/ 70690 w 451024"/>
                <a:gd name="connsiteY271" fmla="*/ 377620 h 541359"/>
                <a:gd name="connsiteX272" fmla="*/ 70561 w 451024"/>
                <a:gd name="connsiteY272" fmla="*/ 379300 h 541359"/>
                <a:gd name="connsiteX273" fmla="*/ 69786 w 451024"/>
                <a:gd name="connsiteY273" fmla="*/ 383307 h 541359"/>
                <a:gd name="connsiteX274" fmla="*/ 69786 w 451024"/>
                <a:gd name="connsiteY274" fmla="*/ 384857 h 541359"/>
                <a:gd name="connsiteX275" fmla="*/ 71466 w 451024"/>
                <a:gd name="connsiteY275" fmla="*/ 392741 h 541359"/>
                <a:gd name="connsiteX276" fmla="*/ 72500 w 451024"/>
                <a:gd name="connsiteY276" fmla="*/ 395584 h 541359"/>
                <a:gd name="connsiteX277" fmla="*/ 75989 w 451024"/>
                <a:gd name="connsiteY277" fmla="*/ 400365 h 541359"/>
                <a:gd name="connsiteX278" fmla="*/ 78186 w 451024"/>
                <a:gd name="connsiteY278" fmla="*/ 403984 h 541359"/>
                <a:gd name="connsiteX279" fmla="*/ 78444 w 451024"/>
                <a:gd name="connsiteY279" fmla="*/ 406569 h 541359"/>
                <a:gd name="connsiteX280" fmla="*/ 78057 w 451024"/>
                <a:gd name="connsiteY280" fmla="*/ 411221 h 541359"/>
                <a:gd name="connsiteX281" fmla="*/ 78315 w 451024"/>
                <a:gd name="connsiteY281" fmla="*/ 412255 h 541359"/>
                <a:gd name="connsiteX282" fmla="*/ 79220 w 451024"/>
                <a:gd name="connsiteY282" fmla="*/ 413418 h 541359"/>
                <a:gd name="connsiteX283" fmla="*/ 80642 w 451024"/>
                <a:gd name="connsiteY283" fmla="*/ 414452 h 541359"/>
                <a:gd name="connsiteX284" fmla="*/ 85035 w 451024"/>
                <a:gd name="connsiteY284" fmla="*/ 416003 h 541359"/>
                <a:gd name="connsiteX285" fmla="*/ 87491 w 451024"/>
                <a:gd name="connsiteY285" fmla="*/ 417812 h 541359"/>
                <a:gd name="connsiteX286" fmla="*/ 89171 w 451024"/>
                <a:gd name="connsiteY286" fmla="*/ 418587 h 541359"/>
                <a:gd name="connsiteX287" fmla="*/ 104033 w 451024"/>
                <a:gd name="connsiteY287" fmla="*/ 421431 h 541359"/>
                <a:gd name="connsiteX288" fmla="*/ 105067 w 451024"/>
                <a:gd name="connsiteY288" fmla="*/ 421818 h 541359"/>
                <a:gd name="connsiteX289" fmla="*/ 105971 w 451024"/>
                <a:gd name="connsiteY289" fmla="*/ 422464 h 541359"/>
                <a:gd name="connsiteX290" fmla="*/ 107005 w 451024"/>
                <a:gd name="connsiteY290" fmla="*/ 425049 h 541359"/>
                <a:gd name="connsiteX291" fmla="*/ 107522 w 451024"/>
                <a:gd name="connsiteY291" fmla="*/ 426858 h 541359"/>
                <a:gd name="connsiteX292" fmla="*/ 108039 w 451024"/>
                <a:gd name="connsiteY292" fmla="*/ 427634 h 541359"/>
                <a:gd name="connsiteX293" fmla="*/ 108944 w 451024"/>
                <a:gd name="connsiteY293" fmla="*/ 428409 h 541359"/>
                <a:gd name="connsiteX294" fmla="*/ 109977 w 451024"/>
                <a:gd name="connsiteY294" fmla="*/ 428926 h 541359"/>
                <a:gd name="connsiteX295" fmla="*/ 110624 w 451024"/>
                <a:gd name="connsiteY295" fmla="*/ 429443 h 541359"/>
                <a:gd name="connsiteX296" fmla="*/ 110882 w 451024"/>
                <a:gd name="connsiteY296" fmla="*/ 430218 h 541359"/>
                <a:gd name="connsiteX297" fmla="*/ 111012 w 451024"/>
                <a:gd name="connsiteY297" fmla="*/ 431123 h 541359"/>
                <a:gd name="connsiteX298" fmla="*/ 110882 w 451024"/>
                <a:gd name="connsiteY298" fmla="*/ 432674 h 541359"/>
                <a:gd name="connsiteX299" fmla="*/ 110495 w 451024"/>
                <a:gd name="connsiteY299" fmla="*/ 434354 h 541359"/>
                <a:gd name="connsiteX300" fmla="*/ 108814 w 451024"/>
                <a:gd name="connsiteY300" fmla="*/ 438360 h 541359"/>
                <a:gd name="connsiteX301" fmla="*/ 108168 w 451024"/>
                <a:gd name="connsiteY301" fmla="*/ 439523 h 541359"/>
                <a:gd name="connsiteX302" fmla="*/ 100931 w 451024"/>
                <a:gd name="connsiteY302" fmla="*/ 449474 h 541359"/>
                <a:gd name="connsiteX303" fmla="*/ 100544 w 451024"/>
                <a:gd name="connsiteY303" fmla="*/ 450250 h 541359"/>
                <a:gd name="connsiteX304" fmla="*/ 92919 w 451024"/>
                <a:gd name="connsiteY304" fmla="*/ 470668 h 541359"/>
                <a:gd name="connsiteX305" fmla="*/ 92919 w 451024"/>
                <a:gd name="connsiteY305" fmla="*/ 472349 h 541359"/>
                <a:gd name="connsiteX306" fmla="*/ 93306 w 451024"/>
                <a:gd name="connsiteY306" fmla="*/ 474416 h 541359"/>
                <a:gd name="connsiteX307" fmla="*/ 94728 w 451024"/>
                <a:gd name="connsiteY307" fmla="*/ 478164 h 541359"/>
                <a:gd name="connsiteX308" fmla="*/ 95891 w 451024"/>
                <a:gd name="connsiteY308" fmla="*/ 479844 h 541359"/>
                <a:gd name="connsiteX309" fmla="*/ 96796 w 451024"/>
                <a:gd name="connsiteY309" fmla="*/ 481136 h 541359"/>
                <a:gd name="connsiteX310" fmla="*/ 97571 w 451024"/>
                <a:gd name="connsiteY310" fmla="*/ 481912 h 541359"/>
                <a:gd name="connsiteX311" fmla="*/ 97959 w 451024"/>
                <a:gd name="connsiteY311" fmla="*/ 483463 h 541359"/>
                <a:gd name="connsiteX312" fmla="*/ 98217 w 451024"/>
                <a:gd name="connsiteY312" fmla="*/ 484755 h 541359"/>
                <a:gd name="connsiteX313" fmla="*/ 97571 w 451024"/>
                <a:gd name="connsiteY313" fmla="*/ 491604 h 541359"/>
                <a:gd name="connsiteX314" fmla="*/ 123676 w 451024"/>
                <a:gd name="connsiteY314" fmla="*/ 491992 h 541359"/>
                <a:gd name="connsiteX315" fmla="*/ 124969 w 451024"/>
                <a:gd name="connsiteY315" fmla="*/ 491734 h 541359"/>
                <a:gd name="connsiteX316" fmla="*/ 125873 w 451024"/>
                <a:gd name="connsiteY316" fmla="*/ 491734 h 541359"/>
                <a:gd name="connsiteX317" fmla="*/ 127166 w 451024"/>
                <a:gd name="connsiteY317" fmla="*/ 491992 h 541359"/>
                <a:gd name="connsiteX318" fmla="*/ 136729 w 451024"/>
                <a:gd name="connsiteY318" fmla="*/ 494447 h 541359"/>
                <a:gd name="connsiteX319" fmla="*/ 139055 w 451024"/>
                <a:gd name="connsiteY319" fmla="*/ 494577 h 541359"/>
                <a:gd name="connsiteX320" fmla="*/ 148360 w 451024"/>
                <a:gd name="connsiteY320" fmla="*/ 493414 h 541359"/>
                <a:gd name="connsiteX321" fmla="*/ 150686 w 451024"/>
                <a:gd name="connsiteY321" fmla="*/ 492767 h 541359"/>
                <a:gd name="connsiteX322" fmla="*/ 154563 w 451024"/>
                <a:gd name="connsiteY322" fmla="*/ 490829 h 541359"/>
                <a:gd name="connsiteX323" fmla="*/ 160378 w 451024"/>
                <a:gd name="connsiteY323" fmla="*/ 488503 h 541359"/>
                <a:gd name="connsiteX324" fmla="*/ 162705 w 451024"/>
                <a:gd name="connsiteY324" fmla="*/ 487857 h 541359"/>
                <a:gd name="connsiteX325" fmla="*/ 171493 w 451024"/>
                <a:gd name="connsiteY325" fmla="*/ 487210 h 541359"/>
                <a:gd name="connsiteX326" fmla="*/ 192170 w 451024"/>
                <a:gd name="connsiteY326" fmla="*/ 489795 h 541359"/>
                <a:gd name="connsiteX327" fmla="*/ 194367 w 451024"/>
                <a:gd name="connsiteY327" fmla="*/ 491087 h 541359"/>
                <a:gd name="connsiteX328" fmla="*/ 200441 w 451024"/>
                <a:gd name="connsiteY328" fmla="*/ 496644 h 541359"/>
                <a:gd name="connsiteX329" fmla="*/ 203284 w 451024"/>
                <a:gd name="connsiteY329" fmla="*/ 498971 h 541359"/>
                <a:gd name="connsiteX330" fmla="*/ 204964 w 451024"/>
                <a:gd name="connsiteY330" fmla="*/ 500651 h 541359"/>
                <a:gd name="connsiteX331" fmla="*/ 205610 w 451024"/>
                <a:gd name="connsiteY331" fmla="*/ 501038 h 541359"/>
                <a:gd name="connsiteX332" fmla="*/ 206386 w 451024"/>
                <a:gd name="connsiteY332" fmla="*/ 501426 h 541359"/>
                <a:gd name="connsiteX333" fmla="*/ 210521 w 451024"/>
                <a:gd name="connsiteY333" fmla="*/ 502331 h 541359"/>
                <a:gd name="connsiteX334" fmla="*/ 211555 w 451024"/>
                <a:gd name="connsiteY334" fmla="*/ 502718 h 541359"/>
                <a:gd name="connsiteX335" fmla="*/ 212589 w 451024"/>
                <a:gd name="connsiteY335" fmla="*/ 503365 h 541359"/>
                <a:gd name="connsiteX336" fmla="*/ 216983 w 451024"/>
                <a:gd name="connsiteY336" fmla="*/ 506337 h 541359"/>
                <a:gd name="connsiteX337" fmla="*/ 220989 w 451024"/>
                <a:gd name="connsiteY337" fmla="*/ 507629 h 541359"/>
                <a:gd name="connsiteX338" fmla="*/ 222281 w 451024"/>
                <a:gd name="connsiteY338" fmla="*/ 507758 h 541359"/>
                <a:gd name="connsiteX339" fmla="*/ 224608 w 451024"/>
                <a:gd name="connsiteY339" fmla="*/ 508405 h 541359"/>
                <a:gd name="connsiteX340" fmla="*/ 225254 w 451024"/>
                <a:gd name="connsiteY340" fmla="*/ 508792 h 541359"/>
                <a:gd name="connsiteX341" fmla="*/ 225900 w 451024"/>
                <a:gd name="connsiteY341" fmla="*/ 509438 h 541359"/>
                <a:gd name="connsiteX342" fmla="*/ 226675 w 451024"/>
                <a:gd name="connsiteY342" fmla="*/ 510731 h 541359"/>
                <a:gd name="connsiteX343" fmla="*/ 227451 w 451024"/>
                <a:gd name="connsiteY343" fmla="*/ 512282 h 541359"/>
                <a:gd name="connsiteX344" fmla="*/ 228614 w 451024"/>
                <a:gd name="connsiteY344" fmla="*/ 515512 h 541359"/>
                <a:gd name="connsiteX345" fmla="*/ 229260 w 451024"/>
                <a:gd name="connsiteY345" fmla="*/ 516546 h 541359"/>
                <a:gd name="connsiteX346" fmla="*/ 234042 w 451024"/>
                <a:gd name="connsiteY346" fmla="*/ 521586 h 541359"/>
                <a:gd name="connsiteX347" fmla="*/ 235851 w 451024"/>
                <a:gd name="connsiteY347" fmla="*/ 522750 h 541359"/>
                <a:gd name="connsiteX348" fmla="*/ 242313 w 451024"/>
                <a:gd name="connsiteY348" fmla="*/ 525205 h 541359"/>
                <a:gd name="connsiteX349" fmla="*/ 243476 w 451024"/>
                <a:gd name="connsiteY349" fmla="*/ 525722 h 541359"/>
                <a:gd name="connsiteX350" fmla="*/ 243864 w 451024"/>
                <a:gd name="connsiteY350" fmla="*/ 525851 h 541359"/>
                <a:gd name="connsiteX351" fmla="*/ 245027 w 451024"/>
                <a:gd name="connsiteY351" fmla="*/ 526368 h 541359"/>
                <a:gd name="connsiteX352" fmla="*/ 248386 w 451024"/>
                <a:gd name="connsiteY352" fmla="*/ 528177 h 541359"/>
                <a:gd name="connsiteX353" fmla="*/ 249162 w 451024"/>
                <a:gd name="connsiteY353" fmla="*/ 528824 h 541359"/>
                <a:gd name="connsiteX354" fmla="*/ 249938 w 451024"/>
                <a:gd name="connsiteY354" fmla="*/ 529599 h 541359"/>
                <a:gd name="connsiteX355" fmla="*/ 250584 w 451024"/>
                <a:gd name="connsiteY355" fmla="*/ 530504 h 541359"/>
                <a:gd name="connsiteX356" fmla="*/ 250971 w 451024"/>
                <a:gd name="connsiteY356" fmla="*/ 531537 h 541359"/>
                <a:gd name="connsiteX357" fmla="*/ 253297 w 451024"/>
                <a:gd name="connsiteY357" fmla="*/ 539421 h 541359"/>
                <a:gd name="connsiteX358" fmla="*/ 253814 w 451024"/>
                <a:gd name="connsiteY358" fmla="*/ 540455 h 541359"/>
                <a:gd name="connsiteX359" fmla="*/ 254073 w 451024"/>
                <a:gd name="connsiteY359" fmla="*/ 540972 h 541359"/>
                <a:gd name="connsiteX360" fmla="*/ 254331 w 451024"/>
                <a:gd name="connsiteY360" fmla="*/ 541359 h 541359"/>
                <a:gd name="connsiteX361" fmla="*/ 255236 w 451024"/>
                <a:gd name="connsiteY361" fmla="*/ 541230 h 541359"/>
                <a:gd name="connsiteX362" fmla="*/ 256658 w 451024"/>
                <a:gd name="connsiteY362" fmla="*/ 540713 h 541359"/>
                <a:gd name="connsiteX363" fmla="*/ 259501 w 451024"/>
                <a:gd name="connsiteY363" fmla="*/ 538775 h 541359"/>
                <a:gd name="connsiteX364" fmla="*/ 261439 w 451024"/>
                <a:gd name="connsiteY364" fmla="*/ 537999 h 541359"/>
                <a:gd name="connsiteX365" fmla="*/ 262473 w 451024"/>
                <a:gd name="connsiteY365" fmla="*/ 537741 h 541359"/>
                <a:gd name="connsiteX366" fmla="*/ 262861 w 451024"/>
                <a:gd name="connsiteY366" fmla="*/ 538128 h 541359"/>
                <a:gd name="connsiteX367" fmla="*/ 264153 w 451024"/>
                <a:gd name="connsiteY367" fmla="*/ 540584 h 541359"/>
                <a:gd name="connsiteX368" fmla="*/ 264412 w 451024"/>
                <a:gd name="connsiteY368" fmla="*/ 540972 h 541359"/>
                <a:gd name="connsiteX369" fmla="*/ 264929 w 451024"/>
                <a:gd name="connsiteY369" fmla="*/ 540972 h 541359"/>
                <a:gd name="connsiteX370" fmla="*/ 265704 w 451024"/>
                <a:gd name="connsiteY370" fmla="*/ 540713 h 541359"/>
                <a:gd name="connsiteX371" fmla="*/ 267126 w 451024"/>
                <a:gd name="connsiteY371" fmla="*/ 538904 h 541359"/>
                <a:gd name="connsiteX372" fmla="*/ 268289 w 451024"/>
                <a:gd name="connsiteY372" fmla="*/ 536836 h 541359"/>
                <a:gd name="connsiteX373" fmla="*/ 269452 w 451024"/>
                <a:gd name="connsiteY373" fmla="*/ 535156 h 541359"/>
                <a:gd name="connsiteX374" fmla="*/ 271261 w 451024"/>
                <a:gd name="connsiteY374" fmla="*/ 531667 h 541359"/>
                <a:gd name="connsiteX375" fmla="*/ 272166 w 451024"/>
                <a:gd name="connsiteY375" fmla="*/ 530374 h 541359"/>
                <a:gd name="connsiteX376" fmla="*/ 274621 w 451024"/>
                <a:gd name="connsiteY376" fmla="*/ 527919 h 541359"/>
                <a:gd name="connsiteX377" fmla="*/ 275913 w 451024"/>
                <a:gd name="connsiteY377" fmla="*/ 525980 h 541359"/>
                <a:gd name="connsiteX378" fmla="*/ 276301 w 451024"/>
                <a:gd name="connsiteY378" fmla="*/ 525593 h 541359"/>
                <a:gd name="connsiteX379" fmla="*/ 276818 w 451024"/>
                <a:gd name="connsiteY379" fmla="*/ 525334 h 541359"/>
                <a:gd name="connsiteX380" fmla="*/ 277723 w 451024"/>
                <a:gd name="connsiteY380" fmla="*/ 525205 h 541359"/>
                <a:gd name="connsiteX381" fmla="*/ 278369 w 451024"/>
                <a:gd name="connsiteY381" fmla="*/ 525593 h 541359"/>
                <a:gd name="connsiteX382" fmla="*/ 278756 w 451024"/>
                <a:gd name="connsiteY382" fmla="*/ 525980 h 541359"/>
                <a:gd name="connsiteX383" fmla="*/ 279015 w 451024"/>
                <a:gd name="connsiteY383" fmla="*/ 526368 h 541359"/>
                <a:gd name="connsiteX384" fmla="*/ 279403 w 451024"/>
                <a:gd name="connsiteY384" fmla="*/ 526497 h 541359"/>
                <a:gd name="connsiteX385" fmla="*/ 279791 w 451024"/>
                <a:gd name="connsiteY385" fmla="*/ 526239 h 541359"/>
                <a:gd name="connsiteX386" fmla="*/ 280178 w 451024"/>
                <a:gd name="connsiteY386" fmla="*/ 525334 h 541359"/>
                <a:gd name="connsiteX387" fmla="*/ 280566 w 451024"/>
                <a:gd name="connsiteY387" fmla="*/ 523137 h 541359"/>
                <a:gd name="connsiteX388" fmla="*/ 280695 w 451024"/>
                <a:gd name="connsiteY388" fmla="*/ 522491 h 541359"/>
                <a:gd name="connsiteX389" fmla="*/ 280954 w 451024"/>
                <a:gd name="connsiteY389" fmla="*/ 521974 h 541359"/>
                <a:gd name="connsiteX390" fmla="*/ 281600 w 451024"/>
                <a:gd name="connsiteY390" fmla="*/ 521199 h 541359"/>
                <a:gd name="connsiteX391" fmla="*/ 282375 w 451024"/>
                <a:gd name="connsiteY391" fmla="*/ 520811 h 541359"/>
                <a:gd name="connsiteX392" fmla="*/ 283538 w 451024"/>
                <a:gd name="connsiteY392" fmla="*/ 520423 h 541359"/>
                <a:gd name="connsiteX393" fmla="*/ 285865 w 451024"/>
                <a:gd name="connsiteY393" fmla="*/ 520036 h 541359"/>
                <a:gd name="connsiteX394" fmla="*/ 286898 w 451024"/>
                <a:gd name="connsiteY394" fmla="*/ 520036 h 541359"/>
                <a:gd name="connsiteX395" fmla="*/ 287803 w 451024"/>
                <a:gd name="connsiteY395" fmla="*/ 520294 h 541359"/>
                <a:gd name="connsiteX396" fmla="*/ 288191 w 451024"/>
                <a:gd name="connsiteY396" fmla="*/ 520553 h 541359"/>
                <a:gd name="connsiteX397" fmla="*/ 288708 w 451024"/>
                <a:gd name="connsiteY397" fmla="*/ 520423 h 541359"/>
                <a:gd name="connsiteX398" fmla="*/ 289095 w 451024"/>
                <a:gd name="connsiteY398" fmla="*/ 520165 h 541359"/>
                <a:gd name="connsiteX399" fmla="*/ 290258 w 451024"/>
                <a:gd name="connsiteY399" fmla="*/ 518097 h 541359"/>
                <a:gd name="connsiteX400" fmla="*/ 291421 w 451024"/>
                <a:gd name="connsiteY400" fmla="*/ 517322 h 541359"/>
                <a:gd name="connsiteX401" fmla="*/ 294652 w 451024"/>
                <a:gd name="connsiteY401" fmla="*/ 516288 h 541359"/>
                <a:gd name="connsiteX402" fmla="*/ 293618 w 451024"/>
                <a:gd name="connsiteY402" fmla="*/ 514737 h 541359"/>
                <a:gd name="connsiteX403" fmla="*/ 293748 w 451024"/>
                <a:gd name="connsiteY403" fmla="*/ 513962 h 541359"/>
                <a:gd name="connsiteX404" fmla="*/ 294265 w 451024"/>
                <a:gd name="connsiteY404" fmla="*/ 513186 h 541359"/>
                <a:gd name="connsiteX405" fmla="*/ 294911 w 451024"/>
                <a:gd name="connsiteY405" fmla="*/ 512411 h 541359"/>
                <a:gd name="connsiteX406" fmla="*/ 297754 w 451024"/>
                <a:gd name="connsiteY406" fmla="*/ 510343 h 541359"/>
                <a:gd name="connsiteX407" fmla="*/ 299046 w 451024"/>
                <a:gd name="connsiteY407" fmla="*/ 509180 h 541359"/>
                <a:gd name="connsiteX408" fmla="*/ 300985 w 451024"/>
                <a:gd name="connsiteY408" fmla="*/ 506983 h 541359"/>
                <a:gd name="connsiteX409" fmla="*/ 301889 w 451024"/>
                <a:gd name="connsiteY409" fmla="*/ 505303 h 541359"/>
                <a:gd name="connsiteX410" fmla="*/ 302277 w 451024"/>
                <a:gd name="connsiteY410" fmla="*/ 503752 h 541359"/>
                <a:gd name="connsiteX411" fmla="*/ 302277 w 451024"/>
                <a:gd name="connsiteY411" fmla="*/ 502460 h 541359"/>
                <a:gd name="connsiteX412" fmla="*/ 301760 w 451024"/>
                <a:gd name="connsiteY412" fmla="*/ 500004 h 541359"/>
                <a:gd name="connsiteX413" fmla="*/ 301631 w 451024"/>
                <a:gd name="connsiteY413" fmla="*/ 498841 h 541359"/>
                <a:gd name="connsiteX414" fmla="*/ 302277 w 451024"/>
                <a:gd name="connsiteY414" fmla="*/ 498195 h 541359"/>
                <a:gd name="connsiteX415" fmla="*/ 304733 w 451024"/>
                <a:gd name="connsiteY415" fmla="*/ 497420 h 541359"/>
                <a:gd name="connsiteX416" fmla="*/ 306671 w 451024"/>
                <a:gd name="connsiteY416" fmla="*/ 495352 h 541359"/>
                <a:gd name="connsiteX417" fmla="*/ 307576 w 451024"/>
                <a:gd name="connsiteY417" fmla="*/ 493801 h 541359"/>
                <a:gd name="connsiteX418" fmla="*/ 308868 w 451024"/>
                <a:gd name="connsiteY418" fmla="*/ 490441 h 541359"/>
                <a:gd name="connsiteX419" fmla="*/ 310677 w 451024"/>
                <a:gd name="connsiteY419" fmla="*/ 487986 h 541359"/>
                <a:gd name="connsiteX420" fmla="*/ 311324 w 451024"/>
                <a:gd name="connsiteY420" fmla="*/ 486823 h 541359"/>
                <a:gd name="connsiteX421" fmla="*/ 311840 w 451024"/>
                <a:gd name="connsiteY421" fmla="*/ 485530 h 541359"/>
                <a:gd name="connsiteX422" fmla="*/ 312228 w 451024"/>
                <a:gd name="connsiteY422" fmla="*/ 484238 h 541359"/>
                <a:gd name="connsiteX423" fmla="*/ 312487 w 451024"/>
                <a:gd name="connsiteY423" fmla="*/ 482558 h 541359"/>
                <a:gd name="connsiteX424" fmla="*/ 312357 w 451024"/>
                <a:gd name="connsiteY424" fmla="*/ 481266 h 541359"/>
                <a:gd name="connsiteX425" fmla="*/ 311324 w 451024"/>
                <a:gd name="connsiteY425" fmla="*/ 477647 h 541359"/>
                <a:gd name="connsiteX426" fmla="*/ 310936 w 451024"/>
                <a:gd name="connsiteY426" fmla="*/ 475967 h 541359"/>
                <a:gd name="connsiteX427" fmla="*/ 310419 w 451024"/>
                <a:gd name="connsiteY427" fmla="*/ 475062 h 541359"/>
                <a:gd name="connsiteX428" fmla="*/ 309514 w 451024"/>
                <a:gd name="connsiteY428" fmla="*/ 474545 h 541359"/>
                <a:gd name="connsiteX429" fmla="*/ 307059 w 451024"/>
                <a:gd name="connsiteY429" fmla="*/ 474545 h 541359"/>
                <a:gd name="connsiteX430" fmla="*/ 305896 w 451024"/>
                <a:gd name="connsiteY430" fmla="*/ 474287 h 541359"/>
                <a:gd name="connsiteX431" fmla="*/ 304862 w 451024"/>
                <a:gd name="connsiteY431" fmla="*/ 473641 h 541359"/>
                <a:gd name="connsiteX432" fmla="*/ 304215 w 451024"/>
                <a:gd name="connsiteY432" fmla="*/ 472995 h 541359"/>
                <a:gd name="connsiteX433" fmla="*/ 303699 w 451024"/>
                <a:gd name="connsiteY433" fmla="*/ 472090 h 541359"/>
                <a:gd name="connsiteX434" fmla="*/ 302794 w 451024"/>
                <a:gd name="connsiteY434" fmla="*/ 470022 h 541359"/>
                <a:gd name="connsiteX435" fmla="*/ 302148 w 451024"/>
                <a:gd name="connsiteY435" fmla="*/ 469247 h 541359"/>
                <a:gd name="connsiteX436" fmla="*/ 301114 w 451024"/>
                <a:gd name="connsiteY436" fmla="*/ 468859 h 541359"/>
                <a:gd name="connsiteX437" fmla="*/ 299951 w 451024"/>
                <a:gd name="connsiteY437" fmla="*/ 468730 h 541359"/>
                <a:gd name="connsiteX438" fmla="*/ 298659 w 451024"/>
                <a:gd name="connsiteY438" fmla="*/ 468471 h 541359"/>
                <a:gd name="connsiteX439" fmla="*/ 297625 w 451024"/>
                <a:gd name="connsiteY439" fmla="*/ 467825 h 541359"/>
                <a:gd name="connsiteX440" fmla="*/ 296849 w 451024"/>
                <a:gd name="connsiteY440" fmla="*/ 466662 h 541359"/>
                <a:gd name="connsiteX441" fmla="*/ 296849 w 451024"/>
                <a:gd name="connsiteY441" fmla="*/ 465241 h 541359"/>
                <a:gd name="connsiteX442" fmla="*/ 297625 w 451024"/>
                <a:gd name="connsiteY442" fmla="*/ 461493 h 541359"/>
                <a:gd name="connsiteX443" fmla="*/ 297754 w 451024"/>
                <a:gd name="connsiteY443" fmla="*/ 459942 h 541359"/>
                <a:gd name="connsiteX444" fmla="*/ 297495 w 451024"/>
                <a:gd name="connsiteY444" fmla="*/ 458521 h 541359"/>
                <a:gd name="connsiteX445" fmla="*/ 296978 w 451024"/>
                <a:gd name="connsiteY445" fmla="*/ 456194 h 541359"/>
                <a:gd name="connsiteX446" fmla="*/ 296332 w 451024"/>
                <a:gd name="connsiteY446" fmla="*/ 453868 h 541359"/>
                <a:gd name="connsiteX447" fmla="*/ 295815 w 451024"/>
                <a:gd name="connsiteY447" fmla="*/ 452834 h 541359"/>
                <a:gd name="connsiteX448" fmla="*/ 295169 w 451024"/>
                <a:gd name="connsiteY448" fmla="*/ 452059 h 541359"/>
                <a:gd name="connsiteX449" fmla="*/ 294394 w 451024"/>
                <a:gd name="connsiteY449" fmla="*/ 451413 h 541359"/>
                <a:gd name="connsiteX450" fmla="*/ 293360 w 451024"/>
                <a:gd name="connsiteY450" fmla="*/ 450896 h 541359"/>
                <a:gd name="connsiteX451" fmla="*/ 291421 w 451024"/>
                <a:gd name="connsiteY451" fmla="*/ 450250 h 541359"/>
                <a:gd name="connsiteX452" fmla="*/ 290904 w 451024"/>
                <a:gd name="connsiteY452" fmla="*/ 449862 h 541359"/>
                <a:gd name="connsiteX453" fmla="*/ 290517 w 451024"/>
                <a:gd name="connsiteY453" fmla="*/ 449474 h 541359"/>
                <a:gd name="connsiteX454" fmla="*/ 290129 w 451024"/>
                <a:gd name="connsiteY454" fmla="*/ 448570 h 541359"/>
                <a:gd name="connsiteX455" fmla="*/ 289612 w 451024"/>
                <a:gd name="connsiteY455" fmla="*/ 446373 h 541359"/>
                <a:gd name="connsiteX456" fmla="*/ 289612 w 451024"/>
                <a:gd name="connsiteY456" fmla="*/ 444951 h 541359"/>
                <a:gd name="connsiteX457" fmla="*/ 290000 w 451024"/>
                <a:gd name="connsiteY457" fmla="*/ 440557 h 541359"/>
                <a:gd name="connsiteX458" fmla="*/ 291421 w 451024"/>
                <a:gd name="connsiteY458" fmla="*/ 437972 h 541359"/>
                <a:gd name="connsiteX459" fmla="*/ 293102 w 451024"/>
                <a:gd name="connsiteY459" fmla="*/ 436938 h 541359"/>
                <a:gd name="connsiteX460" fmla="*/ 294652 w 451024"/>
                <a:gd name="connsiteY460" fmla="*/ 436163 h 541359"/>
                <a:gd name="connsiteX461" fmla="*/ 297237 w 451024"/>
                <a:gd name="connsiteY461" fmla="*/ 434483 h 541359"/>
                <a:gd name="connsiteX462" fmla="*/ 298529 w 451024"/>
                <a:gd name="connsiteY462" fmla="*/ 433320 h 541359"/>
                <a:gd name="connsiteX463" fmla="*/ 299434 w 451024"/>
                <a:gd name="connsiteY463" fmla="*/ 432286 h 541359"/>
                <a:gd name="connsiteX464" fmla="*/ 301502 w 451024"/>
                <a:gd name="connsiteY464" fmla="*/ 427117 h 541359"/>
                <a:gd name="connsiteX465" fmla="*/ 302665 w 451024"/>
                <a:gd name="connsiteY465" fmla="*/ 426083 h 541359"/>
                <a:gd name="connsiteX466" fmla="*/ 303052 w 451024"/>
                <a:gd name="connsiteY466" fmla="*/ 424920 h 541359"/>
                <a:gd name="connsiteX467" fmla="*/ 303052 w 451024"/>
                <a:gd name="connsiteY467" fmla="*/ 423886 h 541359"/>
                <a:gd name="connsiteX468" fmla="*/ 302665 w 451024"/>
                <a:gd name="connsiteY468" fmla="*/ 422852 h 541359"/>
                <a:gd name="connsiteX469" fmla="*/ 302148 w 451024"/>
                <a:gd name="connsiteY469" fmla="*/ 421947 h 541359"/>
                <a:gd name="connsiteX470" fmla="*/ 300985 w 451024"/>
                <a:gd name="connsiteY470" fmla="*/ 420397 h 541359"/>
                <a:gd name="connsiteX471" fmla="*/ 300597 w 451024"/>
                <a:gd name="connsiteY471" fmla="*/ 419880 h 541359"/>
                <a:gd name="connsiteX472" fmla="*/ 300209 w 451024"/>
                <a:gd name="connsiteY472" fmla="*/ 419104 h 541359"/>
                <a:gd name="connsiteX473" fmla="*/ 299951 w 451024"/>
                <a:gd name="connsiteY473" fmla="*/ 418070 h 541359"/>
                <a:gd name="connsiteX474" fmla="*/ 299822 w 451024"/>
                <a:gd name="connsiteY474" fmla="*/ 416778 h 541359"/>
                <a:gd name="connsiteX475" fmla="*/ 300209 w 451024"/>
                <a:gd name="connsiteY475" fmla="*/ 414969 h 541359"/>
                <a:gd name="connsiteX476" fmla="*/ 300856 w 451024"/>
                <a:gd name="connsiteY476" fmla="*/ 413418 h 541359"/>
                <a:gd name="connsiteX477" fmla="*/ 307317 w 451024"/>
                <a:gd name="connsiteY477" fmla="*/ 394033 h 541359"/>
                <a:gd name="connsiteX478" fmla="*/ 308997 w 451024"/>
                <a:gd name="connsiteY478" fmla="*/ 391448 h 541359"/>
                <a:gd name="connsiteX479" fmla="*/ 310806 w 451024"/>
                <a:gd name="connsiteY479" fmla="*/ 389510 h 541359"/>
                <a:gd name="connsiteX480" fmla="*/ 311970 w 451024"/>
                <a:gd name="connsiteY480" fmla="*/ 387701 h 541359"/>
                <a:gd name="connsiteX481" fmla="*/ 312487 w 451024"/>
                <a:gd name="connsiteY481" fmla="*/ 386408 h 541359"/>
                <a:gd name="connsiteX482" fmla="*/ 313003 w 451024"/>
                <a:gd name="connsiteY482" fmla="*/ 383565 h 541359"/>
                <a:gd name="connsiteX483" fmla="*/ 310419 w 451024"/>
                <a:gd name="connsiteY483" fmla="*/ 385245 h 541359"/>
                <a:gd name="connsiteX484" fmla="*/ 308609 w 451024"/>
                <a:gd name="connsiteY484" fmla="*/ 385762 h 541359"/>
                <a:gd name="connsiteX485" fmla="*/ 307188 w 451024"/>
                <a:gd name="connsiteY485" fmla="*/ 386021 h 541359"/>
                <a:gd name="connsiteX486" fmla="*/ 306025 w 451024"/>
                <a:gd name="connsiteY486" fmla="*/ 386021 h 541359"/>
                <a:gd name="connsiteX487" fmla="*/ 305120 w 451024"/>
                <a:gd name="connsiteY487" fmla="*/ 385762 h 541359"/>
                <a:gd name="connsiteX488" fmla="*/ 304345 w 451024"/>
                <a:gd name="connsiteY488" fmla="*/ 385116 h 541359"/>
                <a:gd name="connsiteX489" fmla="*/ 304086 w 451024"/>
                <a:gd name="connsiteY489" fmla="*/ 384340 h 541359"/>
                <a:gd name="connsiteX490" fmla="*/ 304474 w 451024"/>
                <a:gd name="connsiteY490" fmla="*/ 383565 h 541359"/>
                <a:gd name="connsiteX491" fmla="*/ 305120 w 451024"/>
                <a:gd name="connsiteY491" fmla="*/ 382919 h 541359"/>
                <a:gd name="connsiteX492" fmla="*/ 305896 w 451024"/>
                <a:gd name="connsiteY492" fmla="*/ 382144 h 541359"/>
                <a:gd name="connsiteX493" fmla="*/ 306283 w 451024"/>
                <a:gd name="connsiteY493" fmla="*/ 381110 h 541359"/>
                <a:gd name="connsiteX494" fmla="*/ 306413 w 451024"/>
                <a:gd name="connsiteY494" fmla="*/ 379817 h 541359"/>
                <a:gd name="connsiteX495" fmla="*/ 306283 w 451024"/>
                <a:gd name="connsiteY495" fmla="*/ 378267 h 541359"/>
                <a:gd name="connsiteX496" fmla="*/ 306542 w 451024"/>
                <a:gd name="connsiteY496" fmla="*/ 375423 h 541359"/>
                <a:gd name="connsiteX497" fmla="*/ 306413 w 451024"/>
                <a:gd name="connsiteY497" fmla="*/ 373226 h 541359"/>
                <a:gd name="connsiteX498" fmla="*/ 306671 w 451024"/>
                <a:gd name="connsiteY498" fmla="*/ 371805 h 541359"/>
                <a:gd name="connsiteX499" fmla="*/ 307188 w 451024"/>
                <a:gd name="connsiteY499" fmla="*/ 370771 h 541359"/>
                <a:gd name="connsiteX500" fmla="*/ 307963 w 451024"/>
                <a:gd name="connsiteY500" fmla="*/ 369996 h 541359"/>
                <a:gd name="connsiteX501" fmla="*/ 309772 w 451024"/>
                <a:gd name="connsiteY501" fmla="*/ 368962 h 541359"/>
                <a:gd name="connsiteX502" fmla="*/ 310419 w 451024"/>
                <a:gd name="connsiteY502" fmla="*/ 368186 h 541359"/>
                <a:gd name="connsiteX503" fmla="*/ 310806 w 451024"/>
                <a:gd name="connsiteY503" fmla="*/ 367023 h 541359"/>
                <a:gd name="connsiteX504" fmla="*/ 311065 w 451024"/>
                <a:gd name="connsiteY504" fmla="*/ 364955 h 541359"/>
                <a:gd name="connsiteX505" fmla="*/ 311582 w 451024"/>
                <a:gd name="connsiteY505" fmla="*/ 363663 h 541359"/>
                <a:gd name="connsiteX506" fmla="*/ 314296 w 451024"/>
                <a:gd name="connsiteY506" fmla="*/ 362112 h 541359"/>
                <a:gd name="connsiteX507" fmla="*/ 314813 w 451024"/>
                <a:gd name="connsiteY507" fmla="*/ 361337 h 541359"/>
                <a:gd name="connsiteX508" fmla="*/ 315330 w 451024"/>
                <a:gd name="connsiteY508" fmla="*/ 359915 h 541359"/>
                <a:gd name="connsiteX509" fmla="*/ 315588 w 451024"/>
                <a:gd name="connsiteY509" fmla="*/ 358494 h 541359"/>
                <a:gd name="connsiteX510" fmla="*/ 316493 w 451024"/>
                <a:gd name="connsiteY510" fmla="*/ 356297 h 541359"/>
                <a:gd name="connsiteX511" fmla="*/ 317785 w 451024"/>
                <a:gd name="connsiteY511" fmla="*/ 354358 h 541359"/>
                <a:gd name="connsiteX512" fmla="*/ 320370 w 451024"/>
                <a:gd name="connsiteY512" fmla="*/ 351515 h 541359"/>
                <a:gd name="connsiteX513" fmla="*/ 322308 w 451024"/>
                <a:gd name="connsiteY513" fmla="*/ 350094 h 541359"/>
                <a:gd name="connsiteX514" fmla="*/ 323730 w 451024"/>
                <a:gd name="connsiteY514" fmla="*/ 349318 h 541359"/>
                <a:gd name="connsiteX515" fmla="*/ 324764 w 451024"/>
                <a:gd name="connsiteY515" fmla="*/ 349318 h 541359"/>
                <a:gd name="connsiteX516" fmla="*/ 325798 w 451024"/>
                <a:gd name="connsiteY516" fmla="*/ 349706 h 541359"/>
                <a:gd name="connsiteX517" fmla="*/ 326702 w 451024"/>
                <a:gd name="connsiteY517" fmla="*/ 350094 h 541359"/>
                <a:gd name="connsiteX518" fmla="*/ 329028 w 451024"/>
                <a:gd name="connsiteY518" fmla="*/ 352161 h 541359"/>
                <a:gd name="connsiteX519" fmla="*/ 329933 w 451024"/>
                <a:gd name="connsiteY519" fmla="*/ 352678 h 541359"/>
                <a:gd name="connsiteX520" fmla="*/ 331355 w 451024"/>
                <a:gd name="connsiteY520" fmla="*/ 352678 h 541359"/>
                <a:gd name="connsiteX521" fmla="*/ 333293 w 451024"/>
                <a:gd name="connsiteY521" fmla="*/ 352161 h 541359"/>
                <a:gd name="connsiteX522" fmla="*/ 337170 w 451024"/>
                <a:gd name="connsiteY522" fmla="*/ 350610 h 541359"/>
                <a:gd name="connsiteX523" fmla="*/ 338979 w 451024"/>
                <a:gd name="connsiteY523" fmla="*/ 349447 h 541359"/>
                <a:gd name="connsiteX524" fmla="*/ 340013 w 451024"/>
                <a:gd name="connsiteY524" fmla="*/ 348284 h 541359"/>
                <a:gd name="connsiteX525" fmla="*/ 340401 w 451024"/>
                <a:gd name="connsiteY525" fmla="*/ 347121 h 541359"/>
                <a:gd name="connsiteX526" fmla="*/ 341176 w 451024"/>
                <a:gd name="connsiteY526" fmla="*/ 345570 h 541359"/>
                <a:gd name="connsiteX527" fmla="*/ 342210 w 451024"/>
                <a:gd name="connsiteY527" fmla="*/ 343890 h 541359"/>
                <a:gd name="connsiteX528" fmla="*/ 354358 w 451024"/>
                <a:gd name="connsiteY528" fmla="*/ 331484 h 541359"/>
                <a:gd name="connsiteX529" fmla="*/ 355521 w 451024"/>
                <a:gd name="connsiteY529" fmla="*/ 329804 h 541359"/>
                <a:gd name="connsiteX530" fmla="*/ 355780 w 451024"/>
                <a:gd name="connsiteY530" fmla="*/ 328641 h 541359"/>
                <a:gd name="connsiteX531" fmla="*/ 355651 w 451024"/>
                <a:gd name="connsiteY531" fmla="*/ 326185 h 541359"/>
                <a:gd name="connsiteX532" fmla="*/ 355780 w 451024"/>
                <a:gd name="connsiteY532" fmla="*/ 325022 h 541359"/>
                <a:gd name="connsiteX533" fmla="*/ 356297 w 451024"/>
                <a:gd name="connsiteY533" fmla="*/ 323988 h 541359"/>
                <a:gd name="connsiteX534" fmla="*/ 358494 w 451024"/>
                <a:gd name="connsiteY534" fmla="*/ 320370 h 541359"/>
                <a:gd name="connsiteX535" fmla="*/ 360949 w 451024"/>
                <a:gd name="connsiteY535" fmla="*/ 317139 h 541359"/>
                <a:gd name="connsiteX536" fmla="*/ 361466 w 451024"/>
                <a:gd name="connsiteY536" fmla="*/ 315330 h 541359"/>
                <a:gd name="connsiteX537" fmla="*/ 360561 w 451024"/>
                <a:gd name="connsiteY537" fmla="*/ 311840 h 541359"/>
                <a:gd name="connsiteX538" fmla="*/ 360432 w 451024"/>
                <a:gd name="connsiteY538" fmla="*/ 311194 h 541359"/>
                <a:gd name="connsiteX539" fmla="*/ 360949 w 451024"/>
                <a:gd name="connsiteY539" fmla="*/ 309256 h 541359"/>
                <a:gd name="connsiteX540" fmla="*/ 364180 w 451024"/>
                <a:gd name="connsiteY540" fmla="*/ 301502 h 541359"/>
                <a:gd name="connsiteX541" fmla="*/ 366248 w 451024"/>
                <a:gd name="connsiteY541" fmla="*/ 299176 h 541359"/>
                <a:gd name="connsiteX542" fmla="*/ 367669 w 451024"/>
                <a:gd name="connsiteY542" fmla="*/ 298012 h 541359"/>
                <a:gd name="connsiteX543" fmla="*/ 369737 w 451024"/>
                <a:gd name="connsiteY543" fmla="*/ 296203 h 541359"/>
                <a:gd name="connsiteX544" fmla="*/ 377620 w 451024"/>
                <a:gd name="connsiteY544" fmla="*/ 286640 h 541359"/>
                <a:gd name="connsiteX545" fmla="*/ 378396 w 451024"/>
                <a:gd name="connsiteY545" fmla="*/ 285348 h 541359"/>
                <a:gd name="connsiteX546" fmla="*/ 390414 w 451024"/>
                <a:gd name="connsiteY546" fmla="*/ 260535 h 541359"/>
                <a:gd name="connsiteX547" fmla="*/ 398297 w 451024"/>
                <a:gd name="connsiteY547" fmla="*/ 243864 h 541359"/>
                <a:gd name="connsiteX548" fmla="*/ 399073 w 451024"/>
                <a:gd name="connsiteY548" fmla="*/ 242571 h 541359"/>
                <a:gd name="connsiteX549" fmla="*/ 412643 w 451024"/>
                <a:gd name="connsiteY549" fmla="*/ 231328 h 541359"/>
                <a:gd name="connsiteX550" fmla="*/ 413935 w 451024"/>
                <a:gd name="connsiteY550" fmla="*/ 230553 h 541359"/>
                <a:gd name="connsiteX551" fmla="*/ 418458 w 451024"/>
                <a:gd name="connsiteY551" fmla="*/ 228485 h 541359"/>
                <a:gd name="connsiteX552" fmla="*/ 451025 w 451024"/>
                <a:gd name="connsiteY552" fmla="*/ 217758 h 54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Lst>
              <a:rect l="l" t="t" r="r" b="b"/>
              <a:pathLst>
                <a:path w="451024" h="541359">
                  <a:moveTo>
                    <a:pt x="446889" y="208454"/>
                  </a:moveTo>
                  <a:lnTo>
                    <a:pt x="444951" y="205740"/>
                  </a:lnTo>
                  <a:lnTo>
                    <a:pt x="441591" y="203543"/>
                  </a:lnTo>
                  <a:lnTo>
                    <a:pt x="430606" y="199666"/>
                  </a:lnTo>
                  <a:lnTo>
                    <a:pt x="424015" y="196435"/>
                  </a:lnTo>
                  <a:lnTo>
                    <a:pt x="421301" y="195789"/>
                  </a:lnTo>
                  <a:lnTo>
                    <a:pt x="420138" y="196693"/>
                  </a:lnTo>
                  <a:lnTo>
                    <a:pt x="418846" y="197340"/>
                  </a:lnTo>
                  <a:lnTo>
                    <a:pt x="415873" y="196306"/>
                  </a:lnTo>
                  <a:lnTo>
                    <a:pt x="411350" y="194109"/>
                  </a:lnTo>
                  <a:lnTo>
                    <a:pt x="406827" y="191007"/>
                  </a:lnTo>
                  <a:lnTo>
                    <a:pt x="403079" y="187776"/>
                  </a:lnTo>
                  <a:lnTo>
                    <a:pt x="400236" y="184158"/>
                  </a:lnTo>
                  <a:lnTo>
                    <a:pt x="394033" y="171493"/>
                  </a:lnTo>
                  <a:lnTo>
                    <a:pt x="391577" y="171364"/>
                  </a:lnTo>
                  <a:lnTo>
                    <a:pt x="389251" y="170976"/>
                  </a:lnTo>
                  <a:lnTo>
                    <a:pt x="386925" y="170330"/>
                  </a:lnTo>
                  <a:lnTo>
                    <a:pt x="384857" y="169296"/>
                  </a:lnTo>
                  <a:lnTo>
                    <a:pt x="377879" y="162834"/>
                  </a:lnTo>
                  <a:lnTo>
                    <a:pt x="376328" y="162059"/>
                  </a:lnTo>
                  <a:lnTo>
                    <a:pt x="366118" y="154563"/>
                  </a:lnTo>
                  <a:lnTo>
                    <a:pt x="357847" y="146034"/>
                  </a:lnTo>
                  <a:lnTo>
                    <a:pt x="349060" y="134791"/>
                  </a:lnTo>
                  <a:lnTo>
                    <a:pt x="342340" y="125227"/>
                  </a:lnTo>
                  <a:lnTo>
                    <a:pt x="341047" y="124064"/>
                  </a:lnTo>
                  <a:lnTo>
                    <a:pt x="336007" y="121738"/>
                  </a:lnTo>
                  <a:lnTo>
                    <a:pt x="334973" y="120963"/>
                  </a:lnTo>
                  <a:lnTo>
                    <a:pt x="328770" y="115406"/>
                  </a:lnTo>
                  <a:lnTo>
                    <a:pt x="327607" y="113855"/>
                  </a:lnTo>
                  <a:lnTo>
                    <a:pt x="326961" y="112304"/>
                  </a:lnTo>
                  <a:lnTo>
                    <a:pt x="326056" y="108944"/>
                  </a:lnTo>
                  <a:lnTo>
                    <a:pt x="325410" y="107135"/>
                  </a:lnTo>
                  <a:lnTo>
                    <a:pt x="322567" y="103516"/>
                  </a:lnTo>
                  <a:lnTo>
                    <a:pt x="320370" y="99251"/>
                  </a:lnTo>
                  <a:lnTo>
                    <a:pt x="319336" y="97830"/>
                  </a:lnTo>
                  <a:lnTo>
                    <a:pt x="318173" y="97054"/>
                  </a:lnTo>
                  <a:lnTo>
                    <a:pt x="316363" y="99510"/>
                  </a:lnTo>
                  <a:lnTo>
                    <a:pt x="313003" y="99122"/>
                  </a:lnTo>
                  <a:lnTo>
                    <a:pt x="305637" y="96279"/>
                  </a:lnTo>
                  <a:lnTo>
                    <a:pt x="298659" y="94728"/>
                  </a:lnTo>
                  <a:lnTo>
                    <a:pt x="297495" y="93953"/>
                  </a:lnTo>
                  <a:lnTo>
                    <a:pt x="294911" y="90463"/>
                  </a:lnTo>
                  <a:lnTo>
                    <a:pt x="293618" y="89688"/>
                  </a:lnTo>
                  <a:lnTo>
                    <a:pt x="290904" y="88783"/>
                  </a:lnTo>
                  <a:lnTo>
                    <a:pt x="287545" y="86457"/>
                  </a:lnTo>
                  <a:lnTo>
                    <a:pt x="284701" y="83873"/>
                  </a:lnTo>
                  <a:lnTo>
                    <a:pt x="282892" y="81029"/>
                  </a:lnTo>
                  <a:lnTo>
                    <a:pt x="277723" y="79479"/>
                  </a:lnTo>
                  <a:lnTo>
                    <a:pt x="276043" y="78186"/>
                  </a:lnTo>
                  <a:lnTo>
                    <a:pt x="274750" y="76765"/>
                  </a:lnTo>
                  <a:lnTo>
                    <a:pt x="273199" y="75989"/>
                  </a:lnTo>
                  <a:lnTo>
                    <a:pt x="271132" y="76506"/>
                  </a:lnTo>
                  <a:lnTo>
                    <a:pt x="268418" y="70045"/>
                  </a:lnTo>
                  <a:lnTo>
                    <a:pt x="266479" y="67201"/>
                  </a:lnTo>
                  <a:lnTo>
                    <a:pt x="263765" y="64875"/>
                  </a:lnTo>
                  <a:lnTo>
                    <a:pt x="262215" y="64100"/>
                  </a:lnTo>
                  <a:lnTo>
                    <a:pt x="260534" y="63583"/>
                  </a:lnTo>
                  <a:lnTo>
                    <a:pt x="256141" y="63454"/>
                  </a:lnTo>
                  <a:lnTo>
                    <a:pt x="253556" y="62807"/>
                  </a:lnTo>
                  <a:lnTo>
                    <a:pt x="252393" y="61515"/>
                  </a:lnTo>
                  <a:lnTo>
                    <a:pt x="251359" y="59835"/>
                  </a:lnTo>
                  <a:lnTo>
                    <a:pt x="249808" y="58284"/>
                  </a:lnTo>
                  <a:lnTo>
                    <a:pt x="248775" y="57897"/>
                  </a:lnTo>
                  <a:lnTo>
                    <a:pt x="246577" y="57767"/>
                  </a:lnTo>
                  <a:lnTo>
                    <a:pt x="245544" y="57638"/>
                  </a:lnTo>
                  <a:lnTo>
                    <a:pt x="244510" y="57121"/>
                  </a:lnTo>
                  <a:lnTo>
                    <a:pt x="241537" y="54278"/>
                  </a:lnTo>
                  <a:lnTo>
                    <a:pt x="234559" y="49496"/>
                  </a:lnTo>
                  <a:lnTo>
                    <a:pt x="234171" y="49109"/>
                  </a:lnTo>
                  <a:lnTo>
                    <a:pt x="233912" y="48463"/>
                  </a:lnTo>
                  <a:lnTo>
                    <a:pt x="233654" y="47946"/>
                  </a:lnTo>
                  <a:lnTo>
                    <a:pt x="233008" y="47429"/>
                  </a:lnTo>
                  <a:lnTo>
                    <a:pt x="232491" y="47300"/>
                  </a:lnTo>
                  <a:lnTo>
                    <a:pt x="231586" y="47429"/>
                  </a:lnTo>
                  <a:lnTo>
                    <a:pt x="227968" y="44844"/>
                  </a:lnTo>
                  <a:lnTo>
                    <a:pt x="225771" y="44069"/>
                  </a:lnTo>
                  <a:lnTo>
                    <a:pt x="224995" y="43293"/>
                  </a:lnTo>
                  <a:lnTo>
                    <a:pt x="224479" y="42647"/>
                  </a:lnTo>
                  <a:lnTo>
                    <a:pt x="223832" y="42259"/>
                  </a:lnTo>
                  <a:lnTo>
                    <a:pt x="222798" y="42389"/>
                  </a:lnTo>
                  <a:lnTo>
                    <a:pt x="222023" y="42518"/>
                  </a:lnTo>
                  <a:lnTo>
                    <a:pt x="221118" y="42518"/>
                  </a:lnTo>
                  <a:lnTo>
                    <a:pt x="219826" y="42259"/>
                  </a:lnTo>
                  <a:lnTo>
                    <a:pt x="210263" y="38253"/>
                  </a:lnTo>
                  <a:lnTo>
                    <a:pt x="208970" y="36702"/>
                  </a:lnTo>
                  <a:lnTo>
                    <a:pt x="201087" y="32438"/>
                  </a:lnTo>
                  <a:lnTo>
                    <a:pt x="197081" y="29078"/>
                  </a:lnTo>
                  <a:lnTo>
                    <a:pt x="196822" y="28561"/>
                  </a:lnTo>
                  <a:lnTo>
                    <a:pt x="196435" y="27268"/>
                  </a:lnTo>
                  <a:lnTo>
                    <a:pt x="195918" y="26881"/>
                  </a:lnTo>
                  <a:lnTo>
                    <a:pt x="193979" y="27010"/>
                  </a:lnTo>
                  <a:lnTo>
                    <a:pt x="193333" y="26881"/>
                  </a:lnTo>
                  <a:lnTo>
                    <a:pt x="189327" y="24942"/>
                  </a:lnTo>
                  <a:lnTo>
                    <a:pt x="187518" y="24554"/>
                  </a:lnTo>
                  <a:lnTo>
                    <a:pt x="185967" y="25459"/>
                  </a:lnTo>
                  <a:lnTo>
                    <a:pt x="186872" y="26881"/>
                  </a:lnTo>
                  <a:lnTo>
                    <a:pt x="185967" y="26881"/>
                  </a:lnTo>
                  <a:lnTo>
                    <a:pt x="185191" y="26751"/>
                  </a:lnTo>
                  <a:lnTo>
                    <a:pt x="184545" y="26493"/>
                  </a:lnTo>
                  <a:lnTo>
                    <a:pt x="183899" y="26105"/>
                  </a:lnTo>
                  <a:lnTo>
                    <a:pt x="184545" y="25071"/>
                  </a:lnTo>
                  <a:lnTo>
                    <a:pt x="182736" y="23133"/>
                  </a:lnTo>
                  <a:lnTo>
                    <a:pt x="180151" y="21194"/>
                  </a:lnTo>
                  <a:lnTo>
                    <a:pt x="178342" y="20290"/>
                  </a:lnTo>
                  <a:lnTo>
                    <a:pt x="177050" y="20031"/>
                  </a:lnTo>
                  <a:lnTo>
                    <a:pt x="175757" y="19256"/>
                  </a:lnTo>
                  <a:lnTo>
                    <a:pt x="170071" y="13699"/>
                  </a:lnTo>
                  <a:lnTo>
                    <a:pt x="168779" y="13053"/>
                  </a:lnTo>
                  <a:lnTo>
                    <a:pt x="165548" y="12277"/>
                  </a:lnTo>
                  <a:lnTo>
                    <a:pt x="156760" y="6591"/>
                  </a:lnTo>
                  <a:lnTo>
                    <a:pt x="155080" y="6332"/>
                  </a:lnTo>
                  <a:lnTo>
                    <a:pt x="149782" y="6591"/>
                  </a:lnTo>
                  <a:lnTo>
                    <a:pt x="148102" y="6203"/>
                  </a:lnTo>
                  <a:lnTo>
                    <a:pt x="146421" y="5299"/>
                  </a:lnTo>
                  <a:lnTo>
                    <a:pt x="144871" y="4652"/>
                  </a:lnTo>
                  <a:lnTo>
                    <a:pt x="143578" y="5040"/>
                  </a:lnTo>
                  <a:lnTo>
                    <a:pt x="142286" y="4394"/>
                  </a:lnTo>
                  <a:lnTo>
                    <a:pt x="141640" y="5040"/>
                  </a:lnTo>
                  <a:lnTo>
                    <a:pt x="140993" y="6074"/>
                  </a:lnTo>
                  <a:lnTo>
                    <a:pt x="139830" y="6591"/>
                  </a:lnTo>
                  <a:lnTo>
                    <a:pt x="138667" y="6074"/>
                  </a:lnTo>
                  <a:lnTo>
                    <a:pt x="136471" y="4006"/>
                  </a:lnTo>
                  <a:lnTo>
                    <a:pt x="135049" y="3619"/>
                  </a:lnTo>
                  <a:lnTo>
                    <a:pt x="125873" y="2197"/>
                  </a:lnTo>
                  <a:lnTo>
                    <a:pt x="112045" y="2068"/>
                  </a:lnTo>
                  <a:lnTo>
                    <a:pt x="103903" y="646"/>
                  </a:lnTo>
                  <a:lnTo>
                    <a:pt x="103387" y="517"/>
                  </a:lnTo>
                  <a:lnTo>
                    <a:pt x="102999" y="259"/>
                  </a:lnTo>
                  <a:lnTo>
                    <a:pt x="102353" y="0"/>
                  </a:lnTo>
                  <a:lnTo>
                    <a:pt x="101707" y="0"/>
                  </a:lnTo>
                  <a:lnTo>
                    <a:pt x="100931" y="1163"/>
                  </a:lnTo>
                  <a:lnTo>
                    <a:pt x="100544" y="1422"/>
                  </a:lnTo>
                  <a:lnTo>
                    <a:pt x="98734" y="1809"/>
                  </a:lnTo>
                  <a:lnTo>
                    <a:pt x="92919" y="4265"/>
                  </a:lnTo>
                  <a:lnTo>
                    <a:pt x="74568" y="5816"/>
                  </a:lnTo>
                  <a:lnTo>
                    <a:pt x="72888" y="6332"/>
                  </a:lnTo>
                  <a:lnTo>
                    <a:pt x="67589" y="9046"/>
                  </a:lnTo>
                  <a:lnTo>
                    <a:pt x="66555" y="10209"/>
                  </a:lnTo>
                  <a:lnTo>
                    <a:pt x="65780" y="10209"/>
                  </a:lnTo>
                  <a:lnTo>
                    <a:pt x="65133" y="8271"/>
                  </a:lnTo>
                  <a:lnTo>
                    <a:pt x="64358" y="7754"/>
                  </a:lnTo>
                  <a:lnTo>
                    <a:pt x="60998" y="8013"/>
                  </a:lnTo>
                  <a:lnTo>
                    <a:pt x="60094" y="8271"/>
                  </a:lnTo>
                  <a:lnTo>
                    <a:pt x="59706" y="9176"/>
                  </a:lnTo>
                  <a:lnTo>
                    <a:pt x="58801" y="9434"/>
                  </a:lnTo>
                  <a:lnTo>
                    <a:pt x="57896" y="9305"/>
                  </a:lnTo>
                  <a:lnTo>
                    <a:pt x="55829" y="8788"/>
                  </a:lnTo>
                  <a:lnTo>
                    <a:pt x="54666" y="8788"/>
                  </a:lnTo>
                  <a:lnTo>
                    <a:pt x="39287" y="10209"/>
                  </a:lnTo>
                  <a:lnTo>
                    <a:pt x="38641" y="10209"/>
                  </a:lnTo>
                  <a:lnTo>
                    <a:pt x="37090" y="9434"/>
                  </a:lnTo>
                  <a:lnTo>
                    <a:pt x="38511" y="11502"/>
                  </a:lnTo>
                  <a:lnTo>
                    <a:pt x="39028" y="12665"/>
                  </a:lnTo>
                  <a:lnTo>
                    <a:pt x="39287" y="13828"/>
                  </a:lnTo>
                  <a:lnTo>
                    <a:pt x="38641" y="13828"/>
                  </a:lnTo>
                  <a:lnTo>
                    <a:pt x="36315" y="11760"/>
                  </a:lnTo>
                  <a:lnTo>
                    <a:pt x="33342" y="10597"/>
                  </a:lnTo>
                  <a:lnTo>
                    <a:pt x="30111" y="9822"/>
                  </a:lnTo>
                  <a:lnTo>
                    <a:pt x="26880" y="9434"/>
                  </a:lnTo>
                  <a:lnTo>
                    <a:pt x="20677" y="9434"/>
                  </a:lnTo>
                  <a:lnTo>
                    <a:pt x="18868" y="9822"/>
                  </a:lnTo>
                  <a:lnTo>
                    <a:pt x="16025" y="11760"/>
                  </a:lnTo>
                  <a:lnTo>
                    <a:pt x="14345" y="12406"/>
                  </a:lnTo>
                  <a:lnTo>
                    <a:pt x="15120" y="12794"/>
                  </a:lnTo>
                  <a:lnTo>
                    <a:pt x="15766" y="12923"/>
                  </a:lnTo>
                  <a:lnTo>
                    <a:pt x="16413" y="12794"/>
                  </a:lnTo>
                  <a:lnTo>
                    <a:pt x="17446" y="12406"/>
                  </a:lnTo>
                  <a:lnTo>
                    <a:pt x="17963" y="13699"/>
                  </a:lnTo>
                  <a:lnTo>
                    <a:pt x="19902" y="15120"/>
                  </a:lnTo>
                  <a:lnTo>
                    <a:pt x="20677" y="17317"/>
                  </a:lnTo>
                  <a:lnTo>
                    <a:pt x="22099" y="19773"/>
                  </a:lnTo>
                  <a:lnTo>
                    <a:pt x="22487" y="21453"/>
                  </a:lnTo>
                  <a:lnTo>
                    <a:pt x="21969" y="24296"/>
                  </a:lnTo>
                  <a:lnTo>
                    <a:pt x="21582" y="24037"/>
                  </a:lnTo>
                  <a:lnTo>
                    <a:pt x="21582" y="25201"/>
                  </a:lnTo>
                  <a:lnTo>
                    <a:pt x="21065" y="29982"/>
                  </a:lnTo>
                  <a:lnTo>
                    <a:pt x="20806" y="30887"/>
                  </a:lnTo>
                  <a:lnTo>
                    <a:pt x="7625" y="51435"/>
                  </a:lnTo>
                  <a:lnTo>
                    <a:pt x="4782" y="54149"/>
                  </a:lnTo>
                  <a:lnTo>
                    <a:pt x="2455" y="56734"/>
                  </a:lnTo>
                  <a:lnTo>
                    <a:pt x="1421" y="59835"/>
                  </a:lnTo>
                  <a:lnTo>
                    <a:pt x="904" y="62549"/>
                  </a:lnTo>
                  <a:lnTo>
                    <a:pt x="0" y="66038"/>
                  </a:lnTo>
                  <a:lnTo>
                    <a:pt x="0" y="69269"/>
                  </a:lnTo>
                  <a:lnTo>
                    <a:pt x="1421" y="72500"/>
                  </a:lnTo>
                  <a:lnTo>
                    <a:pt x="2326" y="74955"/>
                  </a:lnTo>
                  <a:lnTo>
                    <a:pt x="4265" y="78574"/>
                  </a:lnTo>
                  <a:lnTo>
                    <a:pt x="6720" y="84260"/>
                  </a:lnTo>
                  <a:lnTo>
                    <a:pt x="7237" y="85940"/>
                  </a:lnTo>
                  <a:lnTo>
                    <a:pt x="7883" y="89947"/>
                  </a:lnTo>
                  <a:lnTo>
                    <a:pt x="8271" y="93177"/>
                  </a:lnTo>
                  <a:lnTo>
                    <a:pt x="8271" y="93824"/>
                  </a:lnTo>
                  <a:lnTo>
                    <a:pt x="10080" y="98217"/>
                  </a:lnTo>
                  <a:lnTo>
                    <a:pt x="13699" y="103774"/>
                  </a:lnTo>
                  <a:lnTo>
                    <a:pt x="16154" y="106488"/>
                  </a:lnTo>
                  <a:lnTo>
                    <a:pt x="17705" y="108944"/>
                  </a:lnTo>
                  <a:lnTo>
                    <a:pt x="18480" y="112692"/>
                  </a:lnTo>
                  <a:lnTo>
                    <a:pt x="19514" y="116052"/>
                  </a:lnTo>
                  <a:lnTo>
                    <a:pt x="21582" y="122513"/>
                  </a:lnTo>
                  <a:lnTo>
                    <a:pt x="22228" y="126390"/>
                  </a:lnTo>
                  <a:lnTo>
                    <a:pt x="23520" y="133886"/>
                  </a:lnTo>
                  <a:lnTo>
                    <a:pt x="26880" y="139572"/>
                  </a:lnTo>
                  <a:lnTo>
                    <a:pt x="28689" y="142674"/>
                  </a:lnTo>
                  <a:lnTo>
                    <a:pt x="31662" y="144612"/>
                  </a:lnTo>
                  <a:lnTo>
                    <a:pt x="33730" y="146422"/>
                  </a:lnTo>
                  <a:lnTo>
                    <a:pt x="35281" y="148102"/>
                  </a:lnTo>
                  <a:lnTo>
                    <a:pt x="38124" y="154305"/>
                  </a:lnTo>
                  <a:lnTo>
                    <a:pt x="38770" y="156760"/>
                  </a:lnTo>
                  <a:lnTo>
                    <a:pt x="40321" y="163997"/>
                  </a:lnTo>
                  <a:lnTo>
                    <a:pt x="38124" y="167616"/>
                  </a:lnTo>
                  <a:lnTo>
                    <a:pt x="35281" y="172398"/>
                  </a:lnTo>
                  <a:lnTo>
                    <a:pt x="33213" y="174853"/>
                  </a:lnTo>
                  <a:lnTo>
                    <a:pt x="30241" y="177308"/>
                  </a:lnTo>
                  <a:lnTo>
                    <a:pt x="27139" y="179505"/>
                  </a:lnTo>
                  <a:lnTo>
                    <a:pt x="24037" y="184416"/>
                  </a:lnTo>
                  <a:lnTo>
                    <a:pt x="22874" y="186613"/>
                  </a:lnTo>
                  <a:lnTo>
                    <a:pt x="22745" y="188681"/>
                  </a:lnTo>
                  <a:lnTo>
                    <a:pt x="22228" y="191524"/>
                  </a:lnTo>
                  <a:lnTo>
                    <a:pt x="21969" y="194884"/>
                  </a:lnTo>
                  <a:lnTo>
                    <a:pt x="23133" y="196435"/>
                  </a:lnTo>
                  <a:lnTo>
                    <a:pt x="23779" y="198890"/>
                  </a:lnTo>
                  <a:lnTo>
                    <a:pt x="23520" y="202767"/>
                  </a:lnTo>
                  <a:lnTo>
                    <a:pt x="23779" y="206515"/>
                  </a:lnTo>
                  <a:lnTo>
                    <a:pt x="25200" y="208712"/>
                  </a:lnTo>
                  <a:lnTo>
                    <a:pt x="26880" y="211684"/>
                  </a:lnTo>
                  <a:lnTo>
                    <a:pt x="27785" y="213494"/>
                  </a:lnTo>
                  <a:lnTo>
                    <a:pt x="28689" y="215949"/>
                  </a:lnTo>
                  <a:lnTo>
                    <a:pt x="28561" y="222799"/>
                  </a:lnTo>
                  <a:lnTo>
                    <a:pt x="28302" y="226805"/>
                  </a:lnTo>
                  <a:lnTo>
                    <a:pt x="28689" y="229389"/>
                  </a:lnTo>
                  <a:lnTo>
                    <a:pt x="29853" y="231328"/>
                  </a:lnTo>
                  <a:lnTo>
                    <a:pt x="33213" y="234430"/>
                  </a:lnTo>
                  <a:lnTo>
                    <a:pt x="35022" y="236756"/>
                  </a:lnTo>
                  <a:lnTo>
                    <a:pt x="35668" y="240116"/>
                  </a:lnTo>
                  <a:lnTo>
                    <a:pt x="35668" y="242701"/>
                  </a:lnTo>
                  <a:lnTo>
                    <a:pt x="37219" y="245156"/>
                  </a:lnTo>
                  <a:lnTo>
                    <a:pt x="38382" y="247870"/>
                  </a:lnTo>
                  <a:lnTo>
                    <a:pt x="39545" y="250971"/>
                  </a:lnTo>
                  <a:lnTo>
                    <a:pt x="41742" y="253944"/>
                  </a:lnTo>
                  <a:lnTo>
                    <a:pt x="42130" y="257950"/>
                  </a:lnTo>
                  <a:lnTo>
                    <a:pt x="41742" y="261569"/>
                  </a:lnTo>
                  <a:lnTo>
                    <a:pt x="40579" y="265058"/>
                  </a:lnTo>
                  <a:lnTo>
                    <a:pt x="40579" y="268676"/>
                  </a:lnTo>
                  <a:lnTo>
                    <a:pt x="41484" y="270486"/>
                  </a:lnTo>
                  <a:lnTo>
                    <a:pt x="43939" y="272424"/>
                  </a:lnTo>
                  <a:lnTo>
                    <a:pt x="45490" y="275009"/>
                  </a:lnTo>
                  <a:lnTo>
                    <a:pt x="47946" y="276172"/>
                  </a:lnTo>
                  <a:lnTo>
                    <a:pt x="49496" y="277852"/>
                  </a:lnTo>
                  <a:lnTo>
                    <a:pt x="52598" y="279532"/>
                  </a:lnTo>
                  <a:lnTo>
                    <a:pt x="53632" y="280437"/>
                  </a:lnTo>
                  <a:lnTo>
                    <a:pt x="54407" y="281858"/>
                  </a:lnTo>
                  <a:lnTo>
                    <a:pt x="54666" y="283797"/>
                  </a:lnTo>
                  <a:lnTo>
                    <a:pt x="54666" y="289354"/>
                  </a:lnTo>
                  <a:lnTo>
                    <a:pt x="57121" y="300339"/>
                  </a:lnTo>
                  <a:lnTo>
                    <a:pt x="57250" y="301760"/>
                  </a:lnTo>
                  <a:lnTo>
                    <a:pt x="56346" y="308739"/>
                  </a:lnTo>
                  <a:lnTo>
                    <a:pt x="56604" y="311840"/>
                  </a:lnTo>
                  <a:lnTo>
                    <a:pt x="58155" y="317914"/>
                  </a:lnTo>
                  <a:lnTo>
                    <a:pt x="59576" y="332389"/>
                  </a:lnTo>
                  <a:lnTo>
                    <a:pt x="60998" y="337429"/>
                  </a:lnTo>
                  <a:lnTo>
                    <a:pt x="61257" y="338850"/>
                  </a:lnTo>
                  <a:lnTo>
                    <a:pt x="60998" y="340013"/>
                  </a:lnTo>
                  <a:lnTo>
                    <a:pt x="59706" y="342598"/>
                  </a:lnTo>
                  <a:lnTo>
                    <a:pt x="59835" y="343373"/>
                  </a:lnTo>
                  <a:lnTo>
                    <a:pt x="59835" y="343890"/>
                  </a:lnTo>
                  <a:lnTo>
                    <a:pt x="62032" y="349060"/>
                  </a:lnTo>
                  <a:lnTo>
                    <a:pt x="62549" y="350869"/>
                  </a:lnTo>
                  <a:lnTo>
                    <a:pt x="69011" y="369996"/>
                  </a:lnTo>
                  <a:lnTo>
                    <a:pt x="69657" y="371159"/>
                  </a:lnTo>
                  <a:lnTo>
                    <a:pt x="70174" y="372839"/>
                  </a:lnTo>
                  <a:lnTo>
                    <a:pt x="70561" y="374648"/>
                  </a:lnTo>
                  <a:lnTo>
                    <a:pt x="70690" y="377620"/>
                  </a:lnTo>
                  <a:lnTo>
                    <a:pt x="70561" y="379300"/>
                  </a:lnTo>
                  <a:lnTo>
                    <a:pt x="69786" y="383307"/>
                  </a:lnTo>
                  <a:lnTo>
                    <a:pt x="69786" y="384857"/>
                  </a:lnTo>
                  <a:lnTo>
                    <a:pt x="71466" y="392741"/>
                  </a:lnTo>
                  <a:lnTo>
                    <a:pt x="72500" y="395584"/>
                  </a:lnTo>
                  <a:lnTo>
                    <a:pt x="75989" y="400365"/>
                  </a:lnTo>
                  <a:lnTo>
                    <a:pt x="78186" y="403984"/>
                  </a:lnTo>
                  <a:lnTo>
                    <a:pt x="78444" y="406569"/>
                  </a:lnTo>
                  <a:lnTo>
                    <a:pt x="78057" y="411221"/>
                  </a:lnTo>
                  <a:lnTo>
                    <a:pt x="78315" y="412255"/>
                  </a:lnTo>
                  <a:lnTo>
                    <a:pt x="79220" y="413418"/>
                  </a:lnTo>
                  <a:lnTo>
                    <a:pt x="80642" y="414452"/>
                  </a:lnTo>
                  <a:lnTo>
                    <a:pt x="85035" y="416003"/>
                  </a:lnTo>
                  <a:lnTo>
                    <a:pt x="87491" y="417812"/>
                  </a:lnTo>
                  <a:lnTo>
                    <a:pt x="89171" y="418587"/>
                  </a:lnTo>
                  <a:lnTo>
                    <a:pt x="104033" y="421431"/>
                  </a:lnTo>
                  <a:lnTo>
                    <a:pt x="105067" y="421818"/>
                  </a:lnTo>
                  <a:lnTo>
                    <a:pt x="105971" y="422464"/>
                  </a:lnTo>
                  <a:lnTo>
                    <a:pt x="107005" y="425049"/>
                  </a:lnTo>
                  <a:lnTo>
                    <a:pt x="107522" y="426858"/>
                  </a:lnTo>
                  <a:lnTo>
                    <a:pt x="108039" y="427634"/>
                  </a:lnTo>
                  <a:lnTo>
                    <a:pt x="108944" y="428409"/>
                  </a:lnTo>
                  <a:lnTo>
                    <a:pt x="109977" y="428926"/>
                  </a:lnTo>
                  <a:lnTo>
                    <a:pt x="110624" y="429443"/>
                  </a:lnTo>
                  <a:lnTo>
                    <a:pt x="110882" y="430218"/>
                  </a:lnTo>
                  <a:lnTo>
                    <a:pt x="111012" y="431123"/>
                  </a:lnTo>
                  <a:lnTo>
                    <a:pt x="110882" y="432674"/>
                  </a:lnTo>
                  <a:lnTo>
                    <a:pt x="110495" y="434354"/>
                  </a:lnTo>
                  <a:lnTo>
                    <a:pt x="108814" y="438360"/>
                  </a:lnTo>
                  <a:lnTo>
                    <a:pt x="108168" y="439523"/>
                  </a:lnTo>
                  <a:lnTo>
                    <a:pt x="100931" y="449474"/>
                  </a:lnTo>
                  <a:lnTo>
                    <a:pt x="100544" y="450250"/>
                  </a:lnTo>
                  <a:lnTo>
                    <a:pt x="92919" y="470668"/>
                  </a:lnTo>
                  <a:lnTo>
                    <a:pt x="92919" y="472349"/>
                  </a:lnTo>
                  <a:lnTo>
                    <a:pt x="93306" y="474416"/>
                  </a:lnTo>
                  <a:lnTo>
                    <a:pt x="94728" y="478164"/>
                  </a:lnTo>
                  <a:lnTo>
                    <a:pt x="95891" y="479844"/>
                  </a:lnTo>
                  <a:lnTo>
                    <a:pt x="96796" y="481136"/>
                  </a:lnTo>
                  <a:lnTo>
                    <a:pt x="97571" y="481912"/>
                  </a:lnTo>
                  <a:lnTo>
                    <a:pt x="97959" y="483463"/>
                  </a:lnTo>
                  <a:lnTo>
                    <a:pt x="98217" y="484755"/>
                  </a:lnTo>
                  <a:lnTo>
                    <a:pt x="97571" y="491604"/>
                  </a:lnTo>
                  <a:lnTo>
                    <a:pt x="123676" y="491992"/>
                  </a:lnTo>
                  <a:lnTo>
                    <a:pt x="124969" y="491734"/>
                  </a:lnTo>
                  <a:lnTo>
                    <a:pt x="125873" y="491734"/>
                  </a:lnTo>
                  <a:lnTo>
                    <a:pt x="127166" y="491992"/>
                  </a:lnTo>
                  <a:lnTo>
                    <a:pt x="136729" y="494447"/>
                  </a:lnTo>
                  <a:lnTo>
                    <a:pt x="139055" y="494577"/>
                  </a:lnTo>
                  <a:lnTo>
                    <a:pt x="148360" y="493414"/>
                  </a:lnTo>
                  <a:lnTo>
                    <a:pt x="150686" y="492767"/>
                  </a:lnTo>
                  <a:lnTo>
                    <a:pt x="154563" y="490829"/>
                  </a:lnTo>
                  <a:lnTo>
                    <a:pt x="160378" y="488503"/>
                  </a:lnTo>
                  <a:lnTo>
                    <a:pt x="162705" y="487857"/>
                  </a:lnTo>
                  <a:lnTo>
                    <a:pt x="171493" y="487210"/>
                  </a:lnTo>
                  <a:lnTo>
                    <a:pt x="192170" y="489795"/>
                  </a:lnTo>
                  <a:lnTo>
                    <a:pt x="194367" y="491087"/>
                  </a:lnTo>
                  <a:lnTo>
                    <a:pt x="200441" y="496644"/>
                  </a:lnTo>
                  <a:lnTo>
                    <a:pt x="203284" y="498971"/>
                  </a:lnTo>
                  <a:lnTo>
                    <a:pt x="204964" y="500651"/>
                  </a:lnTo>
                  <a:lnTo>
                    <a:pt x="205610" y="501038"/>
                  </a:lnTo>
                  <a:lnTo>
                    <a:pt x="206386" y="501426"/>
                  </a:lnTo>
                  <a:lnTo>
                    <a:pt x="210521" y="502331"/>
                  </a:lnTo>
                  <a:lnTo>
                    <a:pt x="211555" y="502718"/>
                  </a:lnTo>
                  <a:lnTo>
                    <a:pt x="212589" y="503365"/>
                  </a:lnTo>
                  <a:lnTo>
                    <a:pt x="216983" y="506337"/>
                  </a:lnTo>
                  <a:lnTo>
                    <a:pt x="220989" y="507629"/>
                  </a:lnTo>
                  <a:lnTo>
                    <a:pt x="222281" y="507758"/>
                  </a:lnTo>
                  <a:lnTo>
                    <a:pt x="224608" y="508405"/>
                  </a:lnTo>
                  <a:lnTo>
                    <a:pt x="225254" y="508792"/>
                  </a:lnTo>
                  <a:lnTo>
                    <a:pt x="225900" y="509438"/>
                  </a:lnTo>
                  <a:lnTo>
                    <a:pt x="226675" y="510731"/>
                  </a:lnTo>
                  <a:lnTo>
                    <a:pt x="227451" y="512282"/>
                  </a:lnTo>
                  <a:lnTo>
                    <a:pt x="228614" y="515512"/>
                  </a:lnTo>
                  <a:lnTo>
                    <a:pt x="229260" y="516546"/>
                  </a:lnTo>
                  <a:lnTo>
                    <a:pt x="234042" y="521586"/>
                  </a:lnTo>
                  <a:lnTo>
                    <a:pt x="235851" y="522750"/>
                  </a:lnTo>
                  <a:lnTo>
                    <a:pt x="242313" y="525205"/>
                  </a:lnTo>
                  <a:lnTo>
                    <a:pt x="243476" y="525722"/>
                  </a:lnTo>
                  <a:lnTo>
                    <a:pt x="243864" y="525851"/>
                  </a:lnTo>
                  <a:lnTo>
                    <a:pt x="245027" y="526368"/>
                  </a:lnTo>
                  <a:lnTo>
                    <a:pt x="248386" y="528177"/>
                  </a:lnTo>
                  <a:lnTo>
                    <a:pt x="249162" y="528824"/>
                  </a:lnTo>
                  <a:lnTo>
                    <a:pt x="249938" y="529599"/>
                  </a:lnTo>
                  <a:lnTo>
                    <a:pt x="250584" y="530504"/>
                  </a:lnTo>
                  <a:lnTo>
                    <a:pt x="250971" y="531537"/>
                  </a:lnTo>
                  <a:lnTo>
                    <a:pt x="253297" y="539421"/>
                  </a:lnTo>
                  <a:lnTo>
                    <a:pt x="253814" y="540455"/>
                  </a:lnTo>
                  <a:lnTo>
                    <a:pt x="254073" y="540972"/>
                  </a:lnTo>
                  <a:lnTo>
                    <a:pt x="254331" y="541359"/>
                  </a:lnTo>
                  <a:lnTo>
                    <a:pt x="255236" y="541230"/>
                  </a:lnTo>
                  <a:lnTo>
                    <a:pt x="256658" y="540713"/>
                  </a:lnTo>
                  <a:lnTo>
                    <a:pt x="259501" y="538775"/>
                  </a:lnTo>
                  <a:lnTo>
                    <a:pt x="261439" y="537999"/>
                  </a:lnTo>
                  <a:lnTo>
                    <a:pt x="262473" y="537741"/>
                  </a:lnTo>
                  <a:lnTo>
                    <a:pt x="262861" y="538128"/>
                  </a:lnTo>
                  <a:lnTo>
                    <a:pt x="264153" y="540584"/>
                  </a:lnTo>
                  <a:lnTo>
                    <a:pt x="264412" y="540972"/>
                  </a:lnTo>
                  <a:lnTo>
                    <a:pt x="264929" y="540972"/>
                  </a:lnTo>
                  <a:lnTo>
                    <a:pt x="265704" y="540713"/>
                  </a:lnTo>
                  <a:lnTo>
                    <a:pt x="267126" y="538904"/>
                  </a:lnTo>
                  <a:lnTo>
                    <a:pt x="268289" y="536836"/>
                  </a:lnTo>
                  <a:lnTo>
                    <a:pt x="269452" y="535156"/>
                  </a:lnTo>
                  <a:lnTo>
                    <a:pt x="271261" y="531667"/>
                  </a:lnTo>
                  <a:lnTo>
                    <a:pt x="272166" y="530374"/>
                  </a:lnTo>
                  <a:lnTo>
                    <a:pt x="274621" y="527919"/>
                  </a:lnTo>
                  <a:lnTo>
                    <a:pt x="275913" y="525980"/>
                  </a:lnTo>
                  <a:lnTo>
                    <a:pt x="276301" y="525593"/>
                  </a:lnTo>
                  <a:lnTo>
                    <a:pt x="276818" y="525334"/>
                  </a:lnTo>
                  <a:lnTo>
                    <a:pt x="277723" y="525205"/>
                  </a:lnTo>
                  <a:lnTo>
                    <a:pt x="278369" y="525593"/>
                  </a:lnTo>
                  <a:lnTo>
                    <a:pt x="278756" y="525980"/>
                  </a:lnTo>
                  <a:lnTo>
                    <a:pt x="279015" y="526368"/>
                  </a:lnTo>
                  <a:lnTo>
                    <a:pt x="279403" y="526497"/>
                  </a:lnTo>
                  <a:lnTo>
                    <a:pt x="279791" y="526239"/>
                  </a:lnTo>
                  <a:lnTo>
                    <a:pt x="280178" y="525334"/>
                  </a:lnTo>
                  <a:lnTo>
                    <a:pt x="280566" y="523137"/>
                  </a:lnTo>
                  <a:lnTo>
                    <a:pt x="280695" y="522491"/>
                  </a:lnTo>
                  <a:lnTo>
                    <a:pt x="280954" y="521974"/>
                  </a:lnTo>
                  <a:lnTo>
                    <a:pt x="281600" y="521199"/>
                  </a:lnTo>
                  <a:lnTo>
                    <a:pt x="282375" y="520811"/>
                  </a:lnTo>
                  <a:lnTo>
                    <a:pt x="283538" y="520423"/>
                  </a:lnTo>
                  <a:lnTo>
                    <a:pt x="285865" y="520036"/>
                  </a:lnTo>
                  <a:lnTo>
                    <a:pt x="286898" y="520036"/>
                  </a:lnTo>
                  <a:lnTo>
                    <a:pt x="287803" y="520294"/>
                  </a:lnTo>
                  <a:lnTo>
                    <a:pt x="288191" y="520553"/>
                  </a:lnTo>
                  <a:lnTo>
                    <a:pt x="288708" y="520423"/>
                  </a:lnTo>
                  <a:lnTo>
                    <a:pt x="289095" y="520165"/>
                  </a:lnTo>
                  <a:lnTo>
                    <a:pt x="290258" y="518097"/>
                  </a:lnTo>
                  <a:lnTo>
                    <a:pt x="291421" y="517322"/>
                  </a:lnTo>
                  <a:lnTo>
                    <a:pt x="294652" y="516288"/>
                  </a:lnTo>
                  <a:lnTo>
                    <a:pt x="293618" y="514737"/>
                  </a:lnTo>
                  <a:lnTo>
                    <a:pt x="293748" y="513962"/>
                  </a:lnTo>
                  <a:lnTo>
                    <a:pt x="294265" y="513186"/>
                  </a:lnTo>
                  <a:lnTo>
                    <a:pt x="294911" y="512411"/>
                  </a:lnTo>
                  <a:lnTo>
                    <a:pt x="297754" y="510343"/>
                  </a:lnTo>
                  <a:lnTo>
                    <a:pt x="299046" y="509180"/>
                  </a:lnTo>
                  <a:lnTo>
                    <a:pt x="300985" y="506983"/>
                  </a:lnTo>
                  <a:lnTo>
                    <a:pt x="301889" y="505303"/>
                  </a:lnTo>
                  <a:lnTo>
                    <a:pt x="302277" y="503752"/>
                  </a:lnTo>
                  <a:lnTo>
                    <a:pt x="302277" y="502460"/>
                  </a:lnTo>
                  <a:lnTo>
                    <a:pt x="301760" y="500004"/>
                  </a:lnTo>
                  <a:lnTo>
                    <a:pt x="301631" y="498841"/>
                  </a:lnTo>
                  <a:lnTo>
                    <a:pt x="302277" y="498195"/>
                  </a:lnTo>
                  <a:lnTo>
                    <a:pt x="304733" y="497420"/>
                  </a:lnTo>
                  <a:lnTo>
                    <a:pt x="306671" y="495352"/>
                  </a:lnTo>
                  <a:lnTo>
                    <a:pt x="307576" y="493801"/>
                  </a:lnTo>
                  <a:lnTo>
                    <a:pt x="308868" y="490441"/>
                  </a:lnTo>
                  <a:lnTo>
                    <a:pt x="310677" y="487986"/>
                  </a:lnTo>
                  <a:lnTo>
                    <a:pt x="311324" y="486823"/>
                  </a:lnTo>
                  <a:lnTo>
                    <a:pt x="311840" y="485530"/>
                  </a:lnTo>
                  <a:lnTo>
                    <a:pt x="312228" y="484238"/>
                  </a:lnTo>
                  <a:lnTo>
                    <a:pt x="312487" y="482558"/>
                  </a:lnTo>
                  <a:lnTo>
                    <a:pt x="312357" y="481266"/>
                  </a:lnTo>
                  <a:lnTo>
                    <a:pt x="311324" y="477647"/>
                  </a:lnTo>
                  <a:lnTo>
                    <a:pt x="310936" y="475967"/>
                  </a:lnTo>
                  <a:lnTo>
                    <a:pt x="310419" y="475062"/>
                  </a:lnTo>
                  <a:lnTo>
                    <a:pt x="309514" y="474545"/>
                  </a:lnTo>
                  <a:lnTo>
                    <a:pt x="307059" y="474545"/>
                  </a:lnTo>
                  <a:lnTo>
                    <a:pt x="305896" y="474287"/>
                  </a:lnTo>
                  <a:lnTo>
                    <a:pt x="304862" y="473641"/>
                  </a:lnTo>
                  <a:lnTo>
                    <a:pt x="304215" y="472995"/>
                  </a:lnTo>
                  <a:lnTo>
                    <a:pt x="303699" y="472090"/>
                  </a:lnTo>
                  <a:lnTo>
                    <a:pt x="302794" y="470022"/>
                  </a:lnTo>
                  <a:lnTo>
                    <a:pt x="302148" y="469247"/>
                  </a:lnTo>
                  <a:lnTo>
                    <a:pt x="301114" y="468859"/>
                  </a:lnTo>
                  <a:lnTo>
                    <a:pt x="299951" y="468730"/>
                  </a:lnTo>
                  <a:lnTo>
                    <a:pt x="298659" y="468471"/>
                  </a:lnTo>
                  <a:lnTo>
                    <a:pt x="297625" y="467825"/>
                  </a:lnTo>
                  <a:lnTo>
                    <a:pt x="296849" y="466662"/>
                  </a:lnTo>
                  <a:lnTo>
                    <a:pt x="296849" y="465241"/>
                  </a:lnTo>
                  <a:lnTo>
                    <a:pt x="297625" y="461493"/>
                  </a:lnTo>
                  <a:lnTo>
                    <a:pt x="297754" y="459942"/>
                  </a:lnTo>
                  <a:lnTo>
                    <a:pt x="297495" y="458521"/>
                  </a:lnTo>
                  <a:lnTo>
                    <a:pt x="296978" y="456194"/>
                  </a:lnTo>
                  <a:lnTo>
                    <a:pt x="296332" y="453868"/>
                  </a:lnTo>
                  <a:lnTo>
                    <a:pt x="295815" y="452834"/>
                  </a:lnTo>
                  <a:lnTo>
                    <a:pt x="295169" y="452059"/>
                  </a:lnTo>
                  <a:lnTo>
                    <a:pt x="294394" y="451413"/>
                  </a:lnTo>
                  <a:lnTo>
                    <a:pt x="293360" y="450896"/>
                  </a:lnTo>
                  <a:lnTo>
                    <a:pt x="291421" y="450250"/>
                  </a:lnTo>
                  <a:lnTo>
                    <a:pt x="290904" y="449862"/>
                  </a:lnTo>
                  <a:lnTo>
                    <a:pt x="290517" y="449474"/>
                  </a:lnTo>
                  <a:lnTo>
                    <a:pt x="290129" y="448570"/>
                  </a:lnTo>
                  <a:lnTo>
                    <a:pt x="289612" y="446373"/>
                  </a:lnTo>
                  <a:lnTo>
                    <a:pt x="289612" y="444951"/>
                  </a:lnTo>
                  <a:lnTo>
                    <a:pt x="290000" y="440557"/>
                  </a:lnTo>
                  <a:lnTo>
                    <a:pt x="291421" y="437972"/>
                  </a:lnTo>
                  <a:lnTo>
                    <a:pt x="293102" y="436938"/>
                  </a:lnTo>
                  <a:lnTo>
                    <a:pt x="294652" y="436163"/>
                  </a:lnTo>
                  <a:lnTo>
                    <a:pt x="297237" y="434483"/>
                  </a:lnTo>
                  <a:lnTo>
                    <a:pt x="298529" y="433320"/>
                  </a:lnTo>
                  <a:lnTo>
                    <a:pt x="299434" y="432286"/>
                  </a:lnTo>
                  <a:lnTo>
                    <a:pt x="301502" y="427117"/>
                  </a:lnTo>
                  <a:lnTo>
                    <a:pt x="302665" y="426083"/>
                  </a:lnTo>
                  <a:lnTo>
                    <a:pt x="303052" y="424920"/>
                  </a:lnTo>
                  <a:lnTo>
                    <a:pt x="303052" y="423886"/>
                  </a:lnTo>
                  <a:lnTo>
                    <a:pt x="302665" y="422852"/>
                  </a:lnTo>
                  <a:lnTo>
                    <a:pt x="302148" y="421947"/>
                  </a:lnTo>
                  <a:lnTo>
                    <a:pt x="300985" y="420397"/>
                  </a:lnTo>
                  <a:lnTo>
                    <a:pt x="300597" y="419880"/>
                  </a:lnTo>
                  <a:lnTo>
                    <a:pt x="300209" y="419104"/>
                  </a:lnTo>
                  <a:lnTo>
                    <a:pt x="299951" y="418070"/>
                  </a:lnTo>
                  <a:lnTo>
                    <a:pt x="299822" y="416778"/>
                  </a:lnTo>
                  <a:lnTo>
                    <a:pt x="300209" y="414969"/>
                  </a:lnTo>
                  <a:lnTo>
                    <a:pt x="300856" y="413418"/>
                  </a:lnTo>
                  <a:lnTo>
                    <a:pt x="307317" y="394033"/>
                  </a:lnTo>
                  <a:lnTo>
                    <a:pt x="308997" y="391448"/>
                  </a:lnTo>
                  <a:lnTo>
                    <a:pt x="310806" y="389510"/>
                  </a:lnTo>
                  <a:lnTo>
                    <a:pt x="311970" y="387701"/>
                  </a:lnTo>
                  <a:lnTo>
                    <a:pt x="312487" y="386408"/>
                  </a:lnTo>
                  <a:lnTo>
                    <a:pt x="313003" y="383565"/>
                  </a:lnTo>
                  <a:lnTo>
                    <a:pt x="310419" y="385245"/>
                  </a:lnTo>
                  <a:lnTo>
                    <a:pt x="308609" y="385762"/>
                  </a:lnTo>
                  <a:lnTo>
                    <a:pt x="307188" y="386021"/>
                  </a:lnTo>
                  <a:lnTo>
                    <a:pt x="306025" y="386021"/>
                  </a:lnTo>
                  <a:lnTo>
                    <a:pt x="305120" y="385762"/>
                  </a:lnTo>
                  <a:lnTo>
                    <a:pt x="304345" y="385116"/>
                  </a:lnTo>
                  <a:lnTo>
                    <a:pt x="304086" y="384340"/>
                  </a:lnTo>
                  <a:lnTo>
                    <a:pt x="304474" y="383565"/>
                  </a:lnTo>
                  <a:lnTo>
                    <a:pt x="305120" y="382919"/>
                  </a:lnTo>
                  <a:lnTo>
                    <a:pt x="305896" y="382144"/>
                  </a:lnTo>
                  <a:lnTo>
                    <a:pt x="306283" y="381110"/>
                  </a:lnTo>
                  <a:lnTo>
                    <a:pt x="306413" y="379817"/>
                  </a:lnTo>
                  <a:lnTo>
                    <a:pt x="306283" y="378267"/>
                  </a:lnTo>
                  <a:lnTo>
                    <a:pt x="306542" y="375423"/>
                  </a:lnTo>
                  <a:lnTo>
                    <a:pt x="306413" y="373226"/>
                  </a:lnTo>
                  <a:lnTo>
                    <a:pt x="306671" y="371805"/>
                  </a:lnTo>
                  <a:lnTo>
                    <a:pt x="307188" y="370771"/>
                  </a:lnTo>
                  <a:lnTo>
                    <a:pt x="307963" y="369996"/>
                  </a:lnTo>
                  <a:lnTo>
                    <a:pt x="309772" y="368962"/>
                  </a:lnTo>
                  <a:lnTo>
                    <a:pt x="310419" y="368186"/>
                  </a:lnTo>
                  <a:lnTo>
                    <a:pt x="310806" y="367023"/>
                  </a:lnTo>
                  <a:lnTo>
                    <a:pt x="311065" y="364955"/>
                  </a:lnTo>
                  <a:lnTo>
                    <a:pt x="311582" y="363663"/>
                  </a:lnTo>
                  <a:lnTo>
                    <a:pt x="314296" y="362112"/>
                  </a:lnTo>
                  <a:lnTo>
                    <a:pt x="314813" y="361337"/>
                  </a:lnTo>
                  <a:lnTo>
                    <a:pt x="315330" y="359915"/>
                  </a:lnTo>
                  <a:lnTo>
                    <a:pt x="315588" y="358494"/>
                  </a:lnTo>
                  <a:lnTo>
                    <a:pt x="316493" y="356297"/>
                  </a:lnTo>
                  <a:lnTo>
                    <a:pt x="317785" y="354358"/>
                  </a:lnTo>
                  <a:lnTo>
                    <a:pt x="320370" y="351515"/>
                  </a:lnTo>
                  <a:lnTo>
                    <a:pt x="322308" y="350094"/>
                  </a:lnTo>
                  <a:lnTo>
                    <a:pt x="323730" y="349318"/>
                  </a:lnTo>
                  <a:lnTo>
                    <a:pt x="324764" y="349318"/>
                  </a:lnTo>
                  <a:lnTo>
                    <a:pt x="325798" y="349706"/>
                  </a:lnTo>
                  <a:lnTo>
                    <a:pt x="326702" y="350094"/>
                  </a:lnTo>
                  <a:lnTo>
                    <a:pt x="329028" y="352161"/>
                  </a:lnTo>
                  <a:lnTo>
                    <a:pt x="329933" y="352678"/>
                  </a:lnTo>
                  <a:lnTo>
                    <a:pt x="331355" y="352678"/>
                  </a:lnTo>
                  <a:lnTo>
                    <a:pt x="333293" y="352161"/>
                  </a:lnTo>
                  <a:lnTo>
                    <a:pt x="337170" y="350610"/>
                  </a:lnTo>
                  <a:lnTo>
                    <a:pt x="338979" y="349447"/>
                  </a:lnTo>
                  <a:lnTo>
                    <a:pt x="340013" y="348284"/>
                  </a:lnTo>
                  <a:lnTo>
                    <a:pt x="340401" y="347121"/>
                  </a:lnTo>
                  <a:lnTo>
                    <a:pt x="341176" y="345570"/>
                  </a:lnTo>
                  <a:lnTo>
                    <a:pt x="342210" y="343890"/>
                  </a:lnTo>
                  <a:lnTo>
                    <a:pt x="354358" y="331484"/>
                  </a:lnTo>
                  <a:lnTo>
                    <a:pt x="355521" y="329804"/>
                  </a:lnTo>
                  <a:lnTo>
                    <a:pt x="355780" y="328641"/>
                  </a:lnTo>
                  <a:lnTo>
                    <a:pt x="355651" y="326185"/>
                  </a:lnTo>
                  <a:lnTo>
                    <a:pt x="355780" y="325022"/>
                  </a:lnTo>
                  <a:lnTo>
                    <a:pt x="356297" y="323988"/>
                  </a:lnTo>
                  <a:lnTo>
                    <a:pt x="358494" y="320370"/>
                  </a:lnTo>
                  <a:lnTo>
                    <a:pt x="360949" y="317139"/>
                  </a:lnTo>
                  <a:lnTo>
                    <a:pt x="361466" y="315330"/>
                  </a:lnTo>
                  <a:lnTo>
                    <a:pt x="360561" y="311840"/>
                  </a:lnTo>
                  <a:lnTo>
                    <a:pt x="360432" y="311194"/>
                  </a:lnTo>
                  <a:lnTo>
                    <a:pt x="360949" y="309256"/>
                  </a:lnTo>
                  <a:lnTo>
                    <a:pt x="364180" y="301502"/>
                  </a:lnTo>
                  <a:lnTo>
                    <a:pt x="366248" y="299176"/>
                  </a:lnTo>
                  <a:lnTo>
                    <a:pt x="367669" y="298012"/>
                  </a:lnTo>
                  <a:lnTo>
                    <a:pt x="369737" y="296203"/>
                  </a:lnTo>
                  <a:lnTo>
                    <a:pt x="377620" y="286640"/>
                  </a:lnTo>
                  <a:lnTo>
                    <a:pt x="378396" y="285348"/>
                  </a:lnTo>
                  <a:lnTo>
                    <a:pt x="390414" y="260535"/>
                  </a:lnTo>
                  <a:lnTo>
                    <a:pt x="398297" y="243864"/>
                  </a:lnTo>
                  <a:lnTo>
                    <a:pt x="399073" y="242571"/>
                  </a:lnTo>
                  <a:lnTo>
                    <a:pt x="412643" y="231328"/>
                  </a:lnTo>
                  <a:lnTo>
                    <a:pt x="413935" y="230553"/>
                  </a:lnTo>
                  <a:lnTo>
                    <a:pt x="418458" y="228485"/>
                  </a:lnTo>
                  <a:lnTo>
                    <a:pt x="451025" y="217758"/>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5" name="Graphic 2">
              <a:extLst>
                <a:ext uri="{FF2B5EF4-FFF2-40B4-BE49-F238E27FC236}">
                  <a16:creationId xmlns:a16="http://schemas.microsoft.com/office/drawing/2014/main" id="{464709B9-8CF6-718D-737B-DE9D3B20EDA8}"/>
                </a:ext>
              </a:extLst>
            </p:cNvPr>
            <p:cNvSpPr/>
            <p:nvPr/>
          </p:nvSpPr>
          <p:spPr>
            <a:xfrm>
              <a:off x="6620429" y="2710461"/>
              <a:ext cx="985922" cy="1073413"/>
            </a:xfrm>
            <a:custGeom>
              <a:avLst/>
              <a:gdLst>
                <a:gd name="connsiteX0" fmla="*/ 850227 w 985922"/>
                <a:gd name="connsiteY0" fmla="*/ 476742 h 1073413"/>
                <a:gd name="connsiteX1" fmla="*/ 849452 w 985922"/>
                <a:gd name="connsiteY1" fmla="*/ 474545 h 1073413"/>
                <a:gd name="connsiteX2" fmla="*/ 847514 w 985922"/>
                <a:gd name="connsiteY2" fmla="*/ 473124 h 1073413"/>
                <a:gd name="connsiteX3" fmla="*/ 842990 w 985922"/>
                <a:gd name="connsiteY3" fmla="*/ 471056 h 1073413"/>
                <a:gd name="connsiteX4" fmla="*/ 841569 w 985922"/>
                <a:gd name="connsiteY4" fmla="*/ 471832 h 1073413"/>
                <a:gd name="connsiteX5" fmla="*/ 842344 w 985922"/>
                <a:gd name="connsiteY5" fmla="*/ 473511 h 1073413"/>
                <a:gd name="connsiteX6" fmla="*/ 843507 w 985922"/>
                <a:gd name="connsiteY6" fmla="*/ 475062 h 1073413"/>
                <a:gd name="connsiteX7" fmla="*/ 844412 w 985922"/>
                <a:gd name="connsiteY7" fmla="*/ 476742 h 1073413"/>
                <a:gd name="connsiteX8" fmla="*/ 844541 w 985922"/>
                <a:gd name="connsiteY8" fmla="*/ 478552 h 1073413"/>
                <a:gd name="connsiteX9" fmla="*/ 844153 w 985922"/>
                <a:gd name="connsiteY9" fmla="*/ 478293 h 1073413"/>
                <a:gd name="connsiteX10" fmla="*/ 844024 w 985922"/>
                <a:gd name="connsiteY10" fmla="*/ 478164 h 1073413"/>
                <a:gd name="connsiteX11" fmla="*/ 844024 w 985922"/>
                <a:gd name="connsiteY11" fmla="*/ 478035 h 1073413"/>
                <a:gd name="connsiteX12" fmla="*/ 843766 w 985922"/>
                <a:gd name="connsiteY12" fmla="*/ 477776 h 1073413"/>
                <a:gd name="connsiteX13" fmla="*/ 843120 w 985922"/>
                <a:gd name="connsiteY13" fmla="*/ 478810 h 1073413"/>
                <a:gd name="connsiteX14" fmla="*/ 843120 w 985922"/>
                <a:gd name="connsiteY14" fmla="*/ 479456 h 1073413"/>
                <a:gd name="connsiteX15" fmla="*/ 843636 w 985922"/>
                <a:gd name="connsiteY15" fmla="*/ 479844 h 1073413"/>
                <a:gd name="connsiteX16" fmla="*/ 844670 w 985922"/>
                <a:gd name="connsiteY16" fmla="*/ 480103 h 1073413"/>
                <a:gd name="connsiteX17" fmla="*/ 844670 w 985922"/>
                <a:gd name="connsiteY17" fmla="*/ 480878 h 1073413"/>
                <a:gd name="connsiteX18" fmla="*/ 837950 w 985922"/>
                <a:gd name="connsiteY18" fmla="*/ 486952 h 1073413"/>
                <a:gd name="connsiteX19" fmla="*/ 834978 w 985922"/>
                <a:gd name="connsiteY19" fmla="*/ 489020 h 1073413"/>
                <a:gd name="connsiteX20" fmla="*/ 832264 w 985922"/>
                <a:gd name="connsiteY20" fmla="*/ 490441 h 1073413"/>
                <a:gd name="connsiteX21" fmla="*/ 831618 w 985922"/>
                <a:gd name="connsiteY21" fmla="*/ 491346 h 1073413"/>
                <a:gd name="connsiteX22" fmla="*/ 831359 w 985922"/>
                <a:gd name="connsiteY22" fmla="*/ 493155 h 1073413"/>
                <a:gd name="connsiteX23" fmla="*/ 832135 w 985922"/>
                <a:gd name="connsiteY23" fmla="*/ 497937 h 1073413"/>
                <a:gd name="connsiteX24" fmla="*/ 832135 w 985922"/>
                <a:gd name="connsiteY24" fmla="*/ 499617 h 1073413"/>
                <a:gd name="connsiteX25" fmla="*/ 832910 w 985922"/>
                <a:gd name="connsiteY25" fmla="*/ 499617 h 1073413"/>
                <a:gd name="connsiteX26" fmla="*/ 833298 w 985922"/>
                <a:gd name="connsiteY26" fmla="*/ 498841 h 1073413"/>
                <a:gd name="connsiteX27" fmla="*/ 833815 w 985922"/>
                <a:gd name="connsiteY27" fmla="*/ 498195 h 1073413"/>
                <a:gd name="connsiteX28" fmla="*/ 834590 w 985922"/>
                <a:gd name="connsiteY28" fmla="*/ 497678 h 1073413"/>
                <a:gd name="connsiteX29" fmla="*/ 835753 w 985922"/>
                <a:gd name="connsiteY29" fmla="*/ 497291 h 1073413"/>
                <a:gd name="connsiteX30" fmla="*/ 837304 w 985922"/>
                <a:gd name="connsiteY30" fmla="*/ 494835 h 1073413"/>
                <a:gd name="connsiteX31" fmla="*/ 839372 w 985922"/>
                <a:gd name="connsiteY31" fmla="*/ 493026 h 1073413"/>
                <a:gd name="connsiteX32" fmla="*/ 843895 w 985922"/>
                <a:gd name="connsiteY32" fmla="*/ 489924 h 1073413"/>
                <a:gd name="connsiteX33" fmla="*/ 847514 w 985922"/>
                <a:gd name="connsiteY33" fmla="*/ 486564 h 1073413"/>
                <a:gd name="connsiteX34" fmla="*/ 849323 w 985922"/>
                <a:gd name="connsiteY34" fmla="*/ 485272 h 1073413"/>
                <a:gd name="connsiteX35" fmla="*/ 851520 w 985922"/>
                <a:gd name="connsiteY35" fmla="*/ 484755 h 1073413"/>
                <a:gd name="connsiteX36" fmla="*/ 853329 w 985922"/>
                <a:gd name="connsiteY36" fmla="*/ 483721 h 1073413"/>
                <a:gd name="connsiteX37" fmla="*/ 852812 w 985922"/>
                <a:gd name="connsiteY37" fmla="*/ 481266 h 1073413"/>
                <a:gd name="connsiteX38" fmla="*/ 850227 w 985922"/>
                <a:gd name="connsiteY38" fmla="*/ 476742 h 1073413"/>
                <a:gd name="connsiteX39" fmla="*/ 982821 w 985922"/>
                <a:gd name="connsiteY39" fmla="*/ 317398 h 1073413"/>
                <a:gd name="connsiteX40" fmla="*/ 981399 w 985922"/>
                <a:gd name="connsiteY40" fmla="*/ 318948 h 1073413"/>
                <a:gd name="connsiteX41" fmla="*/ 980107 w 985922"/>
                <a:gd name="connsiteY41" fmla="*/ 320758 h 1073413"/>
                <a:gd name="connsiteX42" fmla="*/ 978685 w 985922"/>
                <a:gd name="connsiteY42" fmla="*/ 322050 h 1073413"/>
                <a:gd name="connsiteX43" fmla="*/ 976876 w 985922"/>
                <a:gd name="connsiteY43" fmla="*/ 322955 h 1073413"/>
                <a:gd name="connsiteX44" fmla="*/ 974679 w 985922"/>
                <a:gd name="connsiteY44" fmla="*/ 323601 h 1073413"/>
                <a:gd name="connsiteX45" fmla="*/ 972482 w 985922"/>
                <a:gd name="connsiteY45" fmla="*/ 323859 h 1073413"/>
                <a:gd name="connsiteX46" fmla="*/ 971578 w 985922"/>
                <a:gd name="connsiteY46" fmla="*/ 323730 h 1073413"/>
                <a:gd name="connsiteX47" fmla="*/ 965116 w 985922"/>
                <a:gd name="connsiteY47" fmla="*/ 325927 h 1073413"/>
                <a:gd name="connsiteX48" fmla="*/ 962014 w 985922"/>
                <a:gd name="connsiteY48" fmla="*/ 326056 h 1073413"/>
                <a:gd name="connsiteX49" fmla="*/ 955424 w 985922"/>
                <a:gd name="connsiteY49" fmla="*/ 323988 h 1073413"/>
                <a:gd name="connsiteX50" fmla="*/ 953614 w 985922"/>
                <a:gd name="connsiteY50" fmla="*/ 326315 h 1073413"/>
                <a:gd name="connsiteX51" fmla="*/ 952709 w 985922"/>
                <a:gd name="connsiteY51" fmla="*/ 328124 h 1073413"/>
                <a:gd name="connsiteX52" fmla="*/ 951417 w 985922"/>
                <a:gd name="connsiteY52" fmla="*/ 329158 h 1073413"/>
                <a:gd name="connsiteX53" fmla="*/ 950513 w 985922"/>
                <a:gd name="connsiteY53" fmla="*/ 329158 h 1073413"/>
                <a:gd name="connsiteX54" fmla="*/ 948833 w 985922"/>
                <a:gd name="connsiteY54" fmla="*/ 327736 h 1073413"/>
                <a:gd name="connsiteX55" fmla="*/ 943922 w 985922"/>
                <a:gd name="connsiteY55" fmla="*/ 326702 h 1073413"/>
                <a:gd name="connsiteX56" fmla="*/ 941596 w 985922"/>
                <a:gd name="connsiteY56" fmla="*/ 325927 h 1073413"/>
                <a:gd name="connsiteX57" fmla="*/ 937977 w 985922"/>
                <a:gd name="connsiteY57" fmla="*/ 324247 h 1073413"/>
                <a:gd name="connsiteX58" fmla="*/ 935522 w 985922"/>
                <a:gd name="connsiteY58" fmla="*/ 321274 h 1073413"/>
                <a:gd name="connsiteX59" fmla="*/ 933971 w 985922"/>
                <a:gd name="connsiteY59" fmla="*/ 318690 h 1073413"/>
                <a:gd name="connsiteX60" fmla="*/ 933066 w 985922"/>
                <a:gd name="connsiteY60" fmla="*/ 316622 h 1073413"/>
                <a:gd name="connsiteX61" fmla="*/ 932161 w 985922"/>
                <a:gd name="connsiteY61" fmla="*/ 315330 h 1073413"/>
                <a:gd name="connsiteX62" fmla="*/ 931128 w 985922"/>
                <a:gd name="connsiteY62" fmla="*/ 314684 h 1073413"/>
                <a:gd name="connsiteX63" fmla="*/ 929965 w 985922"/>
                <a:gd name="connsiteY63" fmla="*/ 314037 h 1073413"/>
                <a:gd name="connsiteX64" fmla="*/ 928543 w 985922"/>
                <a:gd name="connsiteY64" fmla="*/ 313003 h 1073413"/>
                <a:gd name="connsiteX65" fmla="*/ 927509 w 985922"/>
                <a:gd name="connsiteY65" fmla="*/ 311840 h 1073413"/>
                <a:gd name="connsiteX66" fmla="*/ 926604 w 985922"/>
                <a:gd name="connsiteY66" fmla="*/ 311453 h 1073413"/>
                <a:gd name="connsiteX67" fmla="*/ 925958 w 985922"/>
                <a:gd name="connsiteY67" fmla="*/ 311840 h 1073413"/>
                <a:gd name="connsiteX68" fmla="*/ 925312 w 985922"/>
                <a:gd name="connsiteY68" fmla="*/ 312357 h 1073413"/>
                <a:gd name="connsiteX69" fmla="*/ 924537 w 985922"/>
                <a:gd name="connsiteY69" fmla="*/ 312357 h 1073413"/>
                <a:gd name="connsiteX70" fmla="*/ 923891 w 985922"/>
                <a:gd name="connsiteY70" fmla="*/ 311840 h 1073413"/>
                <a:gd name="connsiteX71" fmla="*/ 922857 w 985922"/>
                <a:gd name="connsiteY71" fmla="*/ 311453 h 1073413"/>
                <a:gd name="connsiteX72" fmla="*/ 919497 w 985922"/>
                <a:gd name="connsiteY72" fmla="*/ 310677 h 1073413"/>
                <a:gd name="connsiteX73" fmla="*/ 917300 w 985922"/>
                <a:gd name="connsiteY73" fmla="*/ 308997 h 1073413"/>
                <a:gd name="connsiteX74" fmla="*/ 916395 w 985922"/>
                <a:gd name="connsiteY74" fmla="*/ 308093 h 1073413"/>
                <a:gd name="connsiteX75" fmla="*/ 915749 w 985922"/>
                <a:gd name="connsiteY75" fmla="*/ 306930 h 1073413"/>
                <a:gd name="connsiteX76" fmla="*/ 915491 w 985922"/>
                <a:gd name="connsiteY76" fmla="*/ 306025 h 1073413"/>
                <a:gd name="connsiteX77" fmla="*/ 915749 w 985922"/>
                <a:gd name="connsiteY77" fmla="*/ 305120 h 1073413"/>
                <a:gd name="connsiteX78" fmla="*/ 916266 w 985922"/>
                <a:gd name="connsiteY78" fmla="*/ 304474 h 1073413"/>
                <a:gd name="connsiteX79" fmla="*/ 917170 w 985922"/>
                <a:gd name="connsiteY79" fmla="*/ 302406 h 1073413"/>
                <a:gd name="connsiteX80" fmla="*/ 916912 w 985922"/>
                <a:gd name="connsiteY80" fmla="*/ 300468 h 1073413"/>
                <a:gd name="connsiteX81" fmla="*/ 917946 w 985922"/>
                <a:gd name="connsiteY81" fmla="*/ 296720 h 1073413"/>
                <a:gd name="connsiteX82" fmla="*/ 918204 w 985922"/>
                <a:gd name="connsiteY82" fmla="*/ 294523 h 1073413"/>
                <a:gd name="connsiteX83" fmla="*/ 918075 w 985922"/>
                <a:gd name="connsiteY83" fmla="*/ 293102 h 1073413"/>
                <a:gd name="connsiteX84" fmla="*/ 917429 w 985922"/>
                <a:gd name="connsiteY84" fmla="*/ 291163 h 1073413"/>
                <a:gd name="connsiteX85" fmla="*/ 916783 w 985922"/>
                <a:gd name="connsiteY85" fmla="*/ 290000 h 1073413"/>
                <a:gd name="connsiteX86" fmla="*/ 916137 w 985922"/>
                <a:gd name="connsiteY86" fmla="*/ 289225 h 1073413"/>
                <a:gd name="connsiteX87" fmla="*/ 915749 w 985922"/>
                <a:gd name="connsiteY87" fmla="*/ 288837 h 1073413"/>
                <a:gd name="connsiteX88" fmla="*/ 914715 w 985922"/>
                <a:gd name="connsiteY88" fmla="*/ 288191 h 1073413"/>
                <a:gd name="connsiteX89" fmla="*/ 911743 w 985922"/>
                <a:gd name="connsiteY89" fmla="*/ 286898 h 1073413"/>
                <a:gd name="connsiteX90" fmla="*/ 909287 w 985922"/>
                <a:gd name="connsiteY90" fmla="*/ 285477 h 1073413"/>
                <a:gd name="connsiteX91" fmla="*/ 908641 w 985922"/>
                <a:gd name="connsiteY91" fmla="*/ 284572 h 1073413"/>
                <a:gd name="connsiteX92" fmla="*/ 907607 w 985922"/>
                <a:gd name="connsiteY92" fmla="*/ 280824 h 1073413"/>
                <a:gd name="connsiteX93" fmla="*/ 906832 w 985922"/>
                <a:gd name="connsiteY93" fmla="*/ 278886 h 1073413"/>
                <a:gd name="connsiteX94" fmla="*/ 906315 w 985922"/>
                <a:gd name="connsiteY94" fmla="*/ 275655 h 1073413"/>
                <a:gd name="connsiteX95" fmla="*/ 905152 w 985922"/>
                <a:gd name="connsiteY95" fmla="*/ 272036 h 1073413"/>
                <a:gd name="connsiteX96" fmla="*/ 904376 w 985922"/>
                <a:gd name="connsiteY96" fmla="*/ 270486 h 1073413"/>
                <a:gd name="connsiteX97" fmla="*/ 903343 w 985922"/>
                <a:gd name="connsiteY97" fmla="*/ 269710 h 1073413"/>
                <a:gd name="connsiteX98" fmla="*/ 902179 w 985922"/>
                <a:gd name="connsiteY98" fmla="*/ 269193 h 1073413"/>
                <a:gd name="connsiteX99" fmla="*/ 900112 w 985922"/>
                <a:gd name="connsiteY99" fmla="*/ 267772 h 1073413"/>
                <a:gd name="connsiteX100" fmla="*/ 899595 w 985922"/>
                <a:gd name="connsiteY100" fmla="*/ 267255 h 1073413"/>
                <a:gd name="connsiteX101" fmla="*/ 897139 w 985922"/>
                <a:gd name="connsiteY101" fmla="*/ 265187 h 1073413"/>
                <a:gd name="connsiteX102" fmla="*/ 896622 w 985922"/>
                <a:gd name="connsiteY102" fmla="*/ 264024 h 1073413"/>
                <a:gd name="connsiteX103" fmla="*/ 895976 w 985922"/>
                <a:gd name="connsiteY103" fmla="*/ 261052 h 1073413"/>
                <a:gd name="connsiteX104" fmla="*/ 894167 w 985922"/>
                <a:gd name="connsiteY104" fmla="*/ 259113 h 1073413"/>
                <a:gd name="connsiteX105" fmla="*/ 892875 w 985922"/>
                <a:gd name="connsiteY105" fmla="*/ 258079 h 1073413"/>
                <a:gd name="connsiteX106" fmla="*/ 891195 w 985922"/>
                <a:gd name="connsiteY106" fmla="*/ 256141 h 1073413"/>
                <a:gd name="connsiteX107" fmla="*/ 890419 w 985922"/>
                <a:gd name="connsiteY107" fmla="*/ 254719 h 1073413"/>
                <a:gd name="connsiteX108" fmla="*/ 890031 w 985922"/>
                <a:gd name="connsiteY108" fmla="*/ 253427 h 1073413"/>
                <a:gd name="connsiteX109" fmla="*/ 889902 w 985922"/>
                <a:gd name="connsiteY109" fmla="*/ 250455 h 1073413"/>
                <a:gd name="connsiteX110" fmla="*/ 889902 w 985922"/>
                <a:gd name="connsiteY110" fmla="*/ 249162 h 1073413"/>
                <a:gd name="connsiteX111" fmla="*/ 890160 w 985922"/>
                <a:gd name="connsiteY111" fmla="*/ 247999 h 1073413"/>
                <a:gd name="connsiteX112" fmla="*/ 893004 w 985922"/>
                <a:gd name="connsiteY112" fmla="*/ 241796 h 1073413"/>
                <a:gd name="connsiteX113" fmla="*/ 893650 w 985922"/>
                <a:gd name="connsiteY113" fmla="*/ 238824 h 1073413"/>
                <a:gd name="connsiteX114" fmla="*/ 894038 w 985922"/>
                <a:gd name="connsiteY114" fmla="*/ 238048 h 1073413"/>
                <a:gd name="connsiteX115" fmla="*/ 894684 w 985922"/>
                <a:gd name="connsiteY115" fmla="*/ 237273 h 1073413"/>
                <a:gd name="connsiteX116" fmla="*/ 895588 w 985922"/>
                <a:gd name="connsiteY116" fmla="*/ 236368 h 1073413"/>
                <a:gd name="connsiteX117" fmla="*/ 896751 w 985922"/>
                <a:gd name="connsiteY117" fmla="*/ 235722 h 1073413"/>
                <a:gd name="connsiteX118" fmla="*/ 898044 w 985922"/>
                <a:gd name="connsiteY118" fmla="*/ 235334 h 1073413"/>
                <a:gd name="connsiteX119" fmla="*/ 899465 w 985922"/>
                <a:gd name="connsiteY119" fmla="*/ 235205 h 1073413"/>
                <a:gd name="connsiteX120" fmla="*/ 904376 w 985922"/>
                <a:gd name="connsiteY120" fmla="*/ 235334 h 1073413"/>
                <a:gd name="connsiteX121" fmla="*/ 906702 w 985922"/>
                <a:gd name="connsiteY121" fmla="*/ 235722 h 1073413"/>
                <a:gd name="connsiteX122" fmla="*/ 907865 w 985922"/>
                <a:gd name="connsiteY122" fmla="*/ 235980 h 1073413"/>
                <a:gd name="connsiteX123" fmla="*/ 910063 w 985922"/>
                <a:gd name="connsiteY123" fmla="*/ 237014 h 1073413"/>
                <a:gd name="connsiteX124" fmla="*/ 914844 w 985922"/>
                <a:gd name="connsiteY124" fmla="*/ 240374 h 1073413"/>
                <a:gd name="connsiteX125" fmla="*/ 915878 w 985922"/>
                <a:gd name="connsiteY125" fmla="*/ 240762 h 1073413"/>
                <a:gd name="connsiteX126" fmla="*/ 916524 w 985922"/>
                <a:gd name="connsiteY126" fmla="*/ 240891 h 1073413"/>
                <a:gd name="connsiteX127" fmla="*/ 919238 w 985922"/>
                <a:gd name="connsiteY127" fmla="*/ 240116 h 1073413"/>
                <a:gd name="connsiteX128" fmla="*/ 929965 w 985922"/>
                <a:gd name="connsiteY128" fmla="*/ 235463 h 1073413"/>
                <a:gd name="connsiteX129" fmla="*/ 935909 w 985922"/>
                <a:gd name="connsiteY129" fmla="*/ 231974 h 1073413"/>
                <a:gd name="connsiteX130" fmla="*/ 937460 w 985922"/>
                <a:gd name="connsiteY130" fmla="*/ 230682 h 1073413"/>
                <a:gd name="connsiteX131" fmla="*/ 938494 w 985922"/>
                <a:gd name="connsiteY131" fmla="*/ 229389 h 1073413"/>
                <a:gd name="connsiteX132" fmla="*/ 939140 w 985922"/>
                <a:gd name="connsiteY132" fmla="*/ 228097 h 1073413"/>
                <a:gd name="connsiteX133" fmla="*/ 939528 w 985922"/>
                <a:gd name="connsiteY133" fmla="*/ 226546 h 1073413"/>
                <a:gd name="connsiteX134" fmla="*/ 939269 w 985922"/>
                <a:gd name="connsiteY134" fmla="*/ 225383 h 1073413"/>
                <a:gd name="connsiteX135" fmla="*/ 938882 w 985922"/>
                <a:gd name="connsiteY135" fmla="*/ 224479 h 1073413"/>
                <a:gd name="connsiteX136" fmla="*/ 938365 w 985922"/>
                <a:gd name="connsiteY136" fmla="*/ 223574 h 1073413"/>
                <a:gd name="connsiteX137" fmla="*/ 936168 w 985922"/>
                <a:gd name="connsiteY137" fmla="*/ 222282 h 1073413"/>
                <a:gd name="connsiteX138" fmla="*/ 935651 w 985922"/>
                <a:gd name="connsiteY138" fmla="*/ 221506 h 1073413"/>
                <a:gd name="connsiteX139" fmla="*/ 935134 w 985922"/>
                <a:gd name="connsiteY139" fmla="*/ 220472 h 1073413"/>
                <a:gd name="connsiteX140" fmla="*/ 935004 w 985922"/>
                <a:gd name="connsiteY140" fmla="*/ 219309 h 1073413"/>
                <a:gd name="connsiteX141" fmla="*/ 935004 w 985922"/>
                <a:gd name="connsiteY141" fmla="*/ 218275 h 1073413"/>
                <a:gd name="connsiteX142" fmla="*/ 935780 w 985922"/>
                <a:gd name="connsiteY142" fmla="*/ 214786 h 1073413"/>
                <a:gd name="connsiteX143" fmla="*/ 936168 w 985922"/>
                <a:gd name="connsiteY143" fmla="*/ 211555 h 1073413"/>
                <a:gd name="connsiteX144" fmla="*/ 933841 w 985922"/>
                <a:gd name="connsiteY144" fmla="*/ 204577 h 1073413"/>
                <a:gd name="connsiteX145" fmla="*/ 934100 w 985922"/>
                <a:gd name="connsiteY145" fmla="*/ 203414 h 1073413"/>
                <a:gd name="connsiteX146" fmla="*/ 934488 w 985922"/>
                <a:gd name="connsiteY146" fmla="*/ 201992 h 1073413"/>
                <a:gd name="connsiteX147" fmla="*/ 935263 w 985922"/>
                <a:gd name="connsiteY147" fmla="*/ 201087 h 1073413"/>
                <a:gd name="connsiteX148" fmla="*/ 936297 w 985922"/>
                <a:gd name="connsiteY148" fmla="*/ 198632 h 1073413"/>
                <a:gd name="connsiteX149" fmla="*/ 936943 w 985922"/>
                <a:gd name="connsiteY149" fmla="*/ 197727 h 1073413"/>
                <a:gd name="connsiteX150" fmla="*/ 937719 w 985922"/>
                <a:gd name="connsiteY150" fmla="*/ 196435 h 1073413"/>
                <a:gd name="connsiteX151" fmla="*/ 938494 w 985922"/>
                <a:gd name="connsiteY151" fmla="*/ 194755 h 1073413"/>
                <a:gd name="connsiteX152" fmla="*/ 939398 w 985922"/>
                <a:gd name="connsiteY152" fmla="*/ 191653 h 1073413"/>
                <a:gd name="connsiteX153" fmla="*/ 940561 w 985922"/>
                <a:gd name="connsiteY153" fmla="*/ 181315 h 1073413"/>
                <a:gd name="connsiteX154" fmla="*/ 940432 w 985922"/>
                <a:gd name="connsiteY154" fmla="*/ 176791 h 1073413"/>
                <a:gd name="connsiteX155" fmla="*/ 940561 w 985922"/>
                <a:gd name="connsiteY155" fmla="*/ 170976 h 1073413"/>
                <a:gd name="connsiteX156" fmla="*/ 940303 w 985922"/>
                <a:gd name="connsiteY156" fmla="*/ 169554 h 1073413"/>
                <a:gd name="connsiteX157" fmla="*/ 939657 w 985922"/>
                <a:gd name="connsiteY157" fmla="*/ 167487 h 1073413"/>
                <a:gd name="connsiteX158" fmla="*/ 935263 w 985922"/>
                <a:gd name="connsiteY158" fmla="*/ 161154 h 1073413"/>
                <a:gd name="connsiteX159" fmla="*/ 934488 w 985922"/>
                <a:gd name="connsiteY159" fmla="*/ 160250 h 1073413"/>
                <a:gd name="connsiteX160" fmla="*/ 933712 w 985922"/>
                <a:gd name="connsiteY160" fmla="*/ 159603 h 1073413"/>
                <a:gd name="connsiteX161" fmla="*/ 932291 w 985922"/>
                <a:gd name="connsiteY161" fmla="*/ 158699 h 1073413"/>
                <a:gd name="connsiteX162" fmla="*/ 926992 w 985922"/>
                <a:gd name="connsiteY162" fmla="*/ 153271 h 1073413"/>
                <a:gd name="connsiteX163" fmla="*/ 926475 w 985922"/>
                <a:gd name="connsiteY163" fmla="*/ 152237 h 1073413"/>
                <a:gd name="connsiteX164" fmla="*/ 926475 w 985922"/>
                <a:gd name="connsiteY164" fmla="*/ 151203 h 1073413"/>
                <a:gd name="connsiteX165" fmla="*/ 926734 w 985922"/>
                <a:gd name="connsiteY165" fmla="*/ 150169 h 1073413"/>
                <a:gd name="connsiteX166" fmla="*/ 926734 w 985922"/>
                <a:gd name="connsiteY166" fmla="*/ 149135 h 1073413"/>
                <a:gd name="connsiteX167" fmla="*/ 926087 w 985922"/>
                <a:gd name="connsiteY167" fmla="*/ 148489 h 1073413"/>
                <a:gd name="connsiteX168" fmla="*/ 923761 w 985922"/>
                <a:gd name="connsiteY168" fmla="*/ 147843 h 1073413"/>
                <a:gd name="connsiteX169" fmla="*/ 922340 w 985922"/>
                <a:gd name="connsiteY169" fmla="*/ 147326 h 1073413"/>
                <a:gd name="connsiteX170" fmla="*/ 920918 w 985922"/>
                <a:gd name="connsiteY170" fmla="*/ 146034 h 1073413"/>
                <a:gd name="connsiteX171" fmla="*/ 920143 w 985922"/>
                <a:gd name="connsiteY171" fmla="*/ 144871 h 1073413"/>
                <a:gd name="connsiteX172" fmla="*/ 916137 w 985922"/>
                <a:gd name="connsiteY172" fmla="*/ 135566 h 1073413"/>
                <a:gd name="connsiteX173" fmla="*/ 913552 w 985922"/>
                <a:gd name="connsiteY173" fmla="*/ 131301 h 1073413"/>
                <a:gd name="connsiteX174" fmla="*/ 913035 w 985922"/>
                <a:gd name="connsiteY174" fmla="*/ 130009 h 1073413"/>
                <a:gd name="connsiteX175" fmla="*/ 913035 w 985922"/>
                <a:gd name="connsiteY175" fmla="*/ 128975 h 1073413"/>
                <a:gd name="connsiteX176" fmla="*/ 913552 w 985922"/>
                <a:gd name="connsiteY176" fmla="*/ 128070 h 1073413"/>
                <a:gd name="connsiteX177" fmla="*/ 914198 w 985922"/>
                <a:gd name="connsiteY177" fmla="*/ 127295 h 1073413"/>
                <a:gd name="connsiteX178" fmla="*/ 914715 w 985922"/>
                <a:gd name="connsiteY178" fmla="*/ 126390 h 1073413"/>
                <a:gd name="connsiteX179" fmla="*/ 915749 w 985922"/>
                <a:gd name="connsiteY179" fmla="*/ 123160 h 1073413"/>
                <a:gd name="connsiteX180" fmla="*/ 916912 w 985922"/>
                <a:gd name="connsiteY180" fmla="*/ 121221 h 1073413"/>
                <a:gd name="connsiteX181" fmla="*/ 917041 w 985922"/>
                <a:gd name="connsiteY181" fmla="*/ 120446 h 1073413"/>
                <a:gd name="connsiteX182" fmla="*/ 916654 w 985922"/>
                <a:gd name="connsiteY182" fmla="*/ 119799 h 1073413"/>
                <a:gd name="connsiteX183" fmla="*/ 916137 w 985922"/>
                <a:gd name="connsiteY183" fmla="*/ 119541 h 1073413"/>
                <a:gd name="connsiteX184" fmla="*/ 914198 w 985922"/>
                <a:gd name="connsiteY184" fmla="*/ 119282 h 1073413"/>
                <a:gd name="connsiteX185" fmla="*/ 913164 w 985922"/>
                <a:gd name="connsiteY185" fmla="*/ 119024 h 1073413"/>
                <a:gd name="connsiteX186" fmla="*/ 912001 w 985922"/>
                <a:gd name="connsiteY186" fmla="*/ 118249 h 1073413"/>
                <a:gd name="connsiteX187" fmla="*/ 911613 w 985922"/>
                <a:gd name="connsiteY187" fmla="*/ 117215 h 1073413"/>
                <a:gd name="connsiteX188" fmla="*/ 911613 w 985922"/>
                <a:gd name="connsiteY188" fmla="*/ 116052 h 1073413"/>
                <a:gd name="connsiteX189" fmla="*/ 912001 w 985922"/>
                <a:gd name="connsiteY189" fmla="*/ 115018 h 1073413"/>
                <a:gd name="connsiteX190" fmla="*/ 912518 w 985922"/>
                <a:gd name="connsiteY190" fmla="*/ 113984 h 1073413"/>
                <a:gd name="connsiteX191" fmla="*/ 913681 w 985922"/>
                <a:gd name="connsiteY191" fmla="*/ 112304 h 1073413"/>
                <a:gd name="connsiteX192" fmla="*/ 914069 w 985922"/>
                <a:gd name="connsiteY192" fmla="*/ 111270 h 1073413"/>
                <a:gd name="connsiteX193" fmla="*/ 914456 w 985922"/>
                <a:gd name="connsiteY193" fmla="*/ 109590 h 1073413"/>
                <a:gd name="connsiteX194" fmla="*/ 914715 w 985922"/>
                <a:gd name="connsiteY194" fmla="*/ 109073 h 1073413"/>
                <a:gd name="connsiteX195" fmla="*/ 915103 w 985922"/>
                <a:gd name="connsiteY195" fmla="*/ 108556 h 1073413"/>
                <a:gd name="connsiteX196" fmla="*/ 916654 w 985922"/>
                <a:gd name="connsiteY196" fmla="*/ 107522 h 1073413"/>
                <a:gd name="connsiteX197" fmla="*/ 915749 w 985922"/>
                <a:gd name="connsiteY197" fmla="*/ 106101 h 1073413"/>
                <a:gd name="connsiteX198" fmla="*/ 915232 w 985922"/>
                <a:gd name="connsiteY198" fmla="*/ 104291 h 1073413"/>
                <a:gd name="connsiteX199" fmla="*/ 915103 w 985922"/>
                <a:gd name="connsiteY199" fmla="*/ 102224 h 1073413"/>
                <a:gd name="connsiteX200" fmla="*/ 914198 w 985922"/>
                <a:gd name="connsiteY200" fmla="*/ 101707 h 1073413"/>
                <a:gd name="connsiteX201" fmla="*/ 908641 w 985922"/>
                <a:gd name="connsiteY201" fmla="*/ 99639 h 1073413"/>
                <a:gd name="connsiteX202" fmla="*/ 907090 w 985922"/>
                <a:gd name="connsiteY202" fmla="*/ 98734 h 1073413"/>
                <a:gd name="connsiteX203" fmla="*/ 905539 w 985922"/>
                <a:gd name="connsiteY203" fmla="*/ 98088 h 1073413"/>
                <a:gd name="connsiteX204" fmla="*/ 903601 w 985922"/>
                <a:gd name="connsiteY204" fmla="*/ 97701 h 1073413"/>
                <a:gd name="connsiteX205" fmla="*/ 899724 w 985922"/>
                <a:gd name="connsiteY205" fmla="*/ 97442 h 1073413"/>
                <a:gd name="connsiteX206" fmla="*/ 898432 w 985922"/>
                <a:gd name="connsiteY206" fmla="*/ 97184 h 1073413"/>
                <a:gd name="connsiteX207" fmla="*/ 897269 w 985922"/>
                <a:gd name="connsiteY207" fmla="*/ 96796 h 1073413"/>
                <a:gd name="connsiteX208" fmla="*/ 896234 w 985922"/>
                <a:gd name="connsiteY208" fmla="*/ 96150 h 1073413"/>
                <a:gd name="connsiteX209" fmla="*/ 895330 w 985922"/>
                <a:gd name="connsiteY209" fmla="*/ 95374 h 1073413"/>
                <a:gd name="connsiteX210" fmla="*/ 895201 w 985922"/>
                <a:gd name="connsiteY210" fmla="*/ 94987 h 1073413"/>
                <a:gd name="connsiteX211" fmla="*/ 895201 w 985922"/>
                <a:gd name="connsiteY211" fmla="*/ 94470 h 1073413"/>
                <a:gd name="connsiteX212" fmla="*/ 894813 w 985922"/>
                <a:gd name="connsiteY212" fmla="*/ 93177 h 1073413"/>
                <a:gd name="connsiteX213" fmla="*/ 891453 w 985922"/>
                <a:gd name="connsiteY213" fmla="*/ 86457 h 1073413"/>
                <a:gd name="connsiteX214" fmla="*/ 889902 w 985922"/>
                <a:gd name="connsiteY214" fmla="*/ 83356 h 1073413"/>
                <a:gd name="connsiteX215" fmla="*/ 886284 w 985922"/>
                <a:gd name="connsiteY215" fmla="*/ 72112 h 1073413"/>
                <a:gd name="connsiteX216" fmla="*/ 886025 w 985922"/>
                <a:gd name="connsiteY216" fmla="*/ 69786 h 1073413"/>
                <a:gd name="connsiteX217" fmla="*/ 885637 w 985922"/>
                <a:gd name="connsiteY217" fmla="*/ 68752 h 1073413"/>
                <a:gd name="connsiteX218" fmla="*/ 883699 w 985922"/>
                <a:gd name="connsiteY218" fmla="*/ 66297 h 1073413"/>
                <a:gd name="connsiteX219" fmla="*/ 883053 w 985922"/>
                <a:gd name="connsiteY219" fmla="*/ 65004 h 1073413"/>
                <a:gd name="connsiteX220" fmla="*/ 882923 w 985922"/>
                <a:gd name="connsiteY220" fmla="*/ 63841 h 1073413"/>
                <a:gd name="connsiteX221" fmla="*/ 883053 w 985922"/>
                <a:gd name="connsiteY221" fmla="*/ 62678 h 1073413"/>
                <a:gd name="connsiteX222" fmla="*/ 883311 w 985922"/>
                <a:gd name="connsiteY222" fmla="*/ 61515 h 1073413"/>
                <a:gd name="connsiteX223" fmla="*/ 883828 w 985922"/>
                <a:gd name="connsiteY223" fmla="*/ 60481 h 1073413"/>
                <a:gd name="connsiteX224" fmla="*/ 882923 w 985922"/>
                <a:gd name="connsiteY224" fmla="*/ 58930 h 1073413"/>
                <a:gd name="connsiteX225" fmla="*/ 883440 w 985922"/>
                <a:gd name="connsiteY225" fmla="*/ 57897 h 1073413"/>
                <a:gd name="connsiteX226" fmla="*/ 884474 w 985922"/>
                <a:gd name="connsiteY226" fmla="*/ 57121 h 1073413"/>
                <a:gd name="connsiteX227" fmla="*/ 885379 w 985922"/>
                <a:gd name="connsiteY227" fmla="*/ 56087 h 1073413"/>
                <a:gd name="connsiteX228" fmla="*/ 885767 w 985922"/>
                <a:gd name="connsiteY228" fmla="*/ 54924 h 1073413"/>
                <a:gd name="connsiteX229" fmla="*/ 886025 w 985922"/>
                <a:gd name="connsiteY229" fmla="*/ 53503 h 1073413"/>
                <a:gd name="connsiteX230" fmla="*/ 885896 w 985922"/>
                <a:gd name="connsiteY230" fmla="*/ 52340 h 1073413"/>
                <a:gd name="connsiteX231" fmla="*/ 884991 w 985922"/>
                <a:gd name="connsiteY231" fmla="*/ 51823 h 1073413"/>
                <a:gd name="connsiteX232" fmla="*/ 884086 w 985922"/>
                <a:gd name="connsiteY232" fmla="*/ 51176 h 1073413"/>
                <a:gd name="connsiteX233" fmla="*/ 883440 w 985922"/>
                <a:gd name="connsiteY233" fmla="*/ 50013 h 1073413"/>
                <a:gd name="connsiteX234" fmla="*/ 882406 w 985922"/>
                <a:gd name="connsiteY234" fmla="*/ 49496 h 1073413"/>
                <a:gd name="connsiteX235" fmla="*/ 880597 w 985922"/>
                <a:gd name="connsiteY235" fmla="*/ 50660 h 1073413"/>
                <a:gd name="connsiteX236" fmla="*/ 878400 w 985922"/>
                <a:gd name="connsiteY236" fmla="*/ 52469 h 1073413"/>
                <a:gd name="connsiteX237" fmla="*/ 875816 w 985922"/>
                <a:gd name="connsiteY237" fmla="*/ 54020 h 1073413"/>
                <a:gd name="connsiteX238" fmla="*/ 872843 w 985922"/>
                <a:gd name="connsiteY238" fmla="*/ 54537 h 1073413"/>
                <a:gd name="connsiteX239" fmla="*/ 870517 w 985922"/>
                <a:gd name="connsiteY239" fmla="*/ 53632 h 1073413"/>
                <a:gd name="connsiteX240" fmla="*/ 868579 w 985922"/>
                <a:gd name="connsiteY240" fmla="*/ 52340 h 1073413"/>
                <a:gd name="connsiteX241" fmla="*/ 866511 w 985922"/>
                <a:gd name="connsiteY241" fmla="*/ 51693 h 1073413"/>
                <a:gd name="connsiteX242" fmla="*/ 865089 w 985922"/>
                <a:gd name="connsiteY242" fmla="*/ 50789 h 1073413"/>
                <a:gd name="connsiteX243" fmla="*/ 862892 w 985922"/>
                <a:gd name="connsiteY243" fmla="*/ 46524 h 1073413"/>
                <a:gd name="connsiteX244" fmla="*/ 861729 w 985922"/>
                <a:gd name="connsiteY244" fmla="*/ 45102 h 1073413"/>
                <a:gd name="connsiteX245" fmla="*/ 865994 w 985922"/>
                <a:gd name="connsiteY245" fmla="*/ 39158 h 1073413"/>
                <a:gd name="connsiteX246" fmla="*/ 866640 w 985922"/>
                <a:gd name="connsiteY246" fmla="*/ 36185 h 1073413"/>
                <a:gd name="connsiteX247" fmla="*/ 864572 w 985922"/>
                <a:gd name="connsiteY247" fmla="*/ 33213 h 1073413"/>
                <a:gd name="connsiteX248" fmla="*/ 859920 w 985922"/>
                <a:gd name="connsiteY248" fmla="*/ 31274 h 1073413"/>
                <a:gd name="connsiteX249" fmla="*/ 856043 w 985922"/>
                <a:gd name="connsiteY249" fmla="*/ 32308 h 1073413"/>
                <a:gd name="connsiteX250" fmla="*/ 853329 w 985922"/>
                <a:gd name="connsiteY250" fmla="*/ 35410 h 1073413"/>
                <a:gd name="connsiteX251" fmla="*/ 852037 w 985922"/>
                <a:gd name="connsiteY251" fmla="*/ 39804 h 1073413"/>
                <a:gd name="connsiteX252" fmla="*/ 851907 w 985922"/>
                <a:gd name="connsiteY252" fmla="*/ 44973 h 1073413"/>
                <a:gd name="connsiteX253" fmla="*/ 851261 w 985922"/>
                <a:gd name="connsiteY253" fmla="*/ 47558 h 1073413"/>
                <a:gd name="connsiteX254" fmla="*/ 849452 w 985922"/>
                <a:gd name="connsiteY254" fmla="*/ 48592 h 1073413"/>
                <a:gd name="connsiteX255" fmla="*/ 847384 w 985922"/>
                <a:gd name="connsiteY255" fmla="*/ 48204 h 1073413"/>
                <a:gd name="connsiteX256" fmla="*/ 846092 w 985922"/>
                <a:gd name="connsiteY256" fmla="*/ 47041 h 1073413"/>
                <a:gd name="connsiteX257" fmla="*/ 842086 w 985922"/>
                <a:gd name="connsiteY257" fmla="*/ 37090 h 1073413"/>
                <a:gd name="connsiteX258" fmla="*/ 841698 w 985922"/>
                <a:gd name="connsiteY258" fmla="*/ 34893 h 1073413"/>
                <a:gd name="connsiteX259" fmla="*/ 840664 w 985922"/>
                <a:gd name="connsiteY259" fmla="*/ 33471 h 1073413"/>
                <a:gd name="connsiteX260" fmla="*/ 838467 w 985922"/>
                <a:gd name="connsiteY260" fmla="*/ 32308 h 1073413"/>
                <a:gd name="connsiteX261" fmla="*/ 834332 w 985922"/>
                <a:gd name="connsiteY261" fmla="*/ 30758 h 1073413"/>
                <a:gd name="connsiteX262" fmla="*/ 833039 w 985922"/>
                <a:gd name="connsiteY262" fmla="*/ 29594 h 1073413"/>
                <a:gd name="connsiteX263" fmla="*/ 832135 w 985922"/>
                <a:gd name="connsiteY263" fmla="*/ 28431 h 1073413"/>
                <a:gd name="connsiteX264" fmla="*/ 830972 w 985922"/>
                <a:gd name="connsiteY264" fmla="*/ 27527 h 1073413"/>
                <a:gd name="connsiteX265" fmla="*/ 827870 w 985922"/>
                <a:gd name="connsiteY265" fmla="*/ 26881 h 1073413"/>
                <a:gd name="connsiteX266" fmla="*/ 825673 w 985922"/>
                <a:gd name="connsiteY266" fmla="*/ 25847 h 1073413"/>
                <a:gd name="connsiteX267" fmla="*/ 824768 w 985922"/>
                <a:gd name="connsiteY267" fmla="*/ 25588 h 1073413"/>
                <a:gd name="connsiteX268" fmla="*/ 823605 w 985922"/>
                <a:gd name="connsiteY268" fmla="*/ 25717 h 1073413"/>
                <a:gd name="connsiteX269" fmla="*/ 820374 w 985922"/>
                <a:gd name="connsiteY269" fmla="*/ 27010 h 1073413"/>
                <a:gd name="connsiteX270" fmla="*/ 815205 w 985922"/>
                <a:gd name="connsiteY270" fmla="*/ 27914 h 1073413"/>
                <a:gd name="connsiteX271" fmla="*/ 812620 w 985922"/>
                <a:gd name="connsiteY271" fmla="*/ 27785 h 1073413"/>
                <a:gd name="connsiteX272" fmla="*/ 811457 w 985922"/>
                <a:gd name="connsiteY272" fmla="*/ 26622 h 1073413"/>
                <a:gd name="connsiteX273" fmla="*/ 810553 w 985922"/>
                <a:gd name="connsiteY273" fmla="*/ 24554 h 1073413"/>
                <a:gd name="connsiteX274" fmla="*/ 808485 w 985922"/>
                <a:gd name="connsiteY274" fmla="*/ 22874 h 1073413"/>
                <a:gd name="connsiteX275" fmla="*/ 806030 w 985922"/>
                <a:gd name="connsiteY275" fmla="*/ 21711 h 1073413"/>
                <a:gd name="connsiteX276" fmla="*/ 797113 w 985922"/>
                <a:gd name="connsiteY276" fmla="*/ 19127 h 1073413"/>
                <a:gd name="connsiteX277" fmla="*/ 793623 w 985922"/>
                <a:gd name="connsiteY277" fmla="*/ 18739 h 1073413"/>
                <a:gd name="connsiteX278" fmla="*/ 792977 w 985922"/>
                <a:gd name="connsiteY278" fmla="*/ 18222 h 1073413"/>
                <a:gd name="connsiteX279" fmla="*/ 792589 w 985922"/>
                <a:gd name="connsiteY279" fmla="*/ 17447 h 1073413"/>
                <a:gd name="connsiteX280" fmla="*/ 791685 w 985922"/>
                <a:gd name="connsiteY280" fmla="*/ 16671 h 1073413"/>
                <a:gd name="connsiteX281" fmla="*/ 790780 w 985922"/>
                <a:gd name="connsiteY281" fmla="*/ 16283 h 1073413"/>
                <a:gd name="connsiteX282" fmla="*/ 788066 w 985922"/>
                <a:gd name="connsiteY282" fmla="*/ 15896 h 1073413"/>
                <a:gd name="connsiteX283" fmla="*/ 786515 w 985922"/>
                <a:gd name="connsiteY283" fmla="*/ 16154 h 1073413"/>
                <a:gd name="connsiteX284" fmla="*/ 785611 w 985922"/>
                <a:gd name="connsiteY284" fmla="*/ 15767 h 1073413"/>
                <a:gd name="connsiteX285" fmla="*/ 785223 w 985922"/>
                <a:gd name="connsiteY285" fmla="*/ 14216 h 1073413"/>
                <a:gd name="connsiteX286" fmla="*/ 784965 w 985922"/>
                <a:gd name="connsiteY286" fmla="*/ 13699 h 1073413"/>
                <a:gd name="connsiteX287" fmla="*/ 784448 w 985922"/>
                <a:gd name="connsiteY287" fmla="*/ 12794 h 1073413"/>
                <a:gd name="connsiteX288" fmla="*/ 783802 w 985922"/>
                <a:gd name="connsiteY288" fmla="*/ 12019 h 1073413"/>
                <a:gd name="connsiteX289" fmla="*/ 782250 w 985922"/>
                <a:gd name="connsiteY289" fmla="*/ 10856 h 1073413"/>
                <a:gd name="connsiteX290" fmla="*/ 780054 w 985922"/>
                <a:gd name="connsiteY290" fmla="*/ 5040 h 1073413"/>
                <a:gd name="connsiteX291" fmla="*/ 778374 w 985922"/>
                <a:gd name="connsiteY291" fmla="*/ 3360 h 1073413"/>
                <a:gd name="connsiteX292" fmla="*/ 774367 w 985922"/>
                <a:gd name="connsiteY292" fmla="*/ 2326 h 1073413"/>
                <a:gd name="connsiteX293" fmla="*/ 770490 w 985922"/>
                <a:gd name="connsiteY293" fmla="*/ 0 h 1073413"/>
                <a:gd name="connsiteX294" fmla="*/ 768293 w 985922"/>
                <a:gd name="connsiteY294" fmla="*/ 0 h 1073413"/>
                <a:gd name="connsiteX295" fmla="*/ 766096 w 985922"/>
                <a:gd name="connsiteY295" fmla="*/ 646 h 1073413"/>
                <a:gd name="connsiteX296" fmla="*/ 744514 w 985922"/>
                <a:gd name="connsiteY296" fmla="*/ 12277 h 1073413"/>
                <a:gd name="connsiteX297" fmla="*/ 743093 w 985922"/>
                <a:gd name="connsiteY297" fmla="*/ 12665 h 1073413"/>
                <a:gd name="connsiteX298" fmla="*/ 738570 w 985922"/>
                <a:gd name="connsiteY298" fmla="*/ 12794 h 1073413"/>
                <a:gd name="connsiteX299" fmla="*/ 736502 w 985922"/>
                <a:gd name="connsiteY299" fmla="*/ 13182 h 1073413"/>
                <a:gd name="connsiteX300" fmla="*/ 735339 w 985922"/>
                <a:gd name="connsiteY300" fmla="*/ 14086 h 1073413"/>
                <a:gd name="connsiteX301" fmla="*/ 735210 w 985922"/>
                <a:gd name="connsiteY301" fmla="*/ 16154 h 1073413"/>
                <a:gd name="connsiteX302" fmla="*/ 736760 w 985922"/>
                <a:gd name="connsiteY302" fmla="*/ 23262 h 1073413"/>
                <a:gd name="connsiteX303" fmla="*/ 736502 w 985922"/>
                <a:gd name="connsiteY303" fmla="*/ 25976 h 1073413"/>
                <a:gd name="connsiteX304" fmla="*/ 735468 w 985922"/>
                <a:gd name="connsiteY304" fmla="*/ 27268 h 1073413"/>
                <a:gd name="connsiteX305" fmla="*/ 733659 w 985922"/>
                <a:gd name="connsiteY305" fmla="*/ 27785 h 1073413"/>
                <a:gd name="connsiteX306" fmla="*/ 730945 w 985922"/>
                <a:gd name="connsiteY306" fmla="*/ 28044 h 1073413"/>
                <a:gd name="connsiteX307" fmla="*/ 728490 w 985922"/>
                <a:gd name="connsiteY307" fmla="*/ 28561 h 1073413"/>
                <a:gd name="connsiteX308" fmla="*/ 723966 w 985922"/>
                <a:gd name="connsiteY308" fmla="*/ 29982 h 1073413"/>
                <a:gd name="connsiteX309" fmla="*/ 716858 w 985922"/>
                <a:gd name="connsiteY309" fmla="*/ 30499 h 1073413"/>
                <a:gd name="connsiteX310" fmla="*/ 714661 w 985922"/>
                <a:gd name="connsiteY310" fmla="*/ 31145 h 1073413"/>
                <a:gd name="connsiteX311" fmla="*/ 713240 w 985922"/>
                <a:gd name="connsiteY311" fmla="*/ 32567 h 1073413"/>
                <a:gd name="connsiteX312" fmla="*/ 712981 w 985922"/>
                <a:gd name="connsiteY312" fmla="*/ 34505 h 1073413"/>
                <a:gd name="connsiteX313" fmla="*/ 713498 w 985922"/>
                <a:gd name="connsiteY313" fmla="*/ 36961 h 1073413"/>
                <a:gd name="connsiteX314" fmla="*/ 714274 w 985922"/>
                <a:gd name="connsiteY314" fmla="*/ 39028 h 1073413"/>
                <a:gd name="connsiteX315" fmla="*/ 715049 w 985922"/>
                <a:gd name="connsiteY315" fmla="*/ 39933 h 1073413"/>
                <a:gd name="connsiteX316" fmla="*/ 715307 w 985922"/>
                <a:gd name="connsiteY316" fmla="*/ 41096 h 1073413"/>
                <a:gd name="connsiteX317" fmla="*/ 714791 w 985922"/>
                <a:gd name="connsiteY317" fmla="*/ 43681 h 1073413"/>
                <a:gd name="connsiteX318" fmla="*/ 713886 w 985922"/>
                <a:gd name="connsiteY318" fmla="*/ 46395 h 1073413"/>
                <a:gd name="connsiteX319" fmla="*/ 713111 w 985922"/>
                <a:gd name="connsiteY319" fmla="*/ 48075 h 1073413"/>
                <a:gd name="connsiteX320" fmla="*/ 706907 w 985922"/>
                <a:gd name="connsiteY320" fmla="*/ 54407 h 1073413"/>
                <a:gd name="connsiteX321" fmla="*/ 705357 w 985922"/>
                <a:gd name="connsiteY321" fmla="*/ 55441 h 1073413"/>
                <a:gd name="connsiteX322" fmla="*/ 700833 w 985922"/>
                <a:gd name="connsiteY322" fmla="*/ 56217 h 1073413"/>
                <a:gd name="connsiteX323" fmla="*/ 696310 w 985922"/>
                <a:gd name="connsiteY323" fmla="*/ 57638 h 1073413"/>
                <a:gd name="connsiteX324" fmla="*/ 692175 w 985922"/>
                <a:gd name="connsiteY324" fmla="*/ 60610 h 1073413"/>
                <a:gd name="connsiteX325" fmla="*/ 689848 w 985922"/>
                <a:gd name="connsiteY325" fmla="*/ 61903 h 1073413"/>
                <a:gd name="connsiteX326" fmla="*/ 687781 w 985922"/>
                <a:gd name="connsiteY326" fmla="*/ 61644 h 1073413"/>
                <a:gd name="connsiteX327" fmla="*/ 687135 w 985922"/>
                <a:gd name="connsiteY327" fmla="*/ 61386 h 1073413"/>
                <a:gd name="connsiteX328" fmla="*/ 685842 w 985922"/>
                <a:gd name="connsiteY328" fmla="*/ 61515 h 1073413"/>
                <a:gd name="connsiteX329" fmla="*/ 685196 w 985922"/>
                <a:gd name="connsiteY329" fmla="*/ 61386 h 1073413"/>
                <a:gd name="connsiteX330" fmla="*/ 684550 w 985922"/>
                <a:gd name="connsiteY330" fmla="*/ 60869 h 1073413"/>
                <a:gd name="connsiteX331" fmla="*/ 683516 w 985922"/>
                <a:gd name="connsiteY331" fmla="*/ 59577 h 1073413"/>
                <a:gd name="connsiteX332" fmla="*/ 682999 w 985922"/>
                <a:gd name="connsiteY332" fmla="*/ 59060 h 1073413"/>
                <a:gd name="connsiteX333" fmla="*/ 681448 w 985922"/>
                <a:gd name="connsiteY333" fmla="*/ 58284 h 1073413"/>
                <a:gd name="connsiteX334" fmla="*/ 679381 w 985922"/>
                <a:gd name="connsiteY334" fmla="*/ 57638 h 1073413"/>
                <a:gd name="connsiteX335" fmla="*/ 675245 w 985922"/>
                <a:gd name="connsiteY335" fmla="*/ 58414 h 1073413"/>
                <a:gd name="connsiteX336" fmla="*/ 672790 w 985922"/>
                <a:gd name="connsiteY336" fmla="*/ 62032 h 1073413"/>
                <a:gd name="connsiteX337" fmla="*/ 668137 w 985922"/>
                <a:gd name="connsiteY337" fmla="*/ 82193 h 1073413"/>
                <a:gd name="connsiteX338" fmla="*/ 666845 w 985922"/>
                <a:gd name="connsiteY338" fmla="*/ 85036 h 1073413"/>
                <a:gd name="connsiteX339" fmla="*/ 666845 w 985922"/>
                <a:gd name="connsiteY339" fmla="*/ 88783 h 1073413"/>
                <a:gd name="connsiteX340" fmla="*/ 666199 w 985922"/>
                <a:gd name="connsiteY340" fmla="*/ 89817 h 1073413"/>
                <a:gd name="connsiteX341" fmla="*/ 665294 w 985922"/>
                <a:gd name="connsiteY341" fmla="*/ 90463 h 1073413"/>
                <a:gd name="connsiteX342" fmla="*/ 664260 w 985922"/>
                <a:gd name="connsiteY342" fmla="*/ 90851 h 1073413"/>
                <a:gd name="connsiteX343" fmla="*/ 662968 w 985922"/>
                <a:gd name="connsiteY343" fmla="*/ 90980 h 1073413"/>
                <a:gd name="connsiteX344" fmla="*/ 661676 w 985922"/>
                <a:gd name="connsiteY344" fmla="*/ 90722 h 1073413"/>
                <a:gd name="connsiteX345" fmla="*/ 659479 w 985922"/>
                <a:gd name="connsiteY345" fmla="*/ 89688 h 1073413"/>
                <a:gd name="connsiteX346" fmla="*/ 658574 w 985922"/>
                <a:gd name="connsiteY346" fmla="*/ 89430 h 1073413"/>
                <a:gd name="connsiteX347" fmla="*/ 656636 w 985922"/>
                <a:gd name="connsiteY347" fmla="*/ 90205 h 1073413"/>
                <a:gd name="connsiteX348" fmla="*/ 653922 w 985922"/>
                <a:gd name="connsiteY348" fmla="*/ 93565 h 1073413"/>
                <a:gd name="connsiteX349" fmla="*/ 651595 w 985922"/>
                <a:gd name="connsiteY349" fmla="*/ 94728 h 1073413"/>
                <a:gd name="connsiteX350" fmla="*/ 647202 w 985922"/>
                <a:gd name="connsiteY350" fmla="*/ 95245 h 1073413"/>
                <a:gd name="connsiteX351" fmla="*/ 645521 w 985922"/>
                <a:gd name="connsiteY351" fmla="*/ 96150 h 1073413"/>
                <a:gd name="connsiteX352" fmla="*/ 644229 w 985922"/>
                <a:gd name="connsiteY352" fmla="*/ 100027 h 1073413"/>
                <a:gd name="connsiteX353" fmla="*/ 642808 w 985922"/>
                <a:gd name="connsiteY353" fmla="*/ 101061 h 1073413"/>
                <a:gd name="connsiteX354" fmla="*/ 635571 w 985922"/>
                <a:gd name="connsiteY354" fmla="*/ 103516 h 1073413"/>
                <a:gd name="connsiteX355" fmla="*/ 634278 w 985922"/>
                <a:gd name="connsiteY355" fmla="*/ 103645 h 1073413"/>
                <a:gd name="connsiteX356" fmla="*/ 633115 w 985922"/>
                <a:gd name="connsiteY356" fmla="*/ 103387 h 1073413"/>
                <a:gd name="connsiteX357" fmla="*/ 630918 w 985922"/>
                <a:gd name="connsiteY357" fmla="*/ 102353 h 1073413"/>
                <a:gd name="connsiteX358" fmla="*/ 629755 w 985922"/>
                <a:gd name="connsiteY358" fmla="*/ 102094 h 1073413"/>
                <a:gd name="connsiteX359" fmla="*/ 628721 w 985922"/>
                <a:gd name="connsiteY359" fmla="*/ 101707 h 1073413"/>
                <a:gd name="connsiteX360" fmla="*/ 626266 w 985922"/>
                <a:gd name="connsiteY360" fmla="*/ 99768 h 1073413"/>
                <a:gd name="connsiteX361" fmla="*/ 625103 w 985922"/>
                <a:gd name="connsiteY361" fmla="*/ 99122 h 1073413"/>
                <a:gd name="connsiteX362" fmla="*/ 624327 w 985922"/>
                <a:gd name="connsiteY362" fmla="*/ 98993 h 1073413"/>
                <a:gd name="connsiteX363" fmla="*/ 621613 w 985922"/>
                <a:gd name="connsiteY363" fmla="*/ 99251 h 1073413"/>
                <a:gd name="connsiteX364" fmla="*/ 620838 w 985922"/>
                <a:gd name="connsiteY364" fmla="*/ 99639 h 1073413"/>
                <a:gd name="connsiteX365" fmla="*/ 622518 w 985922"/>
                <a:gd name="connsiteY365" fmla="*/ 96279 h 1073413"/>
                <a:gd name="connsiteX366" fmla="*/ 622906 w 985922"/>
                <a:gd name="connsiteY366" fmla="*/ 95891 h 1073413"/>
                <a:gd name="connsiteX367" fmla="*/ 623681 w 985922"/>
                <a:gd name="connsiteY367" fmla="*/ 95245 h 1073413"/>
                <a:gd name="connsiteX368" fmla="*/ 625103 w 985922"/>
                <a:gd name="connsiteY368" fmla="*/ 93694 h 1073413"/>
                <a:gd name="connsiteX369" fmla="*/ 626266 w 985922"/>
                <a:gd name="connsiteY369" fmla="*/ 91885 h 1073413"/>
                <a:gd name="connsiteX370" fmla="*/ 626912 w 985922"/>
                <a:gd name="connsiteY370" fmla="*/ 90334 h 1073413"/>
                <a:gd name="connsiteX371" fmla="*/ 627687 w 985922"/>
                <a:gd name="connsiteY371" fmla="*/ 88913 h 1073413"/>
                <a:gd name="connsiteX372" fmla="*/ 628075 w 985922"/>
                <a:gd name="connsiteY372" fmla="*/ 88008 h 1073413"/>
                <a:gd name="connsiteX373" fmla="*/ 628075 w 985922"/>
                <a:gd name="connsiteY373" fmla="*/ 87491 h 1073413"/>
                <a:gd name="connsiteX374" fmla="*/ 627946 w 985922"/>
                <a:gd name="connsiteY374" fmla="*/ 86974 h 1073413"/>
                <a:gd name="connsiteX375" fmla="*/ 627817 w 985922"/>
                <a:gd name="connsiteY375" fmla="*/ 86457 h 1073413"/>
                <a:gd name="connsiteX376" fmla="*/ 627687 w 985922"/>
                <a:gd name="connsiteY376" fmla="*/ 85940 h 1073413"/>
                <a:gd name="connsiteX377" fmla="*/ 627687 w 985922"/>
                <a:gd name="connsiteY377" fmla="*/ 85423 h 1073413"/>
                <a:gd name="connsiteX378" fmla="*/ 627946 w 985922"/>
                <a:gd name="connsiteY378" fmla="*/ 82968 h 1073413"/>
                <a:gd name="connsiteX379" fmla="*/ 627817 w 985922"/>
                <a:gd name="connsiteY379" fmla="*/ 82193 h 1073413"/>
                <a:gd name="connsiteX380" fmla="*/ 627558 w 985922"/>
                <a:gd name="connsiteY380" fmla="*/ 81546 h 1073413"/>
                <a:gd name="connsiteX381" fmla="*/ 627170 w 985922"/>
                <a:gd name="connsiteY381" fmla="*/ 80771 h 1073413"/>
                <a:gd name="connsiteX382" fmla="*/ 627041 w 985922"/>
                <a:gd name="connsiteY382" fmla="*/ 80254 h 1073413"/>
                <a:gd name="connsiteX383" fmla="*/ 626912 w 985922"/>
                <a:gd name="connsiteY383" fmla="*/ 79737 h 1073413"/>
                <a:gd name="connsiteX384" fmla="*/ 626524 w 985922"/>
                <a:gd name="connsiteY384" fmla="*/ 77411 h 1073413"/>
                <a:gd name="connsiteX385" fmla="*/ 626524 w 985922"/>
                <a:gd name="connsiteY385" fmla="*/ 76765 h 1073413"/>
                <a:gd name="connsiteX386" fmla="*/ 626524 w 985922"/>
                <a:gd name="connsiteY386" fmla="*/ 76119 h 1073413"/>
                <a:gd name="connsiteX387" fmla="*/ 626653 w 985922"/>
                <a:gd name="connsiteY387" fmla="*/ 75472 h 1073413"/>
                <a:gd name="connsiteX388" fmla="*/ 626653 w 985922"/>
                <a:gd name="connsiteY388" fmla="*/ 74826 h 1073413"/>
                <a:gd name="connsiteX389" fmla="*/ 626524 w 985922"/>
                <a:gd name="connsiteY389" fmla="*/ 74309 h 1073413"/>
                <a:gd name="connsiteX390" fmla="*/ 626136 w 985922"/>
                <a:gd name="connsiteY390" fmla="*/ 73792 h 1073413"/>
                <a:gd name="connsiteX391" fmla="*/ 625619 w 985922"/>
                <a:gd name="connsiteY391" fmla="*/ 73405 h 1073413"/>
                <a:gd name="connsiteX392" fmla="*/ 624586 w 985922"/>
                <a:gd name="connsiteY392" fmla="*/ 73017 h 1073413"/>
                <a:gd name="connsiteX393" fmla="*/ 622260 w 985922"/>
                <a:gd name="connsiteY393" fmla="*/ 72888 h 1073413"/>
                <a:gd name="connsiteX394" fmla="*/ 620967 w 985922"/>
                <a:gd name="connsiteY394" fmla="*/ 72758 h 1073413"/>
                <a:gd name="connsiteX395" fmla="*/ 620321 w 985922"/>
                <a:gd name="connsiteY395" fmla="*/ 72629 h 1073413"/>
                <a:gd name="connsiteX396" fmla="*/ 613988 w 985922"/>
                <a:gd name="connsiteY396" fmla="*/ 68494 h 1073413"/>
                <a:gd name="connsiteX397" fmla="*/ 612955 w 985922"/>
                <a:gd name="connsiteY397" fmla="*/ 68106 h 1073413"/>
                <a:gd name="connsiteX398" fmla="*/ 611662 w 985922"/>
                <a:gd name="connsiteY398" fmla="*/ 67977 h 1073413"/>
                <a:gd name="connsiteX399" fmla="*/ 611145 w 985922"/>
                <a:gd name="connsiteY399" fmla="*/ 67718 h 1073413"/>
                <a:gd name="connsiteX400" fmla="*/ 610758 w 985922"/>
                <a:gd name="connsiteY400" fmla="*/ 67331 h 1073413"/>
                <a:gd name="connsiteX401" fmla="*/ 610499 w 985922"/>
                <a:gd name="connsiteY401" fmla="*/ 66555 h 1073413"/>
                <a:gd name="connsiteX402" fmla="*/ 610370 w 985922"/>
                <a:gd name="connsiteY402" fmla="*/ 65780 h 1073413"/>
                <a:gd name="connsiteX403" fmla="*/ 610370 w 985922"/>
                <a:gd name="connsiteY403" fmla="*/ 65004 h 1073413"/>
                <a:gd name="connsiteX404" fmla="*/ 610628 w 985922"/>
                <a:gd name="connsiteY404" fmla="*/ 60998 h 1073413"/>
                <a:gd name="connsiteX405" fmla="*/ 610499 w 985922"/>
                <a:gd name="connsiteY405" fmla="*/ 60352 h 1073413"/>
                <a:gd name="connsiteX406" fmla="*/ 610370 w 985922"/>
                <a:gd name="connsiteY406" fmla="*/ 59835 h 1073413"/>
                <a:gd name="connsiteX407" fmla="*/ 610112 w 985922"/>
                <a:gd name="connsiteY407" fmla="*/ 59318 h 1073413"/>
                <a:gd name="connsiteX408" fmla="*/ 609853 w 985922"/>
                <a:gd name="connsiteY408" fmla="*/ 58801 h 1073413"/>
                <a:gd name="connsiteX409" fmla="*/ 607397 w 985922"/>
                <a:gd name="connsiteY409" fmla="*/ 56217 h 1073413"/>
                <a:gd name="connsiteX410" fmla="*/ 606881 w 985922"/>
                <a:gd name="connsiteY410" fmla="*/ 55441 h 1073413"/>
                <a:gd name="connsiteX411" fmla="*/ 606622 w 985922"/>
                <a:gd name="connsiteY411" fmla="*/ 54795 h 1073413"/>
                <a:gd name="connsiteX412" fmla="*/ 606364 w 985922"/>
                <a:gd name="connsiteY412" fmla="*/ 53503 h 1073413"/>
                <a:gd name="connsiteX413" fmla="*/ 606364 w 985922"/>
                <a:gd name="connsiteY413" fmla="*/ 52081 h 1073413"/>
                <a:gd name="connsiteX414" fmla="*/ 606751 w 985922"/>
                <a:gd name="connsiteY414" fmla="*/ 48721 h 1073413"/>
                <a:gd name="connsiteX415" fmla="*/ 606622 w 985922"/>
                <a:gd name="connsiteY415" fmla="*/ 47429 h 1073413"/>
                <a:gd name="connsiteX416" fmla="*/ 606105 w 985922"/>
                <a:gd name="connsiteY416" fmla="*/ 45102 h 1073413"/>
                <a:gd name="connsiteX417" fmla="*/ 606105 w 985922"/>
                <a:gd name="connsiteY417" fmla="*/ 44456 h 1073413"/>
                <a:gd name="connsiteX418" fmla="*/ 606105 w 985922"/>
                <a:gd name="connsiteY418" fmla="*/ 43810 h 1073413"/>
                <a:gd name="connsiteX419" fmla="*/ 606622 w 985922"/>
                <a:gd name="connsiteY419" fmla="*/ 39158 h 1073413"/>
                <a:gd name="connsiteX420" fmla="*/ 607139 w 985922"/>
                <a:gd name="connsiteY420" fmla="*/ 37348 h 1073413"/>
                <a:gd name="connsiteX421" fmla="*/ 607268 w 985922"/>
                <a:gd name="connsiteY421" fmla="*/ 36702 h 1073413"/>
                <a:gd name="connsiteX422" fmla="*/ 607268 w 985922"/>
                <a:gd name="connsiteY422" fmla="*/ 36056 h 1073413"/>
                <a:gd name="connsiteX423" fmla="*/ 607010 w 985922"/>
                <a:gd name="connsiteY423" fmla="*/ 35410 h 1073413"/>
                <a:gd name="connsiteX424" fmla="*/ 606622 w 985922"/>
                <a:gd name="connsiteY424" fmla="*/ 34764 h 1073413"/>
                <a:gd name="connsiteX425" fmla="*/ 605976 w 985922"/>
                <a:gd name="connsiteY425" fmla="*/ 33988 h 1073413"/>
                <a:gd name="connsiteX426" fmla="*/ 604554 w 985922"/>
                <a:gd name="connsiteY426" fmla="*/ 32696 h 1073413"/>
                <a:gd name="connsiteX427" fmla="*/ 604038 w 985922"/>
                <a:gd name="connsiteY427" fmla="*/ 32308 h 1073413"/>
                <a:gd name="connsiteX428" fmla="*/ 603521 w 985922"/>
                <a:gd name="connsiteY428" fmla="*/ 32050 h 1073413"/>
                <a:gd name="connsiteX429" fmla="*/ 603004 w 985922"/>
                <a:gd name="connsiteY429" fmla="*/ 31921 h 1073413"/>
                <a:gd name="connsiteX430" fmla="*/ 602487 w 985922"/>
                <a:gd name="connsiteY430" fmla="*/ 32179 h 1073413"/>
                <a:gd name="connsiteX431" fmla="*/ 601582 w 985922"/>
                <a:gd name="connsiteY431" fmla="*/ 32954 h 1073413"/>
                <a:gd name="connsiteX432" fmla="*/ 601065 w 985922"/>
                <a:gd name="connsiteY432" fmla="*/ 33213 h 1073413"/>
                <a:gd name="connsiteX433" fmla="*/ 600290 w 985922"/>
                <a:gd name="connsiteY433" fmla="*/ 33213 h 1073413"/>
                <a:gd name="connsiteX434" fmla="*/ 599385 w 985922"/>
                <a:gd name="connsiteY434" fmla="*/ 32954 h 1073413"/>
                <a:gd name="connsiteX435" fmla="*/ 598093 w 985922"/>
                <a:gd name="connsiteY435" fmla="*/ 32179 h 1073413"/>
                <a:gd name="connsiteX436" fmla="*/ 597447 w 985922"/>
                <a:gd name="connsiteY436" fmla="*/ 31533 h 1073413"/>
                <a:gd name="connsiteX437" fmla="*/ 597059 w 985922"/>
                <a:gd name="connsiteY437" fmla="*/ 31016 h 1073413"/>
                <a:gd name="connsiteX438" fmla="*/ 596801 w 985922"/>
                <a:gd name="connsiteY438" fmla="*/ 30499 h 1073413"/>
                <a:gd name="connsiteX439" fmla="*/ 596671 w 985922"/>
                <a:gd name="connsiteY439" fmla="*/ 29982 h 1073413"/>
                <a:gd name="connsiteX440" fmla="*/ 596671 w 985922"/>
                <a:gd name="connsiteY440" fmla="*/ 28690 h 1073413"/>
                <a:gd name="connsiteX441" fmla="*/ 596542 w 985922"/>
                <a:gd name="connsiteY441" fmla="*/ 28173 h 1073413"/>
                <a:gd name="connsiteX442" fmla="*/ 596284 w 985922"/>
                <a:gd name="connsiteY442" fmla="*/ 27656 h 1073413"/>
                <a:gd name="connsiteX443" fmla="*/ 596025 w 985922"/>
                <a:gd name="connsiteY443" fmla="*/ 27268 h 1073413"/>
                <a:gd name="connsiteX444" fmla="*/ 595379 w 985922"/>
                <a:gd name="connsiteY444" fmla="*/ 26622 h 1073413"/>
                <a:gd name="connsiteX445" fmla="*/ 594991 w 985922"/>
                <a:gd name="connsiteY445" fmla="*/ 26493 h 1073413"/>
                <a:gd name="connsiteX446" fmla="*/ 594474 w 985922"/>
                <a:gd name="connsiteY446" fmla="*/ 26493 h 1073413"/>
                <a:gd name="connsiteX447" fmla="*/ 593440 w 985922"/>
                <a:gd name="connsiteY447" fmla="*/ 26751 h 1073413"/>
                <a:gd name="connsiteX448" fmla="*/ 590468 w 985922"/>
                <a:gd name="connsiteY448" fmla="*/ 27785 h 1073413"/>
                <a:gd name="connsiteX449" fmla="*/ 587883 w 985922"/>
                <a:gd name="connsiteY449" fmla="*/ 28173 h 1073413"/>
                <a:gd name="connsiteX450" fmla="*/ 587108 w 985922"/>
                <a:gd name="connsiteY450" fmla="*/ 28173 h 1073413"/>
                <a:gd name="connsiteX451" fmla="*/ 586333 w 985922"/>
                <a:gd name="connsiteY451" fmla="*/ 28044 h 1073413"/>
                <a:gd name="connsiteX452" fmla="*/ 585557 w 985922"/>
                <a:gd name="connsiteY452" fmla="*/ 27785 h 1073413"/>
                <a:gd name="connsiteX453" fmla="*/ 584782 w 985922"/>
                <a:gd name="connsiteY453" fmla="*/ 27139 h 1073413"/>
                <a:gd name="connsiteX454" fmla="*/ 584394 w 985922"/>
                <a:gd name="connsiteY454" fmla="*/ 26622 h 1073413"/>
                <a:gd name="connsiteX455" fmla="*/ 584265 w 985922"/>
                <a:gd name="connsiteY455" fmla="*/ 25976 h 1073413"/>
                <a:gd name="connsiteX456" fmla="*/ 584265 w 985922"/>
                <a:gd name="connsiteY456" fmla="*/ 25330 h 1073413"/>
                <a:gd name="connsiteX457" fmla="*/ 584653 w 985922"/>
                <a:gd name="connsiteY457" fmla="*/ 22745 h 1073413"/>
                <a:gd name="connsiteX458" fmla="*/ 584653 w 985922"/>
                <a:gd name="connsiteY458" fmla="*/ 22099 h 1073413"/>
                <a:gd name="connsiteX459" fmla="*/ 584523 w 985922"/>
                <a:gd name="connsiteY459" fmla="*/ 21453 h 1073413"/>
                <a:gd name="connsiteX460" fmla="*/ 584265 w 985922"/>
                <a:gd name="connsiteY460" fmla="*/ 21065 h 1073413"/>
                <a:gd name="connsiteX461" fmla="*/ 584006 w 985922"/>
                <a:gd name="connsiteY461" fmla="*/ 20677 h 1073413"/>
                <a:gd name="connsiteX462" fmla="*/ 583231 w 985922"/>
                <a:gd name="connsiteY462" fmla="*/ 20290 h 1073413"/>
                <a:gd name="connsiteX463" fmla="*/ 582197 w 985922"/>
                <a:gd name="connsiteY463" fmla="*/ 19902 h 1073413"/>
                <a:gd name="connsiteX464" fmla="*/ 580000 w 985922"/>
                <a:gd name="connsiteY464" fmla="*/ 19514 h 1073413"/>
                <a:gd name="connsiteX465" fmla="*/ 578062 w 985922"/>
                <a:gd name="connsiteY465" fmla="*/ 19385 h 1073413"/>
                <a:gd name="connsiteX466" fmla="*/ 571988 w 985922"/>
                <a:gd name="connsiteY466" fmla="*/ 20031 h 1073413"/>
                <a:gd name="connsiteX467" fmla="*/ 569274 w 985922"/>
                <a:gd name="connsiteY467" fmla="*/ 20807 h 1073413"/>
                <a:gd name="connsiteX468" fmla="*/ 567852 w 985922"/>
                <a:gd name="connsiteY468" fmla="*/ 21582 h 1073413"/>
                <a:gd name="connsiteX469" fmla="*/ 566818 w 985922"/>
                <a:gd name="connsiteY469" fmla="*/ 21970 h 1073413"/>
                <a:gd name="connsiteX470" fmla="*/ 565009 w 985922"/>
                <a:gd name="connsiteY470" fmla="*/ 22357 h 1073413"/>
                <a:gd name="connsiteX471" fmla="*/ 564233 w 985922"/>
                <a:gd name="connsiteY471" fmla="*/ 22487 h 1073413"/>
                <a:gd name="connsiteX472" fmla="*/ 563329 w 985922"/>
                <a:gd name="connsiteY472" fmla="*/ 22487 h 1073413"/>
                <a:gd name="connsiteX473" fmla="*/ 561003 w 985922"/>
                <a:gd name="connsiteY473" fmla="*/ 22357 h 1073413"/>
                <a:gd name="connsiteX474" fmla="*/ 560227 w 985922"/>
                <a:gd name="connsiteY474" fmla="*/ 22228 h 1073413"/>
                <a:gd name="connsiteX475" fmla="*/ 558418 w 985922"/>
                <a:gd name="connsiteY475" fmla="*/ 21453 h 1073413"/>
                <a:gd name="connsiteX476" fmla="*/ 555446 w 985922"/>
                <a:gd name="connsiteY476" fmla="*/ 19773 h 1073413"/>
                <a:gd name="connsiteX477" fmla="*/ 553895 w 985922"/>
                <a:gd name="connsiteY477" fmla="*/ 22874 h 1073413"/>
                <a:gd name="connsiteX478" fmla="*/ 552473 w 985922"/>
                <a:gd name="connsiteY478" fmla="*/ 27397 h 1073413"/>
                <a:gd name="connsiteX479" fmla="*/ 551957 w 985922"/>
                <a:gd name="connsiteY479" fmla="*/ 28431 h 1073413"/>
                <a:gd name="connsiteX480" fmla="*/ 551698 w 985922"/>
                <a:gd name="connsiteY480" fmla="*/ 28819 h 1073413"/>
                <a:gd name="connsiteX481" fmla="*/ 550535 w 985922"/>
                <a:gd name="connsiteY481" fmla="*/ 29853 h 1073413"/>
                <a:gd name="connsiteX482" fmla="*/ 549889 w 985922"/>
                <a:gd name="connsiteY482" fmla="*/ 30758 h 1073413"/>
                <a:gd name="connsiteX483" fmla="*/ 549113 w 985922"/>
                <a:gd name="connsiteY483" fmla="*/ 32179 h 1073413"/>
                <a:gd name="connsiteX484" fmla="*/ 548855 w 985922"/>
                <a:gd name="connsiteY484" fmla="*/ 32567 h 1073413"/>
                <a:gd name="connsiteX485" fmla="*/ 545107 w 985922"/>
                <a:gd name="connsiteY485" fmla="*/ 36185 h 1073413"/>
                <a:gd name="connsiteX486" fmla="*/ 544590 w 985922"/>
                <a:gd name="connsiteY486" fmla="*/ 37090 h 1073413"/>
                <a:gd name="connsiteX487" fmla="*/ 542910 w 985922"/>
                <a:gd name="connsiteY487" fmla="*/ 42259 h 1073413"/>
                <a:gd name="connsiteX488" fmla="*/ 542393 w 985922"/>
                <a:gd name="connsiteY488" fmla="*/ 43164 h 1073413"/>
                <a:gd name="connsiteX489" fmla="*/ 542135 w 985922"/>
                <a:gd name="connsiteY489" fmla="*/ 43552 h 1073413"/>
                <a:gd name="connsiteX490" fmla="*/ 541876 w 985922"/>
                <a:gd name="connsiteY490" fmla="*/ 43810 h 1073413"/>
                <a:gd name="connsiteX491" fmla="*/ 538774 w 985922"/>
                <a:gd name="connsiteY491" fmla="*/ 45490 h 1073413"/>
                <a:gd name="connsiteX492" fmla="*/ 537870 w 985922"/>
                <a:gd name="connsiteY492" fmla="*/ 46136 h 1073413"/>
                <a:gd name="connsiteX493" fmla="*/ 536836 w 985922"/>
                <a:gd name="connsiteY493" fmla="*/ 47299 h 1073413"/>
                <a:gd name="connsiteX494" fmla="*/ 536448 w 985922"/>
                <a:gd name="connsiteY494" fmla="*/ 47687 h 1073413"/>
                <a:gd name="connsiteX495" fmla="*/ 535802 w 985922"/>
                <a:gd name="connsiteY495" fmla="*/ 47946 h 1073413"/>
                <a:gd name="connsiteX496" fmla="*/ 535027 w 985922"/>
                <a:gd name="connsiteY496" fmla="*/ 48075 h 1073413"/>
                <a:gd name="connsiteX497" fmla="*/ 533605 w 985922"/>
                <a:gd name="connsiteY497" fmla="*/ 47946 h 1073413"/>
                <a:gd name="connsiteX498" fmla="*/ 532830 w 985922"/>
                <a:gd name="connsiteY498" fmla="*/ 47687 h 1073413"/>
                <a:gd name="connsiteX499" fmla="*/ 532184 w 985922"/>
                <a:gd name="connsiteY499" fmla="*/ 47429 h 1073413"/>
                <a:gd name="connsiteX500" fmla="*/ 531667 w 985922"/>
                <a:gd name="connsiteY500" fmla="*/ 47170 h 1073413"/>
                <a:gd name="connsiteX501" fmla="*/ 531150 w 985922"/>
                <a:gd name="connsiteY501" fmla="*/ 47041 h 1073413"/>
                <a:gd name="connsiteX502" fmla="*/ 530504 w 985922"/>
                <a:gd name="connsiteY502" fmla="*/ 46912 h 1073413"/>
                <a:gd name="connsiteX503" fmla="*/ 529857 w 985922"/>
                <a:gd name="connsiteY503" fmla="*/ 46912 h 1073413"/>
                <a:gd name="connsiteX504" fmla="*/ 528953 w 985922"/>
                <a:gd name="connsiteY504" fmla="*/ 47041 h 1073413"/>
                <a:gd name="connsiteX505" fmla="*/ 524947 w 985922"/>
                <a:gd name="connsiteY505" fmla="*/ 48333 h 1073413"/>
                <a:gd name="connsiteX506" fmla="*/ 523913 w 985922"/>
                <a:gd name="connsiteY506" fmla="*/ 48463 h 1073413"/>
                <a:gd name="connsiteX507" fmla="*/ 520165 w 985922"/>
                <a:gd name="connsiteY507" fmla="*/ 48204 h 1073413"/>
                <a:gd name="connsiteX508" fmla="*/ 519260 w 985922"/>
                <a:gd name="connsiteY508" fmla="*/ 48333 h 1073413"/>
                <a:gd name="connsiteX509" fmla="*/ 517839 w 985922"/>
                <a:gd name="connsiteY509" fmla="*/ 48592 h 1073413"/>
                <a:gd name="connsiteX510" fmla="*/ 516934 w 985922"/>
                <a:gd name="connsiteY510" fmla="*/ 48850 h 1073413"/>
                <a:gd name="connsiteX511" fmla="*/ 516159 w 985922"/>
                <a:gd name="connsiteY511" fmla="*/ 49626 h 1073413"/>
                <a:gd name="connsiteX512" fmla="*/ 515900 w 985922"/>
                <a:gd name="connsiteY512" fmla="*/ 50143 h 1073413"/>
                <a:gd name="connsiteX513" fmla="*/ 515771 w 985922"/>
                <a:gd name="connsiteY513" fmla="*/ 50660 h 1073413"/>
                <a:gd name="connsiteX514" fmla="*/ 515771 w 985922"/>
                <a:gd name="connsiteY514" fmla="*/ 50918 h 1073413"/>
                <a:gd name="connsiteX515" fmla="*/ 515771 w 985922"/>
                <a:gd name="connsiteY515" fmla="*/ 51176 h 1073413"/>
                <a:gd name="connsiteX516" fmla="*/ 516805 w 985922"/>
                <a:gd name="connsiteY516" fmla="*/ 56475 h 1073413"/>
                <a:gd name="connsiteX517" fmla="*/ 516934 w 985922"/>
                <a:gd name="connsiteY517" fmla="*/ 62161 h 1073413"/>
                <a:gd name="connsiteX518" fmla="*/ 517322 w 985922"/>
                <a:gd name="connsiteY518" fmla="*/ 63971 h 1073413"/>
                <a:gd name="connsiteX519" fmla="*/ 517322 w 985922"/>
                <a:gd name="connsiteY519" fmla="*/ 65134 h 1073413"/>
                <a:gd name="connsiteX520" fmla="*/ 517193 w 985922"/>
                <a:gd name="connsiteY520" fmla="*/ 65651 h 1073413"/>
                <a:gd name="connsiteX521" fmla="*/ 516934 w 985922"/>
                <a:gd name="connsiteY521" fmla="*/ 66167 h 1073413"/>
                <a:gd name="connsiteX522" fmla="*/ 516676 w 985922"/>
                <a:gd name="connsiteY522" fmla="*/ 66555 h 1073413"/>
                <a:gd name="connsiteX523" fmla="*/ 516288 w 985922"/>
                <a:gd name="connsiteY523" fmla="*/ 66943 h 1073413"/>
                <a:gd name="connsiteX524" fmla="*/ 515642 w 985922"/>
                <a:gd name="connsiteY524" fmla="*/ 67460 h 1073413"/>
                <a:gd name="connsiteX525" fmla="*/ 511248 w 985922"/>
                <a:gd name="connsiteY525" fmla="*/ 69011 h 1073413"/>
                <a:gd name="connsiteX526" fmla="*/ 510472 w 985922"/>
                <a:gd name="connsiteY526" fmla="*/ 69398 h 1073413"/>
                <a:gd name="connsiteX527" fmla="*/ 510085 w 985922"/>
                <a:gd name="connsiteY527" fmla="*/ 69786 h 1073413"/>
                <a:gd name="connsiteX528" fmla="*/ 509826 w 985922"/>
                <a:gd name="connsiteY528" fmla="*/ 70174 h 1073413"/>
                <a:gd name="connsiteX529" fmla="*/ 509568 w 985922"/>
                <a:gd name="connsiteY529" fmla="*/ 70691 h 1073413"/>
                <a:gd name="connsiteX530" fmla="*/ 507500 w 985922"/>
                <a:gd name="connsiteY530" fmla="*/ 75343 h 1073413"/>
                <a:gd name="connsiteX531" fmla="*/ 506466 w 985922"/>
                <a:gd name="connsiteY531" fmla="*/ 76506 h 1073413"/>
                <a:gd name="connsiteX532" fmla="*/ 505691 w 985922"/>
                <a:gd name="connsiteY532" fmla="*/ 77152 h 1073413"/>
                <a:gd name="connsiteX533" fmla="*/ 504786 w 985922"/>
                <a:gd name="connsiteY533" fmla="*/ 77799 h 1073413"/>
                <a:gd name="connsiteX534" fmla="*/ 504140 w 985922"/>
                <a:gd name="connsiteY534" fmla="*/ 77928 h 1073413"/>
                <a:gd name="connsiteX535" fmla="*/ 503494 w 985922"/>
                <a:gd name="connsiteY535" fmla="*/ 78057 h 1073413"/>
                <a:gd name="connsiteX536" fmla="*/ 502460 w 985922"/>
                <a:gd name="connsiteY536" fmla="*/ 77799 h 1073413"/>
                <a:gd name="connsiteX537" fmla="*/ 501814 w 985922"/>
                <a:gd name="connsiteY537" fmla="*/ 77411 h 1073413"/>
                <a:gd name="connsiteX538" fmla="*/ 501426 w 985922"/>
                <a:gd name="connsiteY538" fmla="*/ 76894 h 1073413"/>
                <a:gd name="connsiteX539" fmla="*/ 500780 w 985922"/>
                <a:gd name="connsiteY539" fmla="*/ 75343 h 1073413"/>
                <a:gd name="connsiteX540" fmla="*/ 500521 w 985922"/>
                <a:gd name="connsiteY540" fmla="*/ 74826 h 1073413"/>
                <a:gd name="connsiteX541" fmla="*/ 500263 w 985922"/>
                <a:gd name="connsiteY541" fmla="*/ 74439 h 1073413"/>
                <a:gd name="connsiteX542" fmla="*/ 499875 w 985922"/>
                <a:gd name="connsiteY542" fmla="*/ 74051 h 1073413"/>
                <a:gd name="connsiteX543" fmla="*/ 499358 w 985922"/>
                <a:gd name="connsiteY543" fmla="*/ 73792 h 1073413"/>
                <a:gd name="connsiteX544" fmla="*/ 498841 w 985922"/>
                <a:gd name="connsiteY544" fmla="*/ 73534 h 1073413"/>
                <a:gd name="connsiteX545" fmla="*/ 497678 w 985922"/>
                <a:gd name="connsiteY545" fmla="*/ 73146 h 1073413"/>
                <a:gd name="connsiteX546" fmla="*/ 497032 w 985922"/>
                <a:gd name="connsiteY546" fmla="*/ 73146 h 1073413"/>
                <a:gd name="connsiteX547" fmla="*/ 496386 w 985922"/>
                <a:gd name="connsiteY547" fmla="*/ 73275 h 1073413"/>
                <a:gd name="connsiteX548" fmla="*/ 495740 w 985922"/>
                <a:gd name="connsiteY548" fmla="*/ 73663 h 1073413"/>
                <a:gd name="connsiteX549" fmla="*/ 495223 w 985922"/>
                <a:gd name="connsiteY549" fmla="*/ 74051 h 1073413"/>
                <a:gd name="connsiteX550" fmla="*/ 494706 w 985922"/>
                <a:gd name="connsiteY550" fmla="*/ 74309 h 1073413"/>
                <a:gd name="connsiteX551" fmla="*/ 494060 w 985922"/>
                <a:gd name="connsiteY551" fmla="*/ 74439 h 1073413"/>
                <a:gd name="connsiteX552" fmla="*/ 493026 w 985922"/>
                <a:gd name="connsiteY552" fmla="*/ 74180 h 1073413"/>
                <a:gd name="connsiteX553" fmla="*/ 492380 w 985922"/>
                <a:gd name="connsiteY553" fmla="*/ 73922 h 1073413"/>
                <a:gd name="connsiteX554" fmla="*/ 491734 w 985922"/>
                <a:gd name="connsiteY554" fmla="*/ 73663 h 1073413"/>
                <a:gd name="connsiteX555" fmla="*/ 490829 w 985922"/>
                <a:gd name="connsiteY555" fmla="*/ 73146 h 1073413"/>
                <a:gd name="connsiteX556" fmla="*/ 490312 w 985922"/>
                <a:gd name="connsiteY556" fmla="*/ 73017 h 1073413"/>
                <a:gd name="connsiteX557" fmla="*/ 489666 w 985922"/>
                <a:gd name="connsiteY557" fmla="*/ 73017 h 1073413"/>
                <a:gd name="connsiteX558" fmla="*/ 488761 w 985922"/>
                <a:gd name="connsiteY558" fmla="*/ 73405 h 1073413"/>
                <a:gd name="connsiteX559" fmla="*/ 487727 w 985922"/>
                <a:gd name="connsiteY559" fmla="*/ 74180 h 1073413"/>
                <a:gd name="connsiteX560" fmla="*/ 487210 w 985922"/>
                <a:gd name="connsiteY560" fmla="*/ 74309 h 1073413"/>
                <a:gd name="connsiteX561" fmla="*/ 486435 w 985922"/>
                <a:gd name="connsiteY561" fmla="*/ 73922 h 1073413"/>
                <a:gd name="connsiteX562" fmla="*/ 485660 w 985922"/>
                <a:gd name="connsiteY562" fmla="*/ 73017 h 1073413"/>
                <a:gd name="connsiteX563" fmla="*/ 485143 w 985922"/>
                <a:gd name="connsiteY563" fmla="*/ 72758 h 1073413"/>
                <a:gd name="connsiteX564" fmla="*/ 484367 w 985922"/>
                <a:gd name="connsiteY564" fmla="*/ 72758 h 1073413"/>
                <a:gd name="connsiteX565" fmla="*/ 483204 w 985922"/>
                <a:gd name="connsiteY565" fmla="*/ 73275 h 1073413"/>
                <a:gd name="connsiteX566" fmla="*/ 482558 w 985922"/>
                <a:gd name="connsiteY566" fmla="*/ 73792 h 1073413"/>
                <a:gd name="connsiteX567" fmla="*/ 482041 w 985922"/>
                <a:gd name="connsiteY567" fmla="*/ 74309 h 1073413"/>
                <a:gd name="connsiteX568" fmla="*/ 481136 w 985922"/>
                <a:gd name="connsiteY568" fmla="*/ 75731 h 1073413"/>
                <a:gd name="connsiteX569" fmla="*/ 478164 w 985922"/>
                <a:gd name="connsiteY569" fmla="*/ 79479 h 1073413"/>
                <a:gd name="connsiteX570" fmla="*/ 477389 w 985922"/>
                <a:gd name="connsiteY570" fmla="*/ 80125 h 1073413"/>
                <a:gd name="connsiteX571" fmla="*/ 476484 w 985922"/>
                <a:gd name="connsiteY571" fmla="*/ 80642 h 1073413"/>
                <a:gd name="connsiteX572" fmla="*/ 473899 w 985922"/>
                <a:gd name="connsiteY572" fmla="*/ 81676 h 1073413"/>
                <a:gd name="connsiteX573" fmla="*/ 472866 w 985922"/>
                <a:gd name="connsiteY573" fmla="*/ 82193 h 1073413"/>
                <a:gd name="connsiteX574" fmla="*/ 460588 w 985922"/>
                <a:gd name="connsiteY574" fmla="*/ 84648 h 1073413"/>
                <a:gd name="connsiteX575" fmla="*/ 459813 w 985922"/>
                <a:gd name="connsiteY575" fmla="*/ 84648 h 1073413"/>
                <a:gd name="connsiteX576" fmla="*/ 458521 w 985922"/>
                <a:gd name="connsiteY576" fmla="*/ 84389 h 1073413"/>
                <a:gd name="connsiteX577" fmla="*/ 457099 w 985922"/>
                <a:gd name="connsiteY577" fmla="*/ 83743 h 1073413"/>
                <a:gd name="connsiteX578" fmla="*/ 456453 w 985922"/>
                <a:gd name="connsiteY578" fmla="*/ 83614 h 1073413"/>
                <a:gd name="connsiteX579" fmla="*/ 455677 w 985922"/>
                <a:gd name="connsiteY579" fmla="*/ 83614 h 1073413"/>
                <a:gd name="connsiteX580" fmla="*/ 454644 w 985922"/>
                <a:gd name="connsiteY580" fmla="*/ 84002 h 1073413"/>
                <a:gd name="connsiteX581" fmla="*/ 453481 w 985922"/>
                <a:gd name="connsiteY581" fmla="*/ 84648 h 1073413"/>
                <a:gd name="connsiteX582" fmla="*/ 452705 w 985922"/>
                <a:gd name="connsiteY582" fmla="*/ 85294 h 1073413"/>
                <a:gd name="connsiteX583" fmla="*/ 451671 w 985922"/>
                <a:gd name="connsiteY583" fmla="*/ 86457 h 1073413"/>
                <a:gd name="connsiteX584" fmla="*/ 451154 w 985922"/>
                <a:gd name="connsiteY584" fmla="*/ 87362 h 1073413"/>
                <a:gd name="connsiteX585" fmla="*/ 450508 w 985922"/>
                <a:gd name="connsiteY585" fmla="*/ 89688 h 1073413"/>
                <a:gd name="connsiteX586" fmla="*/ 450250 w 985922"/>
                <a:gd name="connsiteY586" fmla="*/ 90076 h 1073413"/>
                <a:gd name="connsiteX587" fmla="*/ 449991 w 985922"/>
                <a:gd name="connsiteY587" fmla="*/ 90463 h 1073413"/>
                <a:gd name="connsiteX588" fmla="*/ 449733 w 985922"/>
                <a:gd name="connsiteY588" fmla="*/ 90722 h 1073413"/>
                <a:gd name="connsiteX589" fmla="*/ 449474 w 985922"/>
                <a:gd name="connsiteY589" fmla="*/ 90980 h 1073413"/>
                <a:gd name="connsiteX590" fmla="*/ 448699 w 985922"/>
                <a:gd name="connsiteY590" fmla="*/ 91497 h 1073413"/>
                <a:gd name="connsiteX591" fmla="*/ 447665 w 985922"/>
                <a:gd name="connsiteY591" fmla="*/ 92014 h 1073413"/>
                <a:gd name="connsiteX592" fmla="*/ 444305 w 985922"/>
                <a:gd name="connsiteY592" fmla="*/ 93048 h 1073413"/>
                <a:gd name="connsiteX593" fmla="*/ 443788 w 985922"/>
                <a:gd name="connsiteY593" fmla="*/ 93307 h 1073413"/>
                <a:gd name="connsiteX594" fmla="*/ 443400 w 985922"/>
                <a:gd name="connsiteY594" fmla="*/ 93694 h 1073413"/>
                <a:gd name="connsiteX595" fmla="*/ 442625 w 985922"/>
                <a:gd name="connsiteY595" fmla="*/ 94470 h 1073413"/>
                <a:gd name="connsiteX596" fmla="*/ 441720 w 985922"/>
                <a:gd name="connsiteY596" fmla="*/ 95762 h 1073413"/>
                <a:gd name="connsiteX597" fmla="*/ 439523 w 985922"/>
                <a:gd name="connsiteY597" fmla="*/ 99510 h 1073413"/>
                <a:gd name="connsiteX598" fmla="*/ 438618 w 985922"/>
                <a:gd name="connsiteY598" fmla="*/ 100544 h 1073413"/>
                <a:gd name="connsiteX599" fmla="*/ 437843 w 985922"/>
                <a:gd name="connsiteY599" fmla="*/ 101061 h 1073413"/>
                <a:gd name="connsiteX600" fmla="*/ 437585 w 985922"/>
                <a:gd name="connsiteY600" fmla="*/ 101707 h 1073413"/>
                <a:gd name="connsiteX601" fmla="*/ 437455 w 985922"/>
                <a:gd name="connsiteY601" fmla="*/ 102999 h 1073413"/>
                <a:gd name="connsiteX602" fmla="*/ 437326 w 985922"/>
                <a:gd name="connsiteY602" fmla="*/ 103516 h 1073413"/>
                <a:gd name="connsiteX603" fmla="*/ 437068 w 985922"/>
                <a:gd name="connsiteY603" fmla="*/ 103904 h 1073413"/>
                <a:gd name="connsiteX604" fmla="*/ 436809 w 985922"/>
                <a:gd name="connsiteY604" fmla="*/ 104162 h 1073413"/>
                <a:gd name="connsiteX605" fmla="*/ 436680 w 985922"/>
                <a:gd name="connsiteY605" fmla="*/ 104291 h 1073413"/>
                <a:gd name="connsiteX606" fmla="*/ 434871 w 985922"/>
                <a:gd name="connsiteY606" fmla="*/ 104162 h 1073413"/>
                <a:gd name="connsiteX607" fmla="*/ 429831 w 985922"/>
                <a:gd name="connsiteY607" fmla="*/ 103258 h 1073413"/>
                <a:gd name="connsiteX608" fmla="*/ 428668 w 985922"/>
                <a:gd name="connsiteY608" fmla="*/ 102870 h 1073413"/>
                <a:gd name="connsiteX609" fmla="*/ 428022 w 985922"/>
                <a:gd name="connsiteY609" fmla="*/ 102741 h 1073413"/>
                <a:gd name="connsiteX610" fmla="*/ 427375 w 985922"/>
                <a:gd name="connsiteY610" fmla="*/ 102741 h 1073413"/>
                <a:gd name="connsiteX611" fmla="*/ 426342 w 985922"/>
                <a:gd name="connsiteY611" fmla="*/ 103128 h 1073413"/>
                <a:gd name="connsiteX612" fmla="*/ 425824 w 985922"/>
                <a:gd name="connsiteY612" fmla="*/ 103516 h 1073413"/>
                <a:gd name="connsiteX613" fmla="*/ 425437 w 985922"/>
                <a:gd name="connsiteY613" fmla="*/ 103904 h 1073413"/>
                <a:gd name="connsiteX614" fmla="*/ 425178 w 985922"/>
                <a:gd name="connsiteY614" fmla="*/ 104421 h 1073413"/>
                <a:gd name="connsiteX615" fmla="*/ 424015 w 985922"/>
                <a:gd name="connsiteY615" fmla="*/ 108815 h 1073413"/>
                <a:gd name="connsiteX616" fmla="*/ 423627 w 985922"/>
                <a:gd name="connsiteY616" fmla="*/ 109848 h 1073413"/>
                <a:gd name="connsiteX617" fmla="*/ 423111 w 985922"/>
                <a:gd name="connsiteY617" fmla="*/ 110882 h 1073413"/>
                <a:gd name="connsiteX618" fmla="*/ 422723 w 985922"/>
                <a:gd name="connsiteY618" fmla="*/ 111270 h 1073413"/>
                <a:gd name="connsiteX619" fmla="*/ 422206 w 985922"/>
                <a:gd name="connsiteY619" fmla="*/ 111399 h 1073413"/>
                <a:gd name="connsiteX620" fmla="*/ 421431 w 985922"/>
                <a:gd name="connsiteY620" fmla="*/ 111399 h 1073413"/>
                <a:gd name="connsiteX621" fmla="*/ 420268 w 985922"/>
                <a:gd name="connsiteY621" fmla="*/ 110882 h 1073413"/>
                <a:gd name="connsiteX622" fmla="*/ 419621 w 985922"/>
                <a:gd name="connsiteY622" fmla="*/ 110495 h 1073413"/>
                <a:gd name="connsiteX623" fmla="*/ 419104 w 985922"/>
                <a:gd name="connsiteY623" fmla="*/ 110107 h 1073413"/>
                <a:gd name="connsiteX624" fmla="*/ 417295 w 985922"/>
                <a:gd name="connsiteY624" fmla="*/ 108168 h 1073413"/>
                <a:gd name="connsiteX625" fmla="*/ 416907 w 985922"/>
                <a:gd name="connsiteY625" fmla="*/ 107910 h 1073413"/>
                <a:gd name="connsiteX626" fmla="*/ 415874 w 985922"/>
                <a:gd name="connsiteY626" fmla="*/ 107652 h 1073413"/>
                <a:gd name="connsiteX627" fmla="*/ 411350 w 985922"/>
                <a:gd name="connsiteY627" fmla="*/ 107005 h 1073413"/>
                <a:gd name="connsiteX628" fmla="*/ 408249 w 985922"/>
                <a:gd name="connsiteY628" fmla="*/ 106876 h 1073413"/>
                <a:gd name="connsiteX629" fmla="*/ 405147 w 985922"/>
                <a:gd name="connsiteY629" fmla="*/ 107522 h 1073413"/>
                <a:gd name="connsiteX630" fmla="*/ 403467 w 985922"/>
                <a:gd name="connsiteY630" fmla="*/ 107522 h 1073413"/>
                <a:gd name="connsiteX631" fmla="*/ 402046 w 985922"/>
                <a:gd name="connsiteY631" fmla="*/ 107781 h 1073413"/>
                <a:gd name="connsiteX632" fmla="*/ 401011 w 985922"/>
                <a:gd name="connsiteY632" fmla="*/ 108168 h 1073413"/>
                <a:gd name="connsiteX633" fmla="*/ 400107 w 985922"/>
                <a:gd name="connsiteY633" fmla="*/ 108685 h 1073413"/>
                <a:gd name="connsiteX634" fmla="*/ 399719 w 985922"/>
                <a:gd name="connsiteY634" fmla="*/ 109073 h 1073413"/>
                <a:gd name="connsiteX635" fmla="*/ 398944 w 985922"/>
                <a:gd name="connsiteY635" fmla="*/ 109848 h 1073413"/>
                <a:gd name="connsiteX636" fmla="*/ 398427 w 985922"/>
                <a:gd name="connsiteY636" fmla="*/ 109978 h 1073413"/>
                <a:gd name="connsiteX637" fmla="*/ 397781 w 985922"/>
                <a:gd name="connsiteY637" fmla="*/ 109848 h 1073413"/>
                <a:gd name="connsiteX638" fmla="*/ 392611 w 985922"/>
                <a:gd name="connsiteY638" fmla="*/ 107264 h 1073413"/>
                <a:gd name="connsiteX639" fmla="*/ 390156 w 985922"/>
                <a:gd name="connsiteY639" fmla="*/ 106618 h 1073413"/>
                <a:gd name="connsiteX640" fmla="*/ 389639 w 985922"/>
                <a:gd name="connsiteY640" fmla="*/ 106359 h 1073413"/>
                <a:gd name="connsiteX641" fmla="*/ 389122 w 985922"/>
                <a:gd name="connsiteY641" fmla="*/ 106101 h 1073413"/>
                <a:gd name="connsiteX642" fmla="*/ 388734 w 985922"/>
                <a:gd name="connsiteY642" fmla="*/ 105713 h 1073413"/>
                <a:gd name="connsiteX643" fmla="*/ 388476 w 985922"/>
                <a:gd name="connsiteY643" fmla="*/ 105325 h 1073413"/>
                <a:gd name="connsiteX644" fmla="*/ 388217 w 985922"/>
                <a:gd name="connsiteY644" fmla="*/ 104938 h 1073413"/>
                <a:gd name="connsiteX645" fmla="*/ 388088 w 985922"/>
                <a:gd name="connsiteY645" fmla="*/ 104550 h 1073413"/>
                <a:gd name="connsiteX646" fmla="*/ 388088 w 985922"/>
                <a:gd name="connsiteY646" fmla="*/ 104291 h 1073413"/>
                <a:gd name="connsiteX647" fmla="*/ 388088 w 985922"/>
                <a:gd name="connsiteY647" fmla="*/ 103904 h 1073413"/>
                <a:gd name="connsiteX648" fmla="*/ 388347 w 985922"/>
                <a:gd name="connsiteY648" fmla="*/ 102870 h 1073413"/>
                <a:gd name="connsiteX649" fmla="*/ 389122 w 985922"/>
                <a:gd name="connsiteY649" fmla="*/ 101448 h 1073413"/>
                <a:gd name="connsiteX650" fmla="*/ 389381 w 985922"/>
                <a:gd name="connsiteY650" fmla="*/ 100931 h 1073413"/>
                <a:gd name="connsiteX651" fmla="*/ 389381 w 985922"/>
                <a:gd name="connsiteY651" fmla="*/ 100414 h 1073413"/>
                <a:gd name="connsiteX652" fmla="*/ 389252 w 985922"/>
                <a:gd name="connsiteY652" fmla="*/ 99897 h 1073413"/>
                <a:gd name="connsiteX653" fmla="*/ 388993 w 985922"/>
                <a:gd name="connsiteY653" fmla="*/ 99510 h 1073413"/>
                <a:gd name="connsiteX654" fmla="*/ 388605 w 985922"/>
                <a:gd name="connsiteY654" fmla="*/ 99122 h 1073413"/>
                <a:gd name="connsiteX655" fmla="*/ 388088 w 985922"/>
                <a:gd name="connsiteY655" fmla="*/ 98864 h 1073413"/>
                <a:gd name="connsiteX656" fmla="*/ 385633 w 985922"/>
                <a:gd name="connsiteY656" fmla="*/ 98217 h 1073413"/>
                <a:gd name="connsiteX657" fmla="*/ 384082 w 985922"/>
                <a:gd name="connsiteY657" fmla="*/ 97442 h 1073413"/>
                <a:gd name="connsiteX658" fmla="*/ 383436 w 985922"/>
                <a:gd name="connsiteY658" fmla="*/ 97184 h 1073413"/>
                <a:gd name="connsiteX659" fmla="*/ 382402 w 985922"/>
                <a:gd name="connsiteY659" fmla="*/ 97184 h 1073413"/>
                <a:gd name="connsiteX660" fmla="*/ 380076 w 985922"/>
                <a:gd name="connsiteY660" fmla="*/ 97701 h 1073413"/>
                <a:gd name="connsiteX661" fmla="*/ 379300 w 985922"/>
                <a:gd name="connsiteY661" fmla="*/ 97701 h 1073413"/>
                <a:gd name="connsiteX662" fmla="*/ 378784 w 985922"/>
                <a:gd name="connsiteY662" fmla="*/ 97313 h 1073413"/>
                <a:gd name="connsiteX663" fmla="*/ 378525 w 985922"/>
                <a:gd name="connsiteY663" fmla="*/ 96796 h 1073413"/>
                <a:gd name="connsiteX664" fmla="*/ 378267 w 985922"/>
                <a:gd name="connsiteY664" fmla="*/ 96150 h 1073413"/>
                <a:gd name="connsiteX665" fmla="*/ 378137 w 985922"/>
                <a:gd name="connsiteY665" fmla="*/ 94211 h 1073413"/>
                <a:gd name="connsiteX666" fmla="*/ 377879 w 985922"/>
                <a:gd name="connsiteY666" fmla="*/ 93694 h 1073413"/>
                <a:gd name="connsiteX667" fmla="*/ 377491 w 985922"/>
                <a:gd name="connsiteY667" fmla="*/ 93307 h 1073413"/>
                <a:gd name="connsiteX668" fmla="*/ 376974 w 985922"/>
                <a:gd name="connsiteY668" fmla="*/ 93048 h 1073413"/>
                <a:gd name="connsiteX669" fmla="*/ 372193 w 985922"/>
                <a:gd name="connsiteY669" fmla="*/ 92014 h 1073413"/>
                <a:gd name="connsiteX670" fmla="*/ 371676 w 985922"/>
                <a:gd name="connsiteY670" fmla="*/ 91756 h 1073413"/>
                <a:gd name="connsiteX671" fmla="*/ 369608 w 985922"/>
                <a:gd name="connsiteY671" fmla="*/ 90722 h 1073413"/>
                <a:gd name="connsiteX672" fmla="*/ 368832 w 985922"/>
                <a:gd name="connsiteY672" fmla="*/ 90593 h 1073413"/>
                <a:gd name="connsiteX673" fmla="*/ 367928 w 985922"/>
                <a:gd name="connsiteY673" fmla="*/ 90593 h 1073413"/>
                <a:gd name="connsiteX674" fmla="*/ 366377 w 985922"/>
                <a:gd name="connsiteY674" fmla="*/ 90980 h 1073413"/>
                <a:gd name="connsiteX675" fmla="*/ 363792 w 985922"/>
                <a:gd name="connsiteY675" fmla="*/ 92143 h 1073413"/>
                <a:gd name="connsiteX676" fmla="*/ 363405 w 985922"/>
                <a:gd name="connsiteY676" fmla="*/ 92531 h 1073413"/>
                <a:gd name="connsiteX677" fmla="*/ 363146 w 985922"/>
                <a:gd name="connsiteY677" fmla="*/ 93048 h 1073413"/>
                <a:gd name="connsiteX678" fmla="*/ 362500 w 985922"/>
                <a:gd name="connsiteY678" fmla="*/ 94728 h 1073413"/>
                <a:gd name="connsiteX679" fmla="*/ 362242 w 985922"/>
                <a:gd name="connsiteY679" fmla="*/ 95116 h 1073413"/>
                <a:gd name="connsiteX680" fmla="*/ 361854 w 985922"/>
                <a:gd name="connsiteY680" fmla="*/ 95374 h 1073413"/>
                <a:gd name="connsiteX681" fmla="*/ 361208 w 985922"/>
                <a:gd name="connsiteY681" fmla="*/ 95504 h 1073413"/>
                <a:gd name="connsiteX682" fmla="*/ 360561 w 985922"/>
                <a:gd name="connsiteY682" fmla="*/ 95374 h 1073413"/>
                <a:gd name="connsiteX683" fmla="*/ 359915 w 985922"/>
                <a:gd name="connsiteY683" fmla="*/ 94987 h 1073413"/>
                <a:gd name="connsiteX684" fmla="*/ 359011 w 985922"/>
                <a:gd name="connsiteY684" fmla="*/ 94211 h 1073413"/>
                <a:gd name="connsiteX685" fmla="*/ 358623 w 985922"/>
                <a:gd name="connsiteY685" fmla="*/ 93953 h 1073413"/>
                <a:gd name="connsiteX686" fmla="*/ 357848 w 985922"/>
                <a:gd name="connsiteY686" fmla="*/ 93824 h 1073413"/>
                <a:gd name="connsiteX687" fmla="*/ 356814 w 985922"/>
                <a:gd name="connsiteY687" fmla="*/ 93824 h 1073413"/>
                <a:gd name="connsiteX688" fmla="*/ 354875 w 985922"/>
                <a:gd name="connsiteY688" fmla="*/ 94082 h 1073413"/>
                <a:gd name="connsiteX689" fmla="*/ 353454 w 985922"/>
                <a:gd name="connsiteY689" fmla="*/ 94082 h 1073413"/>
                <a:gd name="connsiteX690" fmla="*/ 350352 w 985922"/>
                <a:gd name="connsiteY690" fmla="*/ 93694 h 1073413"/>
                <a:gd name="connsiteX691" fmla="*/ 349318 w 985922"/>
                <a:gd name="connsiteY691" fmla="*/ 93694 h 1073413"/>
                <a:gd name="connsiteX692" fmla="*/ 348414 w 985922"/>
                <a:gd name="connsiteY692" fmla="*/ 94082 h 1073413"/>
                <a:gd name="connsiteX693" fmla="*/ 347767 w 985922"/>
                <a:gd name="connsiteY693" fmla="*/ 94470 h 1073413"/>
                <a:gd name="connsiteX694" fmla="*/ 347250 w 985922"/>
                <a:gd name="connsiteY694" fmla="*/ 94857 h 1073413"/>
                <a:gd name="connsiteX695" fmla="*/ 346604 w 985922"/>
                <a:gd name="connsiteY695" fmla="*/ 95633 h 1073413"/>
                <a:gd name="connsiteX696" fmla="*/ 346217 w 985922"/>
                <a:gd name="connsiteY696" fmla="*/ 95891 h 1073413"/>
                <a:gd name="connsiteX697" fmla="*/ 345700 w 985922"/>
                <a:gd name="connsiteY697" fmla="*/ 96150 h 1073413"/>
                <a:gd name="connsiteX698" fmla="*/ 345053 w 985922"/>
                <a:gd name="connsiteY698" fmla="*/ 96279 h 1073413"/>
                <a:gd name="connsiteX699" fmla="*/ 344278 w 985922"/>
                <a:gd name="connsiteY699" fmla="*/ 96279 h 1073413"/>
                <a:gd name="connsiteX700" fmla="*/ 342986 w 985922"/>
                <a:gd name="connsiteY700" fmla="*/ 95891 h 1073413"/>
                <a:gd name="connsiteX701" fmla="*/ 342340 w 985922"/>
                <a:gd name="connsiteY701" fmla="*/ 95504 h 1073413"/>
                <a:gd name="connsiteX702" fmla="*/ 341823 w 985922"/>
                <a:gd name="connsiteY702" fmla="*/ 95116 h 1073413"/>
                <a:gd name="connsiteX703" fmla="*/ 341435 w 985922"/>
                <a:gd name="connsiteY703" fmla="*/ 94728 h 1073413"/>
                <a:gd name="connsiteX704" fmla="*/ 341176 w 985922"/>
                <a:gd name="connsiteY704" fmla="*/ 94340 h 1073413"/>
                <a:gd name="connsiteX705" fmla="*/ 338721 w 985922"/>
                <a:gd name="connsiteY705" fmla="*/ 87362 h 1073413"/>
                <a:gd name="connsiteX706" fmla="*/ 338463 w 985922"/>
                <a:gd name="connsiteY706" fmla="*/ 86974 h 1073413"/>
                <a:gd name="connsiteX707" fmla="*/ 338075 w 985922"/>
                <a:gd name="connsiteY707" fmla="*/ 86586 h 1073413"/>
                <a:gd name="connsiteX708" fmla="*/ 336783 w 985922"/>
                <a:gd name="connsiteY708" fmla="*/ 85682 h 1073413"/>
                <a:gd name="connsiteX709" fmla="*/ 333681 w 985922"/>
                <a:gd name="connsiteY709" fmla="*/ 82709 h 1073413"/>
                <a:gd name="connsiteX710" fmla="*/ 333035 w 985922"/>
                <a:gd name="connsiteY710" fmla="*/ 82580 h 1073413"/>
                <a:gd name="connsiteX711" fmla="*/ 332130 w 985922"/>
                <a:gd name="connsiteY711" fmla="*/ 82839 h 1073413"/>
                <a:gd name="connsiteX712" fmla="*/ 330450 w 985922"/>
                <a:gd name="connsiteY712" fmla="*/ 83873 h 1073413"/>
                <a:gd name="connsiteX713" fmla="*/ 329675 w 985922"/>
                <a:gd name="connsiteY713" fmla="*/ 84648 h 1073413"/>
                <a:gd name="connsiteX714" fmla="*/ 329158 w 985922"/>
                <a:gd name="connsiteY714" fmla="*/ 85423 h 1073413"/>
                <a:gd name="connsiteX715" fmla="*/ 328641 w 985922"/>
                <a:gd name="connsiteY715" fmla="*/ 86974 h 1073413"/>
                <a:gd name="connsiteX716" fmla="*/ 328253 w 985922"/>
                <a:gd name="connsiteY716" fmla="*/ 87620 h 1073413"/>
                <a:gd name="connsiteX717" fmla="*/ 327607 w 985922"/>
                <a:gd name="connsiteY717" fmla="*/ 88267 h 1073413"/>
                <a:gd name="connsiteX718" fmla="*/ 327219 w 985922"/>
                <a:gd name="connsiteY718" fmla="*/ 88525 h 1073413"/>
                <a:gd name="connsiteX719" fmla="*/ 326573 w 985922"/>
                <a:gd name="connsiteY719" fmla="*/ 88783 h 1073413"/>
                <a:gd name="connsiteX720" fmla="*/ 325798 w 985922"/>
                <a:gd name="connsiteY720" fmla="*/ 88913 h 1073413"/>
                <a:gd name="connsiteX721" fmla="*/ 324505 w 985922"/>
                <a:gd name="connsiteY721" fmla="*/ 88913 h 1073413"/>
                <a:gd name="connsiteX722" fmla="*/ 322955 w 985922"/>
                <a:gd name="connsiteY722" fmla="*/ 88654 h 1073413"/>
                <a:gd name="connsiteX723" fmla="*/ 322438 w 985922"/>
                <a:gd name="connsiteY723" fmla="*/ 88396 h 1073413"/>
                <a:gd name="connsiteX724" fmla="*/ 320499 w 985922"/>
                <a:gd name="connsiteY724" fmla="*/ 87362 h 1073413"/>
                <a:gd name="connsiteX725" fmla="*/ 317010 w 985922"/>
                <a:gd name="connsiteY725" fmla="*/ 86328 h 1073413"/>
                <a:gd name="connsiteX726" fmla="*/ 316105 w 985922"/>
                <a:gd name="connsiteY726" fmla="*/ 86457 h 1073413"/>
                <a:gd name="connsiteX727" fmla="*/ 314942 w 985922"/>
                <a:gd name="connsiteY727" fmla="*/ 86845 h 1073413"/>
                <a:gd name="connsiteX728" fmla="*/ 313004 w 985922"/>
                <a:gd name="connsiteY728" fmla="*/ 88008 h 1073413"/>
                <a:gd name="connsiteX729" fmla="*/ 312099 w 985922"/>
                <a:gd name="connsiteY729" fmla="*/ 88783 h 1073413"/>
                <a:gd name="connsiteX730" fmla="*/ 311453 w 985922"/>
                <a:gd name="connsiteY730" fmla="*/ 89430 h 1073413"/>
                <a:gd name="connsiteX731" fmla="*/ 310419 w 985922"/>
                <a:gd name="connsiteY731" fmla="*/ 91368 h 1073413"/>
                <a:gd name="connsiteX732" fmla="*/ 310031 w 985922"/>
                <a:gd name="connsiteY732" fmla="*/ 92531 h 1073413"/>
                <a:gd name="connsiteX733" fmla="*/ 309256 w 985922"/>
                <a:gd name="connsiteY733" fmla="*/ 96279 h 1073413"/>
                <a:gd name="connsiteX734" fmla="*/ 308997 w 985922"/>
                <a:gd name="connsiteY734" fmla="*/ 96796 h 1073413"/>
                <a:gd name="connsiteX735" fmla="*/ 308739 w 985922"/>
                <a:gd name="connsiteY735" fmla="*/ 97184 h 1073413"/>
                <a:gd name="connsiteX736" fmla="*/ 308351 w 985922"/>
                <a:gd name="connsiteY736" fmla="*/ 97571 h 1073413"/>
                <a:gd name="connsiteX737" fmla="*/ 307964 w 985922"/>
                <a:gd name="connsiteY737" fmla="*/ 97959 h 1073413"/>
                <a:gd name="connsiteX738" fmla="*/ 307576 w 985922"/>
                <a:gd name="connsiteY738" fmla="*/ 98217 h 1073413"/>
                <a:gd name="connsiteX739" fmla="*/ 306800 w 985922"/>
                <a:gd name="connsiteY739" fmla="*/ 98347 h 1073413"/>
                <a:gd name="connsiteX740" fmla="*/ 305767 w 985922"/>
                <a:gd name="connsiteY740" fmla="*/ 98217 h 1073413"/>
                <a:gd name="connsiteX741" fmla="*/ 301502 w 985922"/>
                <a:gd name="connsiteY741" fmla="*/ 96925 h 1073413"/>
                <a:gd name="connsiteX742" fmla="*/ 299305 w 985922"/>
                <a:gd name="connsiteY742" fmla="*/ 96537 h 1073413"/>
                <a:gd name="connsiteX743" fmla="*/ 295169 w 985922"/>
                <a:gd name="connsiteY743" fmla="*/ 96408 h 1073413"/>
                <a:gd name="connsiteX744" fmla="*/ 294265 w 985922"/>
                <a:gd name="connsiteY744" fmla="*/ 96796 h 1073413"/>
                <a:gd name="connsiteX745" fmla="*/ 293877 w 985922"/>
                <a:gd name="connsiteY745" fmla="*/ 97054 h 1073413"/>
                <a:gd name="connsiteX746" fmla="*/ 293231 w 985922"/>
                <a:gd name="connsiteY746" fmla="*/ 98476 h 1073413"/>
                <a:gd name="connsiteX747" fmla="*/ 292714 w 985922"/>
                <a:gd name="connsiteY747" fmla="*/ 101965 h 1073413"/>
                <a:gd name="connsiteX748" fmla="*/ 293360 w 985922"/>
                <a:gd name="connsiteY748" fmla="*/ 104162 h 1073413"/>
                <a:gd name="connsiteX749" fmla="*/ 293748 w 985922"/>
                <a:gd name="connsiteY749" fmla="*/ 104679 h 1073413"/>
                <a:gd name="connsiteX750" fmla="*/ 295299 w 985922"/>
                <a:gd name="connsiteY750" fmla="*/ 106876 h 1073413"/>
                <a:gd name="connsiteX751" fmla="*/ 296074 w 985922"/>
                <a:gd name="connsiteY751" fmla="*/ 107652 h 1073413"/>
                <a:gd name="connsiteX752" fmla="*/ 297237 w 985922"/>
                <a:gd name="connsiteY752" fmla="*/ 109461 h 1073413"/>
                <a:gd name="connsiteX753" fmla="*/ 297625 w 985922"/>
                <a:gd name="connsiteY753" fmla="*/ 109848 h 1073413"/>
                <a:gd name="connsiteX754" fmla="*/ 298013 w 985922"/>
                <a:gd name="connsiteY754" fmla="*/ 110236 h 1073413"/>
                <a:gd name="connsiteX755" fmla="*/ 298788 w 985922"/>
                <a:gd name="connsiteY755" fmla="*/ 111012 h 1073413"/>
                <a:gd name="connsiteX756" fmla="*/ 299046 w 985922"/>
                <a:gd name="connsiteY756" fmla="*/ 111528 h 1073413"/>
                <a:gd name="connsiteX757" fmla="*/ 299176 w 985922"/>
                <a:gd name="connsiteY757" fmla="*/ 112045 h 1073413"/>
                <a:gd name="connsiteX758" fmla="*/ 299305 w 985922"/>
                <a:gd name="connsiteY758" fmla="*/ 112562 h 1073413"/>
                <a:gd name="connsiteX759" fmla="*/ 302406 w 985922"/>
                <a:gd name="connsiteY759" fmla="*/ 121738 h 1073413"/>
                <a:gd name="connsiteX760" fmla="*/ 302794 w 985922"/>
                <a:gd name="connsiteY760" fmla="*/ 124193 h 1073413"/>
                <a:gd name="connsiteX761" fmla="*/ 302923 w 985922"/>
                <a:gd name="connsiteY761" fmla="*/ 126907 h 1073413"/>
                <a:gd name="connsiteX762" fmla="*/ 303311 w 985922"/>
                <a:gd name="connsiteY762" fmla="*/ 128717 h 1073413"/>
                <a:gd name="connsiteX763" fmla="*/ 303699 w 985922"/>
                <a:gd name="connsiteY763" fmla="*/ 129750 h 1073413"/>
                <a:gd name="connsiteX764" fmla="*/ 303957 w 985922"/>
                <a:gd name="connsiteY764" fmla="*/ 130267 h 1073413"/>
                <a:gd name="connsiteX765" fmla="*/ 304603 w 985922"/>
                <a:gd name="connsiteY765" fmla="*/ 131043 h 1073413"/>
                <a:gd name="connsiteX766" fmla="*/ 307576 w 985922"/>
                <a:gd name="connsiteY766" fmla="*/ 133240 h 1073413"/>
                <a:gd name="connsiteX767" fmla="*/ 307964 w 985922"/>
                <a:gd name="connsiteY767" fmla="*/ 133627 h 1073413"/>
                <a:gd name="connsiteX768" fmla="*/ 308222 w 985922"/>
                <a:gd name="connsiteY768" fmla="*/ 134015 h 1073413"/>
                <a:gd name="connsiteX769" fmla="*/ 308480 w 985922"/>
                <a:gd name="connsiteY769" fmla="*/ 134532 h 1073413"/>
                <a:gd name="connsiteX770" fmla="*/ 308997 w 985922"/>
                <a:gd name="connsiteY770" fmla="*/ 136729 h 1073413"/>
                <a:gd name="connsiteX771" fmla="*/ 309385 w 985922"/>
                <a:gd name="connsiteY771" fmla="*/ 141381 h 1073413"/>
                <a:gd name="connsiteX772" fmla="*/ 309385 w 985922"/>
                <a:gd name="connsiteY772" fmla="*/ 142028 h 1073413"/>
                <a:gd name="connsiteX773" fmla="*/ 309127 w 985922"/>
                <a:gd name="connsiteY773" fmla="*/ 143837 h 1073413"/>
                <a:gd name="connsiteX774" fmla="*/ 308739 w 985922"/>
                <a:gd name="connsiteY774" fmla="*/ 145258 h 1073413"/>
                <a:gd name="connsiteX775" fmla="*/ 306283 w 985922"/>
                <a:gd name="connsiteY775" fmla="*/ 150557 h 1073413"/>
                <a:gd name="connsiteX776" fmla="*/ 305896 w 985922"/>
                <a:gd name="connsiteY776" fmla="*/ 151849 h 1073413"/>
                <a:gd name="connsiteX777" fmla="*/ 305767 w 985922"/>
                <a:gd name="connsiteY777" fmla="*/ 152754 h 1073413"/>
                <a:gd name="connsiteX778" fmla="*/ 306671 w 985922"/>
                <a:gd name="connsiteY778" fmla="*/ 154822 h 1073413"/>
                <a:gd name="connsiteX779" fmla="*/ 307188 w 985922"/>
                <a:gd name="connsiteY779" fmla="*/ 156502 h 1073413"/>
                <a:gd name="connsiteX780" fmla="*/ 307446 w 985922"/>
                <a:gd name="connsiteY780" fmla="*/ 158569 h 1073413"/>
                <a:gd name="connsiteX781" fmla="*/ 307446 w 985922"/>
                <a:gd name="connsiteY781" fmla="*/ 159991 h 1073413"/>
                <a:gd name="connsiteX782" fmla="*/ 307188 w 985922"/>
                <a:gd name="connsiteY782" fmla="*/ 161930 h 1073413"/>
                <a:gd name="connsiteX783" fmla="*/ 306671 w 985922"/>
                <a:gd name="connsiteY783" fmla="*/ 163351 h 1073413"/>
                <a:gd name="connsiteX784" fmla="*/ 305767 w 985922"/>
                <a:gd name="connsiteY784" fmla="*/ 165031 h 1073413"/>
                <a:gd name="connsiteX785" fmla="*/ 301890 w 985922"/>
                <a:gd name="connsiteY785" fmla="*/ 169296 h 1073413"/>
                <a:gd name="connsiteX786" fmla="*/ 301502 w 985922"/>
                <a:gd name="connsiteY786" fmla="*/ 169942 h 1073413"/>
                <a:gd name="connsiteX787" fmla="*/ 301114 w 985922"/>
                <a:gd name="connsiteY787" fmla="*/ 170976 h 1073413"/>
                <a:gd name="connsiteX788" fmla="*/ 300985 w 985922"/>
                <a:gd name="connsiteY788" fmla="*/ 171881 h 1073413"/>
                <a:gd name="connsiteX789" fmla="*/ 301114 w 985922"/>
                <a:gd name="connsiteY789" fmla="*/ 175370 h 1073413"/>
                <a:gd name="connsiteX790" fmla="*/ 300985 w 985922"/>
                <a:gd name="connsiteY790" fmla="*/ 176016 h 1073413"/>
                <a:gd name="connsiteX791" fmla="*/ 300597 w 985922"/>
                <a:gd name="connsiteY791" fmla="*/ 176662 h 1073413"/>
                <a:gd name="connsiteX792" fmla="*/ 299951 w 985922"/>
                <a:gd name="connsiteY792" fmla="*/ 177308 h 1073413"/>
                <a:gd name="connsiteX793" fmla="*/ 298659 w 985922"/>
                <a:gd name="connsiteY793" fmla="*/ 178213 h 1073413"/>
                <a:gd name="connsiteX794" fmla="*/ 297237 w 985922"/>
                <a:gd name="connsiteY794" fmla="*/ 178988 h 1073413"/>
                <a:gd name="connsiteX795" fmla="*/ 296720 w 985922"/>
                <a:gd name="connsiteY795" fmla="*/ 179376 h 1073413"/>
                <a:gd name="connsiteX796" fmla="*/ 296332 w 985922"/>
                <a:gd name="connsiteY796" fmla="*/ 179893 h 1073413"/>
                <a:gd name="connsiteX797" fmla="*/ 295686 w 985922"/>
                <a:gd name="connsiteY797" fmla="*/ 181702 h 1073413"/>
                <a:gd name="connsiteX798" fmla="*/ 295428 w 985922"/>
                <a:gd name="connsiteY798" fmla="*/ 183124 h 1073413"/>
                <a:gd name="connsiteX799" fmla="*/ 295299 w 985922"/>
                <a:gd name="connsiteY799" fmla="*/ 183641 h 1073413"/>
                <a:gd name="connsiteX800" fmla="*/ 291422 w 985922"/>
                <a:gd name="connsiteY800" fmla="*/ 189327 h 1073413"/>
                <a:gd name="connsiteX801" fmla="*/ 290258 w 985922"/>
                <a:gd name="connsiteY801" fmla="*/ 191912 h 1073413"/>
                <a:gd name="connsiteX802" fmla="*/ 289483 w 985922"/>
                <a:gd name="connsiteY802" fmla="*/ 195143 h 1073413"/>
                <a:gd name="connsiteX803" fmla="*/ 288966 w 985922"/>
                <a:gd name="connsiteY803" fmla="*/ 196176 h 1073413"/>
                <a:gd name="connsiteX804" fmla="*/ 288449 w 985922"/>
                <a:gd name="connsiteY804" fmla="*/ 196693 h 1073413"/>
                <a:gd name="connsiteX805" fmla="*/ 287803 w 985922"/>
                <a:gd name="connsiteY805" fmla="*/ 197210 h 1073413"/>
                <a:gd name="connsiteX806" fmla="*/ 285865 w 985922"/>
                <a:gd name="connsiteY806" fmla="*/ 198244 h 1073413"/>
                <a:gd name="connsiteX807" fmla="*/ 285348 w 985922"/>
                <a:gd name="connsiteY807" fmla="*/ 198761 h 1073413"/>
                <a:gd name="connsiteX808" fmla="*/ 285089 w 985922"/>
                <a:gd name="connsiteY808" fmla="*/ 199536 h 1073413"/>
                <a:gd name="connsiteX809" fmla="*/ 284572 w 985922"/>
                <a:gd name="connsiteY809" fmla="*/ 203026 h 1073413"/>
                <a:gd name="connsiteX810" fmla="*/ 284185 w 985922"/>
                <a:gd name="connsiteY810" fmla="*/ 204189 h 1073413"/>
                <a:gd name="connsiteX811" fmla="*/ 283797 w 985922"/>
                <a:gd name="connsiteY811" fmla="*/ 204835 h 1073413"/>
                <a:gd name="connsiteX812" fmla="*/ 283151 w 985922"/>
                <a:gd name="connsiteY812" fmla="*/ 205352 h 1073413"/>
                <a:gd name="connsiteX813" fmla="*/ 281729 w 985922"/>
                <a:gd name="connsiteY813" fmla="*/ 205998 h 1073413"/>
                <a:gd name="connsiteX814" fmla="*/ 280824 w 985922"/>
                <a:gd name="connsiteY814" fmla="*/ 206128 h 1073413"/>
                <a:gd name="connsiteX815" fmla="*/ 280049 w 985922"/>
                <a:gd name="connsiteY815" fmla="*/ 206128 h 1073413"/>
                <a:gd name="connsiteX816" fmla="*/ 278886 w 985922"/>
                <a:gd name="connsiteY816" fmla="*/ 205869 h 1073413"/>
                <a:gd name="connsiteX817" fmla="*/ 277594 w 985922"/>
                <a:gd name="connsiteY817" fmla="*/ 205869 h 1073413"/>
                <a:gd name="connsiteX818" fmla="*/ 276947 w 985922"/>
                <a:gd name="connsiteY818" fmla="*/ 205998 h 1073413"/>
                <a:gd name="connsiteX819" fmla="*/ 276043 w 985922"/>
                <a:gd name="connsiteY819" fmla="*/ 206644 h 1073413"/>
                <a:gd name="connsiteX820" fmla="*/ 264024 w 985922"/>
                <a:gd name="connsiteY820" fmla="*/ 219568 h 1073413"/>
                <a:gd name="connsiteX821" fmla="*/ 262473 w 985922"/>
                <a:gd name="connsiteY821" fmla="*/ 221377 h 1073413"/>
                <a:gd name="connsiteX822" fmla="*/ 260664 w 985922"/>
                <a:gd name="connsiteY822" fmla="*/ 222669 h 1073413"/>
                <a:gd name="connsiteX823" fmla="*/ 259630 w 985922"/>
                <a:gd name="connsiteY823" fmla="*/ 223186 h 1073413"/>
                <a:gd name="connsiteX824" fmla="*/ 251876 w 985922"/>
                <a:gd name="connsiteY824" fmla="*/ 225771 h 1073413"/>
                <a:gd name="connsiteX825" fmla="*/ 251230 w 985922"/>
                <a:gd name="connsiteY825" fmla="*/ 225900 h 1073413"/>
                <a:gd name="connsiteX826" fmla="*/ 250325 w 985922"/>
                <a:gd name="connsiteY826" fmla="*/ 225771 h 1073413"/>
                <a:gd name="connsiteX827" fmla="*/ 249162 w 985922"/>
                <a:gd name="connsiteY827" fmla="*/ 225513 h 1073413"/>
                <a:gd name="connsiteX828" fmla="*/ 241796 w 985922"/>
                <a:gd name="connsiteY828" fmla="*/ 222669 h 1073413"/>
                <a:gd name="connsiteX829" fmla="*/ 231586 w 985922"/>
                <a:gd name="connsiteY829" fmla="*/ 221506 h 1073413"/>
                <a:gd name="connsiteX830" fmla="*/ 230165 w 985922"/>
                <a:gd name="connsiteY830" fmla="*/ 221635 h 1073413"/>
                <a:gd name="connsiteX831" fmla="*/ 229648 w 985922"/>
                <a:gd name="connsiteY831" fmla="*/ 221894 h 1073413"/>
                <a:gd name="connsiteX832" fmla="*/ 228356 w 985922"/>
                <a:gd name="connsiteY832" fmla="*/ 222799 h 1073413"/>
                <a:gd name="connsiteX833" fmla="*/ 225383 w 985922"/>
                <a:gd name="connsiteY833" fmla="*/ 224349 h 1073413"/>
                <a:gd name="connsiteX834" fmla="*/ 222023 w 985922"/>
                <a:gd name="connsiteY834" fmla="*/ 225383 h 1073413"/>
                <a:gd name="connsiteX835" fmla="*/ 218534 w 985922"/>
                <a:gd name="connsiteY835" fmla="*/ 225771 h 1073413"/>
                <a:gd name="connsiteX836" fmla="*/ 217371 w 985922"/>
                <a:gd name="connsiteY836" fmla="*/ 226029 h 1073413"/>
                <a:gd name="connsiteX837" fmla="*/ 216854 w 985922"/>
                <a:gd name="connsiteY837" fmla="*/ 226288 h 1073413"/>
                <a:gd name="connsiteX838" fmla="*/ 215949 w 985922"/>
                <a:gd name="connsiteY838" fmla="*/ 226805 h 1073413"/>
                <a:gd name="connsiteX839" fmla="*/ 215561 w 985922"/>
                <a:gd name="connsiteY839" fmla="*/ 227192 h 1073413"/>
                <a:gd name="connsiteX840" fmla="*/ 213752 w 985922"/>
                <a:gd name="connsiteY840" fmla="*/ 229906 h 1073413"/>
                <a:gd name="connsiteX841" fmla="*/ 212977 w 985922"/>
                <a:gd name="connsiteY841" fmla="*/ 230682 h 1073413"/>
                <a:gd name="connsiteX842" fmla="*/ 212460 w 985922"/>
                <a:gd name="connsiteY842" fmla="*/ 230940 h 1073413"/>
                <a:gd name="connsiteX843" fmla="*/ 211943 w 985922"/>
                <a:gd name="connsiteY843" fmla="*/ 231199 h 1073413"/>
                <a:gd name="connsiteX844" fmla="*/ 210263 w 985922"/>
                <a:gd name="connsiteY844" fmla="*/ 231716 h 1073413"/>
                <a:gd name="connsiteX845" fmla="*/ 209229 w 985922"/>
                <a:gd name="connsiteY845" fmla="*/ 232103 h 1073413"/>
                <a:gd name="connsiteX846" fmla="*/ 208841 w 985922"/>
                <a:gd name="connsiteY846" fmla="*/ 232362 h 1073413"/>
                <a:gd name="connsiteX847" fmla="*/ 208454 w 985922"/>
                <a:gd name="connsiteY847" fmla="*/ 232750 h 1073413"/>
                <a:gd name="connsiteX848" fmla="*/ 208066 w 985922"/>
                <a:gd name="connsiteY848" fmla="*/ 233137 h 1073413"/>
                <a:gd name="connsiteX849" fmla="*/ 207032 w 985922"/>
                <a:gd name="connsiteY849" fmla="*/ 235851 h 1073413"/>
                <a:gd name="connsiteX850" fmla="*/ 206515 w 985922"/>
                <a:gd name="connsiteY850" fmla="*/ 236756 h 1073413"/>
                <a:gd name="connsiteX851" fmla="*/ 206127 w 985922"/>
                <a:gd name="connsiteY851" fmla="*/ 237143 h 1073413"/>
                <a:gd name="connsiteX852" fmla="*/ 205740 w 985922"/>
                <a:gd name="connsiteY852" fmla="*/ 237531 h 1073413"/>
                <a:gd name="connsiteX853" fmla="*/ 205352 w 985922"/>
                <a:gd name="connsiteY853" fmla="*/ 237919 h 1073413"/>
                <a:gd name="connsiteX854" fmla="*/ 204835 w 985922"/>
                <a:gd name="connsiteY854" fmla="*/ 238177 h 1073413"/>
                <a:gd name="connsiteX855" fmla="*/ 203672 w 985922"/>
                <a:gd name="connsiteY855" fmla="*/ 238565 h 1073413"/>
                <a:gd name="connsiteX856" fmla="*/ 200700 w 985922"/>
                <a:gd name="connsiteY856" fmla="*/ 239211 h 1073413"/>
                <a:gd name="connsiteX857" fmla="*/ 196435 w 985922"/>
                <a:gd name="connsiteY857" fmla="*/ 240891 h 1073413"/>
                <a:gd name="connsiteX858" fmla="*/ 195530 w 985922"/>
                <a:gd name="connsiteY858" fmla="*/ 241408 h 1073413"/>
                <a:gd name="connsiteX859" fmla="*/ 194755 w 985922"/>
                <a:gd name="connsiteY859" fmla="*/ 242184 h 1073413"/>
                <a:gd name="connsiteX860" fmla="*/ 194497 w 985922"/>
                <a:gd name="connsiteY860" fmla="*/ 242571 h 1073413"/>
                <a:gd name="connsiteX861" fmla="*/ 191136 w 985922"/>
                <a:gd name="connsiteY861" fmla="*/ 250584 h 1073413"/>
                <a:gd name="connsiteX862" fmla="*/ 190878 w 985922"/>
                <a:gd name="connsiteY862" fmla="*/ 250972 h 1073413"/>
                <a:gd name="connsiteX863" fmla="*/ 190490 w 985922"/>
                <a:gd name="connsiteY863" fmla="*/ 251359 h 1073413"/>
                <a:gd name="connsiteX864" fmla="*/ 190102 w 985922"/>
                <a:gd name="connsiteY864" fmla="*/ 251618 h 1073413"/>
                <a:gd name="connsiteX865" fmla="*/ 189198 w 985922"/>
                <a:gd name="connsiteY865" fmla="*/ 252135 h 1073413"/>
                <a:gd name="connsiteX866" fmla="*/ 188164 w 985922"/>
                <a:gd name="connsiteY866" fmla="*/ 252522 h 1073413"/>
                <a:gd name="connsiteX867" fmla="*/ 187001 w 985922"/>
                <a:gd name="connsiteY867" fmla="*/ 252781 h 1073413"/>
                <a:gd name="connsiteX868" fmla="*/ 185579 w 985922"/>
                <a:gd name="connsiteY868" fmla="*/ 252910 h 1073413"/>
                <a:gd name="connsiteX869" fmla="*/ 183899 w 985922"/>
                <a:gd name="connsiteY869" fmla="*/ 252781 h 1073413"/>
                <a:gd name="connsiteX870" fmla="*/ 175241 w 985922"/>
                <a:gd name="connsiteY870" fmla="*/ 251101 h 1073413"/>
                <a:gd name="connsiteX871" fmla="*/ 173948 w 985922"/>
                <a:gd name="connsiteY871" fmla="*/ 251101 h 1073413"/>
                <a:gd name="connsiteX872" fmla="*/ 170201 w 985922"/>
                <a:gd name="connsiteY872" fmla="*/ 251747 h 1073413"/>
                <a:gd name="connsiteX873" fmla="*/ 169167 w 985922"/>
                <a:gd name="connsiteY873" fmla="*/ 252135 h 1073413"/>
                <a:gd name="connsiteX874" fmla="*/ 168262 w 985922"/>
                <a:gd name="connsiteY874" fmla="*/ 252522 h 1073413"/>
                <a:gd name="connsiteX875" fmla="*/ 166841 w 985922"/>
                <a:gd name="connsiteY875" fmla="*/ 253556 h 1073413"/>
                <a:gd name="connsiteX876" fmla="*/ 166323 w 985922"/>
                <a:gd name="connsiteY876" fmla="*/ 253815 h 1073413"/>
                <a:gd name="connsiteX877" fmla="*/ 165807 w 985922"/>
                <a:gd name="connsiteY877" fmla="*/ 254073 h 1073413"/>
                <a:gd name="connsiteX878" fmla="*/ 164644 w 985922"/>
                <a:gd name="connsiteY878" fmla="*/ 254461 h 1073413"/>
                <a:gd name="connsiteX879" fmla="*/ 163351 w 985922"/>
                <a:gd name="connsiteY879" fmla="*/ 254719 h 1073413"/>
                <a:gd name="connsiteX880" fmla="*/ 162705 w 985922"/>
                <a:gd name="connsiteY880" fmla="*/ 254719 h 1073413"/>
                <a:gd name="connsiteX881" fmla="*/ 161930 w 985922"/>
                <a:gd name="connsiteY881" fmla="*/ 254590 h 1073413"/>
                <a:gd name="connsiteX882" fmla="*/ 161025 w 985922"/>
                <a:gd name="connsiteY882" fmla="*/ 254332 h 1073413"/>
                <a:gd name="connsiteX883" fmla="*/ 155339 w 985922"/>
                <a:gd name="connsiteY883" fmla="*/ 251618 h 1073413"/>
                <a:gd name="connsiteX884" fmla="*/ 153400 w 985922"/>
                <a:gd name="connsiteY884" fmla="*/ 251101 h 1073413"/>
                <a:gd name="connsiteX885" fmla="*/ 152883 w 985922"/>
                <a:gd name="connsiteY885" fmla="*/ 250842 h 1073413"/>
                <a:gd name="connsiteX886" fmla="*/ 148619 w 985922"/>
                <a:gd name="connsiteY886" fmla="*/ 247870 h 1073413"/>
                <a:gd name="connsiteX887" fmla="*/ 146422 w 985922"/>
                <a:gd name="connsiteY887" fmla="*/ 246707 h 1073413"/>
                <a:gd name="connsiteX888" fmla="*/ 141511 w 985922"/>
                <a:gd name="connsiteY888" fmla="*/ 245414 h 1073413"/>
                <a:gd name="connsiteX889" fmla="*/ 137892 w 985922"/>
                <a:gd name="connsiteY889" fmla="*/ 242959 h 1073413"/>
                <a:gd name="connsiteX890" fmla="*/ 136729 w 985922"/>
                <a:gd name="connsiteY890" fmla="*/ 242442 h 1073413"/>
                <a:gd name="connsiteX891" fmla="*/ 135695 w 985922"/>
                <a:gd name="connsiteY891" fmla="*/ 242184 h 1073413"/>
                <a:gd name="connsiteX892" fmla="*/ 134274 w 985922"/>
                <a:gd name="connsiteY892" fmla="*/ 242054 h 1073413"/>
                <a:gd name="connsiteX893" fmla="*/ 133627 w 985922"/>
                <a:gd name="connsiteY893" fmla="*/ 241796 h 1073413"/>
                <a:gd name="connsiteX894" fmla="*/ 132981 w 985922"/>
                <a:gd name="connsiteY894" fmla="*/ 241279 h 1073413"/>
                <a:gd name="connsiteX895" fmla="*/ 131689 w 985922"/>
                <a:gd name="connsiteY895" fmla="*/ 239340 h 1073413"/>
                <a:gd name="connsiteX896" fmla="*/ 127553 w 985922"/>
                <a:gd name="connsiteY896" fmla="*/ 231974 h 1073413"/>
                <a:gd name="connsiteX897" fmla="*/ 121221 w 985922"/>
                <a:gd name="connsiteY897" fmla="*/ 224737 h 1073413"/>
                <a:gd name="connsiteX898" fmla="*/ 120833 w 985922"/>
                <a:gd name="connsiteY898" fmla="*/ 224091 h 1073413"/>
                <a:gd name="connsiteX899" fmla="*/ 119024 w 985922"/>
                <a:gd name="connsiteY899" fmla="*/ 219826 h 1073413"/>
                <a:gd name="connsiteX900" fmla="*/ 118895 w 985922"/>
                <a:gd name="connsiteY900" fmla="*/ 219180 h 1073413"/>
                <a:gd name="connsiteX901" fmla="*/ 118378 w 985922"/>
                <a:gd name="connsiteY901" fmla="*/ 215303 h 1073413"/>
                <a:gd name="connsiteX902" fmla="*/ 118249 w 985922"/>
                <a:gd name="connsiteY902" fmla="*/ 212589 h 1073413"/>
                <a:gd name="connsiteX903" fmla="*/ 117732 w 985922"/>
                <a:gd name="connsiteY903" fmla="*/ 210134 h 1073413"/>
                <a:gd name="connsiteX904" fmla="*/ 117473 w 985922"/>
                <a:gd name="connsiteY904" fmla="*/ 209617 h 1073413"/>
                <a:gd name="connsiteX905" fmla="*/ 116439 w 985922"/>
                <a:gd name="connsiteY905" fmla="*/ 207678 h 1073413"/>
                <a:gd name="connsiteX906" fmla="*/ 112821 w 985922"/>
                <a:gd name="connsiteY906" fmla="*/ 202380 h 1073413"/>
                <a:gd name="connsiteX907" fmla="*/ 105842 w 985922"/>
                <a:gd name="connsiteY907" fmla="*/ 195143 h 1073413"/>
                <a:gd name="connsiteX908" fmla="*/ 104421 w 985922"/>
                <a:gd name="connsiteY908" fmla="*/ 194109 h 1073413"/>
                <a:gd name="connsiteX909" fmla="*/ 103387 w 985922"/>
                <a:gd name="connsiteY909" fmla="*/ 193462 h 1073413"/>
                <a:gd name="connsiteX910" fmla="*/ 99897 w 985922"/>
                <a:gd name="connsiteY910" fmla="*/ 193204 h 1073413"/>
                <a:gd name="connsiteX911" fmla="*/ 86845 w 985922"/>
                <a:gd name="connsiteY911" fmla="*/ 193333 h 1073413"/>
                <a:gd name="connsiteX912" fmla="*/ 85553 w 985922"/>
                <a:gd name="connsiteY912" fmla="*/ 193721 h 1073413"/>
                <a:gd name="connsiteX913" fmla="*/ 84519 w 985922"/>
                <a:gd name="connsiteY913" fmla="*/ 194238 h 1073413"/>
                <a:gd name="connsiteX914" fmla="*/ 84002 w 985922"/>
                <a:gd name="connsiteY914" fmla="*/ 194884 h 1073413"/>
                <a:gd name="connsiteX915" fmla="*/ 83356 w 985922"/>
                <a:gd name="connsiteY915" fmla="*/ 195918 h 1073413"/>
                <a:gd name="connsiteX916" fmla="*/ 82580 w 985922"/>
                <a:gd name="connsiteY916" fmla="*/ 197727 h 1073413"/>
                <a:gd name="connsiteX917" fmla="*/ 82193 w 985922"/>
                <a:gd name="connsiteY917" fmla="*/ 198890 h 1073413"/>
                <a:gd name="connsiteX918" fmla="*/ 81934 w 985922"/>
                <a:gd name="connsiteY918" fmla="*/ 201217 h 1073413"/>
                <a:gd name="connsiteX919" fmla="*/ 81675 w 985922"/>
                <a:gd name="connsiteY919" fmla="*/ 202509 h 1073413"/>
                <a:gd name="connsiteX920" fmla="*/ 81417 w 985922"/>
                <a:gd name="connsiteY920" fmla="*/ 203026 h 1073413"/>
                <a:gd name="connsiteX921" fmla="*/ 80900 w 985922"/>
                <a:gd name="connsiteY921" fmla="*/ 203801 h 1073413"/>
                <a:gd name="connsiteX922" fmla="*/ 80125 w 985922"/>
                <a:gd name="connsiteY922" fmla="*/ 204706 h 1073413"/>
                <a:gd name="connsiteX923" fmla="*/ 77540 w 985922"/>
                <a:gd name="connsiteY923" fmla="*/ 207032 h 1073413"/>
                <a:gd name="connsiteX924" fmla="*/ 76377 w 985922"/>
                <a:gd name="connsiteY924" fmla="*/ 207937 h 1073413"/>
                <a:gd name="connsiteX925" fmla="*/ 75860 w 985922"/>
                <a:gd name="connsiteY925" fmla="*/ 208195 h 1073413"/>
                <a:gd name="connsiteX926" fmla="*/ 74309 w 985922"/>
                <a:gd name="connsiteY926" fmla="*/ 208841 h 1073413"/>
                <a:gd name="connsiteX927" fmla="*/ 72500 w 985922"/>
                <a:gd name="connsiteY927" fmla="*/ 210004 h 1073413"/>
                <a:gd name="connsiteX928" fmla="*/ 69398 w 985922"/>
                <a:gd name="connsiteY928" fmla="*/ 211297 h 1073413"/>
                <a:gd name="connsiteX929" fmla="*/ 68364 w 985922"/>
                <a:gd name="connsiteY929" fmla="*/ 211943 h 1073413"/>
                <a:gd name="connsiteX930" fmla="*/ 65392 w 985922"/>
                <a:gd name="connsiteY930" fmla="*/ 214140 h 1073413"/>
                <a:gd name="connsiteX931" fmla="*/ 59964 w 985922"/>
                <a:gd name="connsiteY931" fmla="*/ 216854 h 1073413"/>
                <a:gd name="connsiteX932" fmla="*/ 56604 w 985922"/>
                <a:gd name="connsiteY932" fmla="*/ 219439 h 1073413"/>
                <a:gd name="connsiteX933" fmla="*/ 55958 w 985922"/>
                <a:gd name="connsiteY933" fmla="*/ 219697 h 1073413"/>
                <a:gd name="connsiteX934" fmla="*/ 53374 w 985922"/>
                <a:gd name="connsiteY934" fmla="*/ 220085 h 1073413"/>
                <a:gd name="connsiteX935" fmla="*/ 51823 w 985922"/>
                <a:gd name="connsiteY935" fmla="*/ 220731 h 1073413"/>
                <a:gd name="connsiteX936" fmla="*/ 51306 w 985922"/>
                <a:gd name="connsiteY936" fmla="*/ 220989 h 1073413"/>
                <a:gd name="connsiteX937" fmla="*/ 47041 w 985922"/>
                <a:gd name="connsiteY937" fmla="*/ 225513 h 1073413"/>
                <a:gd name="connsiteX938" fmla="*/ 46007 w 985922"/>
                <a:gd name="connsiteY938" fmla="*/ 226288 h 1073413"/>
                <a:gd name="connsiteX939" fmla="*/ 40450 w 985922"/>
                <a:gd name="connsiteY939" fmla="*/ 228873 h 1073413"/>
                <a:gd name="connsiteX940" fmla="*/ 40062 w 985922"/>
                <a:gd name="connsiteY940" fmla="*/ 229131 h 1073413"/>
                <a:gd name="connsiteX941" fmla="*/ 39287 w 985922"/>
                <a:gd name="connsiteY941" fmla="*/ 229777 h 1073413"/>
                <a:gd name="connsiteX942" fmla="*/ 35152 w 985922"/>
                <a:gd name="connsiteY942" fmla="*/ 234429 h 1073413"/>
                <a:gd name="connsiteX943" fmla="*/ 33213 w 985922"/>
                <a:gd name="connsiteY943" fmla="*/ 236110 h 1073413"/>
                <a:gd name="connsiteX944" fmla="*/ 31791 w 985922"/>
                <a:gd name="connsiteY944" fmla="*/ 237014 h 1073413"/>
                <a:gd name="connsiteX945" fmla="*/ 28431 w 985922"/>
                <a:gd name="connsiteY945" fmla="*/ 239599 h 1073413"/>
                <a:gd name="connsiteX946" fmla="*/ 28044 w 985922"/>
                <a:gd name="connsiteY946" fmla="*/ 240245 h 1073413"/>
                <a:gd name="connsiteX947" fmla="*/ 27785 w 985922"/>
                <a:gd name="connsiteY947" fmla="*/ 241021 h 1073413"/>
                <a:gd name="connsiteX948" fmla="*/ 27656 w 985922"/>
                <a:gd name="connsiteY948" fmla="*/ 242571 h 1073413"/>
                <a:gd name="connsiteX949" fmla="*/ 27914 w 985922"/>
                <a:gd name="connsiteY949" fmla="*/ 243217 h 1073413"/>
                <a:gd name="connsiteX950" fmla="*/ 28431 w 985922"/>
                <a:gd name="connsiteY950" fmla="*/ 243605 h 1073413"/>
                <a:gd name="connsiteX951" fmla="*/ 29724 w 985922"/>
                <a:gd name="connsiteY951" fmla="*/ 243864 h 1073413"/>
                <a:gd name="connsiteX952" fmla="*/ 30887 w 985922"/>
                <a:gd name="connsiteY952" fmla="*/ 244251 h 1073413"/>
                <a:gd name="connsiteX953" fmla="*/ 31274 w 985922"/>
                <a:gd name="connsiteY953" fmla="*/ 244639 h 1073413"/>
                <a:gd name="connsiteX954" fmla="*/ 31662 w 985922"/>
                <a:gd name="connsiteY954" fmla="*/ 245027 h 1073413"/>
                <a:gd name="connsiteX955" fmla="*/ 31791 w 985922"/>
                <a:gd name="connsiteY955" fmla="*/ 245544 h 1073413"/>
                <a:gd name="connsiteX956" fmla="*/ 31921 w 985922"/>
                <a:gd name="connsiteY956" fmla="*/ 246190 h 1073413"/>
                <a:gd name="connsiteX957" fmla="*/ 31921 w 985922"/>
                <a:gd name="connsiteY957" fmla="*/ 246836 h 1073413"/>
                <a:gd name="connsiteX958" fmla="*/ 32050 w 985922"/>
                <a:gd name="connsiteY958" fmla="*/ 247353 h 1073413"/>
                <a:gd name="connsiteX959" fmla="*/ 32567 w 985922"/>
                <a:gd name="connsiteY959" fmla="*/ 248258 h 1073413"/>
                <a:gd name="connsiteX960" fmla="*/ 36056 w 985922"/>
                <a:gd name="connsiteY960" fmla="*/ 253039 h 1073413"/>
                <a:gd name="connsiteX961" fmla="*/ 36315 w 985922"/>
                <a:gd name="connsiteY961" fmla="*/ 253556 h 1073413"/>
                <a:gd name="connsiteX962" fmla="*/ 36444 w 985922"/>
                <a:gd name="connsiteY962" fmla="*/ 254073 h 1073413"/>
                <a:gd name="connsiteX963" fmla="*/ 36315 w 985922"/>
                <a:gd name="connsiteY963" fmla="*/ 254848 h 1073413"/>
                <a:gd name="connsiteX964" fmla="*/ 35798 w 985922"/>
                <a:gd name="connsiteY964" fmla="*/ 255624 h 1073413"/>
                <a:gd name="connsiteX965" fmla="*/ 34376 w 985922"/>
                <a:gd name="connsiteY965" fmla="*/ 256658 h 1073413"/>
                <a:gd name="connsiteX966" fmla="*/ 33471 w 985922"/>
                <a:gd name="connsiteY966" fmla="*/ 257175 h 1073413"/>
                <a:gd name="connsiteX967" fmla="*/ 32696 w 985922"/>
                <a:gd name="connsiteY967" fmla="*/ 257433 h 1073413"/>
                <a:gd name="connsiteX968" fmla="*/ 30758 w 985922"/>
                <a:gd name="connsiteY968" fmla="*/ 257821 h 1073413"/>
                <a:gd name="connsiteX969" fmla="*/ 26881 w 985922"/>
                <a:gd name="connsiteY969" fmla="*/ 259113 h 1073413"/>
                <a:gd name="connsiteX970" fmla="*/ 24037 w 985922"/>
                <a:gd name="connsiteY970" fmla="*/ 260664 h 1073413"/>
                <a:gd name="connsiteX971" fmla="*/ 22228 w 985922"/>
                <a:gd name="connsiteY971" fmla="*/ 261827 h 1073413"/>
                <a:gd name="connsiteX972" fmla="*/ 21453 w 985922"/>
                <a:gd name="connsiteY972" fmla="*/ 262603 h 1073413"/>
                <a:gd name="connsiteX973" fmla="*/ 20031 w 985922"/>
                <a:gd name="connsiteY973" fmla="*/ 264929 h 1073413"/>
                <a:gd name="connsiteX974" fmla="*/ 14733 w 985922"/>
                <a:gd name="connsiteY974" fmla="*/ 276430 h 1073413"/>
                <a:gd name="connsiteX975" fmla="*/ 11502 w 985922"/>
                <a:gd name="connsiteY975" fmla="*/ 285348 h 1073413"/>
                <a:gd name="connsiteX976" fmla="*/ 10985 w 985922"/>
                <a:gd name="connsiteY976" fmla="*/ 286123 h 1073413"/>
                <a:gd name="connsiteX977" fmla="*/ 10209 w 985922"/>
                <a:gd name="connsiteY977" fmla="*/ 287028 h 1073413"/>
                <a:gd name="connsiteX978" fmla="*/ 7496 w 985922"/>
                <a:gd name="connsiteY978" fmla="*/ 289095 h 1073413"/>
                <a:gd name="connsiteX979" fmla="*/ 6720 w 985922"/>
                <a:gd name="connsiteY979" fmla="*/ 289483 h 1073413"/>
                <a:gd name="connsiteX980" fmla="*/ 5686 w 985922"/>
                <a:gd name="connsiteY980" fmla="*/ 289871 h 1073413"/>
                <a:gd name="connsiteX981" fmla="*/ 4394 w 985922"/>
                <a:gd name="connsiteY981" fmla="*/ 291292 h 1073413"/>
                <a:gd name="connsiteX982" fmla="*/ 1551 w 985922"/>
                <a:gd name="connsiteY982" fmla="*/ 296203 h 1073413"/>
                <a:gd name="connsiteX983" fmla="*/ 1034 w 985922"/>
                <a:gd name="connsiteY983" fmla="*/ 297237 h 1073413"/>
                <a:gd name="connsiteX984" fmla="*/ 129 w 985922"/>
                <a:gd name="connsiteY984" fmla="*/ 300080 h 1073413"/>
                <a:gd name="connsiteX985" fmla="*/ 0 w 985922"/>
                <a:gd name="connsiteY985" fmla="*/ 300726 h 1073413"/>
                <a:gd name="connsiteX986" fmla="*/ 0 w 985922"/>
                <a:gd name="connsiteY986" fmla="*/ 301373 h 1073413"/>
                <a:gd name="connsiteX987" fmla="*/ 129 w 985922"/>
                <a:gd name="connsiteY987" fmla="*/ 302277 h 1073413"/>
                <a:gd name="connsiteX988" fmla="*/ 388 w 985922"/>
                <a:gd name="connsiteY988" fmla="*/ 303311 h 1073413"/>
                <a:gd name="connsiteX989" fmla="*/ 1163 w 985922"/>
                <a:gd name="connsiteY989" fmla="*/ 305120 h 1073413"/>
                <a:gd name="connsiteX990" fmla="*/ 2068 w 985922"/>
                <a:gd name="connsiteY990" fmla="*/ 306671 h 1073413"/>
                <a:gd name="connsiteX991" fmla="*/ 2843 w 985922"/>
                <a:gd name="connsiteY991" fmla="*/ 307317 h 1073413"/>
                <a:gd name="connsiteX992" fmla="*/ 6979 w 985922"/>
                <a:gd name="connsiteY992" fmla="*/ 309256 h 1073413"/>
                <a:gd name="connsiteX993" fmla="*/ 7625 w 985922"/>
                <a:gd name="connsiteY993" fmla="*/ 309773 h 1073413"/>
                <a:gd name="connsiteX994" fmla="*/ 7883 w 985922"/>
                <a:gd name="connsiteY994" fmla="*/ 310031 h 1073413"/>
                <a:gd name="connsiteX995" fmla="*/ 8529 w 985922"/>
                <a:gd name="connsiteY995" fmla="*/ 310677 h 1073413"/>
                <a:gd name="connsiteX996" fmla="*/ 8788 w 985922"/>
                <a:gd name="connsiteY996" fmla="*/ 311194 h 1073413"/>
                <a:gd name="connsiteX997" fmla="*/ 9305 w 985922"/>
                <a:gd name="connsiteY997" fmla="*/ 312228 h 1073413"/>
                <a:gd name="connsiteX998" fmla="*/ 9951 w 985922"/>
                <a:gd name="connsiteY998" fmla="*/ 314037 h 1073413"/>
                <a:gd name="connsiteX999" fmla="*/ 11373 w 985922"/>
                <a:gd name="connsiteY999" fmla="*/ 317268 h 1073413"/>
                <a:gd name="connsiteX1000" fmla="*/ 11760 w 985922"/>
                <a:gd name="connsiteY1000" fmla="*/ 317785 h 1073413"/>
                <a:gd name="connsiteX1001" fmla="*/ 12148 w 985922"/>
                <a:gd name="connsiteY1001" fmla="*/ 318173 h 1073413"/>
                <a:gd name="connsiteX1002" fmla="*/ 12923 w 985922"/>
                <a:gd name="connsiteY1002" fmla="*/ 318819 h 1073413"/>
                <a:gd name="connsiteX1003" fmla="*/ 13828 w 985922"/>
                <a:gd name="connsiteY1003" fmla="*/ 319465 h 1073413"/>
                <a:gd name="connsiteX1004" fmla="*/ 14862 w 985922"/>
                <a:gd name="connsiteY1004" fmla="*/ 319853 h 1073413"/>
                <a:gd name="connsiteX1005" fmla="*/ 15379 w 985922"/>
                <a:gd name="connsiteY1005" fmla="*/ 319982 h 1073413"/>
                <a:gd name="connsiteX1006" fmla="*/ 31274 w 985922"/>
                <a:gd name="connsiteY1006" fmla="*/ 322050 h 1073413"/>
                <a:gd name="connsiteX1007" fmla="*/ 40708 w 985922"/>
                <a:gd name="connsiteY1007" fmla="*/ 324764 h 1073413"/>
                <a:gd name="connsiteX1008" fmla="*/ 48979 w 985922"/>
                <a:gd name="connsiteY1008" fmla="*/ 328641 h 1073413"/>
                <a:gd name="connsiteX1009" fmla="*/ 50272 w 985922"/>
                <a:gd name="connsiteY1009" fmla="*/ 329675 h 1073413"/>
                <a:gd name="connsiteX1010" fmla="*/ 51693 w 985922"/>
                <a:gd name="connsiteY1010" fmla="*/ 330579 h 1073413"/>
                <a:gd name="connsiteX1011" fmla="*/ 52081 w 985922"/>
                <a:gd name="connsiteY1011" fmla="*/ 330967 h 1073413"/>
                <a:gd name="connsiteX1012" fmla="*/ 52210 w 985922"/>
                <a:gd name="connsiteY1012" fmla="*/ 331872 h 1073413"/>
                <a:gd name="connsiteX1013" fmla="*/ 52081 w 985922"/>
                <a:gd name="connsiteY1013" fmla="*/ 333164 h 1073413"/>
                <a:gd name="connsiteX1014" fmla="*/ 51176 w 985922"/>
                <a:gd name="connsiteY1014" fmla="*/ 336007 h 1073413"/>
                <a:gd name="connsiteX1015" fmla="*/ 50530 w 985922"/>
                <a:gd name="connsiteY1015" fmla="*/ 337170 h 1073413"/>
                <a:gd name="connsiteX1016" fmla="*/ 49884 w 985922"/>
                <a:gd name="connsiteY1016" fmla="*/ 337946 h 1073413"/>
                <a:gd name="connsiteX1017" fmla="*/ 49367 w 985922"/>
                <a:gd name="connsiteY1017" fmla="*/ 338204 h 1073413"/>
                <a:gd name="connsiteX1018" fmla="*/ 48979 w 985922"/>
                <a:gd name="connsiteY1018" fmla="*/ 338592 h 1073413"/>
                <a:gd name="connsiteX1019" fmla="*/ 48592 w 985922"/>
                <a:gd name="connsiteY1019" fmla="*/ 338980 h 1073413"/>
                <a:gd name="connsiteX1020" fmla="*/ 47687 w 985922"/>
                <a:gd name="connsiteY1020" fmla="*/ 339626 h 1073413"/>
                <a:gd name="connsiteX1021" fmla="*/ 40450 w 985922"/>
                <a:gd name="connsiteY1021" fmla="*/ 341952 h 1073413"/>
                <a:gd name="connsiteX1022" fmla="*/ 34764 w 985922"/>
                <a:gd name="connsiteY1022" fmla="*/ 344407 h 1073413"/>
                <a:gd name="connsiteX1023" fmla="*/ 33859 w 985922"/>
                <a:gd name="connsiteY1023" fmla="*/ 344924 h 1073413"/>
                <a:gd name="connsiteX1024" fmla="*/ 33084 w 985922"/>
                <a:gd name="connsiteY1024" fmla="*/ 345700 h 1073413"/>
                <a:gd name="connsiteX1025" fmla="*/ 32438 w 985922"/>
                <a:gd name="connsiteY1025" fmla="*/ 346475 h 1073413"/>
                <a:gd name="connsiteX1026" fmla="*/ 32179 w 985922"/>
                <a:gd name="connsiteY1026" fmla="*/ 346863 h 1073413"/>
                <a:gd name="connsiteX1027" fmla="*/ 31921 w 985922"/>
                <a:gd name="connsiteY1027" fmla="*/ 347380 h 1073413"/>
                <a:gd name="connsiteX1028" fmla="*/ 31533 w 985922"/>
                <a:gd name="connsiteY1028" fmla="*/ 348543 h 1073413"/>
                <a:gd name="connsiteX1029" fmla="*/ 31533 w 985922"/>
                <a:gd name="connsiteY1029" fmla="*/ 349706 h 1073413"/>
                <a:gd name="connsiteX1030" fmla="*/ 32179 w 985922"/>
                <a:gd name="connsiteY1030" fmla="*/ 354488 h 1073413"/>
                <a:gd name="connsiteX1031" fmla="*/ 32567 w 985922"/>
                <a:gd name="connsiteY1031" fmla="*/ 355909 h 1073413"/>
                <a:gd name="connsiteX1032" fmla="*/ 33084 w 985922"/>
                <a:gd name="connsiteY1032" fmla="*/ 356814 h 1073413"/>
                <a:gd name="connsiteX1033" fmla="*/ 33601 w 985922"/>
                <a:gd name="connsiteY1033" fmla="*/ 357072 h 1073413"/>
                <a:gd name="connsiteX1034" fmla="*/ 34247 w 985922"/>
                <a:gd name="connsiteY1034" fmla="*/ 357072 h 1073413"/>
                <a:gd name="connsiteX1035" fmla="*/ 35410 w 985922"/>
                <a:gd name="connsiteY1035" fmla="*/ 356943 h 1073413"/>
                <a:gd name="connsiteX1036" fmla="*/ 37736 w 985922"/>
                <a:gd name="connsiteY1036" fmla="*/ 356297 h 1073413"/>
                <a:gd name="connsiteX1037" fmla="*/ 40192 w 985922"/>
                <a:gd name="connsiteY1037" fmla="*/ 355909 h 1073413"/>
                <a:gd name="connsiteX1038" fmla="*/ 41613 w 985922"/>
                <a:gd name="connsiteY1038" fmla="*/ 355909 h 1073413"/>
                <a:gd name="connsiteX1039" fmla="*/ 42905 w 985922"/>
                <a:gd name="connsiteY1039" fmla="*/ 356038 h 1073413"/>
                <a:gd name="connsiteX1040" fmla="*/ 44198 w 985922"/>
                <a:gd name="connsiteY1040" fmla="*/ 356297 h 1073413"/>
                <a:gd name="connsiteX1041" fmla="*/ 46395 w 985922"/>
                <a:gd name="connsiteY1041" fmla="*/ 357201 h 1073413"/>
                <a:gd name="connsiteX1042" fmla="*/ 48333 w 985922"/>
                <a:gd name="connsiteY1042" fmla="*/ 358365 h 1073413"/>
                <a:gd name="connsiteX1043" fmla="*/ 50143 w 985922"/>
                <a:gd name="connsiteY1043" fmla="*/ 359657 h 1073413"/>
                <a:gd name="connsiteX1044" fmla="*/ 51176 w 985922"/>
                <a:gd name="connsiteY1044" fmla="*/ 360820 h 1073413"/>
                <a:gd name="connsiteX1045" fmla="*/ 53503 w 985922"/>
                <a:gd name="connsiteY1045" fmla="*/ 364439 h 1073413"/>
                <a:gd name="connsiteX1046" fmla="*/ 53632 w 985922"/>
                <a:gd name="connsiteY1046" fmla="*/ 364955 h 1073413"/>
                <a:gd name="connsiteX1047" fmla="*/ 53503 w 985922"/>
                <a:gd name="connsiteY1047" fmla="*/ 365602 h 1073413"/>
                <a:gd name="connsiteX1048" fmla="*/ 52856 w 985922"/>
                <a:gd name="connsiteY1048" fmla="*/ 366377 h 1073413"/>
                <a:gd name="connsiteX1049" fmla="*/ 52210 w 985922"/>
                <a:gd name="connsiteY1049" fmla="*/ 366765 h 1073413"/>
                <a:gd name="connsiteX1050" fmla="*/ 51047 w 985922"/>
                <a:gd name="connsiteY1050" fmla="*/ 367282 h 1073413"/>
                <a:gd name="connsiteX1051" fmla="*/ 50530 w 985922"/>
                <a:gd name="connsiteY1051" fmla="*/ 367540 h 1073413"/>
                <a:gd name="connsiteX1052" fmla="*/ 49626 w 985922"/>
                <a:gd name="connsiteY1052" fmla="*/ 368186 h 1073413"/>
                <a:gd name="connsiteX1053" fmla="*/ 47300 w 985922"/>
                <a:gd name="connsiteY1053" fmla="*/ 370383 h 1073413"/>
                <a:gd name="connsiteX1054" fmla="*/ 46395 w 985922"/>
                <a:gd name="connsiteY1054" fmla="*/ 370900 h 1073413"/>
                <a:gd name="connsiteX1055" fmla="*/ 39804 w 985922"/>
                <a:gd name="connsiteY1055" fmla="*/ 373097 h 1073413"/>
                <a:gd name="connsiteX1056" fmla="*/ 38512 w 985922"/>
                <a:gd name="connsiteY1056" fmla="*/ 373873 h 1073413"/>
                <a:gd name="connsiteX1057" fmla="*/ 38124 w 985922"/>
                <a:gd name="connsiteY1057" fmla="*/ 374131 h 1073413"/>
                <a:gd name="connsiteX1058" fmla="*/ 37995 w 985922"/>
                <a:gd name="connsiteY1058" fmla="*/ 374260 h 1073413"/>
                <a:gd name="connsiteX1059" fmla="*/ 34247 w 985922"/>
                <a:gd name="connsiteY1059" fmla="*/ 379559 h 1073413"/>
                <a:gd name="connsiteX1060" fmla="*/ 33471 w 985922"/>
                <a:gd name="connsiteY1060" fmla="*/ 380205 h 1073413"/>
                <a:gd name="connsiteX1061" fmla="*/ 32179 w 985922"/>
                <a:gd name="connsiteY1061" fmla="*/ 381110 h 1073413"/>
                <a:gd name="connsiteX1062" fmla="*/ 26364 w 985922"/>
                <a:gd name="connsiteY1062" fmla="*/ 384082 h 1073413"/>
                <a:gd name="connsiteX1063" fmla="*/ 25976 w 985922"/>
                <a:gd name="connsiteY1063" fmla="*/ 384470 h 1073413"/>
                <a:gd name="connsiteX1064" fmla="*/ 25588 w 985922"/>
                <a:gd name="connsiteY1064" fmla="*/ 384857 h 1073413"/>
                <a:gd name="connsiteX1065" fmla="*/ 25330 w 985922"/>
                <a:gd name="connsiteY1065" fmla="*/ 385374 h 1073413"/>
                <a:gd name="connsiteX1066" fmla="*/ 25071 w 985922"/>
                <a:gd name="connsiteY1066" fmla="*/ 386021 h 1073413"/>
                <a:gd name="connsiteX1067" fmla="*/ 24684 w 985922"/>
                <a:gd name="connsiteY1067" fmla="*/ 388217 h 1073413"/>
                <a:gd name="connsiteX1068" fmla="*/ 24037 w 985922"/>
                <a:gd name="connsiteY1068" fmla="*/ 411221 h 1073413"/>
                <a:gd name="connsiteX1069" fmla="*/ 24296 w 985922"/>
                <a:gd name="connsiteY1069" fmla="*/ 412384 h 1073413"/>
                <a:gd name="connsiteX1070" fmla="*/ 25976 w 985922"/>
                <a:gd name="connsiteY1070" fmla="*/ 417554 h 1073413"/>
                <a:gd name="connsiteX1071" fmla="*/ 27139 w 985922"/>
                <a:gd name="connsiteY1071" fmla="*/ 420267 h 1073413"/>
                <a:gd name="connsiteX1072" fmla="*/ 27914 w 985922"/>
                <a:gd name="connsiteY1072" fmla="*/ 421043 h 1073413"/>
                <a:gd name="connsiteX1073" fmla="*/ 28819 w 985922"/>
                <a:gd name="connsiteY1073" fmla="*/ 421689 h 1073413"/>
                <a:gd name="connsiteX1074" fmla="*/ 32825 w 985922"/>
                <a:gd name="connsiteY1074" fmla="*/ 423757 h 1073413"/>
                <a:gd name="connsiteX1075" fmla="*/ 39675 w 985922"/>
                <a:gd name="connsiteY1075" fmla="*/ 425307 h 1073413"/>
                <a:gd name="connsiteX1076" fmla="*/ 40838 w 985922"/>
                <a:gd name="connsiteY1076" fmla="*/ 425695 h 1073413"/>
                <a:gd name="connsiteX1077" fmla="*/ 42776 w 985922"/>
                <a:gd name="connsiteY1077" fmla="*/ 426858 h 1073413"/>
                <a:gd name="connsiteX1078" fmla="*/ 43164 w 985922"/>
                <a:gd name="connsiteY1078" fmla="*/ 427246 h 1073413"/>
                <a:gd name="connsiteX1079" fmla="*/ 43552 w 985922"/>
                <a:gd name="connsiteY1079" fmla="*/ 427634 h 1073413"/>
                <a:gd name="connsiteX1080" fmla="*/ 43810 w 985922"/>
                <a:gd name="connsiteY1080" fmla="*/ 428021 h 1073413"/>
                <a:gd name="connsiteX1081" fmla="*/ 44069 w 985922"/>
                <a:gd name="connsiteY1081" fmla="*/ 428538 h 1073413"/>
                <a:gd name="connsiteX1082" fmla="*/ 44198 w 985922"/>
                <a:gd name="connsiteY1082" fmla="*/ 428926 h 1073413"/>
                <a:gd name="connsiteX1083" fmla="*/ 44586 w 985922"/>
                <a:gd name="connsiteY1083" fmla="*/ 438102 h 1073413"/>
                <a:gd name="connsiteX1084" fmla="*/ 42905 w 985922"/>
                <a:gd name="connsiteY1084" fmla="*/ 440686 h 1073413"/>
                <a:gd name="connsiteX1085" fmla="*/ 42647 w 985922"/>
                <a:gd name="connsiteY1085" fmla="*/ 441462 h 1073413"/>
                <a:gd name="connsiteX1086" fmla="*/ 34764 w 985922"/>
                <a:gd name="connsiteY1086" fmla="*/ 453351 h 1073413"/>
                <a:gd name="connsiteX1087" fmla="*/ 34118 w 985922"/>
                <a:gd name="connsiteY1087" fmla="*/ 455031 h 1073413"/>
                <a:gd name="connsiteX1088" fmla="*/ 33601 w 985922"/>
                <a:gd name="connsiteY1088" fmla="*/ 457099 h 1073413"/>
                <a:gd name="connsiteX1089" fmla="*/ 33471 w 985922"/>
                <a:gd name="connsiteY1089" fmla="*/ 458004 h 1073413"/>
                <a:gd name="connsiteX1090" fmla="*/ 33471 w 985922"/>
                <a:gd name="connsiteY1090" fmla="*/ 458779 h 1073413"/>
                <a:gd name="connsiteX1091" fmla="*/ 33730 w 985922"/>
                <a:gd name="connsiteY1091" fmla="*/ 460588 h 1073413"/>
                <a:gd name="connsiteX1092" fmla="*/ 34764 w 985922"/>
                <a:gd name="connsiteY1092" fmla="*/ 462527 h 1073413"/>
                <a:gd name="connsiteX1093" fmla="*/ 36185 w 985922"/>
                <a:gd name="connsiteY1093" fmla="*/ 464724 h 1073413"/>
                <a:gd name="connsiteX1094" fmla="*/ 37607 w 985922"/>
                <a:gd name="connsiteY1094" fmla="*/ 466533 h 1073413"/>
                <a:gd name="connsiteX1095" fmla="*/ 50401 w 985922"/>
                <a:gd name="connsiteY1095" fmla="*/ 475709 h 1073413"/>
                <a:gd name="connsiteX1096" fmla="*/ 52210 w 985922"/>
                <a:gd name="connsiteY1096" fmla="*/ 477647 h 1073413"/>
                <a:gd name="connsiteX1097" fmla="*/ 52727 w 985922"/>
                <a:gd name="connsiteY1097" fmla="*/ 478552 h 1073413"/>
                <a:gd name="connsiteX1098" fmla="*/ 52986 w 985922"/>
                <a:gd name="connsiteY1098" fmla="*/ 479069 h 1073413"/>
                <a:gd name="connsiteX1099" fmla="*/ 53115 w 985922"/>
                <a:gd name="connsiteY1099" fmla="*/ 479585 h 1073413"/>
                <a:gd name="connsiteX1100" fmla="*/ 52986 w 985922"/>
                <a:gd name="connsiteY1100" fmla="*/ 480361 h 1073413"/>
                <a:gd name="connsiteX1101" fmla="*/ 52727 w 985922"/>
                <a:gd name="connsiteY1101" fmla="*/ 481136 h 1073413"/>
                <a:gd name="connsiteX1102" fmla="*/ 51952 w 985922"/>
                <a:gd name="connsiteY1102" fmla="*/ 482170 h 1073413"/>
                <a:gd name="connsiteX1103" fmla="*/ 51306 w 985922"/>
                <a:gd name="connsiteY1103" fmla="*/ 482687 h 1073413"/>
                <a:gd name="connsiteX1104" fmla="*/ 50660 w 985922"/>
                <a:gd name="connsiteY1104" fmla="*/ 483075 h 1073413"/>
                <a:gd name="connsiteX1105" fmla="*/ 49626 w 985922"/>
                <a:gd name="connsiteY1105" fmla="*/ 483463 h 1073413"/>
                <a:gd name="connsiteX1106" fmla="*/ 43422 w 985922"/>
                <a:gd name="connsiteY1106" fmla="*/ 487727 h 1073413"/>
                <a:gd name="connsiteX1107" fmla="*/ 43035 w 985922"/>
                <a:gd name="connsiteY1107" fmla="*/ 488115 h 1073413"/>
                <a:gd name="connsiteX1108" fmla="*/ 42776 w 985922"/>
                <a:gd name="connsiteY1108" fmla="*/ 488632 h 1073413"/>
                <a:gd name="connsiteX1109" fmla="*/ 42259 w 985922"/>
                <a:gd name="connsiteY1109" fmla="*/ 489795 h 1073413"/>
                <a:gd name="connsiteX1110" fmla="*/ 40321 w 985922"/>
                <a:gd name="connsiteY1110" fmla="*/ 501943 h 1073413"/>
                <a:gd name="connsiteX1111" fmla="*/ 40192 w 985922"/>
                <a:gd name="connsiteY1111" fmla="*/ 505562 h 1073413"/>
                <a:gd name="connsiteX1112" fmla="*/ 40321 w 985922"/>
                <a:gd name="connsiteY1112" fmla="*/ 507500 h 1073413"/>
                <a:gd name="connsiteX1113" fmla="*/ 40708 w 985922"/>
                <a:gd name="connsiteY1113" fmla="*/ 508017 h 1073413"/>
                <a:gd name="connsiteX1114" fmla="*/ 43164 w 985922"/>
                <a:gd name="connsiteY1114" fmla="*/ 509439 h 1073413"/>
                <a:gd name="connsiteX1115" fmla="*/ 50660 w 985922"/>
                <a:gd name="connsiteY1115" fmla="*/ 512023 h 1073413"/>
                <a:gd name="connsiteX1116" fmla="*/ 51047 w 985922"/>
                <a:gd name="connsiteY1116" fmla="*/ 512411 h 1073413"/>
                <a:gd name="connsiteX1117" fmla="*/ 51306 w 985922"/>
                <a:gd name="connsiteY1117" fmla="*/ 512928 h 1073413"/>
                <a:gd name="connsiteX1118" fmla="*/ 51564 w 985922"/>
                <a:gd name="connsiteY1118" fmla="*/ 513445 h 1073413"/>
                <a:gd name="connsiteX1119" fmla="*/ 51693 w 985922"/>
                <a:gd name="connsiteY1119" fmla="*/ 514091 h 1073413"/>
                <a:gd name="connsiteX1120" fmla="*/ 51693 w 985922"/>
                <a:gd name="connsiteY1120" fmla="*/ 516805 h 1073413"/>
                <a:gd name="connsiteX1121" fmla="*/ 51435 w 985922"/>
                <a:gd name="connsiteY1121" fmla="*/ 518356 h 1073413"/>
                <a:gd name="connsiteX1122" fmla="*/ 50918 w 985922"/>
                <a:gd name="connsiteY1122" fmla="*/ 520294 h 1073413"/>
                <a:gd name="connsiteX1123" fmla="*/ 50660 w 985922"/>
                <a:gd name="connsiteY1123" fmla="*/ 520940 h 1073413"/>
                <a:gd name="connsiteX1124" fmla="*/ 50013 w 985922"/>
                <a:gd name="connsiteY1124" fmla="*/ 521716 h 1073413"/>
                <a:gd name="connsiteX1125" fmla="*/ 49109 w 985922"/>
                <a:gd name="connsiteY1125" fmla="*/ 522620 h 1073413"/>
                <a:gd name="connsiteX1126" fmla="*/ 45878 w 985922"/>
                <a:gd name="connsiteY1126" fmla="*/ 525205 h 1073413"/>
                <a:gd name="connsiteX1127" fmla="*/ 43681 w 985922"/>
                <a:gd name="connsiteY1127" fmla="*/ 526626 h 1073413"/>
                <a:gd name="connsiteX1128" fmla="*/ 39675 w 985922"/>
                <a:gd name="connsiteY1128" fmla="*/ 528565 h 1073413"/>
                <a:gd name="connsiteX1129" fmla="*/ 38641 w 985922"/>
                <a:gd name="connsiteY1129" fmla="*/ 530116 h 1073413"/>
                <a:gd name="connsiteX1130" fmla="*/ 36702 w 985922"/>
                <a:gd name="connsiteY1130" fmla="*/ 535156 h 1073413"/>
                <a:gd name="connsiteX1131" fmla="*/ 34634 w 985922"/>
                <a:gd name="connsiteY1131" fmla="*/ 543427 h 1073413"/>
                <a:gd name="connsiteX1132" fmla="*/ 32567 w 985922"/>
                <a:gd name="connsiteY1132" fmla="*/ 548984 h 1073413"/>
                <a:gd name="connsiteX1133" fmla="*/ 31274 w 985922"/>
                <a:gd name="connsiteY1133" fmla="*/ 553895 h 1073413"/>
                <a:gd name="connsiteX1134" fmla="*/ 30628 w 985922"/>
                <a:gd name="connsiteY1134" fmla="*/ 555446 h 1073413"/>
                <a:gd name="connsiteX1135" fmla="*/ 30499 w 985922"/>
                <a:gd name="connsiteY1135" fmla="*/ 556092 h 1073413"/>
                <a:gd name="connsiteX1136" fmla="*/ 30241 w 985922"/>
                <a:gd name="connsiteY1136" fmla="*/ 566301 h 1073413"/>
                <a:gd name="connsiteX1137" fmla="*/ 31921 w 985922"/>
                <a:gd name="connsiteY1137" fmla="*/ 579225 h 1073413"/>
                <a:gd name="connsiteX1138" fmla="*/ 35798 w 985922"/>
                <a:gd name="connsiteY1138" fmla="*/ 593440 h 1073413"/>
                <a:gd name="connsiteX1139" fmla="*/ 40838 w 985922"/>
                <a:gd name="connsiteY1139" fmla="*/ 600548 h 1073413"/>
                <a:gd name="connsiteX1140" fmla="*/ 41484 w 985922"/>
                <a:gd name="connsiteY1140" fmla="*/ 601711 h 1073413"/>
                <a:gd name="connsiteX1141" fmla="*/ 46007 w 985922"/>
                <a:gd name="connsiteY1141" fmla="*/ 613859 h 1073413"/>
                <a:gd name="connsiteX1142" fmla="*/ 46266 w 985922"/>
                <a:gd name="connsiteY1142" fmla="*/ 614376 h 1073413"/>
                <a:gd name="connsiteX1143" fmla="*/ 46653 w 985922"/>
                <a:gd name="connsiteY1143" fmla="*/ 614893 h 1073413"/>
                <a:gd name="connsiteX1144" fmla="*/ 47041 w 985922"/>
                <a:gd name="connsiteY1144" fmla="*/ 615281 h 1073413"/>
                <a:gd name="connsiteX1145" fmla="*/ 52727 w 985922"/>
                <a:gd name="connsiteY1145" fmla="*/ 618382 h 1073413"/>
                <a:gd name="connsiteX1146" fmla="*/ 53503 w 985922"/>
                <a:gd name="connsiteY1146" fmla="*/ 619029 h 1073413"/>
                <a:gd name="connsiteX1147" fmla="*/ 55700 w 985922"/>
                <a:gd name="connsiteY1147" fmla="*/ 621355 h 1073413"/>
                <a:gd name="connsiteX1148" fmla="*/ 58672 w 985922"/>
                <a:gd name="connsiteY1148" fmla="*/ 626653 h 1073413"/>
                <a:gd name="connsiteX1149" fmla="*/ 59060 w 985922"/>
                <a:gd name="connsiteY1149" fmla="*/ 627041 h 1073413"/>
                <a:gd name="connsiteX1150" fmla="*/ 59447 w 985922"/>
                <a:gd name="connsiteY1150" fmla="*/ 627300 h 1073413"/>
                <a:gd name="connsiteX1151" fmla="*/ 63971 w 985922"/>
                <a:gd name="connsiteY1151" fmla="*/ 629755 h 1073413"/>
                <a:gd name="connsiteX1152" fmla="*/ 66814 w 985922"/>
                <a:gd name="connsiteY1152" fmla="*/ 630789 h 1073413"/>
                <a:gd name="connsiteX1153" fmla="*/ 67331 w 985922"/>
                <a:gd name="connsiteY1153" fmla="*/ 631047 h 1073413"/>
                <a:gd name="connsiteX1154" fmla="*/ 67718 w 985922"/>
                <a:gd name="connsiteY1154" fmla="*/ 631435 h 1073413"/>
                <a:gd name="connsiteX1155" fmla="*/ 68106 w 985922"/>
                <a:gd name="connsiteY1155" fmla="*/ 631823 h 1073413"/>
                <a:gd name="connsiteX1156" fmla="*/ 68364 w 985922"/>
                <a:gd name="connsiteY1156" fmla="*/ 632340 h 1073413"/>
                <a:gd name="connsiteX1157" fmla="*/ 68494 w 985922"/>
                <a:gd name="connsiteY1157" fmla="*/ 633244 h 1073413"/>
                <a:gd name="connsiteX1158" fmla="*/ 68364 w 985922"/>
                <a:gd name="connsiteY1158" fmla="*/ 634537 h 1073413"/>
                <a:gd name="connsiteX1159" fmla="*/ 66814 w 985922"/>
                <a:gd name="connsiteY1159" fmla="*/ 639577 h 1073413"/>
                <a:gd name="connsiteX1160" fmla="*/ 63971 w 985922"/>
                <a:gd name="connsiteY1160" fmla="*/ 645004 h 1073413"/>
                <a:gd name="connsiteX1161" fmla="*/ 63712 w 985922"/>
                <a:gd name="connsiteY1161" fmla="*/ 645909 h 1073413"/>
                <a:gd name="connsiteX1162" fmla="*/ 63583 w 985922"/>
                <a:gd name="connsiteY1162" fmla="*/ 647201 h 1073413"/>
                <a:gd name="connsiteX1163" fmla="*/ 63583 w 985922"/>
                <a:gd name="connsiteY1163" fmla="*/ 649915 h 1073413"/>
                <a:gd name="connsiteX1164" fmla="*/ 63841 w 985922"/>
                <a:gd name="connsiteY1164" fmla="*/ 652241 h 1073413"/>
                <a:gd name="connsiteX1165" fmla="*/ 64488 w 985922"/>
                <a:gd name="connsiteY1165" fmla="*/ 654568 h 1073413"/>
                <a:gd name="connsiteX1166" fmla="*/ 64746 w 985922"/>
                <a:gd name="connsiteY1166" fmla="*/ 655085 h 1073413"/>
                <a:gd name="connsiteX1167" fmla="*/ 65780 w 985922"/>
                <a:gd name="connsiteY1167" fmla="*/ 657023 h 1073413"/>
                <a:gd name="connsiteX1168" fmla="*/ 67848 w 985922"/>
                <a:gd name="connsiteY1168" fmla="*/ 661546 h 1073413"/>
                <a:gd name="connsiteX1169" fmla="*/ 68235 w 985922"/>
                <a:gd name="connsiteY1169" fmla="*/ 664002 h 1073413"/>
                <a:gd name="connsiteX1170" fmla="*/ 68881 w 985922"/>
                <a:gd name="connsiteY1170" fmla="*/ 666328 h 1073413"/>
                <a:gd name="connsiteX1171" fmla="*/ 69269 w 985922"/>
                <a:gd name="connsiteY1171" fmla="*/ 669430 h 1073413"/>
                <a:gd name="connsiteX1172" fmla="*/ 69011 w 985922"/>
                <a:gd name="connsiteY1172" fmla="*/ 671368 h 1073413"/>
                <a:gd name="connsiteX1173" fmla="*/ 68494 w 985922"/>
                <a:gd name="connsiteY1173" fmla="*/ 673048 h 1073413"/>
                <a:gd name="connsiteX1174" fmla="*/ 67977 w 985922"/>
                <a:gd name="connsiteY1174" fmla="*/ 674340 h 1073413"/>
                <a:gd name="connsiteX1175" fmla="*/ 67201 w 985922"/>
                <a:gd name="connsiteY1175" fmla="*/ 675504 h 1073413"/>
                <a:gd name="connsiteX1176" fmla="*/ 64746 w 985922"/>
                <a:gd name="connsiteY1176" fmla="*/ 677959 h 1073413"/>
                <a:gd name="connsiteX1177" fmla="*/ 62808 w 985922"/>
                <a:gd name="connsiteY1177" fmla="*/ 680414 h 1073413"/>
                <a:gd name="connsiteX1178" fmla="*/ 57380 w 985922"/>
                <a:gd name="connsiteY1178" fmla="*/ 688815 h 1073413"/>
                <a:gd name="connsiteX1179" fmla="*/ 57509 w 985922"/>
                <a:gd name="connsiteY1179" fmla="*/ 689978 h 1073413"/>
                <a:gd name="connsiteX1180" fmla="*/ 57767 w 985922"/>
                <a:gd name="connsiteY1180" fmla="*/ 691012 h 1073413"/>
                <a:gd name="connsiteX1181" fmla="*/ 58930 w 985922"/>
                <a:gd name="connsiteY1181" fmla="*/ 693596 h 1073413"/>
                <a:gd name="connsiteX1182" fmla="*/ 59060 w 985922"/>
                <a:gd name="connsiteY1182" fmla="*/ 694242 h 1073413"/>
                <a:gd name="connsiteX1183" fmla="*/ 59189 w 985922"/>
                <a:gd name="connsiteY1183" fmla="*/ 696439 h 1073413"/>
                <a:gd name="connsiteX1184" fmla="*/ 59318 w 985922"/>
                <a:gd name="connsiteY1184" fmla="*/ 696956 h 1073413"/>
                <a:gd name="connsiteX1185" fmla="*/ 59577 w 985922"/>
                <a:gd name="connsiteY1185" fmla="*/ 697473 h 1073413"/>
                <a:gd name="connsiteX1186" fmla="*/ 62290 w 985922"/>
                <a:gd name="connsiteY1186" fmla="*/ 701479 h 1073413"/>
                <a:gd name="connsiteX1187" fmla="*/ 62420 w 985922"/>
                <a:gd name="connsiteY1187" fmla="*/ 701996 h 1073413"/>
                <a:gd name="connsiteX1188" fmla="*/ 62549 w 985922"/>
                <a:gd name="connsiteY1188" fmla="*/ 702513 h 1073413"/>
                <a:gd name="connsiteX1189" fmla="*/ 62549 w 985922"/>
                <a:gd name="connsiteY1189" fmla="*/ 703030 h 1073413"/>
                <a:gd name="connsiteX1190" fmla="*/ 62420 w 985922"/>
                <a:gd name="connsiteY1190" fmla="*/ 703289 h 1073413"/>
                <a:gd name="connsiteX1191" fmla="*/ 62161 w 985922"/>
                <a:gd name="connsiteY1191" fmla="*/ 703677 h 1073413"/>
                <a:gd name="connsiteX1192" fmla="*/ 60869 w 985922"/>
                <a:gd name="connsiteY1192" fmla="*/ 705356 h 1073413"/>
                <a:gd name="connsiteX1193" fmla="*/ 60223 w 985922"/>
                <a:gd name="connsiteY1193" fmla="*/ 706261 h 1073413"/>
                <a:gd name="connsiteX1194" fmla="*/ 58414 w 985922"/>
                <a:gd name="connsiteY1194" fmla="*/ 710655 h 1073413"/>
                <a:gd name="connsiteX1195" fmla="*/ 57638 w 985922"/>
                <a:gd name="connsiteY1195" fmla="*/ 714532 h 1073413"/>
                <a:gd name="connsiteX1196" fmla="*/ 55700 w 985922"/>
                <a:gd name="connsiteY1196" fmla="*/ 719443 h 1073413"/>
                <a:gd name="connsiteX1197" fmla="*/ 53503 w 985922"/>
                <a:gd name="connsiteY1197" fmla="*/ 723449 h 1073413"/>
                <a:gd name="connsiteX1198" fmla="*/ 52210 w 985922"/>
                <a:gd name="connsiteY1198" fmla="*/ 725129 h 1073413"/>
                <a:gd name="connsiteX1199" fmla="*/ 51952 w 985922"/>
                <a:gd name="connsiteY1199" fmla="*/ 725646 h 1073413"/>
                <a:gd name="connsiteX1200" fmla="*/ 51047 w 985922"/>
                <a:gd name="connsiteY1200" fmla="*/ 727714 h 1073413"/>
                <a:gd name="connsiteX1201" fmla="*/ 50918 w 985922"/>
                <a:gd name="connsiteY1201" fmla="*/ 728231 h 1073413"/>
                <a:gd name="connsiteX1202" fmla="*/ 50918 w 985922"/>
                <a:gd name="connsiteY1202" fmla="*/ 728877 h 1073413"/>
                <a:gd name="connsiteX1203" fmla="*/ 51047 w 985922"/>
                <a:gd name="connsiteY1203" fmla="*/ 729523 h 1073413"/>
                <a:gd name="connsiteX1204" fmla="*/ 51435 w 985922"/>
                <a:gd name="connsiteY1204" fmla="*/ 730040 h 1073413"/>
                <a:gd name="connsiteX1205" fmla="*/ 52081 w 985922"/>
                <a:gd name="connsiteY1205" fmla="*/ 730557 h 1073413"/>
                <a:gd name="connsiteX1206" fmla="*/ 52856 w 985922"/>
                <a:gd name="connsiteY1206" fmla="*/ 730428 h 1073413"/>
                <a:gd name="connsiteX1207" fmla="*/ 53761 w 985922"/>
                <a:gd name="connsiteY1207" fmla="*/ 729911 h 1073413"/>
                <a:gd name="connsiteX1208" fmla="*/ 55053 w 985922"/>
                <a:gd name="connsiteY1208" fmla="*/ 728231 h 1073413"/>
                <a:gd name="connsiteX1209" fmla="*/ 55829 w 985922"/>
                <a:gd name="connsiteY1209" fmla="*/ 727585 h 1073413"/>
                <a:gd name="connsiteX1210" fmla="*/ 56475 w 985922"/>
                <a:gd name="connsiteY1210" fmla="*/ 727068 h 1073413"/>
                <a:gd name="connsiteX1211" fmla="*/ 61903 w 985922"/>
                <a:gd name="connsiteY1211" fmla="*/ 724871 h 1073413"/>
                <a:gd name="connsiteX1212" fmla="*/ 62678 w 985922"/>
                <a:gd name="connsiteY1212" fmla="*/ 724483 h 1073413"/>
                <a:gd name="connsiteX1213" fmla="*/ 63195 w 985922"/>
                <a:gd name="connsiteY1213" fmla="*/ 724095 h 1073413"/>
                <a:gd name="connsiteX1214" fmla="*/ 63583 w 985922"/>
                <a:gd name="connsiteY1214" fmla="*/ 723708 h 1073413"/>
                <a:gd name="connsiteX1215" fmla="*/ 64746 w 985922"/>
                <a:gd name="connsiteY1215" fmla="*/ 721898 h 1073413"/>
                <a:gd name="connsiteX1216" fmla="*/ 65134 w 985922"/>
                <a:gd name="connsiteY1216" fmla="*/ 721511 h 1073413"/>
                <a:gd name="connsiteX1217" fmla="*/ 65780 w 985922"/>
                <a:gd name="connsiteY1217" fmla="*/ 720606 h 1073413"/>
                <a:gd name="connsiteX1218" fmla="*/ 66814 w 985922"/>
                <a:gd name="connsiteY1218" fmla="*/ 718538 h 1073413"/>
                <a:gd name="connsiteX1219" fmla="*/ 67460 w 985922"/>
                <a:gd name="connsiteY1219" fmla="*/ 717634 h 1073413"/>
                <a:gd name="connsiteX1220" fmla="*/ 67848 w 985922"/>
                <a:gd name="connsiteY1220" fmla="*/ 717246 h 1073413"/>
                <a:gd name="connsiteX1221" fmla="*/ 68752 w 985922"/>
                <a:gd name="connsiteY1221" fmla="*/ 716988 h 1073413"/>
                <a:gd name="connsiteX1222" fmla="*/ 70045 w 985922"/>
                <a:gd name="connsiteY1222" fmla="*/ 716988 h 1073413"/>
                <a:gd name="connsiteX1223" fmla="*/ 75860 w 985922"/>
                <a:gd name="connsiteY1223" fmla="*/ 717763 h 1073413"/>
                <a:gd name="connsiteX1224" fmla="*/ 77152 w 985922"/>
                <a:gd name="connsiteY1224" fmla="*/ 718151 h 1073413"/>
                <a:gd name="connsiteX1225" fmla="*/ 85036 w 985922"/>
                <a:gd name="connsiteY1225" fmla="*/ 719314 h 1073413"/>
                <a:gd name="connsiteX1226" fmla="*/ 86328 w 985922"/>
                <a:gd name="connsiteY1226" fmla="*/ 719185 h 1073413"/>
                <a:gd name="connsiteX1227" fmla="*/ 86974 w 985922"/>
                <a:gd name="connsiteY1227" fmla="*/ 719055 h 1073413"/>
                <a:gd name="connsiteX1228" fmla="*/ 90463 w 985922"/>
                <a:gd name="connsiteY1228" fmla="*/ 716858 h 1073413"/>
                <a:gd name="connsiteX1229" fmla="*/ 94211 w 985922"/>
                <a:gd name="connsiteY1229" fmla="*/ 713498 h 1073413"/>
                <a:gd name="connsiteX1230" fmla="*/ 95374 w 985922"/>
                <a:gd name="connsiteY1230" fmla="*/ 711947 h 1073413"/>
                <a:gd name="connsiteX1231" fmla="*/ 96020 w 985922"/>
                <a:gd name="connsiteY1231" fmla="*/ 709492 h 1073413"/>
                <a:gd name="connsiteX1232" fmla="*/ 96408 w 985922"/>
                <a:gd name="connsiteY1232" fmla="*/ 708329 h 1073413"/>
                <a:gd name="connsiteX1233" fmla="*/ 96796 w 985922"/>
                <a:gd name="connsiteY1233" fmla="*/ 707812 h 1073413"/>
                <a:gd name="connsiteX1234" fmla="*/ 98605 w 985922"/>
                <a:gd name="connsiteY1234" fmla="*/ 706520 h 1073413"/>
                <a:gd name="connsiteX1235" fmla="*/ 100027 w 985922"/>
                <a:gd name="connsiteY1235" fmla="*/ 705744 h 1073413"/>
                <a:gd name="connsiteX1236" fmla="*/ 102094 w 985922"/>
                <a:gd name="connsiteY1236" fmla="*/ 703806 h 1073413"/>
                <a:gd name="connsiteX1237" fmla="*/ 102482 w 985922"/>
                <a:gd name="connsiteY1237" fmla="*/ 703289 h 1073413"/>
                <a:gd name="connsiteX1238" fmla="*/ 102611 w 985922"/>
                <a:gd name="connsiteY1238" fmla="*/ 703160 h 1073413"/>
                <a:gd name="connsiteX1239" fmla="*/ 103128 w 985922"/>
                <a:gd name="connsiteY1239" fmla="*/ 701996 h 1073413"/>
                <a:gd name="connsiteX1240" fmla="*/ 103516 w 985922"/>
                <a:gd name="connsiteY1240" fmla="*/ 701479 h 1073413"/>
                <a:gd name="connsiteX1241" fmla="*/ 104679 w 985922"/>
                <a:gd name="connsiteY1241" fmla="*/ 700187 h 1073413"/>
                <a:gd name="connsiteX1242" fmla="*/ 105455 w 985922"/>
                <a:gd name="connsiteY1242" fmla="*/ 699153 h 1073413"/>
                <a:gd name="connsiteX1243" fmla="*/ 106489 w 985922"/>
                <a:gd name="connsiteY1243" fmla="*/ 697990 h 1073413"/>
                <a:gd name="connsiteX1244" fmla="*/ 106747 w 985922"/>
                <a:gd name="connsiteY1244" fmla="*/ 697473 h 1073413"/>
                <a:gd name="connsiteX1245" fmla="*/ 106876 w 985922"/>
                <a:gd name="connsiteY1245" fmla="*/ 696956 h 1073413"/>
                <a:gd name="connsiteX1246" fmla="*/ 107135 w 985922"/>
                <a:gd name="connsiteY1246" fmla="*/ 696439 h 1073413"/>
                <a:gd name="connsiteX1247" fmla="*/ 107652 w 985922"/>
                <a:gd name="connsiteY1247" fmla="*/ 696052 h 1073413"/>
                <a:gd name="connsiteX1248" fmla="*/ 110236 w 985922"/>
                <a:gd name="connsiteY1248" fmla="*/ 695922 h 1073413"/>
                <a:gd name="connsiteX1249" fmla="*/ 110882 w 985922"/>
                <a:gd name="connsiteY1249" fmla="*/ 696052 h 1073413"/>
                <a:gd name="connsiteX1250" fmla="*/ 111529 w 985922"/>
                <a:gd name="connsiteY1250" fmla="*/ 696181 h 1073413"/>
                <a:gd name="connsiteX1251" fmla="*/ 112045 w 985922"/>
                <a:gd name="connsiteY1251" fmla="*/ 696439 h 1073413"/>
                <a:gd name="connsiteX1252" fmla="*/ 113338 w 985922"/>
                <a:gd name="connsiteY1252" fmla="*/ 697086 h 1073413"/>
                <a:gd name="connsiteX1253" fmla="*/ 113726 w 985922"/>
                <a:gd name="connsiteY1253" fmla="*/ 697215 h 1073413"/>
                <a:gd name="connsiteX1254" fmla="*/ 114242 w 985922"/>
                <a:gd name="connsiteY1254" fmla="*/ 697215 h 1073413"/>
                <a:gd name="connsiteX1255" fmla="*/ 117344 w 985922"/>
                <a:gd name="connsiteY1255" fmla="*/ 696698 h 1073413"/>
                <a:gd name="connsiteX1256" fmla="*/ 119412 w 985922"/>
                <a:gd name="connsiteY1256" fmla="*/ 695922 h 1073413"/>
                <a:gd name="connsiteX1257" fmla="*/ 123289 w 985922"/>
                <a:gd name="connsiteY1257" fmla="*/ 693596 h 1073413"/>
                <a:gd name="connsiteX1258" fmla="*/ 126261 w 985922"/>
                <a:gd name="connsiteY1258" fmla="*/ 691141 h 1073413"/>
                <a:gd name="connsiteX1259" fmla="*/ 127941 w 985922"/>
                <a:gd name="connsiteY1259" fmla="*/ 689332 h 1073413"/>
                <a:gd name="connsiteX1260" fmla="*/ 128458 w 985922"/>
                <a:gd name="connsiteY1260" fmla="*/ 688944 h 1073413"/>
                <a:gd name="connsiteX1261" fmla="*/ 129104 w 985922"/>
                <a:gd name="connsiteY1261" fmla="*/ 688556 h 1073413"/>
                <a:gd name="connsiteX1262" fmla="*/ 131043 w 985922"/>
                <a:gd name="connsiteY1262" fmla="*/ 688039 h 1073413"/>
                <a:gd name="connsiteX1263" fmla="*/ 131818 w 985922"/>
                <a:gd name="connsiteY1263" fmla="*/ 687781 h 1073413"/>
                <a:gd name="connsiteX1264" fmla="*/ 132464 w 985922"/>
                <a:gd name="connsiteY1264" fmla="*/ 687393 h 1073413"/>
                <a:gd name="connsiteX1265" fmla="*/ 133498 w 985922"/>
                <a:gd name="connsiteY1265" fmla="*/ 685842 h 1073413"/>
                <a:gd name="connsiteX1266" fmla="*/ 134015 w 985922"/>
                <a:gd name="connsiteY1266" fmla="*/ 685196 h 1073413"/>
                <a:gd name="connsiteX1267" fmla="*/ 134790 w 985922"/>
                <a:gd name="connsiteY1267" fmla="*/ 684550 h 1073413"/>
                <a:gd name="connsiteX1268" fmla="*/ 135695 w 985922"/>
                <a:gd name="connsiteY1268" fmla="*/ 683516 h 1073413"/>
                <a:gd name="connsiteX1269" fmla="*/ 135954 w 985922"/>
                <a:gd name="connsiteY1269" fmla="*/ 682999 h 1073413"/>
                <a:gd name="connsiteX1270" fmla="*/ 136600 w 985922"/>
                <a:gd name="connsiteY1270" fmla="*/ 681448 h 1073413"/>
                <a:gd name="connsiteX1271" fmla="*/ 136987 w 985922"/>
                <a:gd name="connsiteY1271" fmla="*/ 680931 h 1073413"/>
                <a:gd name="connsiteX1272" fmla="*/ 140864 w 985922"/>
                <a:gd name="connsiteY1272" fmla="*/ 677442 h 1073413"/>
                <a:gd name="connsiteX1273" fmla="*/ 141252 w 985922"/>
                <a:gd name="connsiteY1273" fmla="*/ 677054 h 1073413"/>
                <a:gd name="connsiteX1274" fmla="*/ 141511 w 985922"/>
                <a:gd name="connsiteY1274" fmla="*/ 676537 h 1073413"/>
                <a:gd name="connsiteX1275" fmla="*/ 142028 w 985922"/>
                <a:gd name="connsiteY1275" fmla="*/ 675504 h 1073413"/>
                <a:gd name="connsiteX1276" fmla="*/ 142286 w 985922"/>
                <a:gd name="connsiteY1276" fmla="*/ 674987 h 1073413"/>
                <a:gd name="connsiteX1277" fmla="*/ 142674 w 985922"/>
                <a:gd name="connsiteY1277" fmla="*/ 674599 h 1073413"/>
                <a:gd name="connsiteX1278" fmla="*/ 143320 w 985922"/>
                <a:gd name="connsiteY1278" fmla="*/ 674211 h 1073413"/>
                <a:gd name="connsiteX1279" fmla="*/ 144225 w 985922"/>
                <a:gd name="connsiteY1279" fmla="*/ 673823 h 1073413"/>
                <a:gd name="connsiteX1280" fmla="*/ 145517 w 985922"/>
                <a:gd name="connsiteY1280" fmla="*/ 673565 h 1073413"/>
                <a:gd name="connsiteX1281" fmla="*/ 147843 w 985922"/>
                <a:gd name="connsiteY1281" fmla="*/ 673694 h 1073413"/>
                <a:gd name="connsiteX1282" fmla="*/ 148360 w 985922"/>
                <a:gd name="connsiteY1282" fmla="*/ 673565 h 1073413"/>
                <a:gd name="connsiteX1283" fmla="*/ 150040 w 985922"/>
                <a:gd name="connsiteY1283" fmla="*/ 673048 h 1073413"/>
                <a:gd name="connsiteX1284" fmla="*/ 151203 w 985922"/>
                <a:gd name="connsiteY1284" fmla="*/ 672790 h 1073413"/>
                <a:gd name="connsiteX1285" fmla="*/ 151849 w 985922"/>
                <a:gd name="connsiteY1285" fmla="*/ 672919 h 1073413"/>
                <a:gd name="connsiteX1286" fmla="*/ 152366 w 985922"/>
                <a:gd name="connsiteY1286" fmla="*/ 673048 h 1073413"/>
                <a:gd name="connsiteX1287" fmla="*/ 153012 w 985922"/>
                <a:gd name="connsiteY1287" fmla="*/ 673177 h 1073413"/>
                <a:gd name="connsiteX1288" fmla="*/ 153659 w 985922"/>
                <a:gd name="connsiteY1288" fmla="*/ 673048 h 1073413"/>
                <a:gd name="connsiteX1289" fmla="*/ 155726 w 985922"/>
                <a:gd name="connsiteY1289" fmla="*/ 672402 h 1073413"/>
                <a:gd name="connsiteX1290" fmla="*/ 179376 w 985922"/>
                <a:gd name="connsiteY1290" fmla="*/ 659091 h 1073413"/>
                <a:gd name="connsiteX1291" fmla="*/ 181831 w 985922"/>
                <a:gd name="connsiteY1291" fmla="*/ 656894 h 1073413"/>
                <a:gd name="connsiteX1292" fmla="*/ 181961 w 985922"/>
                <a:gd name="connsiteY1292" fmla="*/ 656248 h 1073413"/>
                <a:gd name="connsiteX1293" fmla="*/ 181961 w 985922"/>
                <a:gd name="connsiteY1293" fmla="*/ 655214 h 1073413"/>
                <a:gd name="connsiteX1294" fmla="*/ 182219 w 985922"/>
                <a:gd name="connsiteY1294" fmla="*/ 654697 h 1073413"/>
                <a:gd name="connsiteX1295" fmla="*/ 183899 w 985922"/>
                <a:gd name="connsiteY1295" fmla="*/ 652241 h 1073413"/>
                <a:gd name="connsiteX1296" fmla="*/ 184158 w 985922"/>
                <a:gd name="connsiteY1296" fmla="*/ 651078 h 1073413"/>
                <a:gd name="connsiteX1297" fmla="*/ 184158 w 985922"/>
                <a:gd name="connsiteY1297" fmla="*/ 650691 h 1073413"/>
                <a:gd name="connsiteX1298" fmla="*/ 184416 w 985922"/>
                <a:gd name="connsiteY1298" fmla="*/ 650174 h 1073413"/>
                <a:gd name="connsiteX1299" fmla="*/ 185062 w 985922"/>
                <a:gd name="connsiteY1299" fmla="*/ 649786 h 1073413"/>
                <a:gd name="connsiteX1300" fmla="*/ 186355 w 985922"/>
                <a:gd name="connsiteY1300" fmla="*/ 649269 h 1073413"/>
                <a:gd name="connsiteX1301" fmla="*/ 187647 w 985922"/>
                <a:gd name="connsiteY1301" fmla="*/ 648623 h 1073413"/>
                <a:gd name="connsiteX1302" fmla="*/ 198373 w 985922"/>
                <a:gd name="connsiteY1302" fmla="*/ 641774 h 1073413"/>
                <a:gd name="connsiteX1303" fmla="*/ 200183 w 985922"/>
                <a:gd name="connsiteY1303" fmla="*/ 639964 h 1073413"/>
                <a:gd name="connsiteX1304" fmla="*/ 202121 w 985922"/>
                <a:gd name="connsiteY1304" fmla="*/ 638543 h 1073413"/>
                <a:gd name="connsiteX1305" fmla="*/ 202509 w 985922"/>
                <a:gd name="connsiteY1305" fmla="*/ 638026 h 1073413"/>
                <a:gd name="connsiteX1306" fmla="*/ 203155 w 985922"/>
                <a:gd name="connsiteY1306" fmla="*/ 637509 h 1073413"/>
                <a:gd name="connsiteX1307" fmla="*/ 203931 w 985922"/>
                <a:gd name="connsiteY1307" fmla="*/ 636992 h 1073413"/>
                <a:gd name="connsiteX1308" fmla="*/ 205611 w 985922"/>
                <a:gd name="connsiteY1308" fmla="*/ 636346 h 1073413"/>
                <a:gd name="connsiteX1309" fmla="*/ 208324 w 985922"/>
                <a:gd name="connsiteY1309" fmla="*/ 634407 h 1073413"/>
                <a:gd name="connsiteX1310" fmla="*/ 211426 w 985922"/>
                <a:gd name="connsiteY1310" fmla="*/ 632727 h 1073413"/>
                <a:gd name="connsiteX1311" fmla="*/ 212331 w 985922"/>
                <a:gd name="connsiteY1311" fmla="*/ 632081 h 1073413"/>
                <a:gd name="connsiteX1312" fmla="*/ 213752 w 985922"/>
                <a:gd name="connsiteY1312" fmla="*/ 631306 h 1073413"/>
                <a:gd name="connsiteX1313" fmla="*/ 223962 w 985922"/>
                <a:gd name="connsiteY1313" fmla="*/ 627946 h 1073413"/>
                <a:gd name="connsiteX1314" fmla="*/ 230553 w 985922"/>
                <a:gd name="connsiteY1314" fmla="*/ 624456 h 1073413"/>
                <a:gd name="connsiteX1315" fmla="*/ 234171 w 985922"/>
                <a:gd name="connsiteY1315" fmla="*/ 623552 h 1073413"/>
                <a:gd name="connsiteX1316" fmla="*/ 235464 w 985922"/>
                <a:gd name="connsiteY1316" fmla="*/ 623422 h 1073413"/>
                <a:gd name="connsiteX1317" fmla="*/ 236368 w 985922"/>
                <a:gd name="connsiteY1317" fmla="*/ 622906 h 1073413"/>
                <a:gd name="connsiteX1318" fmla="*/ 238307 w 985922"/>
                <a:gd name="connsiteY1318" fmla="*/ 621226 h 1073413"/>
                <a:gd name="connsiteX1319" fmla="*/ 239211 w 985922"/>
                <a:gd name="connsiteY1319" fmla="*/ 620579 h 1073413"/>
                <a:gd name="connsiteX1320" fmla="*/ 239728 w 985922"/>
                <a:gd name="connsiteY1320" fmla="*/ 620450 h 1073413"/>
                <a:gd name="connsiteX1321" fmla="*/ 240374 w 985922"/>
                <a:gd name="connsiteY1321" fmla="*/ 620579 h 1073413"/>
                <a:gd name="connsiteX1322" fmla="*/ 242313 w 985922"/>
                <a:gd name="connsiteY1322" fmla="*/ 621226 h 1073413"/>
                <a:gd name="connsiteX1323" fmla="*/ 243088 w 985922"/>
                <a:gd name="connsiteY1323" fmla="*/ 621226 h 1073413"/>
                <a:gd name="connsiteX1324" fmla="*/ 244251 w 985922"/>
                <a:gd name="connsiteY1324" fmla="*/ 620967 h 1073413"/>
                <a:gd name="connsiteX1325" fmla="*/ 244898 w 985922"/>
                <a:gd name="connsiteY1325" fmla="*/ 620967 h 1073413"/>
                <a:gd name="connsiteX1326" fmla="*/ 245673 w 985922"/>
                <a:gd name="connsiteY1326" fmla="*/ 621096 h 1073413"/>
                <a:gd name="connsiteX1327" fmla="*/ 247482 w 985922"/>
                <a:gd name="connsiteY1327" fmla="*/ 621742 h 1073413"/>
                <a:gd name="connsiteX1328" fmla="*/ 248128 w 985922"/>
                <a:gd name="connsiteY1328" fmla="*/ 621872 h 1073413"/>
                <a:gd name="connsiteX1329" fmla="*/ 248645 w 985922"/>
                <a:gd name="connsiteY1329" fmla="*/ 621742 h 1073413"/>
                <a:gd name="connsiteX1330" fmla="*/ 249033 w 985922"/>
                <a:gd name="connsiteY1330" fmla="*/ 621355 h 1073413"/>
                <a:gd name="connsiteX1331" fmla="*/ 249291 w 985922"/>
                <a:gd name="connsiteY1331" fmla="*/ 620838 h 1073413"/>
                <a:gd name="connsiteX1332" fmla="*/ 249679 w 985922"/>
                <a:gd name="connsiteY1332" fmla="*/ 620450 h 1073413"/>
                <a:gd name="connsiteX1333" fmla="*/ 250067 w 985922"/>
                <a:gd name="connsiteY1333" fmla="*/ 620321 h 1073413"/>
                <a:gd name="connsiteX1334" fmla="*/ 250455 w 985922"/>
                <a:gd name="connsiteY1334" fmla="*/ 620062 h 1073413"/>
                <a:gd name="connsiteX1335" fmla="*/ 250842 w 985922"/>
                <a:gd name="connsiteY1335" fmla="*/ 619933 h 1073413"/>
                <a:gd name="connsiteX1336" fmla="*/ 251359 w 985922"/>
                <a:gd name="connsiteY1336" fmla="*/ 620062 h 1073413"/>
                <a:gd name="connsiteX1337" fmla="*/ 252264 w 985922"/>
                <a:gd name="connsiteY1337" fmla="*/ 620967 h 1073413"/>
                <a:gd name="connsiteX1338" fmla="*/ 253298 w 985922"/>
                <a:gd name="connsiteY1338" fmla="*/ 621742 h 1073413"/>
                <a:gd name="connsiteX1339" fmla="*/ 255236 w 985922"/>
                <a:gd name="connsiteY1339" fmla="*/ 622906 h 1073413"/>
                <a:gd name="connsiteX1340" fmla="*/ 256270 w 985922"/>
                <a:gd name="connsiteY1340" fmla="*/ 623293 h 1073413"/>
                <a:gd name="connsiteX1341" fmla="*/ 257175 w 985922"/>
                <a:gd name="connsiteY1341" fmla="*/ 623422 h 1073413"/>
                <a:gd name="connsiteX1342" fmla="*/ 258338 w 985922"/>
                <a:gd name="connsiteY1342" fmla="*/ 623164 h 1073413"/>
                <a:gd name="connsiteX1343" fmla="*/ 258984 w 985922"/>
                <a:gd name="connsiteY1343" fmla="*/ 623293 h 1073413"/>
                <a:gd name="connsiteX1344" fmla="*/ 259630 w 985922"/>
                <a:gd name="connsiteY1344" fmla="*/ 623552 h 1073413"/>
                <a:gd name="connsiteX1345" fmla="*/ 260147 w 985922"/>
                <a:gd name="connsiteY1345" fmla="*/ 624069 h 1073413"/>
                <a:gd name="connsiteX1346" fmla="*/ 260923 w 985922"/>
                <a:gd name="connsiteY1346" fmla="*/ 624198 h 1073413"/>
                <a:gd name="connsiteX1347" fmla="*/ 261439 w 985922"/>
                <a:gd name="connsiteY1347" fmla="*/ 624069 h 1073413"/>
                <a:gd name="connsiteX1348" fmla="*/ 262344 w 985922"/>
                <a:gd name="connsiteY1348" fmla="*/ 623422 h 1073413"/>
                <a:gd name="connsiteX1349" fmla="*/ 262990 w 985922"/>
                <a:gd name="connsiteY1349" fmla="*/ 623293 h 1073413"/>
                <a:gd name="connsiteX1350" fmla="*/ 263766 w 985922"/>
                <a:gd name="connsiteY1350" fmla="*/ 623293 h 1073413"/>
                <a:gd name="connsiteX1351" fmla="*/ 264670 w 985922"/>
                <a:gd name="connsiteY1351" fmla="*/ 623422 h 1073413"/>
                <a:gd name="connsiteX1352" fmla="*/ 265833 w 985922"/>
                <a:gd name="connsiteY1352" fmla="*/ 623810 h 1073413"/>
                <a:gd name="connsiteX1353" fmla="*/ 266738 w 985922"/>
                <a:gd name="connsiteY1353" fmla="*/ 623939 h 1073413"/>
                <a:gd name="connsiteX1354" fmla="*/ 267772 w 985922"/>
                <a:gd name="connsiteY1354" fmla="*/ 624198 h 1073413"/>
                <a:gd name="connsiteX1355" fmla="*/ 269452 w 985922"/>
                <a:gd name="connsiteY1355" fmla="*/ 624844 h 1073413"/>
                <a:gd name="connsiteX1356" fmla="*/ 270486 w 985922"/>
                <a:gd name="connsiteY1356" fmla="*/ 625103 h 1073413"/>
                <a:gd name="connsiteX1357" fmla="*/ 271261 w 985922"/>
                <a:gd name="connsiteY1357" fmla="*/ 625103 h 1073413"/>
                <a:gd name="connsiteX1358" fmla="*/ 271778 w 985922"/>
                <a:gd name="connsiteY1358" fmla="*/ 624844 h 1073413"/>
                <a:gd name="connsiteX1359" fmla="*/ 273200 w 985922"/>
                <a:gd name="connsiteY1359" fmla="*/ 623939 h 1073413"/>
                <a:gd name="connsiteX1360" fmla="*/ 273587 w 985922"/>
                <a:gd name="connsiteY1360" fmla="*/ 623681 h 1073413"/>
                <a:gd name="connsiteX1361" fmla="*/ 274104 w 985922"/>
                <a:gd name="connsiteY1361" fmla="*/ 623552 h 1073413"/>
                <a:gd name="connsiteX1362" fmla="*/ 274621 w 985922"/>
                <a:gd name="connsiteY1362" fmla="*/ 623681 h 1073413"/>
                <a:gd name="connsiteX1363" fmla="*/ 275397 w 985922"/>
                <a:gd name="connsiteY1363" fmla="*/ 623939 h 1073413"/>
                <a:gd name="connsiteX1364" fmla="*/ 276818 w 985922"/>
                <a:gd name="connsiteY1364" fmla="*/ 624844 h 1073413"/>
                <a:gd name="connsiteX1365" fmla="*/ 279274 w 985922"/>
                <a:gd name="connsiteY1365" fmla="*/ 626782 h 1073413"/>
                <a:gd name="connsiteX1366" fmla="*/ 280049 w 985922"/>
                <a:gd name="connsiteY1366" fmla="*/ 627041 h 1073413"/>
                <a:gd name="connsiteX1367" fmla="*/ 282505 w 985922"/>
                <a:gd name="connsiteY1367" fmla="*/ 627170 h 1073413"/>
                <a:gd name="connsiteX1368" fmla="*/ 283280 w 985922"/>
                <a:gd name="connsiteY1368" fmla="*/ 627170 h 1073413"/>
                <a:gd name="connsiteX1369" fmla="*/ 284443 w 985922"/>
                <a:gd name="connsiteY1369" fmla="*/ 626912 h 1073413"/>
                <a:gd name="connsiteX1370" fmla="*/ 285089 w 985922"/>
                <a:gd name="connsiteY1370" fmla="*/ 626912 h 1073413"/>
                <a:gd name="connsiteX1371" fmla="*/ 285735 w 985922"/>
                <a:gd name="connsiteY1371" fmla="*/ 626912 h 1073413"/>
                <a:gd name="connsiteX1372" fmla="*/ 286382 w 985922"/>
                <a:gd name="connsiteY1372" fmla="*/ 627041 h 1073413"/>
                <a:gd name="connsiteX1373" fmla="*/ 287028 w 985922"/>
                <a:gd name="connsiteY1373" fmla="*/ 627300 h 1073413"/>
                <a:gd name="connsiteX1374" fmla="*/ 288966 w 985922"/>
                <a:gd name="connsiteY1374" fmla="*/ 628333 h 1073413"/>
                <a:gd name="connsiteX1375" fmla="*/ 289742 w 985922"/>
                <a:gd name="connsiteY1375" fmla="*/ 628592 h 1073413"/>
                <a:gd name="connsiteX1376" fmla="*/ 290388 w 985922"/>
                <a:gd name="connsiteY1376" fmla="*/ 628592 h 1073413"/>
                <a:gd name="connsiteX1377" fmla="*/ 290905 w 985922"/>
                <a:gd name="connsiteY1377" fmla="*/ 628463 h 1073413"/>
                <a:gd name="connsiteX1378" fmla="*/ 291551 w 985922"/>
                <a:gd name="connsiteY1378" fmla="*/ 628463 h 1073413"/>
                <a:gd name="connsiteX1379" fmla="*/ 292326 w 985922"/>
                <a:gd name="connsiteY1379" fmla="*/ 628721 h 1073413"/>
                <a:gd name="connsiteX1380" fmla="*/ 293231 w 985922"/>
                <a:gd name="connsiteY1380" fmla="*/ 629238 h 1073413"/>
                <a:gd name="connsiteX1381" fmla="*/ 294653 w 985922"/>
                <a:gd name="connsiteY1381" fmla="*/ 630401 h 1073413"/>
                <a:gd name="connsiteX1382" fmla="*/ 296332 w 985922"/>
                <a:gd name="connsiteY1382" fmla="*/ 631306 h 1073413"/>
                <a:gd name="connsiteX1383" fmla="*/ 296591 w 985922"/>
                <a:gd name="connsiteY1383" fmla="*/ 631693 h 1073413"/>
                <a:gd name="connsiteX1384" fmla="*/ 295040 w 985922"/>
                <a:gd name="connsiteY1384" fmla="*/ 634020 h 1073413"/>
                <a:gd name="connsiteX1385" fmla="*/ 293102 w 985922"/>
                <a:gd name="connsiteY1385" fmla="*/ 637121 h 1073413"/>
                <a:gd name="connsiteX1386" fmla="*/ 291551 w 985922"/>
                <a:gd name="connsiteY1386" fmla="*/ 640611 h 1073413"/>
                <a:gd name="connsiteX1387" fmla="*/ 290517 w 985922"/>
                <a:gd name="connsiteY1387" fmla="*/ 645263 h 1073413"/>
                <a:gd name="connsiteX1388" fmla="*/ 288449 w 985922"/>
                <a:gd name="connsiteY1388" fmla="*/ 648752 h 1073413"/>
                <a:gd name="connsiteX1389" fmla="*/ 287932 w 985922"/>
                <a:gd name="connsiteY1389" fmla="*/ 650432 h 1073413"/>
                <a:gd name="connsiteX1390" fmla="*/ 287803 w 985922"/>
                <a:gd name="connsiteY1390" fmla="*/ 651854 h 1073413"/>
                <a:gd name="connsiteX1391" fmla="*/ 286769 w 985922"/>
                <a:gd name="connsiteY1391" fmla="*/ 655602 h 1073413"/>
                <a:gd name="connsiteX1392" fmla="*/ 287157 w 985922"/>
                <a:gd name="connsiteY1392" fmla="*/ 656894 h 1073413"/>
                <a:gd name="connsiteX1393" fmla="*/ 287415 w 985922"/>
                <a:gd name="connsiteY1393" fmla="*/ 657540 h 1073413"/>
                <a:gd name="connsiteX1394" fmla="*/ 288320 w 985922"/>
                <a:gd name="connsiteY1394" fmla="*/ 659091 h 1073413"/>
                <a:gd name="connsiteX1395" fmla="*/ 288579 w 985922"/>
                <a:gd name="connsiteY1395" fmla="*/ 659737 h 1073413"/>
                <a:gd name="connsiteX1396" fmla="*/ 288708 w 985922"/>
                <a:gd name="connsiteY1396" fmla="*/ 660383 h 1073413"/>
                <a:gd name="connsiteX1397" fmla="*/ 288837 w 985922"/>
                <a:gd name="connsiteY1397" fmla="*/ 661676 h 1073413"/>
                <a:gd name="connsiteX1398" fmla="*/ 288837 w 985922"/>
                <a:gd name="connsiteY1398" fmla="*/ 662322 h 1073413"/>
                <a:gd name="connsiteX1399" fmla="*/ 288708 w 985922"/>
                <a:gd name="connsiteY1399" fmla="*/ 662968 h 1073413"/>
                <a:gd name="connsiteX1400" fmla="*/ 288449 w 985922"/>
                <a:gd name="connsiteY1400" fmla="*/ 663485 h 1073413"/>
                <a:gd name="connsiteX1401" fmla="*/ 288320 w 985922"/>
                <a:gd name="connsiteY1401" fmla="*/ 664002 h 1073413"/>
                <a:gd name="connsiteX1402" fmla="*/ 288320 w 985922"/>
                <a:gd name="connsiteY1402" fmla="*/ 664648 h 1073413"/>
                <a:gd name="connsiteX1403" fmla="*/ 288449 w 985922"/>
                <a:gd name="connsiteY1403" fmla="*/ 665294 h 1073413"/>
                <a:gd name="connsiteX1404" fmla="*/ 288708 w 985922"/>
                <a:gd name="connsiteY1404" fmla="*/ 666457 h 1073413"/>
                <a:gd name="connsiteX1405" fmla="*/ 288966 w 985922"/>
                <a:gd name="connsiteY1405" fmla="*/ 667103 h 1073413"/>
                <a:gd name="connsiteX1406" fmla="*/ 289354 w 985922"/>
                <a:gd name="connsiteY1406" fmla="*/ 667750 h 1073413"/>
                <a:gd name="connsiteX1407" fmla="*/ 290517 w 985922"/>
                <a:gd name="connsiteY1407" fmla="*/ 669042 h 1073413"/>
                <a:gd name="connsiteX1408" fmla="*/ 291034 w 985922"/>
                <a:gd name="connsiteY1408" fmla="*/ 669430 h 1073413"/>
                <a:gd name="connsiteX1409" fmla="*/ 291939 w 985922"/>
                <a:gd name="connsiteY1409" fmla="*/ 669947 h 1073413"/>
                <a:gd name="connsiteX1410" fmla="*/ 292972 w 985922"/>
                <a:gd name="connsiteY1410" fmla="*/ 670334 h 1073413"/>
                <a:gd name="connsiteX1411" fmla="*/ 302406 w 985922"/>
                <a:gd name="connsiteY1411" fmla="*/ 672273 h 1073413"/>
                <a:gd name="connsiteX1412" fmla="*/ 303311 w 985922"/>
                <a:gd name="connsiteY1412" fmla="*/ 672660 h 1073413"/>
                <a:gd name="connsiteX1413" fmla="*/ 304603 w 985922"/>
                <a:gd name="connsiteY1413" fmla="*/ 673565 h 1073413"/>
                <a:gd name="connsiteX1414" fmla="*/ 305379 w 985922"/>
                <a:gd name="connsiteY1414" fmla="*/ 674857 h 1073413"/>
                <a:gd name="connsiteX1415" fmla="*/ 305767 w 985922"/>
                <a:gd name="connsiteY1415" fmla="*/ 675116 h 1073413"/>
                <a:gd name="connsiteX1416" fmla="*/ 328641 w 985922"/>
                <a:gd name="connsiteY1416" fmla="*/ 680802 h 1073413"/>
                <a:gd name="connsiteX1417" fmla="*/ 333423 w 985922"/>
                <a:gd name="connsiteY1417" fmla="*/ 679639 h 1073413"/>
                <a:gd name="connsiteX1418" fmla="*/ 333939 w 985922"/>
                <a:gd name="connsiteY1418" fmla="*/ 679251 h 1073413"/>
                <a:gd name="connsiteX1419" fmla="*/ 334198 w 985922"/>
                <a:gd name="connsiteY1419" fmla="*/ 678864 h 1073413"/>
                <a:gd name="connsiteX1420" fmla="*/ 335102 w 985922"/>
                <a:gd name="connsiteY1420" fmla="*/ 677571 h 1073413"/>
                <a:gd name="connsiteX1421" fmla="*/ 335490 w 985922"/>
                <a:gd name="connsiteY1421" fmla="*/ 677184 h 1073413"/>
                <a:gd name="connsiteX1422" fmla="*/ 336266 w 985922"/>
                <a:gd name="connsiteY1422" fmla="*/ 676408 h 1073413"/>
                <a:gd name="connsiteX1423" fmla="*/ 337558 w 985922"/>
                <a:gd name="connsiteY1423" fmla="*/ 675374 h 1073413"/>
                <a:gd name="connsiteX1424" fmla="*/ 337946 w 985922"/>
                <a:gd name="connsiteY1424" fmla="*/ 674987 h 1073413"/>
                <a:gd name="connsiteX1425" fmla="*/ 338204 w 985922"/>
                <a:gd name="connsiteY1425" fmla="*/ 674599 h 1073413"/>
                <a:gd name="connsiteX1426" fmla="*/ 338463 w 985922"/>
                <a:gd name="connsiteY1426" fmla="*/ 674082 h 1073413"/>
                <a:gd name="connsiteX1427" fmla="*/ 338721 w 985922"/>
                <a:gd name="connsiteY1427" fmla="*/ 672790 h 1073413"/>
                <a:gd name="connsiteX1428" fmla="*/ 338980 w 985922"/>
                <a:gd name="connsiteY1428" fmla="*/ 672273 h 1073413"/>
                <a:gd name="connsiteX1429" fmla="*/ 339238 w 985922"/>
                <a:gd name="connsiteY1429" fmla="*/ 671885 h 1073413"/>
                <a:gd name="connsiteX1430" fmla="*/ 339626 w 985922"/>
                <a:gd name="connsiteY1430" fmla="*/ 671497 h 1073413"/>
                <a:gd name="connsiteX1431" fmla="*/ 340013 w 985922"/>
                <a:gd name="connsiteY1431" fmla="*/ 671110 h 1073413"/>
                <a:gd name="connsiteX1432" fmla="*/ 351127 w 985922"/>
                <a:gd name="connsiteY1432" fmla="*/ 665811 h 1073413"/>
                <a:gd name="connsiteX1433" fmla="*/ 354746 w 985922"/>
                <a:gd name="connsiteY1433" fmla="*/ 664907 h 1073413"/>
                <a:gd name="connsiteX1434" fmla="*/ 356814 w 985922"/>
                <a:gd name="connsiteY1434" fmla="*/ 664002 h 1073413"/>
                <a:gd name="connsiteX1435" fmla="*/ 357460 w 985922"/>
                <a:gd name="connsiteY1435" fmla="*/ 663873 h 1073413"/>
                <a:gd name="connsiteX1436" fmla="*/ 358752 w 985922"/>
                <a:gd name="connsiteY1436" fmla="*/ 663743 h 1073413"/>
                <a:gd name="connsiteX1437" fmla="*/ 362242 w 985922"/>
                <a:gd name="connsiteY1437" fmla="*/ 663614 h 1073413"/>
                <a:gd name="connsiteX1438" fmla="*/ 364180 w 985922"/>
                <a:gd name="connsiteY1438" fmla="*/ 663873 h 1073413"/>
                <a:gd name="connsiteX1439" fmla="*/ 367023 w 985922"/>
                <a:gd name="connsiteY1439" fmla="*/ 664777 h 1073413"/>
                <a:gd name="connsiteX1440" fmla="*/ 369608 w 985922"/>
                <a:gd name="connsiteY1440" fmla="*/ 665940 h 1073413"/>
                <a:gd name="connsiteX1441" fmla="*/ 374389 w 985922"/>
                <a:gd name="connsiteY1441" fmla="*/ 666845 h 1073413"/>
                <a:gd name="connsiteX1442" fmla="*/ 375036 w 985922"/>
                <a:gd name="connsiteY1442" fmla="*/ 666845 h 1073413"/>
                <a:gd name="connsiteX1443" fmla="*/ 376328 w 985922"/>
                <a:gd name="connsiteY1443" fmla="*/ 666716 h 1073413"/>
                <a:gd name="connsiteX1444" fmla="*/ 377620 w 985922"/>
                <a:gd name="connsiteY1444" fmla="*/ 666845 h 1073413"/>
                <a:gd name="connsiteX1445" fmla="*/ 382273 w 985922"/>
                <a:gd name="connsiteY1445" fmla="*/ 668654 h 1073413"/>
                <a:gd name="connsiteX1446" fmla="*/ 383178 w 985922"/>
                <a:gd name="connsiteY1446" fmla="*/ 668783 h 1073413"/>
                <a:gd name="connsiteX1447" fmla="*/ 385116 w 985922"/>
                <a:gd name="connsiteY1447" fmla="*/ 668525 h 1073413"/>
                <a:gd name="connsiteX1448" fmla="*/ 386408 w 985922"/>
                <a:gd name="connsiteY1448" fmla="*/ 668654 h 1073413"/>
                <a:gd name="connsiteX1449" fmla="*/ 387184 w 985922"/>
                <a:gd name="connsiteY1449" fmla="*/ 669042 h 1073413"/>
                <a:gd name="connsiteX1450" fmla="*/ 388088 w 985922"/>
                <a:gd name="connsiteY1450" fmla="*/ 669688 h 1073413"/>
                <a:gd name="connsiteX1451" fmla="*/ 389639 w 985922"/>
                <a:gd name="connsiteY1451" fmla="*/ 671110 h 1073413"/>
                <a:gd name="connsiteX1452" fmla="*/ 390415 w 985922"/>
                <a:gd name="connsiteY1452" fmla="*/ 671885 h 1073413"/>
                <a:gd name="connsiteX1453" fmla="*/ 390931 w 985922"/>
                <a:gd name="connsiteY1453" fmla="*/ 672531 h 1073413"/>
                <a:gd name="connsiteX1454" fmla="*/ 392224 w 985922"/>
                <a:gd name="connsiteY1454" fmla="*/ 675116 h 1073413"/>
                <a:gd name="connsiteX1455" fmla="*/ 392482 w 985922"/>
                <a:gd name="connsiteY1455" fmla="*/ 675633 h 1073413"/>
                <a:gd name="connsiteX1456" fmla="*/ 393258 w 985922"/>
                <a:gd name="connsiteY1456" fmla="*/ 676408 h 1073413"/>
                <a:gd name="connsiteX1457" fmla="*/ 401658 w 985922"/>
                <a:gd name="connsiteY1457" fmla="*/ 682482 h 1073413"/>
                <a:gd name="connsiteX1458" fmla="*/ 403596 w 985922"/>
                <a:gd name="connsiteY1458" fmla="*/ 684421 h 1073413"/>
                <a:gd name="connsiteX1459" fmla="*/ 408507 w 985922"/>
                <a:gd name="connsiteY1459" fmla="*/ 688168 h 1073413"/>
                <a:gd name="connsiteX1460" fmla="*/ 409800 w 985922"/>
                <a:gd name="connsiteY1460" fmla="*/ 689461 h 1073413"/>
                <a:gd name="connsiteX1461" fmla="*/ 414969 w 985922"/>
                <a:gd name="connsiteY1461" fmla="*/ 692821 h 1073413"/>
                <a:gd name="connsiteX1462" fmla="*/ 415744 w 985922"/>
                <a:gd name="connsiteY1462" fmla="*/ 693467 h 1073413"/>
                <a:gd name="connsiteX1463" fmla="*/ 416778 w 985922"/>
                <a:gd name="connsiteY1463" fmla="*/ 694759 h 1073413"/>
                <a:gd name="connsiteX1464" fmla="*/ 417295 w 985922"/>
                <a:gd name="connsiteY1464" fmla="*/ 695276 h 1073413"/>
                <a:gd name="connsiteX1465" fmla="*/ 419363 w 985922"/>
                <a:gd name="connsiteY1465" fmla="*/ 696569 h 1073413"/>
                <a:gd name="connsiteX1466" fmla="*/ 420268 w 985922"/>
                <a:gd name="connsiteY1466" fmla="*/ 697086 h 1073413"/>
                <a:gd name="connsiteX1467" fmla="*/ 421172 w 985922"/>
                <a:gd name="connsiteY1467" fmla="*/ 697344 h 1073413"/>
                <a:gd name="connsiteX1468" fmla="*/ 422594 w 985922"/>
                <a:gd name="connsiteY1468" fmla="*/ 697344 h 1073413"/>
                <a:gd name="connsiteX1469" fmla="*/ 426600 w 985922"/>
                <a:gd name="connsiteY1469" fmla="*/ 696569 h 1073413"/>
                <a:gd name="connsiteX1470" fmla="*/ 427246 w 985922"/>
                <a:gd name="connsiteY1470" fmla="*/ 696569 h 1073413"/>
                <a:gd name="connsiteX1471" fmla="*/ 427892 w 985922"/>
                <a:gd name="connsiteY1471" fmla="*/ 696827 h 1073413"/>
                <a:gd name="connsiteX1472" fmla="*/ 429314 w 985922"/>
                <a:gd name="connsiteY1472" fmla="*/ 698378 h 1073413"/>
                <a:gd name="connsiteX1473" fmla="*/ 433062 w 985922"/>
                <a:gd name="connsiteY1473" fmla="*/ 699800 h 1073413"/>
                <a:gd name="connsiteX1474" fmla="*/ 436034 w 985922"/>
                <a:gd name="connsiteY1474" fmla="*/ 701867 h 1073413"/>
                <a:gd name="connsiteX1475" fmla="*/ 436809 w 985922"/>
                <a:gd name="connsiteY1475" fmla="*/ 702643 h 1073413"/>
                <a:gd name="connsiteX1476" fmla="*/ 438102 w 985922"/>
                <a:gd name="connsiteY1476" fmla="*/ 704193 h 1073413"/>
                <a:gd name="connsiteX1477" fmla="*/ 439523 w 985922"/>
                <a:gd name="connsiteY1477" fmla="*/ 704969 h 1073413"/>
                <a:gd name="connsiteX1478" fmla="*/ 443012 w 985922"/>
                <a:gd name="connsiteY1478" fmla="*/ 707812 h 1073413"/>
                <a:gd name="connsiteX1479" fmla="*/ 456194 w 985922"/>
                <a:gd name="connsiteY1479" fmla="*/ 713757 h 1073413"/>
                <a:gd name="connsiteX1480" fmla="*/ 458391 w 985922"/>
                <a:gd name="connsiteY1480" fmla="*/ 715178 h 1073413"/>
                <a:gd name="connsiteX1481" fmla="*/ 461105 w 985922"/>
                <a:gd name="connsiteY1481" fmla="*/ 716212 h 1073413"/>
                <a:gd name="connsiteX1482" fmla="*/ 466533 w 985922"/>
                <a:gd name="connsiteY1482" fmla="*/ 717375 h 1073413"/>
                <a:gd name="connsiteX1483" fmla="*/ 467696 w 985922"/>
                <a:gd name="connsiteY1483" fmla="*/ 717375 h 1073413"/>
                <a:gd name="connsiteX1484" fmla="*/ 468213 w 985922"/>
                <a:gd name="connsiteY1484" fmla="*/ 717117 h 1073413"/>
                <a:gd name="connsiteX1485" fmla="*/ 470022 w 985922"/>
                <a:gd name="connsiteY1485" fmla="*/ 715954 h 1073413"/>
                <a:gd name="connsiteX1486" fmla="*/ 470669 w 985922"/>
                <a:gd name="connsiteY1486" fmla="*/ 715954 h 1073413"/>
                <a:gd name="connsiteX1487" fmla="*/ 471315 w 985922"/>
                <a:gd name="connsiteY1487" fmla="*/ 716212 h 1073413"/>
                <a:gd name="connsiteX1488" fmla="*/ 471961 w 985922"/>
                <a:gd name="connsiteY1488" fmla="*/ 716988 h 1073413"/>
                <a:gd name="connsiteX1489" fmla="*/ 472736 w 985922"/>
                <a:gd name="connsiteY1489" fmla="*/ 718151 h 1073413"/>
                <a:gd name="connsiteX1490" fmla="*/ 473253 w 985922"/>
                <a:gd name="connsiteY1490" fmla="*/ 718667 h 1073413"/>
                <a:gd name="connsiteX1491" fmla="*/ 474029 w 985922"/>
                <a:gd name="connsiteY1491" fmla="*/ 719185 h 1073413"/>
                <a:gd name="connsiteX1492" fmla="*/ 476225 w 985922"/>
                <a:gd name="connsiteY1492" fmla="*/ 720348 h 1073413"/>
                <a:gd name="connsiteX1493" fmla="*/ 476742 w 985922"/>
                <a:gd name="connsiteY1493" fmla="*/ 720864 h 1073413"/>
                <a:gd name="connsiteX1494" fmla="*/ 478164 w 985922"/>
                <a:gd name="connsiteY1494" fmla="*/ 722415 h 1073413"/>
                <a:gd name="connsiteX1495" fmla="*/ 478423 w 985922"/>
                <a:gd name="connsiteY1495" fmla="*/ 722932 h 1073413"/>
                <a:gd name="connsiteX1496" fmla="*/ 478681 w 985922"/>
                <a:gd name="connsiteY1496" fmla="*/ 723449 h 1073413"/>
                <a:gd name="connsiteX1497" fmla="*/ 479069 w 985922"/>
                <a:gd name="connsiteY1497" fmla="*/ 723966 h 1073413"/>
                <a:gd name="connsiteX1498" fmla="*/ 479586 w 985922"/>
                <a:gd name="connsiteY1498" fmla="*/ 724354 h 1073413"/>
                <a:gd name="connsiteX1499" fmla="*/ 480619 w 985922"/>
                <a:gd name="connsiteY1499" fmla="*/ 724483 h 1073413"/>
                <a:gd name="connsiteX1500" fmla="*/ 481395 w 985922"/>
                <a:gd name="connsiteY1500" fmla="*/ 724354 h 1073413"/>
                <a:gd name="connsiteX1501" fmla="*/ 483592 w 985922"/>
                <a:gd name="connsiteY1501" fmla="*/ 723449 h 1073413"/>
                <a:gd name="connsiteX1502" fmla="*/ 484238 w 985922"/>
                <a:gd name="connsiteY1502" fmla="*/ 723320 h 1073413"/>
                <a:gd name="connsiteX1503" fmla="*/ 485143 w 985922"/>
                <a:gd name="connsiteY1503" fmla="*/ 723191 h 1073413"/>
                <a:gd name="connsiteX1504" fmla="*/ 486435 w 985922"/>
                <a:gd name="connsiteY1504" fmla="*/ 723320 h 1073413"/>
                <a:gd name="connsiteX1505" fmla="*/ 489278 w 985922"/>
                <a:gd name="connsiteY1505" fmla="*/ 722803 h 1073413"/>
                <a:gd name="connsiteX1506" fmla="*/ 490441 w 985922"/>
                <a:gd name="connsiteY1506" fmla="*/ 722803 h 1073413"/>
                <a:gd name="connsiteX1507" fmla="*/ 493930 w 985922"/>
                <a:gd name="connsiteY1507" fmla="*/ 723578 h 1073413"/>
                <a:gd name="connsiteX1508" fmla="*/ 494835 w 985922"/>
                <a:gd name="connsiteY1508" fmla="*/ 723578 h 1073413"/>
                <a:gd name="connsiteX1509" fmla="*/ 495482 w 985922"/>
                <a:gd name="connsiteY1509" fmla="*/ 723320 h 1073413"/>
                <a:gd name="connsiteX1510" fmla="*/ 495998 w 985922"/>
                <a:gd name="connsiteY1510" fmla="*/ 723062 h 1073413"/>
                <a:gd name="connsiteX1511" fmla="*/ 497032 w 985922"/>
                <a:gd name="connsiteY1511" fmla="*/ 722674 h 1073413"/>
                <a:gd name="connsiteX1512" fmla="*/ 497549 w 985922"/>
                <a:gd name="connsiteY1512" fmla="*/ 722415 h 1073413"/>
                <a:gd name="connsiteX1513" fmla="*/ 501167 w 985922"/>
                <a:gd name="connsiteY1513" fmla="*/ 720735 h 1073413"/>
                <a:gd name="connsiteX1514" fmla="*/ 502977 w 985922"/>
                <a:gd name="connsiteY1514" fmla="*/ 719572 h 1073413"/>
                <a:gd name="connsiteX1515" fmla="*/ 503752 w 985922"/>
                <a:gd name="connsiteY1515" fmla="*/ 718797 h 1073413"/>
                <a:gd name="connsiteX1516" fmla="*/ 504011 w 985922"/>
                <a:gd name="connsiteY1516" fmla="*/ 718409 h 1073413"/>
                <a:gd name="connsiteX1517" fmla="*/ 504398 w 985922"/>
                <a:gd name="connsiteY1517" fmla="*/ 718021 h 1073413"/>
                <a:gd name="connsiteX1518" fmla="*/ 504915 w 985922"/>
                <a:gd name="connsiteY1518" fmla="*/ 717892 h 1073413"/>
                <a:gd name="connsiteX1519" fmla="*/ 507629 w 985922"/>
                <a:gd name="connsiteY1519" fmla="*/ 717763 h 1073413"/>
                <a:gd name="connsiteX1520" fmla="*/ 508276 w 985922"/>
                <a:gd name="connsiteY1520" fmla="*/ 717634 h 1073413"/>
                <a:gd name="connsiteX1521" fmla="*/ 508793 w 985922"/>
                <a:gd name="connsiteY1521" fmla="*/ 717375 h 1073413"/>
                <a:gd name="connsiteX1522" fmla="*/ 510214 w 985922"/>
                <a:gd name="connsiteY1522" fmla="*/ 716600 h 1073413"/>
                <a:gd name="connsiteX1523" fmla="*/ 542522 w 985922"/>
                <a:gd name="connsiteY1523" fmla="*/ 745160 h 1073413"/>
                <a:gd name="connsiteX1524" fmla="*/ 557384 w 985922"/>
                <a:gd name="connsiteY1524" fmla="*/ 759118 h 1073413"/>
                <a:gd name="connsiteX1525" fmla="*/ 560615 w 985922"/>
                <a:gd name="connsiteY1525" fmla="*/ 783543 h 1073413"/>
                <a:gd name="connsiteX1526" fmla="*/ 561520 w 985922"/>
                <a:gd name="connsiteY1526" fmla="*/ 786386 h 1073413"/>
                <a:gd name="connsiteX1527" fmla="*/ 564492 w 985922"/>
                <a:gd name="connsiteY1527" fmla="*/ 785869 h 1073413"/>
                <a:gd name="connsiteX1528" fmla="*/ 569403 w 985922"/>
                <a:gd name="connsiteY1528" fmla="*/ 787291 h 1073413"/>
                <a:gd name="connsiteX1529" fmla="*/ 574443 w 985922"/>
                <a:gd name="connsiteY1529" fmla="*/ 788066 h 1073413"/>
                <a:gd name="connsiteX1530" fmla="*/ 575348 w 985922"/>
                <a:gd name="connsiteY1530" fmla="*/ 788324 h 1073413"/>
                <a:gd name="connsiteX1531" fmla="*/ 575865 w 985922"/>
                <a:gd name="connsiteY1531" fmla="*/ 788583 h 1073413"/>
                <a:gd name="connsiteX1532" fmla="*/ 579096 w 985922"/>
                <a:gd name="connsiteY1532" fmla="*/ 790651 h 1073413"/>
                <a:gd name="connsiteX1533" fmla="*/ 581034 w 985922"/>
                <a:gd name="connsiteY1533" fmla="*/ 790392 h 1073413"/>
                <a:gd name="connsiteX1534" fmla="*/ 585945 w 985922"/>
                <a:gd name="connsiteY1534" fmla="*/ 787549 h 1073413"/>
                <a:gd name="connsiteX1535" fmla="*/ 590210 w 985922"/>
                <a:gd name="connsiteY1535" fmla="*/ 786515 h 1073413"/>
                <a:gd name="connsiteX1536" fmla="*/ 592923 w 985922"/>
                <a:gd name="connsiteY1536" fmla="*/ 785481 h 1073413"/>
                <a:gd name="connsiteX1537" fmla="*/ 596542 w 985922"/>
                <a:gd name="connsiteY1537" fmla="*/ 782250 h 1073413"/>
                <a:gd name="connsiteX1538" fmla="*/ 597447 w 985922"/>
                <a:gd name="connsiteY1538" fmla="*/ 780958 h 1073413"/>
                <a:gd name="connsiteX1539" fmla="*/ 597834 w 985922"/>
                <a:gd name="connsiteY1539" fmla="*/ 780570 h 1073413"/>
                <a:gd name="connsiteX1540" fmla="*/ 598351 w 985922"/>
                <a:gd name="connsiteY1540" fmla="*/ 780312 h 1073413"/>
                <a:gd name="connsiteX1541" fmla="*/ 599514 w 985922"/>
                <a:gd name="connsiteY1541" fmla="*/ 780053 h 1073413"/>
                <a:gd name="connsiteX1542" fmla="*/ 600031 w 985922"/>
                <a:gd name="connsiteY1542" fmla="*/ 779795 h 1073413"/>
                <a:gd name="connsiteX1543" fmla="*/ 600936 w 985922"/>
                <a:gd name="connsiteY1543" fmla="*/ 779149 h 1073413"/>
                <a:gd name="connsiteX1544" fmla="*/ 601453 w 985922"/>
                <a:gd name="connsiteY1544" fmla="*/ 778890 h 1073413"/>
                <a:gd name="connsiteX1545" fmla="*/ 601970 w 985922"/>
                <a:gd name="connsiteY1545" fmla="*/ 778761 h 1073413"/>
                <a:gd name="connsiteX1546" fmla="*/ 602875 w 985922"/>
                <a:gd name="connsiteY1546" fmla="*/ 778890 h 1073413"/>
                <a:gd name="connsiteX1547" fmla="*/ 603908 w 985922"/>
                <a:gd name="connsiteY1547" fmla="*/ 779278 h 1073413"/>
                <a:gd name="connsiteX1548" fmla="*/ 606751 w 985922"/>
                <a:gd name="connsiteY1548" fmla="*/ 780958 h 1073413"/>
                <a:gd name="connsiteX1549" fmla="*/ 607656 w 985922"/>
                <a:gd name="connsiteY1549" fmla="*/ 781346 h 1073413"/>
                <a:gd name="connsiteX1550" fmla="*/ 608949 w 985922"/>
                <a:gd name="connsiteY1550" fmla="*/ 781346 h 1073413"/>
                <a:gd name="connsiteX1551" fmla="*/ 609724 w 985922"/>
                <a:gd name="connsiteY1551" fmla="*/ 781217 h 1073413"/>
                <a:gd name="connsiteX1552" fmla="*/ 611016 w 985922"/>
                <a:gd name="connsiteY1552" fmla="*/ 780829 h 1073413"/>
                <a:gd name="connsiteX1553" fmla="*/ 613084 w 985922"/>
                <a:gd name="connsiteY1553" fmla="*/ 779924 h 1073413"/>
                <a:gd name="connsiteX1554" fmla="*/ 613601 w 985922"/>
                <a:gd name="connsiteY1554" fmla="*/ 779795 h 1073413"/>
                <a:gd name="connsiteX1555" fmla="*/ 614118 w 985922"/>
                <a:gd name="connsiteY1555" fmla="*/ 779795 h 1073413"/>
                <a:gd name="connsiteX1556" fmla="*/ 615023 w 985922"/>
                <a:gd name="connsiteY1556" fmla="*/ 779924 h 1073413"/>
                <a:gd name="connsiteX1557" fmla="*/ 616056 w 985922"/>
                <a:gd name="connsiteY1557" fmla="*/ 780312 h 1073413"/>
                <a:gd name="connsiteX1558" fmla="*/ 617607 w 985922"/>
                <a:gd name="connsiteY1558" fmla="*/ 781217 h 1073413"/>
                <a:gd name="connsiteX1559" fmla="*/ 618382 w 985922"/>
                <a:gd name="connsiteY1559" fmla="*/ 781863 h 1073413"/>
                <a:gd name="connsiteX1560" fmla="*/ 619029 w 985922"/>
                <a:gd name="connsiteY1560" fmla="*/ 782380 h 1073413"/>
                <a:gd name="connsiteX1561" fmla="*/ 621484 w 985922"/>
                <a:gd name="connsiteY1561" fmla="*/ 785869 h 1073413"/>
                <a:gd name="connsiteX1562" fmla="*/ 622001 w 985922"/>
                <a:gd name="connsiteY1562" fmla="*/ 786257 h 1073413"/>
                <a:gd name="connsiteX1563" fmla="*/ 622776 w 985922"/>
                <a:gd name="connsiteY1563" fmla="*/ 786386 h 1073413"/>
                <a:gd name="connsiteX1564" fmla="*/ 623939 w 985922"/>
                <a:gd name="connsiteY1564" fmla="*/ 786257 h 1073413"/>
                <a:gd name="connsiteX1565" fmla="*/ 625361 w 985922"/>
                <a:gd name="connsiteY1565" fmla="*/ 785740 h 1073413"/>
                <a:gd name="connsiteX1566" fmla="*/ 627299 w 985922"/>
                <a:gd name="connsiteY1566" fmla="*/ 784706 h 1073413"/>
                <a:gd name="connsiteX1567" fmla="*/ 628334 w 985922"/>
                <a:gd name="connsiteY1567" fmla="*/ 784189 h 1073413"/>
                <a:gd name="connsiteX1568" fmla="*/ 631306 w 985922"/>
                <a:gd name="connsiteY1568" fmla="*/ 783414 h 1073413"/>
                <a:gd name="connsiteX1569" fmla="*/ 631952 w 985922"/>
                <a:gd name="connsiteY1569" fmla="*/ 783284 h 1073413"/>
                <a:gd name="connsiteX1570" fmla="*/ 633244 w 985922"/>
                <a:gd name="connsiteY1570" fmla="*/ 783543 h 1073413"/>
                <a:gd name="connsiteX1571" fmla="*/ 635054 w 985922"/>
                <a:gd name="connsiteY1571" fmla="*/ 784189 h 1073413"/>
                <a:gd name="connsiteX1572" fmla="*/ 640482 w 985922"/>
                <a:gd name="connsiteY1572" fmla="*/ 787032 h 1073413"/>
                <a:gd name="connsiteX1573" fmla="*/ 641515 w 985922"/>
                <a:gd name="connsiteY1573" fmla="*/ 787807 h 1073413"/>
                <a:gd name="connsiteX1574" fmla="*/ 643712 w 985922"/>
                <a:gd name="connsiteY1574" fmla="*/ 791685 h 1073413"/>
                <a:gd name="connsiteX1575" fmla="*/ 644100 w 985922"/>
                <a:gd name="connsiteY1575" fmla="*/ 792072 h 1073413"/>
                <a:gd name="connsiteX1576" fmla="*/ 644617 w 985922"/>
                <a:gd name="connsiteY1576" fmla="*/ 792331 h 1073413"/>
                <a:gd name="connsiteX1577" fmla="*/ 645651 w 985922"/>
                <a:gd name="connsiteY1577" fmla="*/ 792201 h 1073413"/>
                <a:gd name="connsiteX1578" fmla="*/ 646167 w 985922"/>
                <a:gd name="connsiteY1578" fmla="*/ 791943 h 1073413"/>
                <a:gd name="connsiteX1579" fmla="*/ 646685 w 985922"/>
                <a:gd name="connsiteY1579" fmla="*/ 791555 h 1073413"/>
                <a:gd name="connsiteX1580" fmla="*/ 647202 w 985922"/>
                <a:gd name="connsiteY1580" fmla="*/ 791297 h 1073413"/>
                <a:gd name="connsiteX1581" fmla="*/ 647719 w 985922"/>
                <a:gd name="connsiteY1581" fmla="*/ 791038 h 1073413"/>
                <a:gd name="connsiteX1582" fmla="*/ 649398 w 985922"/>
                <a:gd name="connsiteY1582" fmla="*/ 790780 h 1073413"/>
                <a:gd name="connsiteX1583" fmla="*/ 649786 w 985922"/>
                <a:gd name="connsiteY1583" fmla="*/ 790651 h 1073413"/>
                <a:gd name="connsiteX1584" fmla="*/ 651725 w 985922"/>
                <a:gd name="connsiteY1584" fmla="*/ 789746 h 1073413"/>
                <a:gd name="connsiteX1585" fmla="*/ 652241 w 985922"/>
                <a:gd name="connsiteY1585" fmla="*/ 789617 h 1073413"/>
                <a:gd name="connsiteX1586" fmla="*/ 653405 w 985922"/>
                <a:gd name="connsiteY1586" fmla="*/ 789875 h 1073413"/>
                <a:gd name="connsiteX1587" fmla="*/ 661805 w 985922"/>
                <a:gd name="connsiteY1587" fmla="*/ 793623 h 1073413"/>
                <a:gd name="connsiteX1588" fmla="*/ 665036 w 985922"/>
                <a:gd name="connsiteY1588" fmla="*/ 794657 h 1073413"/>
                <a:gd name="connsiteX1589" fmla="*/ 667491 w 985922"/>
                <a:gd name="connsiteY1589" fmla="*/ 795174 h 1073413"/>
                <a:gd name="connsiteX1590" fmla="*/ 669688 w 985922"/>
                <a:gd name="connsiteY1590" fmla="*/ 795174 h 1073413"/>
                <a:gd name="connsiteX1591" fmla="*/ 671498 w 985922"/>
                <a:gd name="connsiteY1591" fmla="*/ 794657 h 1073413"/>
                <a:gd name="connsiteX1592" fmla="*/ 672144 w 985922"/>
                <a:gd name="connsiteY1592" fmla="*/ 794528 h 1073413"/>
                <a:gd name="connsiteX1593" fmla="*/ 677572 w 985922"/>
                <a:gd name="connsiteY1593" fmla="*/ 794398 h 1073413"/>
                <a:gd name="connsiteX1594" fmla="*/ 678864 w 985922"/>
                <a:gd name="connsiteY1594" fmla="*/ 794657 h 1073413"/>
                <a:gd name="connsiteX1595" fmla="*/ 679510 w 985922"/>
                <a:gd name="connsiteY1595" fmla="*/ 795045 h 1073413"/>
                <a:gd name="connsiteX1596" fmla="*/ 680156 w 985922"/>
                <a:gd name="connsiteY1596" fmla="*/ 795562 h 1073413"/>
                <a:gd name="connsiteX1597" fmla="*/ 680673 w 985922"/>
                <a:gd name="connsiteY1597" fmla="*/ 796725 h 1073413"/>
                <a:gd name="connsiteX1598" fmla="*/ 680673 w 985922"/>
                <a:gd name="connsiteY1598" fmla="*/ 797371 h 1073413"/>
                <a:gd name="connsiteX1599" fmla="*/ 680544 w 985922"/>
                <a:gd name="connsiteY1599" fmla="*/ 798017 h 1073413"/>
                <a:gd name="connsiteX1600" fmla="*/ 680415 w 985922"/>
                <a:gd name="connsiteY1600" fmla="*/ 798534 h 1073413"/>
                <a:gd name="connsiteX1601" fmla="*/ 680544 w 985922"/>
                <a:gd name="connsiteY1601" fmla="*/ 799051 h 1073413"/>
                <a:gd name="connsiteX1602" fmla="*/ 680931 w 985922"/>
                <a:gd name="connsiteY1602" fmla="*/ 799438 h 1073413"/>
                <a:gd name="connsiteX1603" fmla="*/ 681578 w 985922"/>
                <a:gd name="connsiteY1603" fmla="*/ 799697 h 1073413"/>
                <a:gd name="connsiteX1604" fmla="*/ 683387 w 985922"/>
                <a:gd name="connsiteY1604" fmla="*/ 800085 h 1073413"/>
                <a:gd name="connsiteX1605" fmla="*/ 683904 w 985922"/>
                <a:gd name="connsiteY1605" fmla="*/ 800472 h 1073413"/>
                <a:gd name="connsiteX1606" fmla="*/ 684162 w 985922"/>
                <a:gd name="connsiteY1606" fmla="*/ 801119 h 1073413"/>
                <a:gd name="connsiteX1607" fmla="*/ 684033 w 985922"/>
                <a:gd name="connsiteY1607" fmla="*/ 802411 h 1073413"/>
                <a:gd name="connsiteX1608" fmla="*/ 684162 w 985922"/>
                <a:gd name="connsiteY1608" fmla="*/ 802928 h 1073413"/>
                <a:gd name="connsiteX1609" fmla="*/ 684550 w 985922"/>
                <a:gd name="connsiteY1609" fmla="*/ 803186 h 1073413"/>
                <a:gd name="connsiteX1610" fmla="*/ 685325 w 985922"/>
                <a:gd name="connsiteY1610" fmla="*/ 803186 h 1073413"/>
                <a:gd name="connsiteX1611" fmla="*/ 685972 w 985922"/>
                <a:gd name="connsiteY1611" fmla="*/ 803057 h 1073413"/>
                <a:gd name="connsiteX1612" fmla="*/ 687135 w 985922"/>
                <a:gd name="connsiteY1612" fmla="*/ 802669 h 1073413"/>
                <a:gd name="connsiteX1613" fmla="*/ 687781 w 985922"/>
                <a:gd name="connsiteY1613" fmla="*/ 802669 h 1073413"/>
                <a:gd name="connsiteX1614" fmla="*/ 688556 w 985922"/>
                <a:gd name="connsiteY1614" fmla="*/ 802669 h 1073413"/>
                <a:gd name="connsiteX1615" fmla="*/ 689978 w 985922"/>
                <a:gd name="connsiteY1615" fmla="*/ 803315 h 1073413"/>
                <a:gd name="connsiteX1616" fmla="*/ 691658 w 985922"/>
                <a:gd name="connsiteY1616" fmla="*/ 804220 h 1073413"/>
                <a:gd name="connsiteX1617" fmla="*/ 694889 w 985922"/>
                <a:gd name="connsiteY1617" fmla="*/ 806546 h 1073413"/>
                <a:gd name="connsiteX1618" fmla="*/ 696181 w 985922"/>
                <a:gd name="connsiteY1618" fmla="*/ 807709 h 1073413"/>
                <a:gd name="connsiteX1619" fmla="*/ 696957 w 985922"/>
                <a:gd name="connsiteY1619" fmla="*/ 808614 h 1073413"/>
                <a:gd name="connsiteX1620" fmla="*/ 697473 w 985922"/>
                <a:gd name="connsiteY1620" fmla="*/ 810294 h 1073413"/>
                <a:gd name="connsiteX1621" fmla="*/ 697990 w 985922"/>
                <a:gd name="connsiteY1621" fmla="*/ 811199 h 1073413"/>
                <a:gd name="connsiteX1622" fmla="*/ 698507 w 985922"/>
                <a:gd name="connsiteY1622" fmla="*/ 811716 h 1073413"/>
                <a:gd name="connsiteX1623" fmla="*/ 699153 w 985922"/>
                <a:gd name="connsiteY1623" fmla="*/ 812233 h 1073413"/>
                <a:gd name="connsiteX1624" fmla="*/ 702126 w 985922"/>
                <a:gd name="connsiteY1624" fmla="*/ 813913 h 1073413"/>
                <a:gd name="connsiteX1625" fmla="*/ 702901 w 985922"/>
                <a:gd name="connsiteY1625" fmla="*/ 814171 h 1073413"/>
                <a:gd name="connsiteX1626" fmla="*/ 703547 w 985922"/>
                <a:gd name="connsiteY1626" fmla="*/ 814300 h 1073413"/>
                <a:gd name="connsiteX1627" fmla="*/ 704323 w 985922"/>
                <a:gd name="connsiteY1627" fmla="*/ 814300 h 1073413"/>
                <a:gd name="connsiteX1628" fmla="*/ 705486 w 985922"/>
                <a:gd name="connsiteY1628" fmla="*/ 814042 h 1073413"/>
                <a:gd name="connsiteX1629" fmla="*/ 707295 w 985922"/>
                <a:gd name="connsiteY1629" fmla="*/ 814042 h 1073413"/>
                <a:gd name="connsiteX1630" fmla="*/ 709751 w 985922"/>
                <a:gd name="connsiteY1630" fmla="*/ 814817 h 1073413"/>
                <a:gd name="connsiteX1631" fmla="*/ 710526 w 985922"/>
                <a:gd name="connsiteY1631" fmla="*/ 815851 h 1073413"/>
                <a:gd name="connsiteX1632" fmla="*/ 710655 w 985922"/>
                <a:gd name="connsiteY1632" fmla="*/ 816497 h 1073413"/>
                <a:gd name="connsiteX1633" fmla="*/ 711172 w 985922"/>
                <a:gd name="connsiteY1633" fmla="*/ 817790 h 1073413"/>
                <a:gd name="connsiteX1634" fmla="*/ 712077 w 985922"/>
                <a:gd name="connsiteY1634" fmla="*/ 819211 h 1073413"/>
                <a:gd name="connsiteX1635" fmla="*/ 712723 w 985922"/>
                <a:gd name="connsiteY1635" fmla="*/ 819987 h 1073413"/>
                <a:gd name="connsiteX1636" fmla="*/ 714403 w 985922"/>
                <a:gd name="connsiteY1636" fmla="*/ 821279 h 1073413"/>
                <a:gd name="connsiteX1637" fmla="*/ 714791 w 985922"/>
                <a:gd name="connsiteY1637" fmla="*/ 821667 h 1073413"/>
                <a:gd name="connsiteX1638" fmla="*/ 715049 w 985922"/>
                <a:gd name="connsiteY1638" fmla="*/ 822184 h 1073413"/>
                <a:gd name="connsiteX1639" fmla="*/ 715307 w 985922"/>
                <a:gd name="connsiteY1639" fmla="*/ 822830 h 1073413"/>
                <a:gd name="connsiteX1640" fmla="*/ 715695 w 985922"/>
                <a:gd name="connsiteY1640" fmla="*/ 824381 h 1073413"/>
                <a:gd name="connsiteX1641" fmla="*/ 715954 w 985922"/>
                <a:gd name="connsiteY1641" fmla="*/ 824897 h 1073413"/>
                <a:gd name="connsiteX1642" fmla="*/ 717117 w 985922"/>
                <a:gd name="connsiteY1642" fmla="*/ 826836 h 1073413"/>
                <a:gd name="connsiteX1643" fmla="*/ 717505 w 985922"/>
                <a:gd name="connsiteY1643" fmla="*/ 827999 h 1073413"/>
                <a:gd name="connsiteX1644" fmla="*/ 717634 w 985922"/>
                <a:gd name="connsiteY1644" fmla="*/ 828774 h 1073413"/>
                <a:gd name="connsiteX1645" fmla="*/ 717634 w 985922"/>
                <a:gd name="connsiteY1645" fmla="*/ 829679 h 1073413"/>
                <a:gd name="connsiteX1646" fmla="*/ 717246 w 985922"/>
                <a:gd name="connsiteY1646" fmla="*/ 830842 h 1073413"/>
                <a:gd name="connsiteX1647" fmla="*/ 716471 w 985922"/>
                <a:gd name="connsiteY1647" fmla="*/ 831359 h 1073413"/>
                <a:gd name="connsiteX1648" fmla="*/ 715179 w 985922"/>
                <a:gd name="connsiteY1648" fmla="*/ 831747 h 1073413"/>
                <a:gd name="connsiteX1649" fmla="*/ 714661 w 985922"/>
                <a:gd name="connsiteY1649" fmla="*/ 832393 h 1073413"/>
                <a:gd name="connsiteX1650" fmla="*/ 714015 w 985922"/>
                <a:gd name="connsiteY1650" fmla="*/ 833427 h 1073413"/>
                <a:gd name="connsiteX1651" fmla="*/ 712464 w 985922"/>
                <a:gd name="connsiteY1651" fmla="*/ 836787 h 1073413"/>
                <a:gd name="connsiteX1652" fmla="*/ 711948 w 985922"/>
                <a:gd name="connsiteY1652" fmla="*/ 838596 h 1073413"/>
                <a:gd name="connsiteX1653" fmla="*/ 711818 w 985922"/>
                <a:gd name="connsiteY1653" fmla="*/ 841439 h 1073413"/>
                <a:gd name="connsiteX1654" fmla="*/ 711689 w 985922"/>
                <a:gd name="connsiteY1654" fmla="*/ 843249 h 1073413"/>
                <a:gd name="connsiteX1655" fmla="*/ 711431 w 985922"/>
                <a:gd name="connsiteY1655" fmla="*/ 844541 h 1073413"/>
                <a:gd name="connsiteX1656" fmla="*/ 710397 w 985922"/>
                <a:gd name="connsiteY1656" fmla="*/ 847255 h 1073413"/>
                <a:gd name="connsiteX1657" fmla="*/ 709234 w 985922"/>
                <a:gd name="connsiteY1657" fmla="*/ 849193 h 1073413"/>
                <a:gd name="connsiteX1658" fmla="*/ 708587 w 985922"/>
                <a:gd name="connsiteY1658" fmla="*/ 849840 h 1073413"/>
                <a:gd name="connsiteX1659" fmla="*/ 706003 w 985922"/>
                <a:gd name="connsiteY1659" fmla="*/ 852295 h 1073413"/>
                <a:gd name="connsiteX1660" fmla="*/ 704323 w 985922"/>
                <a:gd name="connsiteY1660" fmla="*/ 853587 h 1073413"/>
                <a:gd name="connsiteX1661" fmla="*/ 696698 w 985922"/>
                <a:gd name="connsiteY1661" fmla="*/ 858240 h 1073413"/>
                <a:gd name="connsiteX1662" fmla="*/ 688556 w 985922"/>
                <a:gd name="connsiteY1662" fmla="*/ 870129 h 1073413"/>
                <a:gd name="connsiteX1663" fmla="*/ 687910 w 985922"/>
                <a:gd name="connsiteY1663" fmla="*/ 871809 h 1073413"/>
                <a:gd name="connsiteX1664" fmla="*/ 688298 w 985922"/>
                <a:gd name="connsiteY1664" fmla="*/ 872972 h 1073413"/>
                <a:gd name="connsiteX1665" fmla="*/ 688427 w 985922"/>
                <a:gd name="connsiteY1665" fmla="*/ 873619 h 1073413"/>
                <a:gd name="connsiteX1666" fmla="*/ 688427 w 985922"/>
                <a:gd name="connsiteY1666" fmla="*/ 874265 h 1073413"/>
                <a:gd name="connsiteX1667" fmla="*/ 688168 w 985922"/>
                <a:gd name="connsiteY1667" fmla="*/ 874911 h 1073413"/>
                <a:gd name="connsiteX1668" fmla="*/ 687781 w 985922"/>
                <a:gd name="connsiteY1668" fmla="*/ 875299 h 1073413"/>
                <a:gd name="connsiteX1669" fmla="*/ 687005 w 985922"/>
                <a:gd name="connsiteY1669" fmla="*/ 875557 h 1073413"/>
                <a:gd name="connsiteX1670" fmla="*/ 686359 w 985922"/>
                <a:gd name="connsiteY1670" fmla="*/ 875557 h 1073413"/>
                <a:gd name="connsiteX1671" fmla="*/ 685713 w 985922"/>
                <a:gd name="connsiteY1671" fmla="*/ 875428 h 1073413"/>
                <a:gd name="connsiteX1672" fmla="*/ 684550 w 985922"/>
                <a:gd name="connsiteY1672" fmla="*/ 875040 h 1073413"/>
                <a:gd name="connsiteX1673" fmla="*/ 683258 w 985922"/>
                <a:gd name="connsiteY1673" fmla="*/ 874782 h 1073413"/>
                <a:gd name="connsiteX1674" fmla="*/ 681965 w 985922"/>
                <a:gd name="connsiteY1674" fmla="*/ 874911 h 1073413"/>
                <a:gd name="connsiteX1675" fmla="*/ 675891 w 985922"/>
                <a:gd name="connsiteY1675" fmla="*/ 877237 h 1073413"/>
                <a:gd name="connsiteX1676" fmla="*/ 675374 w 985922"/>
                <a:gd name="connsiteY1676" fmla="*/ 877496 h 1073413"/>
                <a:gd name="connsiteX1677" fmla="*/ 674857 w 985922"/>
                <a:gd name="connsiteY1677" fmla="*/ 878142 h 1073413"/>
                <a:gd name="connsiteX1678" fmla="*/ 674341 w 985922"/>
                <a:gd name="connsiteY1678" fmla="*/ 878917 h 1073413"/>
                <a:gd name="connsiteX1679" fmla="*/ 673824 w 985922"/>
                <a:gd name="connsiteY1679" fmla="*/ 880597 h 1073413"/>
                <a:gd name="connsiteX1680" fmla="*/ 673694 w 985922"/>
                <a:gd name="connsiteY1680" fmla="*/ 881631 h 1073413"/>
                <a:gd name="connsiteX1681" fmla="*/ 673694 w 985922"/>
                <a:gd name="connsiteY1681" fmla="*/ 882536 h 1073413"/>
                <a:gd name="connsiteX1682" fmla="*/ 674082 w 985922"/>
                <a:gd name="connsiteY1682" fmla="*/ 885896 h 1073413"/>
                <a:gd name="connsiteX1683" fmla="*/ 673824 w 985922"/>
                <a:gd name="connsiteY1683" fmla="*/ 890290 h 1073413"/>
                <a:gd name="connsiteX1684" fmla="*/ 672661 w 985922"/>
                <a:gd name="connsiteY1684" fmla="*/ 896881 h 1073413"/>
                <a:gd name="connsiteX1685" fmla="*/ 672661 w 985922"/>
                <a:gd name="connsiteY1685" fmla="*/ 897527 h 1073413"/>
                <a:gd name="connsiteX1686" fmla="*/ 672661 w 985922"/>
                <a:gd name="connsiteY1686" fmla="*/ 898173 h 1073413"/>
                <a:gd name="connsiteX1687" fmla="*/ 672790 w 985922"/>
                <a:gd name="connsiteY1687" fmla="*/ 898819 h 1073413"/>
                <a:gd name="connsiteX1688" fmla="*/ 673048 w 985922"/>
                <a:gd name="connsiteY1688" fmla="*/ 899336 h 1073413"/>
                <a:gd name="connsiteX1689" fmla="*/ 674987 w 985922"/>
                <a:gd name="connsiteY1689" fmla="*/ 901275 h 1073413"/>
                <a:gd name="connsiteX1690" fmla="*/ 675633 w 985922"/>
                <a:gd name="connsiteY1690" fmla="*/ 902179 h 1073413"/>
                <a:gd name="connsiteX1691" fmla="*/ 676537 w 985922"/>
                <a:gd name="connsiteY1691" fmla="*/ 904376 h 1073413"/>
                <a:gd name="connsiteX1692" fmla="*/ 676796 w 985922"/>
                <a:gd name="connsiteY1692" fmla="*/ 905539 h 1073413"/>
                <a:gd name="connsiteX1693" fmla="*/ 676925 w 985922"/>
                <a:gd name="connsiteY1693" fmla="*/ 906185 h 1073413"/>
                <a:gd name="connsiteX1694" fmla="*/ 676925 w 985922"/>
                <a:gd name="connsiteY1694" fmla="*/ 906832 h 1073413"/>
                <a:gd name="connsiteX1695" fmla="*/ 676537 w 985922"/>
                <a:gd name="connsiteY1695" fmla="*/ 907607 h 1073413"/>
                <a:gd name="connsiteX1696" fmla="*/ 675762 w 985922"/>
                <a:gd name="connsiteY1696" fmla="*/ 908253 h 1073413"/>
                <a:gd name="connsiteX1697" fmla="*/ 674082 w 985922"/>
                <a:gd name="connsiteY1697" fmla="*/ 909158 h 1073413"/>
                <a:gd name="connsiteX1698" fmla="*/ 673307 w 985922"/>
                <a:gd name="connsiteY1698" fmla="*/ 909675 h 1073413"/>
                <a:gd name="connsiteX1699" fmla="*/ 672661 w 985922"/>
                <a:gd name="connsiteY1699" fmla="*/ 910192 h 1073413"/>
                <a:gd name="connsiteX1700" fmla="*/ 672402 w 985922"/>
                <a:gd name="connsiteY1700" fmla="*/ 910708 h 1073413"/>
                <a:gd name="connsiteX1701" fmla="*/ 671756 w 985922"/>
                <a:gd name="connsiteY1701" fmla="*/ 911613 h 1073413"/>
                <a:gd name="connsiteX1702" fmla="*/ 671368 w 985922"/>
                <a:gd name="connsiteY1702" fmla="*/ 912001 h 1073413"/>
                <a:gd name="connsiteX1703" fmla="*/ 669817 w 985922"/>
                <a:gd name="connsiteY1703" fmla="*/ 912259 h 1073413"/>
                <a:gd name="connsiteX1704" fmla="*/ 667491 w 985922"/>
                <a:gd name="connsiteY1704" fmla="*/ 912518 h 1073413"/>
                <a:gd name="connsiteX1705" fmla="*/ 659350 w 985922"/>
                <a:gd name="connsiteY1705" fmla="*/ 912647 h 1073413"/>
                <a:gd name="connsiteX1706" fmla="*/ 655731 w 985922"/>
                <a:gd name="connsiteY1706" fmla="*/ 912001 h 1073413"/>
                <a:gd name="connsiteX1707" fmla="*/ 652629 w 985922"/>
                <a:gd name="connsiteY1707" fmla="*/ 910967 h 1073413"/>
                <a:gd name="connsiteX1708" fmla="*/ 652113 w 985922"/>
                <a:gd name="connsiteY1708" fmla="*/ 910967 h 1073413"/>
                <a:gd name="connsiteX1709" fmla="*/ 651725 w 985922"/>
                <a:gd name="connsiteY1709" fmla="*/ 911226 h 1073413"/>
                <a:gd name="connsiteX1710" fmla="*/ 651337 w 985922"/>
                <a:gd name="connsiteY1710" fmla="*/ 911613 h 1073413"/>
                <a:gd name="connsiteX1711" fmla="*/ 650562 w 985922"/>
                <a:gd name="connsiteY1711" fmla="*/ 913164 h 1073413"/>
                <a:gd name="connsiteX1712" fmla="*/ 650303 w 985922"/>
                <a:gd name="connsiteY1712" fmla="*/ 913681 h 1073413"/>
                <a:gd name="connsiteX1713" fmla="*/ 647977 w 985922"/>
                <a:gd name="connsiteY1713" fmla="*/ 916007 h 1073413"/>
                <a:gd name="connsiteX1714" fmla="*/ 647589 w 985922"/>
                <a:gd name="connsiteY1714" fmla="*/ 916395 h 1073413"/>
                <a:gd name="connsiteX1715" fmla="*/ 647331 w 985922"/>
                <a:gd name="connsiteY1715" fmla="*/ 916912 h 1073413"/>
                <a:gd name="connsiteX1716" fmla="*/ 646814 w 985922"/>
                <a:gd name="connsiteY1716" fmla="*/ 917946 h 1073413"/>
                <a:gd name="connsiteX1717" fmla="*/ 643971 w 985922"/>
                <a:gd name="connsiteY1717" fmla="*/ 932290 h 1073413"/>
                <a:gd name="connsiteX1718" fmla="*/ 642161 w 985922"/>
                <a:gd name="connsiteY1718" fmla="*/ 936685 h 1073413"/>
                <a:gd name="connsiteX1719" fmla="*/ 641515 w 985922"/>
                <a:gd name="connsiteY1719" fmla="*/ 939140 h 1073413"/>
                <a:gd name="connsiteX1720" fmla="*/ 641515 w 985922"/>
                <a:gd name="connsiteY1720" fmla="*/ 940561 h 1073413"/>
                <a:gd name="connsiteX1721" fmla="*/ 642808 w 985922"/>
                <a:gd name="connsiteY1721" fmla="*/ 945343 h 1073413"/>
                <a:gd name="connsiteX1722" fmla="*/ 642937 w 985922"/>
                <a:gd name="connsiteY1722" fmla="*/ 946635 h 1073413"/>
                <a:gd name="connsiteX1723" fmla="*/ 642937 w 985922"/>
                <a:gd name="connsiteY1723" fmla="*/ 947669 h 1073413"/>
                <a:gd name="connsiteX1724" fmla="*/ 642808 w 985922"/>
                <a:gd name="connsiteY1724" fmla="*/ 948315 h 1073413"/>
                <a:gd name="connsiteX1725" fmla="*/ 642549 w 985922"/>
                <a:gd name="connsiteY1725" fmla="*/ 949608 h 1073413"/>
                <a:gd name="connsiteX1726" fmla="*/ 642549 w 985922"/>
                <a:gd name="connsiteY1726" fmla="*/ 950512 h 1073413"/>
                <a:gd name="connsiteX1727" fmla="*/ 642808 w 985922"/>
                <a:gd name="connsiteY1727" fmla="*/ 953097 h 1073413"/>
                <a:gd name="connsiteX1728" fmla="*/ 642808 w 985922"/>
                <a:gd name="connsiteY1728" fmla="*/ 954002 h 1073413"/>
                <a:gd name="connsiteX1729" fmla="*/ 642678 w 985922"/>
                <a:gd name="connsiteY1729" fmla="*/ 954777 h 1073413"/>
                <a:gd name="connsiteX1730" fmla="*/ 642420 w 985922"/>
                <a:gd name="connsiteY1730" fmla="*/ 955294 h 1073413"/>
                <a:gd name="connsiteX1731" fmla="*/ 642161 w 985922"/>
                <a:gd name="connsiteY1731" fmla="*/ 955682 h 1073413"/>
                <a:gd name="connsiteX1732" fmla="*/ 641774 w 985922"/>
                <a:gd name="connsiteY1732" fmla="*/ 956070 h 1073413"/>
                <a:gd name="connsiteX1733" fmla="*/ 640223 w 985922"/>
                <a:gd name="connsiteY1733" fmla="*/ 956845 h 1073413"/>
                <a:gd name="connsiteX1734" fmla="*/ 639835 w 985922"/>
                <a:gd name="connsiteY1734" fmla="*/ 957233 h 1073413"/>
                <a:gd name="connsiteX1735" fmla="*/ 639447 w 985922"/>
                <a:gd name="connsiteY1735" fmla="*/ 957620 h 1073413"/>
                <a:gd name="connsiteX1736" fmla="*/ 638672 w 985922"/>
                <a:gd name="connsiteY1736" fmla="*/ 959171 h 1073413"/>
                <a:gd name="connsiteX1737" fmla="*/ 638414 w 985922"/>
                <a:gd name="connsiteY1737" fmla="*/ 960463 h 1073413"/>
                <a:gd name="connsiteX1738" fmla="*/ 638155 w 985922"/>
                <a:gd name="connsiteY1738" fmla="*/ 965762 h 1073413"/>
                <a:gd name="connsiteX1739" fmla="*/ 637767 w 985922"/>
                <a:gd name="connsiteY1739" fmla="*/ 968476 h 1073413"/>
                <a:gd name="connsiteX1740" fmla="*/ 637767 w 985922"/>
                <a:gd name="connsiteY1740" fmla="*/ 969122 h 1073413"/>
                <a:gd name="connsiteX1741" fmla="*/ 638026 w 985922"/>
                <a:gd name="connsiteY1741" fmla="*/ 969897 h 1073413"/>
                <a:gd name="connsiteX1742" fmla="*/ 638543 w 985922"/>
                <a:gd name="connsiteY1742" fmla="*/ 970544 h 1073413"/>
                <a:gd name="connsiteX1743" fmla="*/ 639835 w 985922"/>
                <a:gd name="connsiteY1743" fmla="*/ 971190 h 1073413"/>
                <a:gd name="connsiteX1744" fmla="*/ 640611 w 985922"/>
                <a:gd name="connsiteY1744" fmla="*/ 971190 h 1073413"/>
                <a:gd name="connsiteX1745" fmla="*/ 641257 w 985922"/>
                <a:gd name="connsiteY1745" fmla="*/ 970931 h 1073413"/>
                <a:gd name="connsiteX1746" fmla="*/ 641645 w 985922"/>
                <a:gd name="connsiteY1746" fmla="*/ 970544 h 1073413"/>
                <a:gd name="connsiteX1747" fmla="*/ 641903 w 985922"/>
                <a:gd name="connsiteY1747" fmla="*/ 970027 h 1073413"/>
                <a:gd name="connsiteX1748" fmla="*/ 642678 w 985922"/>
                <a:gd name="connsiteY1748" fmla="*/ 967701 h 1073413"/>
                <a:gd name="connsiteX1749" fmla="*/ 642937 w 985922"/>
                <a:gd name="connsiteY1749" fmla="*/ 967184 h 1073413"/>
                <a:gd name="connsiteX1750" fmla="*/ 643324 w 985922"/>
                <a:gd name="connsiteY1750" fmla="*/ 966796 h 1073413"/>
                <a:gd name="connsiteX1751" fmla="*/ 643841 w 985922"/>
                <a:gd name="connsiteY1751" fmla="*/ 966537 h 1073413"/>
                <a:gd name="connsiteX1752" fmla="*/ 645134 w 985922"/>
                <a:gd name="connsiteY1752" fmla="*/ 966408 h 1073413"/>
                <a:gd name="connsiteX1753" fmla="*/ 645780 w 985922"/>
                <a:gd name="connsiteY1753" fmla="*/ 966279 h 1073413"/>
                <a:gd name="connsiteX1754" fmla="*/ 646685 w 985922"/>
                <a:gd name="connsiteY1754" fmla="*/ 965762 h 1073413"/>
                <a:gd name="connsiteX1755" fmla="*/ 647202 w 985922"/>
                <a:gd name="connsiteY1755" fmla="*/ 965762 h 1073413"/>
                <a:gd name="connsiteX1756" fmla="*/ 647719 w 985922"/>
                <a:gd name="connsiteY1756" fmla="*/ 966020 h 1073413"/>
                <a:gd name="connsiteX1757" fmla="*/ 647977 w 985922"/>
                <a:gd name="connsiteY1757" fmla="*/ 966925 h 1073413"/>
                <a:gd name="connsiteX1758" fmla="*/ 647848 w 985922"/>
                <a:gd name="connsiteY1758" fmla="*/ 967571 h 1073413"/>
                <a:gd name="connsiteX1759" fmla="*/ 647589 w 985922"/>
                <a:gd name="connsiteY1759" fmla="*/ 968218 h 1073413"/>
                <a:gd name="connsiteX1760" fmla="*/ 645909 w 985922"/>
                <a:gd name="connsiteY1760" fmla="*/ 970415 h 1073413"/>
                <a:gd name="connsiteX1761" fmla="*/ 645651 w 985922"/>
                <a:gd name="connsiteY1761" fmla="*/ 970931 h 1073413"/>
                <a:gd name="connsiteX1762" fmla="*/ 645392 w 985922"/>
                <a:gd name="connsiteY1762" fmla="*/ 971448 h 1073413"/>
                <a:gd name="connsiteX1763" fmla="*/ 645263 w 985922"/>
                <a:gd name="connsiteY1763" fmla="*/ 972094 h 1073413"/>
                <a:gd name="connsiteX1764" fmla="*/ 645392 w 985922"/>
                <a:gd name="connsiteY1764" fmla="*/ 972741 h 1073413"/>
                <a:gd name="connsiteX1765" fmla="*/ 645780 w 985922"/>
                <a:gd name="connsiteY1765" fmla="*/ 973258 h 1073413"/>
                <a:gd name="connsiteX1766" fmla="*/ 646555 w 985922"/>
                <a:gd name="connsiteY1766" fmla="*/ 973516 h 1073413"/>
                <a:gd name="connsiteX1767" fmla="*/ 647202 w 985922"/>
                <a:gd name="connsiteY1767" fmla="*/ 973387 h 1073413"/>
                <a:gd name="connsiteX1768" fmla="*/ 647719 w 985922"/>
                <a:gd name="connsiteY1768" fmla="*/ 973128 h 1073413"/>
                <a:gd name="connsiteX1769" fmla="*/ 648623 w 985922"/>
                <a:gd name="connsiteY1769" fmla="*/ 972482 h 1073413"/>
                <a:gd name="connsiteX1770" fmla="*/ 649011 w 985922"/>
                <a:gd name="connsiteY1770" fmla="*/ 972224 h 1073413"/>
                <a:gd name="connsiteX1771" fmla="*/ 649398 w 985922"/>
                <a:gd name="connsiteY1771" fmla="*/ 972094 h 1073413"/>
                <a:gd name="connsiteX1772" fmla="*/ 649786 w 985922"/>
                <a:gd name="connsiteY1772" fmla="*/ 972094 h 1073413"/>
                <a:gd name="connsiteX1773" fmla="*/ 650303 w 985922"/>
                <a:gd name="connsiteY1773" fmla="*/ 972482 h 1073413"/>
                <a:gd name="connsiteX1774" fmla="*/ 650820 w 985922"/>
                <a:gd name="connsiteY1774" fmla="*/ 973258 h 1073413"/>
                <a:gd name="connsiteX1775" fmla="*/ 651466 w 985922"/>
                <a:gd name="connsiteY1775" fmla="*/ 974808 h 1073413"/>
                <a:gd name="connsiteX1776" fmla="*/ 651725 w 985922"/>
                <a:gd name="connsiteY1776" fmla="*/ 975842 h 1073413"/>
                <a:gd name="connsiteX1777" fmla="*/ 651854 w 985922"/>
                <a:gd name="connsiteY1777" fmla="*/ 976747 h 1073413"/>
                <a:gd name="connsiteX1778" fmla="*/ 651725 w 985922"/>
                <a:gd name="connsiteY1778" fmla="*/ 977393 h 1073413"/>
                <a:gd name="connsiteX1779" fmla="*/ 650174 w 985922"/>
                <a:gd name="connsiteY1779" fmla="*/ 981270 h 1073413"/>
                <a:gd name="connsiteX1780" fmla="*/ 650045 w 985922"/>
                <a:gd name="connsiteY1780" fmla="*/ 982045 h 1073413"/>
                <a:gd name="connsiteX1781" fmla="*/ 649915 w 985922"/>
                <a:gd name="connsiteY1781" fmla="*/ 983467 h 1073413"/>
                <a:gd name="connsiteX1782" fmla="*/ 649915 w 985922"/>
                <a:gd name="connsiteY1782" fmla="*/ 984113 h 1073413"/>
                <a:gd name="connsiteX1783" fmla="*/ 650432 w 985922"/>
                <a:gd name="connsiteY1783" fmla="*/ 986698 h 1073413"/>
                <a:gd name="connsiteX1784" fmla="*/ 650820 w 985922"/>
                <a:gd name="connsiteY1784" fmla="*/ 987344 h 1073413"/>
                <a:gd name="connsiteX1785" fmla="*/ 651466 w 985922"/>
                <a:gd name="connsiteY1785" fmla="*/ 987861 h 1073413"/>
                <a:gd name="connsiteX1786" fmla="*/ 652759 w 985922"/>
                <a:gd name="connsiteY1786" fmla="*/ 988249 h 1073413"/>
                <a:gd name="connsiteX1787" fmla="*/ 653534 w 985922"/>
                <a:gd name="connsiteY1787" fmla="*/ 988249 h 1073413"/>
                <a:gd name="connsiteX1788" fmla="*/ 654309 w 985922"/>
                <a:gd name="connsiteY1788" fmla="*/ 988119 h 1073413"/>
                <a:gd name="connsiteX1789" fmla="*/ 654826 w 985922"/>
                <a:gd name="connsiteY1789" fmla="*/ 987990 h 1073413"/>
                <a:gd name="connsiteX1790" fmla="*/ 656119 w 985922"/>
                <a:gd name="connsiteY1790" fmla="*/ 987732 h 1073413"/>
                <a:gd name="connsiteX1791" fmla="*/ 657540 w 985922"/>
                <a:gd name="connsiteY1791" fmla="*/ 987732 h 1073413"/>
                <a:gd name="connsiteX1792" fmla="*/ 658833 w 985922"/>
                <a:gd name="connsiteY1792" fmla="*/ 987990 h 1073413"/>
                <a:gd name="connsiteX1793" fmla="*/ 659479 w 985922"/>
                <a:gd name="connsiteY1793" fmla="*/ 988378 h 1073413"/>
                <a:gd name="connsiteX1794" fmla="*/ 659996 w 985922"/>
                <a:gd name="connsiteY1794" fmla="*/ 989024 h 1073413"/>
                <a:gd name="connsiteX1795" fmla="*/ 660771 w 985922"/>
                <a:gd name="connsiteY1795" fmla="*/ 990446 h 1073413"/>
                <a:gd name="connsiteX1796" fmla="*/ 661676 w 985922"/>
                <a:gd name="connsiteY1796" fmla="*/ 994064 h 1073413"/>
                <a:gd name="connsiteX1797" fmla="*/ 662063 w 985922"/>
                <a:gd name="connsiteY1797" fmla="*/ 995098 h 1073413"/>
                <a:gd name="connsiteX1798" fmla="*/ 662709 w 985922"/>
                <a:gd name="connsiteY1798" fmla="*/ 995744 h 1073413"/>
                <a:gd name="connsiteX1799" fmla="*/ 663614 w 985922"/>
                <a:gd name="connsiteY1799" fmla="*/ 996520 h 1073413"/>
                <a:gd name="connsiteX1800" fmla="*/ 668008 w 985922"/>
                <a:gd name="connsiteY1800" fmla="*/ 999234 h 1073413"/>
                <a:gd name="connsiteX1801" fmla="*/ 668525 w 985922"/>
                <a:gd name="connsiteY1801" fmla="*/ 999750 h 1073413"/>
                <a:gd name="connsiteX1802" fmla="*/ 669171 w 985922"/>
                <a:gd name="connsiteY1802" fmla="*/ 1000397 h 1073413"/>
                <a:gd name="connsiteX1803" fmla="*/ 670076 w 985922"/>
                <a:gd name="connsiteY1803" fmla="*/ 1001689 h 1073413"/>
                <a:gd name="connsiteX1804" fmla="*/ 670463 w 985922"/>
                <a:gd name="connsiteY1804" fmla="*/ 1002594 h 1073413"/>
                <a:gd name="connsiteX1805" fmla="*/ 670851 w 985922"/>
                <a:gd name="connsiteY1805" fmla="*/ 1004015 h 1073413"/>
                <a:gd name="connsiteX1806" fmla="*/ 671498 w 985922"/>
                <a:gd name="connsiteY1806" fmla="*/ 1004661 h 1073413"/>
                <a:gd name="connsiteX1807" fmla="*/ 672531 w 985922"/>
                <a:gd name="connsiteY1807" fmla="*/ 1005308 h 1073413"/>
                <a:gd name="connsiteX1808" fmla="*/ 676796 w 985922"/>
                <a:gd name="connsiteY1808" fmla="*/ 1007375 h 1073413"/>
                <a:gd name="connsiteX1809" fmla="*/ 678088 w 985922"/>
                <a:gd name="connsiteY1809" fmla="*/ 1008280 h 1073413"/>
                <a:gd name="connsiteX1810" fmla="*/ 680673 w 985922"/>
                <a:gd name="connsiteY1810" fmla="*/ 1010864 h 1073413"/>
                <a:gd name="connsiteX1811" fmla="*/ 682094 w 985922"/>
                <a:gd name="connsiteY1811" fmla="*/ 1013708 h 1073413"/>
                <a:gd name="connsiteX1812" fmla="*/ 682741 w 985922"/>
                <a:gd name="connsiteY1812" fmla="*/ 1015775 h 1073413"/>
                <a:gd name="connsiteX1813" fmla="*/ 682999 w 985922"/>
                <a:gd name="connsiteY1813" fmla="*/ 1016680 h 1073413"/>
                <a:gd name="connsiteX1814" fmla="*/ 682999 w 985922"/>
                <a:gd name="connsiteY1814" fmla="*/ 1017585 h 1073413"/>
                <a:gd name="connsiteX1815" fmla="*/ 682870 w 985922"/>
                <a:gd name="connsiteY1815" fmla="*/ 1018877 h 1073413"/>
                <a:gd name="connsiteX1816" fmla="*/ 682224 w 985922"/>
                <a:gd name="connsiteY1816" fmla="*/ 1021203 h 1073413"/>
                <a:gd name="connsiteX1817" fmla="*/ 681836 w 985922"/>
                <a:gd name="connsiteY1817" fmla="*/ 1022366 h 1073413"/>
                <a:gd name="connsiteX1818" fmla="*/ 681448 w 985922"/>
                <a:gd name="connsiteY1818" fmla="*/ 1023142 h 1073413"/>
                <a:gd name="connsiteX1819" fmla="*/ 679768 w 985922"/>
                <a:gd name="connsiteY1819" fmla="*/ 1025339 h 1073413"/>
                <a:gd name="connsiteX1820" fmla="*/ 679122 w 985922"/>
                <a:gd name="connsiteY1820" fmla="*/ 1026243 h 1073413"/>
                <a:gd name="connsiteX1821" fmla="*/ 678605 w 985922"/>
                <a:gd name="connsiteY1821" fmla="*/ 1027277 h 1073413"/>
                <a:gd name="connsiteX1822" fmla="*/ 678476 w 985922"/>
                <a:gd name="connsiteY1822" fmla="*/ 1027923 h 1073413"/>
                <a:gd name="connsiteX1823" fmla="*/ 678735 w 985922"/>
                <a:gd name="connsiteY1823" fmla="*/ 1029991 h 1073413"/>
                <a:gd name="connsiteX1824" fmla="*/ 680802 w 985922"/>
                <a:gd name="connsiteY1824" fmla="*/ 1034773 h 1073413"/>
                <a:gd name="connsiteX1825" fmla="*/ 683258 w 985922"/>
                <a:gd name="connsiteY1825" fmla="*/ 1038262 h 1073413"/>
                <a:gd name="connsiteX1826" fmla="*/ 738053 w 985922"/>
                <a:gd name="connsiteY1826" fmla="*/ 1073414 h 1073413"/>
                <a:gd name="connsiteX1827" fmla="*/ 738053 w 985922"/>
                <a:gd name="connsiteY1827" fmla="*/ 1073414 h 1073413"/>
                <a:gd name="connsiteX1828" fmla="*/ 739474 w 985922"/>
                <a:gd name="connsiteY1828" fmla="*/ 1067857 h 1073413"/>
                <a:gd name="connsiteX1829" fmla="*/ 743222 w 985922"/>
                <a:gd name="connsiteY1829" fmla="*/ 1058810 h 1073413"/>
                <a:gd name="connsiteX1830" fmla="*/ 756662 w 985922"/>
                <a:gd name="connsiteY1830" fmla="*/ 1037874 h 1073413"/>
                <a:gd name="connsiteX1831" fmla="*/ 761961 w 985922"/>
                <a:gd name="connsiteY1831" fmla="*/ 1031413 h 1073413"/>
                <a:gd name="connsiteX1832" fmla="*/ 765450 w 985922"/>
                <a:gd name="connsiteY1832" fmla="*/ 1028440 h 1073413"/>
                <a:gd name="connsiteX1833" fmla="*/ 769198 w 985922"/>
                <a:gd name="connsiteY1833" fmla="*/ 1026502 h 1073413"/>
                <a:gd name="connsiteX1834" fmla="*/ 776435 w 985922"/>
                <a:gd name="connsiteY1834" fmla="*/ 1025080 h 1073413"/>
                <a:gd name="connsiteX1835" fmla="*/ 779149 w 985922"/>
                <a:gd name="connsiteY1835" fmla="*/ 1023271 h 1073413"/>
                <a:gd name="connsiteX1836" fmla="*/ 780054 w 985922"/>
                <a:gd name="connsiteY1836" fmla="*/ 1022883 h 1073413"/>
                <a:gd name="connsiteX1837" fmla="*/ 780700 w 985922"/>
                <a:gd name="connsiteY1837" fmla="*/ 1022366 h 1073413"/>
                <a:gd name="connsiteX1838" fmla="*/ 780958 w 985922"/>
                <a:gd name="connsiteY1838" fmla="*/ 1021462 h 1073413"/>
                <a:gd name="connsiteX1839" fmla="*/ 781087 w 985922"/>
                <a:gd name="connsiteY1839" fmla="*/ 1020040 h 1073413"/>
                <a:gd name="connsiteX1840" fmla="*/ 781475 w 985922"/>
                <a:gd name="connsiteY1840" fmla="*/ 1019006 h 1073413"/>
                <a:gd name="connsiteX1841" fmla="*/ 782509 w 985922"/>
                <a:gd name="connsiteY1841" fmla="*/ 1017197 h 1073413"/>
                <a:gd name="connsiteX1842" fmla="*/ 794140 w 985922"/>
                <a:gd name="connsiteY1842" fmla="*/ 1004920 h 1073413"/>
                <a:gd name="connsiteX1843" fmla="*/ 795432 w 985922"/>
                <a:gd name="connsiteY1843" fmla="*/ 1001430 h 1073413"/>
                <a:gd name="connsiteX1844" fmla="*/ 794398 w 985922"/>
                <a:gd name="connsiteY1844" fmla="*/ 998975 h 1073413"/>
                <a:gd name="connsiteX1845" fmla="*/ 792331 w 985922"/>
                <a:gd name="connsiteY1845" fmla="*/ 996390 h 1073413"/>
                <a:gd name="connsiteX1846" fmla="*/ 790522 w 985922"/>
                <a:gd name="connsiteY1846" fmla="*/ 992643 h 1073413"/>
                <a:gd name="connsiteX1847" fmla="*/ 790004 w 985922"/>
                <a:gd name="connsiteY1847" fmla="*/ 990187 h 1073413"/>
                <a:gd name="connsiteX1848" fmla="*/ 790263 w 985922"/>
                <a:gd name="connsiteY1848" fmla="*/ 976101 h 1073413"/>
                <a:gd name="connsiteX1849" fmla="*/ 789875 w 985922"/>
                <a:gd name="connsiteY1849" fmla="*/ 973645 h 1073413"/>
                <a:gd name="connsiteX1850" fmla="*/ 787808 w 985922"/>
                <a:gd name="connsiteY1850" fmla="*/ 968218 h 1073413"/>
                <a:gd name="connsiteX1851" fmla="*/ 786903 w 985922"/>
                <a:gd name="connsiteY1851" fmla="*/ 958525 h 1073413"/>
                <a:gd name="connsiteX1852" fmla="*/ 787808 w 985922"/>
                <a:gd name="connsiteY1852" fmla="*/ 943663 h 1073413"/>
                <a:gd name="connsiteX1853" fmla="*/ 788454 w 985922"/>
                <a:gd name="connsiteY1853" fmla="*/ 941725 h 1073413"/>
                <a:gd name="connsiteX1854" fmla="*/ 790392 w 985922"/>
                <a:gd name="connsiteY1854" fmla="*/ 938494 h 1073413"/>
                <a:gd name="connsiteX1855" fmla="*/ 791943 w 985922"/>
                <a:gd name="connsiteY1855" fmla="*/ 934100 h 1073413"/>
                <a:gd name="connsiteX1856" fmla="*/ 794011 w 985922"/>
                <a:gd name="connsiteY1856" fmla="*/ 920143 h 1073413"/>
                <a:gd name="connsiteX1857" fmla="*/ 796854 w 985922"/>
                <a:gd name="connsiteY1857" fmla="*/ 914327 h 1073413"/>
                <a:gd name="connsiteX1858" fmla="*/ 797113 w 985922"/>
                <a:gd name="connsiteY1858" fmla="*/ 913681 h 1073413"/>
                <a:gd name="connsiteX1859" fmla="*/ 797113 w 985922"/>
                <a:gd name="connsiteY1859" fmla="*/ 912130 h 1073413"/>
                <a:gd name="connsiteX1860" fmla="*/ 795820 w 985922"/>
                <a:gd name="connsiteY1860" fmla="*/ 909545 h 1073413"/>
                <a:gd name="connsiteX1861" fmla="*/ 795562 w 985922"/>
                <a:gd name="connsiteY1861" fmla="*/ 908253 h 1073413"/>
                <a:gd name="connsiteX1862" fmla="*/ 795562 w 985922"/>
                <a:gd name="connsiteY1862" fmla="*/ 903342 h 1073413"/>
                <a:gd name="connsiteX1863" fmla="*/ 800214 w 985922"/>
                <a:gd name="connsiteY1863" fmla="*/ 887576 h 1073413"/>
                <a:gd name="connsiteX1864" fmla="*/ 803574 w 985922"/>
                <a:gd name="connsiteY1864" fmla="*/ 867674 h 1073413"/>
                <a:gd name="connsiteX1865" fmla="*/ 804608 w 985922"/>
                <a:gd name="connsiteY1865" fmla="*/ 865348 h 1073413"/>
                <a:gd name="connsiteX1866" fmla="*/ 804737 w 985922"/>
                <a:gd name="connsiteY1866" fmla="*/ 864314 h 1073413"/>
                <a:gd name="connsiteX1867" fmla="*/ 804220 w 985922"/>
                <a:gd name="connsiteY1867" fmla="*/ 863151 h 1073413"/>
                <a:gd name="connsiteX1868" fmla="*/ 808097 w 985922"/>
                <a:gd name="connsiteY1868" fmla="*/ 857206 h 1073413"/>
                <a:gd name="connsiteX1869" fmla="*/ 809389 w 985922"/>
                <a:gd name="connsiteY1869" fmla="*/ 854621 h 1073413"/>
                <a:gd name="connsiteX1870" fmla="*/ 809519 w 985922"/>
                <a:gd name="connsiteY1870" fmla="*/ 851003 h 1073413"/>
                <a:gd name="connsiteX1871" fmla="*/ 809261 w 985922"/>
                <a:gd name="connsiteY1871" fmla="*/ 848030 h 1073413"/>
                <a:gd name="connsiteX1872" fmla="*/ 809519 w 985922"/>
                <a:gd name="connsiteY1872" fmla="*/ 845316 h 1073413"/>
                <a:gd name="connsiteX1873" fmla="*/ 810294 w 985922"/>
                <a:gd name="connsiteY1873" fmla="*/ 842861 h 1073413"/>
                <a:gd name="connsiteX1874" fmla="*/ 814688 w 985922"/>
                <a:gd name="connsiteY1874" fmla="*/ 835107 h 1073413"/>
                <a:gd name="connsiteX1875" fmla="*/ 815205 w 985922"/>
                <a:gd name="connsiteY1875" fmla="*/ 833298 h 1073413"/>
                <a:gd name="connsiteX1876" fmla="*/ 815722 w 985922"/>
                <a:gd name="connsiteY1876" fmla="*/ 823864 h 1073413"/>
                <a:gd name="connsiteX1877" fmla="*/ 816110 w 985922"/>
                <a:gd name="connsiteY1877" fmla="*/ 822184 h 1073413"/>
                <a:gd name="connsiteX1878" fmla="*/ 817661 w 985922"/>
                <a:gd name="connsiteY1878" fmla="*/ 819082 h 1073413"/>
                <a:gd name="connsiteX1879" fmla="*/ 818178 w 985922"/>
                <a:gd name="connsiteY1879" fmla="*/ 817402 h 1073413"/>
                <a:gd name="connsiteX1880" fmla="*/ 818178 w 985922"/>
                <a:gd name="connsiteY1880" fmla="*/ 815334 h 1073413"/>
                <a:gd name="connsiteX1881" fmla="*/ 820891 w 985922"/>
                <a:gd name="connsiteY1881" fmla="*/ 808097 h 1073413"/>
                <a:gd name="connsiteX1882" fmla="*/ 821150 w 985922"/>
                <a:gd name="connsiteY1882" fmla="*/ 805771 h 1073413"/>
                <a:gd name="connsiteX1883" fmla="*/ 821667 w 985922"/>
                <a:gd name="connsiteY1883" fmla="*/ 804220 h 1073413"/>
                <a:gd name="connsiteX1884" fmla="*/ 824122 w 985922"/>
                <a:gd name="connsiteY1884" fmla="*/ 800343 h 1073413"/>
                <a:gd name="connsiteX1885" fmla="*/ 824639 w 985922"/>
                <a:gd name="connsiteY1885" fmla="*/ 798663 h 1073413"/>
                <a:gd name="connsiteX1886" fmla="*/ 824381 w 985922"/>
                <a:gd name="connsiteY1886" fmla="*/ 797500 h 1073413"/>
                <a:gd name="connsiteX1887" fmla="*/ 822959 w 985922"/>
                <a:gd name="connsiteY1887" fmla="*/ 795174 h 1073413"/>
                <a:gd name="connsiteX1888" fmla="*/ 822442 w 985922"/>
                <a:gd name="connsiteY1888" fmla="*/ 794140 h 1073413"/>
                <a:gd name="connsiteX1889" fmla="*/ 821796 w 985922"/>
                <a:gd name="connsiteY1889" fmla="*/ 790909 h 1073413"/>
                <a:gd name="connsiteX1890" fmla="*/ 821409 w 985922"/>
                <a:gd name="connsiteY1890" fmla="*/ 790004 h 1073413"/>
                <a:gd name="connsiteX1891" fmla="*/ 820116 w 985922"/>
                <a:gd name="connsiteY1891" fmla="*/ 788066 h 1073413"/>
                <a:gd name="connsiteX1892" fmla="*/ 818048 w 985922"/>
                <a:gd name="connsiteY1892" fmla="*/ 783414 h 1073413"/>
                <a:gd name="connsiteX1893" fmla="*/ 815981 w 985922"/>
                <a:gd name="connsiteY1893" fmla="*/ 766872 h 1073413"/>
                <a:gd name="connsiteX1894" fmla="*/ 812750 w 985922"/>
                <a:gd name="connsiteY1894" fmla="*/ 749684 h 1073413"/>
                <a:gd name="connsiteX1895" fmla="*/ 812104 w 985922"/>
                <a:gd name="connsiteY1895" fmla="*/ 740249 h 1073413"/>
                <a:gd name="connsiteX1896" fmla="*/ 809777 w 985922"/>
                <a:gd name="connsiteY1896" fmla="*/ 730169 h 1073413"/>
                <a:gd name="connsiteX1897" fmla="*/ 809002 w 985922"/>
                <a:gd name="connsiteY1897" fmla="*/ 701350 h 1073413"/>
                <a:gd name="connsiteX1898" fmla="*/ 807451 w 985922"/>
                <a:gd name="connsiteY1898" fmla="*/ 693596 h 1073413"/>
                <a:gd name="connsiteX1899" fmla="*/ 807063 w 985922"/>
                <a:gd name="connsiteY1899" fmla="*/ 688815 h 1073413"/>
                <a:gd name="connsiteX1900" fmla="*/ 807451 w 985922"/>
                <a:gd name="connsiteY1900" fmla="*/ 684292 h 1073413"/>
                <a:gd name="connsiteX1901" fmla="*/ 806676 w 985922"/>
                <a:gd name="connsiteY1901" fmla="*/ 684162 h 1073413"/>
                <a:gd name="connsiteX1902" fmla="*/ 805642 w 985922"/>
                <a:gd name="connsiteY1902" fmla="*/ 684421 h 1073413"/>
                <a:gd name="connsiteX1903" fmla="*/ 804737 w 985922"/>
                <a:gd name="connsiteY1903" fmla="*/ 684550 h 1073413"/>
                <a:gd name="connsiteX1904" fmla="*/ 804091 w 985922"/>
                <a:gd name="connsiteY1904" fmla="*/ 683904 h 1073413"/>
                <a:gd name="connsiteX1905" fmla="*/ 804220 w 985922"/>
                <a:gd name="connsiteY1905" fmla="*/ 682741 h 1073413"/>
                <a:gd name="connsiteX1906" fmla="*/ 804996 w 985922"/>
                <a:gd name="connsiteY1906" fmla="*/ 682224 h 1073413"/>
                <a:gd name="connsiteX1907" fmla="*/ 806288 w 985922"/>
                <a:gd name="connsiteY1907" fmla="*/ 681836 h 1073413"/>
                <a:gd name="connsiteX1908" fmla="*/ 805900 w 985922"/>
                <a:gd name="connsiteY1908" fmla="*/ 680414 h 1073413"/>
                <a:gd name="connsiteX1909" fmla="*/ 804350 w 985922"/>
                <a:gd name="connsiteY1909" fmla="*/ 678864 h 1073413"/>
                <a:gd name="connsiteX1910" fmla="*/ 803962 w 985922"/>
                <a:gd name="connsiteY1910" fmla="*/ 677571 h 1073413"/>
                <a:gd name="connsiteX1911" fmla="*/ 802540 w 985922"/>
                <a:gd name="connsiteY1911" fmla="*/ 668913 h 1073413"/>
                <a:gd name="connsiteX1912" fmla="*/ 802669 w 985922"/>
                <a:gd name="connsiteY1912" fmla="*/ 666716 h 1073413"/>
                <a:gd name="connsiteX1913" fmla="*/ 803703 w 985922"/>
                <a:gd name="connsiteY1913" fmla="*/ 663097 h 1073413"/>
                <a:gd name="connsiteX1914" fmla="*/ 804220 w 985922"/>
                <a:gd name="connsiteY1914" fmla="*/ 659737 h 1073413"/>
                <a:gd name="connsiteX1915" fmla="*/ 806159 w 985922"/>
                <a:gd name="connsiteY1915" fmla="*/ 653922 h 1073413"/>
                <a:gd name="connsiteX1916" fmla="*/ 806934 w 985922"/>
                <a:gd name="connsiteY1916" fmla="*/ 645651 h 1073413"/>
                <a:gd name="connsiteX1917" fmla="*/ 809131 w 985922"/>
                <a:gd name="connsiteY1917" fmla="*/ 640352 h 1073413"/>
                <a:gd name="connsiteX1918" fmla="*/ 809131 w 985922"/>
                <a:gd name="connsiteY1918" fmla="*/ 638543 h 1073413"/>
                <a:gd name="connsiteX1919" fmla="*/ 808873 w 985922"/>
                <a:gd name="connsiteY1919" fmla="*/ 636863 h 1073413"/>
                <a:gd name="connsiteX1920" fmla="*/ 809002 w 985922"/>
                <a:gd name="connsiteY1920" fmla="*/ 635441 h 1073413"/>
                <a:gd name="connsiteX1921" fmla="*/ 809907 w 985922"/>
                <a:gd name="connsiteY1921" fmla="*/ 634278 h 1073413"/>
                <a:gd name="connsiteX1922" fmla="*/ 809261 w 985922"/>
                <a:gd name="connsiteY1922" fmla="*/ 632856 h 1073413"/>
                <a:gd name="connsiteX1923" fmla="*/ 809777 w 985922"/>
                <a:gd name="connsiteY1923" fmla="*/ 631693 h 1073413"/>
                <a:gd name="connsiteX1924" fmla="*/ 810682 w 985922"/>
                <a:gd name="connsiteY1924" fmla="*/ 630530 h 1073413"/>
                <a:gd name="connsiteX1925" fmla="*/ 811457 w 985922"/>
                <a:gd name="connsiteY1925" fmla="*/ 629109 h 1073413"/>
                <a:gd name="connsiteX1926" fmla="*/ 811587 w 985922"/>
                <a:gd name="connsiteY1926" fmla="*/ 627687 h 1073413"/>
                <a:gd name="connsiteX1927" fmla="*/ 810811 w 985922"/>
                <a:gd name="connsiteY1927" fmla="*/ 624198 h 1073413"/>
                <a:gd name="connsiteX1928" fmla="*/ 810811 w 985922"/>
                <a:gd name="connsiteY1928" fmla="*/ 619675 h 1073413"/>
                <a:gd name="connsiteX1929" fmla="*/ 811070 w 985922"/>
                <a:gd name="connsiteY1929" fmla="*/ 618124 h 1073413"/>
                <a:gd name="connsiteX1930" fmla="*/ 813008 w 985922"/>
                <a:gd name="connsiteY1930" fmla="*/ 614764 h 1073413"/>
                <a:gd name="connsiteX1931" fmla="*/ 813267 w 985922"/>
                <a:gd name="connsiteY1931" fmla="*/ 613471 h 1073413"/>
                <a:gd name="connsiteX1932" fmla="*/ 813396 w 985922"/>
                <a:gd name="connsiteY1932" fmla="*/ 610887 h 1073413"/>
                <a:gd name="connsiteX1933" fmla="*/ 813654 w 985922"/>
                <a:gd name="connsiteY1933" fmla="*/ 609595 h 1073413"/>
                <a:gd name="connsiteX1934" fmla="*/ 814171 w 985922"/>
                <a:gd name="connsiteY1934" fmla="*/ 608302 h 1073413"/>
                <a:gd name="connsiteX1935" fmla="*/ 815463 w 985922"/>
                <a:gd name="connsiteY1935" fmla="*/ 606105 h 1073413"/>
                <a:gd name="connsiteX1936" fmla="*/ 817919 w 985922"/>
                <a:gd name="connsiteY1936" fmla="*/ 595379 h 1073413"/>
                <a:gd name="connsiteX1937" fmla="*/ 817402 w 985922"/>
                <a:gd name="connsiteY1937" fmla="*/ 593053 h 1073413"/>
                <a:gd name="connsiteX1938" fmla="*/ 817273 w 985922"/>
                <a:gd name="connsiteY1938" fmla="*/ 583619 h 1073413"/>
                <a:gd name="connsiteX1939" fmla="*/ 816627 w 985922"/>
                <a:gd name="connsiteY1939" fmla="*/ 582714 h 1073413"/>
                <a:gd name="connsiteX1940" fmla="*/ 815205 w 985922"/>
                <a:gd name="connsiteY1940" fmla="*/ 582843 h 1073413"/>
                <a:gd name="connsiteX1941" fmla="*/ 813654 w 985922"/>
                <a:gd name="connsiteY1941" fmla="*/ 583619 h 1073413"/>
                <a:gd name="connsiteX1942" fmla="*/ 812491 w 985922"/>
                <a:gd name="connsiteY1942" fmla="*/ 584394 h 1073413"/>
                <a:gd name="connsiteX1943" fmla="*/ 811457 w 985922"/>
                <a:gd name="connsiteY1943" fmla="*/ 585686 h 1073413"/>
                <a:gd name="connsiteX1944" fmla="*/ 810811 w 985922"/>
                <a:gd name="connsiteY1944" fmla="*/ 587237 h 1073413"/>
                <a:gd name="connsiteX1945" fmla="*/ 811070 w 985922"/>
                <a:gd name="connsiteY1945" fmla="*/ 588271 h 1073413"/>
                <a:gd name="connsiteX1946" fmla="*/ 812879 w 985922"/>
                <a:gd name="connsiteY1946" fmla="*/ 587883 h 1073413"/>
                <a:gd name="connsiteX1947" fmla="*/ 812362 w 985922"/>
                <a:gd name="connsiteY1947" fmla="*/ 588917 h 1073413"/>
                <a:gd name="connsiteX1948" fmla="*/ 812104 w 985922"/>
                <a:gd name="connsiteY1948" fmla="*/ 589305 h 1073413"/>
                <a:gd name="connsiteX1949" fmla="*/ 813396 w 985922"/>
                <a:gd name="connsiteY1949" fmla="*/ 589563 h 1073413"/>
                <a:gd name="connsiteX1950" fmla="*/ 814300 w 985922"/>
                <a:gd name="connsiteY1950" fmla="*/ 589951 h 1073413"/>
                <a:gd name="connsiteX1951" fmla="*/ 814817 w 985922"/>
                <a:gd name="connsiteY1951" fmla="*/ 590726 h 1073413"/>
                <a:gd name="connsiteX1952" fmla="*/ 815076 w 985922"/>
                <a:gd name="connsiteY1952" fmla="*/ 591889 h 1073413"/>
                <a:gd name="connsiteX1953" fmla="*/ 814817 w 985922"/>
                <a:gd name="connsiteY1953" fmla="*/ 592277 h 1073413"/>
                <a:gd name="connsiteX1954" fmla="*/ 813783 w 985922"/>
                <a:gd name="connsiteY1954" fmla="*/ 592406 h 1073413"/>
                <a:gd name="connsiteX1955" fmla="*/ 813267 w 985922"/>
                <a:gd name="connsiteY1955" fmla="*/ 592665 h 1073413"/>
                <a:gd name="connsiteX1956" fmla="*/ 812879 w 985922"/>
                <a:gd name="connsiteY1956" fmla="*/ 593311 h 1073413"/>
                <a:gd name="connsiteX1957" fmla="*/ 813137 w 985922"/>
                <a:gd name="connsiteY1957" fmla="*/ 593570 h 1073413"/>
                <a:gd name="connsiteX1958" fmla="*/ 813525 w 985922"/>
                <a:gd name="connsiteY1958" fmla="*/ 593828 h 1073413"/>
                <a:gd name="connsiteX1959" fmla="*/ 813654 w 985922"/>
                <a:gd name="connsiteY1959" fmla="*/ 594345 h 1073413"/>
                <a:gd name="connsiteX1960" fmla="*/ 813008 w 985922"/>
                <a:gd name="connsiteY1960" fmla="*/ 596283 h 1073413"/>
                <a:gd name="connsiteX1961" fmla="*/ 812879 w 985922"/>
                <a:gd name="connsiteY1961" fmla="*/ 597576 h 1073413"/>
                <a:gd name="connsiteX1962" fmla="*/ 813396 w 985922"/>
                <a:gd name="connsiteY1962" fmla="*/ 598093 h 1073413"/>
                <a:gd name="connsiteX1963" fmla="*/ 814300 w 985922"/>
                <a:gd name="connsiteY1963" fmla="*/ 598610 h 1073413"/>
                <a:gd name="connsiteX1964" fmla="*/ 814430 w 985922"/>
                <a:gd name="connsiteY1964" fmla="*/ 599644 h 1073413"/>
                <a:gd name="connsiteX1965" fmla="*/ 814300 w 985922"/>
                <a:gd name="connsiteY1965" fmla="*/ 600936 h 1073413"/>
                <a:gd name="connsiteX1966" fmla="*/ 814559 w 985922"/>
                <a:gd name="connsiteY1966" fmla="*/ 601840 h 1073413"/>
                <a:gd name="connsiteX1967" fmla="*/ 809648 w 985922"/>
                <a:gd name="connsiteY1967" fmla="*/ 604425 h 1073413"/>
                <a:gd name="connsiteX1968" fmla="*/ 807322 w 985922"/>
                <a:gd name="connsiteY1968" fmla="*/ 605200 h 1073413"/>
                <a:gd name="connsiteX1969" fmla="*/ 805254 w 985922"/>
                <a:gd name="connsiteY1969" fmla="*/ 605459 h 1073413"/>
                <a:gd name="connsiteX1970" fmla="*/ 803057 w 985922"/>
                <a:gd name="connsiteY1970" fmla="*/ 606622 h 1073413"/>
                <a:gd name="connsiteX1971" fmla="*/ 803703 w 985922"/>
                <a:gd name="connsiteY1971" fmla="*/ 609207 h 1073413"/>
                <a:gd name="connsiteX1972" fmla="*/ 806159 w 985922"/>
                <a:gd name="connsiteY1972" fmla="*/ 613859 h 1073413"/>
                <a:gd name="connsiteX1973" fmla="*/ 805513 w 985922"/>
                <a:gd name="connsiteY1973" fmla="*/ 613859 h 1073413"/>
                <a:gd name="connsiteX1974" fmla="*/ 804866 w 985922"/>
                <a:gd name="connsiteY1974" fmla="*/ 612308 h 1073413"/>
                <a:gd name="connsiteX1975" fmla="*/ 803833 w 985922"/>
                <a:gd name="connsiteY1975" fmla="*/ 611662 h 1073413"/>
                <a:gd name="connsiteX1976" fmla="*/ 802669 w 985922"/>
                <a:gd name="connsiteY1976" fmla="*/ 611145 h 1073413"/>
                <a:gd name="connsiteX1977" fmla="*/ 801894 w 985922"/>
                <a:gd name="connsiteY1977" fmla="*/ 610111 h 1073413"/>
                <a:gd name="connsiteX1978" fmla="*/ 801765 w 985922"/>
                <a:gd name="connsiteY1978" fmla="*/ 608690 h 1073413"/>
                <a:gd name="connsiteX1979" fmla="*/ 802152 w 985922"/>
                <a:gd name="connsiteY1979" fmla="*/ 607397 h 1073413"/>
                <a:gd name="connsiteX1980" fmla="*/ 802799 w 985922"/>
                <a:gd name="connsiteY1980" fmla="*/ 606364 h 1073413"/>
                <a:gd name="connsiteX1981" fmla="*/ 803445 w 985922"/>
                <a:gd name="connsiteY1981" fmla="*/ 605718 h 1073413"/>
                <a:gd name="connsiteX1982" fmla="*/ 802152 w 985922"/>
                <a:gd name="connsiteY1982" fmla="*/ 604167 h 1073413"/>
                <a:gd name="connsiteX1983" fmla="*/ 802411 w 985922"/>
                <a:gd name="connsiteY1983" fmla="*/ 603133 h 1073413"/>
                <a:gd name="connsiteX1984" fmla="*/ 804220 w 985922"/>
                <a:gd name="connsiteY1984" fmla="*/ 601194 h 1073413"/>
                <a:gd name="connsiteX1985" fmla="*/ 805771 w 985922"/>
                <a:gd name="connsiteY1985" fmla="*/ 602874 h 1073413"/>
                <a:gd name="connsiteX1986" fmla="*/ 807063 w 985922"/>
                <a:gd name="connsiteY1986" fmla="*/ 603262 h 1073413"/>
                <a:gd name="connsiteX1987" fmla="*/ 811328 w 985922"/>
                <a:gd name="connsiteY1987" fmla="*/ 602616 h 1073413"/>
                <a:gd name="connsiteX1988" fmla="*/ 812104 w 985922"/>
                <a:gd name="connsiteY1988" fmla="*/ 602228 h 1073413"/>
                <a:gd name="connsiteX1989" fmla="*/ 812233 w 985922"/>
                <a:gd name="connsiteY1989" fmla="*/ 601323 h 1073413"/>
                <a:gd name="connsiteX1990" fmla="*/ 811845 w 985922"/>
                <a:gd name="connsiteY1990" fmla="*/ 600160 h 1073413"/>
                <a:gd name="connsiteX1991" fmla="*/ 810424 w 985922"/>
                <a:gd name="connsiteY1991" fmla="*/ 597834 h 1073413"/>
                <a:gd name="connsiteX1992" fmla="*/ 810424 w 985922"/>
                <a:gd name="connsiteY1992" fmla="*/ 596671 h 1073413"/>
                <a:gd name="connsiteX1993" fmla="*/ 810682 w 985922"/>
                <a:gd name="connsiteY1993" fmla="*/ 595508 h 1073413"/>
                <a:gd name="connsiteX1994" fmla="*/ 810811 w 985922"/>
                <a:gd name="connsiteY1994" fmla="*/ 594216 h 1073413"/>
                <a:gd name="connsiteX1995" fmla="*/ 810294 w 985922"/>
                <a:gd name="connsiteY1995" fmla="*/ 592923 h 1073413"/>
                <a:gd name="connsiteX1996" fmla="*/ 809131 w 985922"/>
                <a:gd name="connsiteY1996" fmla="*/ 591114 h 1073413"/>
                <a:gd name="connsiteX1997" fmla="*/ 807580 w 985922"/>
                <a:gd name="connsiteY1997" fmla="*/ 589563 h 1073413"/>
                <a:gd name="connsiteX1998" fmla="*/ 805513 w 985922"/>
                <a:gd name="connsiteY1998" fmla="*/ 588659 h 1073413"/>
                <a:gd name="connsiteX1999" fmla="*/ 803833 w 985922"/>
                <a:gd name="connsiteY1999" fmla="*/ 587625 h 1073413"/>
                <a:gd name="connsiteX2000" fmla="*/ 803187 w 985922"/>
                <a:gd name="connsiteY2000" fmla="*/ 587366 h 1073413"/>
                <a:gd name="connsiteX2001" fmla="*/ 802411 w 985922"/>
                <a:gd name="connsiteY2001" fmla="*/ 583748 h 1073413"/>
                <a:gd name="connsiteX2002" fmla="*/ 802023 w 985922"/>
                <a:gd name="connsiteY2002" fmla="*/ 582714 h 1073413"/>
                <a:gd name="connsiteX2003" fmla="*/ 802799 w 985922"/>
                <a:gd name="connsiteY2003" fmla="*/ 579741 h 1073413"/>
                <a:gd name="connsiteX2004" fmla="*/ 804737 w 985922"/>
                <a:gd name="connsiteY2004" fmla="*/ 580646 h 1073413"/>
                <a:gd name="connsiteX2005" fmla="*/ 806288 w 985922"/>
                <a:gd name="connsiteY2005" fmla="*/ 581034 h 1073413"/>
                <a:gd name="connsiteX2006" fmla="*/ 809131 w 985922"/>
                <a:gd name="connsiteY2006" fmla="*/ 581163 h 1073413"/>
                <a:gd name="connsiteX2007" fmla="*/ 810036 w 985922"/>
                <a:gd name="connsiteY2007" fmla="*/ 580517 h 1073413"/>
                <a:gd name="connsiteX2008" fmla="*/ 810682 w 985922"/>
                <a:gd name="connsiteY2008" fmla="*/ 579225 h 1073413"/>
                <a:gd name="connsiteX2009" fmla="*/ 810294 w 985922"/>
                <a:gd name="connsiteY2009" fmla="*/ 577932 h 1073413"/>
                <a:gd name="connsiteX2010" fmla="*/ 806546 w 985922"/>
                <a:gd name="connsiteY2010" fmla="*/ 576769 h 1073413"/>
                <a:gd name="connsiteX2011" fmla="*/ 805383 w 985922"/>
                <a:gd name="connsiteY2011" fmla="*/ 575218 h 1073413"/>
                <a:gd name="connsiteX2012" fmla="*/ 803574 w 985922"/>
                <a:gd name="connsiteY2012" fmla="*/ 571471 h 1073413"/>
                <a:gd name="connsiteX2013" fmla="*/ 802411 w 985922"/>
                <a:gd name="connsiteY2013" fmla="*/ 570178 h 1073413"/>
                <a:gd name="connsiteX2014" fmla="*/ 797759 w 985922"/>
                <a:gd name="connsiteY2014" fmla="*/ 567723 h 1073413"/>
                <a:gd name="connsiteX2015" fmla="*/ 798405 w 985922"/>
                <a:gd name="connsiteY2015" fmla="*/ 566818 h 1073413"/>
                <a:gd name="connsiteX2016" fmla="*/ 798663 w 985922"/>
                <a:gd name="connsiteY2016" fmla="*/ 565914 h 1073413"/>
                <a:gd name="connsiteX2017" fmla="*/ 798534 w 985922"/>
                <a:gd name="connsiteY2017" fmla="*/ 565009 h 1073413"/>
                <a:gd name="connsiteX2018" fmla="*/ 797888 w 985922"/>
                <a:gd name="connsiteY2018" fmla="*/ 564104 h 1073413"/>
                <a:gd name="connsiteX2019" fmla="*/ 794786 w 985922"/>
                <a:gd name="connsiteY2019" fmla="*/ 566430 h 1073413"/>
                <a:gd name="connsiteX2020" fmla="*/ 794269 w 985922"/>
                <a:gd name="connsiteY2020" fmla="*/ 565655 h 1073413"/>
                <a:gd name="connsiteX2021" fmla="*/ 795045 w 985922"/>
                <a:gd name="connsiteY2021" fmla="*/ 563717 h 1073413"/>
                <a:gd name="connsiteX2022" fmla="*/ 795949 w 985922"/>
                <a:gd name="connsiteY2022" fmla="*/ 562683 h 1073413"/>
                <a:gd name="connsiteX2023" fmla="*/ 798276 w 985922"/>
                <a:gd name="connsiteY2023" fmla="*/ 562553 h 1073413"/>
                <a:gd name="connsiteX2024" fmla="*/ 799439 w 985922"/>
                <a:gd name="connsiteY2024" fmla="*/ 562683 h 1073413"/>
                <a:gd name="connsiteX2025" fmla="*/ 800343 w 985922"/>
                <a:gd name="connsiteY2025" fmla="*/ 563070 h 1073413"/>
                <a:gd name="connsiteX2026" fmla="*/ 800860 w 985922"/>
                <a:gd name="connsiteY2026" fmla="*/ 566172 h 1073413"/>
                <a:gd name="connsiteX2027" fmla="*/ 801248 w 985922"/>
                <a:gd name="connsiteY2027" fmla="*/ 566301 h 1073413"/>
                <a:gd name="connsiteX2028" fmla="*/ 801765 w 985922"/>
                <a:gd name="connsiteY2028" fmla="*/ 566172 h 1073413"/>
                <a:gd name="connsiteX2029" fmla="*/ 802282 w 985922"/>
                <a:gd name="connsiteY2029" fmla="*/ 566430 h 1073413"/>
                <a:gd name="connsiteX2030" fmla="*/ 803057 w 985922"/>
                <a:gd name="connsiteY2030" fmla="*/ 567206 h 1073413"/>
                <a:gd name="connsiteX2031" fmla="*/ 803833 w 985922"/>
                <a:gd name="connsiteY2031" fmla="*/ 567723 h 1073413"/>
                <a:gd name="connsiteX2032" fmla="*/ 804479 w 985922"/>
                <a:gd name="connsiteY2032" fmla="*/ 568369 h 1073413"/>
                <a:gd name="connsiteX2033" fmla="*/ 805254 w 985922"/>
                <a:gd name="connsiteY2033" fmla="*/ 569532 h 1073413"/>
                <a:gd name="connsiteX2034" fmla="*/ 805642 w 985922"/>
                <a:gd name="connsiteY2034" fmla="*/ 570695 h 1073413"/>
                <a:gd name="connsiteX2035" fmla="*/ 805900 w 985922"/>
                <a:gd name="connsiteY2035" fmla="*/ 571988 h 1073413"/>
                <a:gd name="connsiteX2036" fmla="*/ 806288 w 985922"/>
                <a:gd name="connsiteY2036" fmla="*/ 573280 h 1073413"/>
                <a:gd name="connsiteX2037" fmla="*/ 807063 w 985922"/>
                <a:gd name="connsiteY2037" fmla="*/ 574314 h 1073413"/>
                <a:gd name="connsiteX2038" fmla="*/ 809002 w 985922"/>
                <a:gd name="connsiteY2038" fmla="*/ 576123 h 1073413"/>
                <a:gd name="connsiteX2039" fmla="*/ 810036 w 985922"/>
                <a:gd name="connsiteY2039" fmla="*/ 576640 h 1073413"/>
                <a:gd name="connsiteX2040" fmla="*/ 811457 w 985922"/>
                <a:gd name="connsiteY2040" fmla="*/ 576898 h 1073413"/>
                <a:gd name="connsiteX2041" fmla="*/ 812362 w 985922"/>
                <a:gd name="connsiteY2041" fmla="*/ 576511 h 1073413"/>
                <a:gd name="connsiteX2042" fmla="*/ 812104 w 985922"/>
                <a:gd name="connsiteY2042" fmla="*/ 575606 h 1073413"/>
                <a:gd name="connsiteX2043" fmla="*/ 811070 w 985922"/>
                <a:gd name="connsiteY2043" fmla="*/ 573926 h 1073413"/>
                <a:gd name="connsiteX2044" fmla="*/ 810811 w 985922"/>
                <a:gd name="connsiteY2044" fmla="*/ 571988 h 1073413"/>
                <a:gd name="connsiteX2045" fmla="*/ 811070 w 985922"/>
                <a:gd name="connsiteY2045" fmla="*/ 565267 h 1073413"/>
                <a:gd name="connsiteX2046" fmla="*/ 811716 w 985922"/>
                <a:gd name="connsiteY2046" fmla="*/ 562812 h 1073413"/>
                <a:gd name="connsiteX2047" fmla="*/ 812879 w 985922"/>
                <a:gd name="connsiteY2047" fmla="*/ 560873 h 1073413"/>
                <a:gd name="connsiteX2048" fmla="*/ 813783 w 985922"/>
                <a:gd name="connsiteY2048" fmla="*/ 558806 h 1073413"/>
                <a:gd name="connsiteX2049" fmla="*/ 813525 w 985922"/>
                <a:gd name="connsiteY2049" fmla="*/ 555963 h 1073413"/>
                <a:gd name="connsiteX2050" fmla="*/ 812362 w 985922"/>
                <a:gd name="connsiteY2050" fmla="*/ 553507 h 1073413"/>
                <a:gd name="connsiteX2051" fmla="*/ 811199 w 985922"/>
                <a:gd name="connsiteY2051" fmla="*/ 551569 h 1073413"/>
                <a:gd name="connsiteX2052" fmla="*/ 810165 w 985922"/>
                <a:gd name="connsiteY2052" fmla="*/ 549372 h 1073413"/>
                <a:gd name="connsiteX2053" fmla="*/ 809777 w 985922"/>
                <a:gd name="connsiteY2053" fmla="*/ 546529 h 1073413"/>
                <a:gd name="connsiteX2054" fmla="*/ 810036 w 985922"/>
                <a:gd name="connsiteY2054" fmla="*/ 545624 h 1073413"/>
                <a:gd name="connsiteX2055" fmla="*/ 810682 w 985922"/>
                <a:gd name="connsiteY2055" fmla="*/ 544978 h 1073413"/>
                <a:gd name="connsiteX2056" fmla="*/ 811070 w 985922"/>
                <a:gd name="connsiteY2056" fmla="*/ 544332 h 1073413"/>
                <a:gd name="connsiteX2057" fmla="*/ 810811 w 985922"/>
                <a:gd name="connsiteY2057" fmla="*/ 543556 h 1073413"/>
                <a:gd name="connsiteX2058" fmla="*/ 810036 w 985922"/>
                <a:gd name="connsiteY2058" fmla="*/ 542264 h 1073413"/>
                <a:gd name="connsiteX2059" fmla="*/ 809648 w 985922"/>
                <a:gd name="connsiteY2059" fmla="*/ 540325 h 1073413"/>
                <a:gd name="connsiteX2060" fmla="*/ 809131 w 985922"/>
                <a:gd name="connsiteY2060" fmla="*/ 539421 h 1073413"/>
                <a:gd name="connsiteX2061" fmla="*/ 806417 w 985922"/>
                <a:gd name="connsiteY2061" fmla="*/ 537999 h 1073413"/>
                <a:gd name="connsiteX2062" fmla="*/ 804091 w 985922"/>
                <a:gd name="connsiteY2062" fmla="*/ 539162 h 1073413"/>
                <a:gd name="connsiteX2063" fmla="*/ 802411 w 985922"/>
                <a:gd name="connsiteY2063" fmla="*/ 541618 h 1073413"/>
                <a:gd name="connsiteX2064" fmla="*/ 801765 w 985922"/>
                <a:gd name="connsiteY2064" fmla="*/ 544202 h 1073413"/>
                <a:gd name="connsiteX2065" fmla="*/ 802152 w 985922"/>
                <a:gd name="connsiteY2065" fmla="*/ 549501 h 1073413"/>
                <a:gd name="connsiteX2066" fmla="*/ 801119 w 985922"/>
                <a:gd name="connsiteY2066" fmla="*/ 551052 h 1073413"/>
                <a:gd name="connsiteX2067" fmla="*/ 798017 w 985922"/>
                <a:gd name="connsiteY2067" fmla="*/ 551310 h 1073413"/>
                <a:gd name="connsiteX2068" fmla="*/ 798017 w 985922"/>
                <a:gd name="connsiteY2068" fmla="*/ 550535 h 1073413"/>
                <a:gd name="connsiteX2069" fmla="*/ 800602 w 985922"/>
                <a:gd name="connsiteY2069" fmla="*/ 549889 h 1073413"/>
                <a:gd name="connsiteX2070" fmla="*/ 801377 w 985922"/>
                <a:gd name="connsiteY2070" fmla="*/ 548209 h 1073413"/>
                <a:gd name="connsiteX2071" fmla="*/ 800989 w 985922"/>
                <a:gd name="connsiteY2071" fmla="*/ 543298 h 1073413"/>
                <a:gd name="connsiteX2072" fmla="*/ 801248 w 985922"/>
                <a:gd name="connsiteY2072" fmla="*/ 541101 h 1073413"/>
                <a:gd name="connsiteX2073" fmla="*/ 801894 w 985922"/>
                <a:gd name="connsiteY2073" fmla="*/ 539033 h 1073413"/>
                <a:gd name="connsiteX2074" fmla="*/ 802799 w 985922"/>
                <a:gd name="connsiteY2074" fmla="*/ 537353 h 1073413"/>
                <a:gd name="connsiteX2075" fmla="*/ 803962 w 985922"/>
                <a:gd name="connsiteY2075" fmla="*/ 536319 h 1073413"/>
                <a:gd name="connsiteX2076" fmla="*/ 803057 w 985922"/>
                <a:gd name="connsiteY2076" fmla="*/ 533088 h 1073413"/>
                <a:gd name="connsiteX2077" fmla="*/ 803703 w 985922"/>
                <a:gd name="connsiteY2077" fmla="*/ 528694 h 1073413"/>
                <a:gd name="connsiteX2078" fmla="*/ 806159 w 985922"/>
                <a:gd name="connsiteY2078" fmla="*/ 521328 h 1073413"/>
                <a:gd name="connsiteX2079" fmla="*/ 806417 w 985922"/>
                <a:gd name="connsiteY2079" fmla="*/ 522362 h 1073413"/>
                <a:gd name="connsiteX2080" fmla="*/ 806546 w 985922"/>
                <a:gd name="connsiteY2080" fmla="*/ 523266 h 1073413"/>
                <a:gd name="connsiteX2081" fmla="*/ 806417 w 985922"/>
                <a:gd name="connsiteY2081" fmla="*/ 524042 h 1073413"/>
                <a:gd name="connsiteX2082" fmla="*/ 806159 w 985922"/>
                <a:gd name="connsiteY2082" fmla="*/ 524947 h 1073413"/>
                <a:gd name="connsiteX2083" fmla="*/ 809389 w 985922"/>
                <a:gd name="connsiteY2083" fmla="*/ 524300 h 1073413"/>
                <a:gd name="connsiteX2084" fmla="*/ 810553 w 985922"/>
                <a:gd name="connsiteY2084" fmla="*/ 524300 h 1073413"/>
                <a:gd name="connsiteX2085" fmla="*/ 811587 w 985922"/>
                <a:gd name="connsiteY2085" fmla="*/ 524688 h 1073413"/>
                <a:gd name="connsiteX2086" fmla="*/ 814300 w 985922"/>
                <a:gd name="connsiteY2086" fmla="*/ 526497 h 1073413"/>
                <a:gd name="connsiteX2087" fmla="*/ 815335 w 985922"/>
                <a:gd name="connsiteY2087" fmla="*/ 525593 h 1073413"/>
                <a:gd name="connsiteX2088" fmla="*/ 815076 w 985922"/>
                <a:gd name="connsiteY2088" fmla="*/ 523913 h 1073413"/>
                <a:gd name="connsiteX2089" fmla="*/ 813525 w 985922"/>
                <a:gd name="connsiteY2089" fmla="*/ 520552 h 1073413"/>
                <a:gd name="connsiteX2090" fmla="*/ 814300 w 985922"/>
                <a:gd name="connsiteY2090" fmla="*/ 518356 h 1073413"/>
                <a:gd name="connsiteX2091" fmla="*/ 814947 w 985922"/>
                <a:gd name="connsiteY2091" fmla="*/ 513832 h 1073413"/>
                <a:gd name="connsiteX2092" fmla="*/ 815981 w 985922"/>
                <a:gd name="connsiteY2092" fmla="*/ 511894 h 1073413"/>
                <a:gd name="connsiteX2093" fmla="*/ 817661 w 985922"/>
                <a:gd name="connsiteY2093" fmla="*/ 510343 h 1073413"/>
                <a:gd name="connsiteX2094" fmla="*/ 823735 w 985922"/>
                <a:gd name="connsiteY2094" fmla="*/ 506208 h 1073413"/>
                <a:gd name="connsiteX2095" fmla="*/ 826319 w 985922"/>
                <a:gd name="connsiteY2095" fmla="*/ 503365 h 1073413"/>
                <a:gd name="connsiteX2096" fmla="*/ 827353 w 985922"/>
                <a:gd name="connsiteY2096" fmla="*/ 502589 h 1073413"/>
                <a:gd name="connsiteX2097" fmla="*/ 828516 w 985922"/>
                <a:gd name="connsiteY2097" fmla="*/ 502201 h 1073413"/>
                <a:gd name="connsiteX2098" fmla="*/ 829679 w 985922"/>
                <a:gd name="connsiteY2098" fmla="*/ 502072 h 1073413"/>
                <a:gd name="connsiteX2099" fmla="*/ 830584 w 985922"/>
                <a:gd name="connsiteY2099" fmla="*/ 501684 h 1073413"/>
                <a:gd name="connsiteX2100" fmla="*/ 830972 w 985922"/>
                <a:gd name="connsiteY2100" fmla="*/ 500651 h 1073413"/>
                <a:gd name="connsiteX2101" fmla="*/ 823605 w 985922"/>
                <a:gd name="connsiteY2101" fmla="*/ 498712 h 1073413"/>
                <a:gd name="connsiteX2102" fmla="*/ 822701 w 985922"/>
                <a:gd name="connsiteY2102" fmla="*/ 498324 h 1073413"/>
                <a:gd name="connsiteX2103" fmla="*/ 822055 w 985922"/>
                <a:gd name="connsiteY2103" fmla="*/ 497937 h 1073413"/>
                <a:gd name="connsiteX2104" fmla="*/ 821667 w 985922"/>
                <a:gd name="connsiteY2104" fmla="*/ 497420 h 1073413"/>
                <a:gd name="connsiteX2105" fmla="*/ 821409 w 985922"/>
                <a:gd name="connsiteY2105" fmla="*/ 496644 h 1073413"/>
                <a:gd name="connsiteX2106" fmla="*/ 821279 w 985922"/>
                <a:gd name="connsiteY2106" fmla="*/ 495352 h 1073413"/>
                <a:gd name="connsiteX2107" fmla="*/ 821537 w 985922"/>
                <a:gd name="connsiteY2107" fmla="*/ 493801 h 1073413"/>
                <a:gd name="connsiteX2108" fmla="*/ 822184 w 985922"/>
                <a:gd name="connsiteY2108" fmla="*/ 492509 h 1073413"/>
                <a:gd name="connsiteX2109" fmla="*/ 823218 w 985922"/>
                <a:gd name="connsiteY2109" fmla="*/ 491992 h 1073413"/>
                <a:gd name="connsiteX2110" fmla="*/ 825544 w 985922"/>
                <a:gd name="connsiteY2110" fmla="*/ 491475 h 1073413"/>
                <a:gd name="connsiteX2111" fmla="*/ 827870 w 985922"/>
                <a:gd name="connsiteY2111" fmla="*/ 490312 h 1073413"/>
                <a:gd name="connsiteX2112" fmla="*/ 829938 w 985922"/>
                <a:gd name="connsiteY2112" fmla="*/ 488890 h 1073413"/>
                <a:gd name="connsiteX2113" fmla="*/ 831489 w 985922"/>
                <a:gd name="connsiteY2113" fmla="*/ 487469 h 1073413"/>
                <a:gd name="connsiteX2114" fmla="*/ 833039 w 985922"/>
                <a:gd name="connsiteY2114" fmla="*/ 485789 h 1073413"/>
                <a:gd name="connsiteX2115" fmla="*/ 835107 w 985922"/>
                <a:gd name="connsiteY2115" fmla="*/ 482687 h 1073413"/>
                <a:gd name="connsiteX2116" fmla="*/ 836399 w 985922"/>
                <a:gd name="connsiteY2116" fmla="*/ 481136 h 1073413"/>
                <a:gd name="connsiteX2117" fmla="*/ 836787 w 985922"/>
                <a:gd name="connsiteY2117" fmla="*/ 480232 h 1073413"/>
                <a:gd name="connsiteX2118" fmla="*/ 836916 w 985922"/>
                <a:gd name="connsiteY2118" fmla="*/ 479069 h 1073413"/>
                <a:gd name="connsiteX2119" fmla="*/ 836787 w 985922"/>
                <a:gd name="connsiteY2119" fmla="*/ 476742 h 1073413"/>
                <a:gd name="connsiteX2120" fmla="*/ 836916 w 985922"/>
                <a:gd name="connsiteY2120" fmla="*/ 475450 h 1073413"/>
                <a:gd name="connsiteX2121" fmla="*/ 837304 w 985922"/>
                <a:gd name="connsiteY2121" fmla="*/ 474545 h 1073413"/>
                <a:gd name="connsiteX2122" fmla="*/ 837821 w 985922"/>
                <a:gd name="connsiteY2122" fmla="*/ 473770 h 1073413"/>
                <a:gd name="connsiteX2123" fmla="*/ 838467 w 985922"/>
                <a:gd name="connsiteY2123" fmla="*/ 472219 h 1073413"/>
                <a:gd name="connsiteX2124" fmla="*/ 838726 w 985922"/>
                <a:gd name="connsiteY2124" fmla="*/ 471832 h 1073413"/>
                <a:gd name="connsiteX2125" fmla="*/ 839759 w 985922"/>
                <a:gd name="connsiteY2125" fmla="*/ 471185 h 1073413"/>
                <a:gd name="connsiteX2126" fmla="*/ 838338 w 985922"/>
                <a:gd name="connsiteY2126" fmla="*/ 470669 h 1073413"/>
                <a:gd name="connsiteX2127" fmla="*/ 836787 w 985922"/>
                <a:gd name="connsiteY2127" fmla="*/ 470281 h 1073413"/>
                <a:gd name="connsiteX2128" fmla="*/ 835366 w 985922"/>
                <a:gd name="connsiteY2128" fmla="*/ 470281 h 1073413"/>
                <a:gd name="connsiteX2129" fmla="*/ 834203 w 985922"/>
                <a:gd name="connsiteY2129" fmla="*/ 470927 h 1073413"/>
                <a:gd name="connsiteX2130" fmla="*/ 833427 w 985922"/>
                <a:gd name="connsiteY2130" fmla="*/ 471185 h 1073413"/>
                <a:gd name="connsiteX2131" fmla="*/ 832910 w 985922"/>
                <a:gd name="connsiteY2131" fmla="*/ 470539 h 1073413"/>
                <a:gd name="connsiteX2132" fmla="*/ 832522 w 985922"/>
                <a:gd name="connsiteY2132" fmla="*/ 469505 h 1073413"/>
                <a:gd name="connsiteX2133" fmla="*/ 832005 w 985922"/>
                <a:gd name="connsiteY2133" fmla="*/ 468730 h 1073413"/>
                <a:gd name="connsiteX2134" fmla="*/ 831359 w 985922"/>
                <a:gd name="connsiteY2134" fmla="*/ 468730 h 1073413"/>
                <a:gd name="connsiteX2135" fmla="*/ 830455 w 985922"/>
                <a:gd name="connsiteY2135" fmla="*/ 469247 h 1073413"/>
                <a:gd name="connsiteX2136" fmla="*/ 828775 w 985922"/>
                <a:gd name="connsiteY2136" fmla="*/ 470669 h 1073413"/>
                <a:gd name="connsiteX2137" fmla="*/ 827999 w 985922"/>
                <a:gd name="connsiteY2137" fmla="*/ 470022 h 1073413"/>
                <a:gd name="connsiteX2138" fmla="*/ 825931 w 985922"/>
                <a:gd name="connsiteY2138" fmla="*/ 468988 h 1073413"/>
                <a:gd name="connsiteX2139" fmla="*/ 825156 w 985922"/>
                <a:gd name="connsiteY2139" fmla="*/ 468342 h 1073413"/>
                <a:gd name="connsiteX2140" fmla="*/ 824639 w 985922"/>
                <a:gd name="connsiteY2140" fmla="*/ 467179 h 1073413"/>
                <a:gd name="connsiteX2141" fmla="*/ 824381 w 985922"/>
                <a:gd name="connsiteY2141" fmla="*/ 465628 h 1073413"/>
                <a:gd name="connsiteX2142" fmla="*/ 824381 w 985922"/>
                <a:gd name="connsiteY2142" fmla="*/ 464336 h 1073413"/>
                <a:gd name="connsiteX2143" fmla="*/ 824510 w 985922"/>
                <a:gd name="connsiteY2143" fmla="*/ 463819 h 1073413"/>
                <a:gd name="connsiteX2144" fmla="*/ 823735 w 985922"/>
                <a:gd name="connsiteY2144" fmla="*/ 462656 h 1073413"/>
                <a:gd name="connsiteX2145" fmla="*/ 823088 w 985922"/>
                <a:gd name="connsiteY2145" fmla="*/ 462397 h 1073413"/>
                <a:gd name="connsiteX2146" fmla="*/ 822442 w 985922"/>
                <a:gd name="connsiteY2146" fmla="*/ 462268 h 1073413"/>
                <a:gd name="connsiteX2147" fmla="*/ 821667 w 985922"/>
                <a:gd name="connsiteY2147" fmla="*/ 461622 h 1073413"/>
                <a:gd name="connsiteX2148" fmla="*/ 820762 w 985922"/>
                <a:gd name="connsiteY2148" fmla="*/ 460330 h 1073413"/>
                <a:gd name="connsiteX2149" fmla="*/ 819599 w 985922"/>
                <a:gd name="connsiteY2149" fmla="*/ 457745 h 1073413"/>
                <a:gd name="connsiteX2150" fmla="*/ 818694 w 985922"/>
                <a:gd name="connsiteY2150" fmla="*/ 456453 h 1073413"/>
                <a:gd name="connsiteX2151" fmla="*/ 820116 w 985922"/>
                <a:gd name="connsiteY2151" fmla="*/ 455807 h 1073413"/>
                <a:gd name="connsiteX2152" fmla="*/ 820633 w 985922"/>
                <a:gd name="connsiteY2152" fmla="*/ 454773 h 1073413"/>
                <a:gd name="connsiteX2153" fmla="*/ 820891 w 985922"/>
                <a:gd name="connsiteY2153" fmla="*/ 453480 h 1073413"/>
                <a:gd name="connsiteX2154" fmla="*/ 821667 w 985922"/>
                <a:gd name="connsiteY2154" fmla="*/ 451930 h 1073413"/>
                <a:gd name="connsiteX2155" fmla="*/ 823088 w 985922"/>
                <a:gd name="connsiteY2155" fmla="*/ 450766 h 1073413"/>
                <a:gd name="connsiteX2156" fmla="*/ 824381 w 985922"/>
                <a:gd name="connsiteY2156" fmla="*/ 450120 h 1073413"/>
                <a:gd name="connsiteX2157" fmla="*/ 825027 w 985922"/>
                <a:gd name="connsiteY2157" fmla="*/ 449216 h 1073413"/>
                <a:gd name="connsiteX2158" fmla="*/ 824510 w 985922"/>
                <a:gd name="connsiteY2158" fmla="*/ 447536 h 1073413"/>
                <a:gd name="connsiteX2159" fmla="*/ 825285 w 985922"/>
                <a:gd name="connsiteY2159" fmla="*/ 447536 h 1073413"/>
                <a:gd name="connsiteX2160" fmla="*/ 826707 w 985922"/>
                <a:gd name="connsiteY2160" fmla="*/ 449733 h 1073413"/>
                <a:gd name="connsiteX2161" fmla="*/ 824381 w 985922"/>
                <a:gd name="connsiteY2161" fmla="*/ 451671 h 1073413"/>
                <a:gd name="connsiteX2162" fmla="*/ 823218 w 985922"/>
                <a:gd name="connsiteY2162" fmla="*/ 453093 h 1073413"/>
                <a:gd name="connsiteX2163" fmla="*/ 823088 w 985922"/>
                <a:gd name="connsiteY2163" fmla="*/ 454902 h 1073413"/>
                <a:gd name="connsiteX2164" fmla="*/ 825156 w 985922"/>
                <a:gd name="connsiteY2164" fmla="*/ 462914 h 1073413"/>
                <a:gd name="connsiteX2165" fmla="*/ 826061 w 985922"/>
                <a:gd name="connsiteY2165" fmla="*/ 465241 h 1073413"/>
                <a:gd name="connsiteX2166" fmla="*/ 827224 w 985922"/>
                <a:gd name="connsiteY2166" fmla="*/ 466274 h 1073413"/>
                <a:gd name="connsiteX2167" fmla="*/ 828258 w 985922"/>
                <a:gd name="connsiteY2167" fmla="*/ 466533 h 1073413"/>
                <a:gd name="connsiteX2168" fmla="*/ 829421 w 985922"/>
                <a:gd name="connsiteY2168" fmla="*/ 467567 h 1073413"/>
                <a:gd name="connsiteX2169" fmla="*/ 830584 w 985922"/>
                <a:gd name="connsiteY2169" fmla="*/ 467696 h 1073413"/>
                <a:gd name="connsiteX2170" fmla="*/ 831359 w 985922"/>
                <a:gd name="connsiteY2170" fmla="*/ 467308 h 1073413"/>
                <a:gd name="connsiteX2171" fmla="*/ 832522 w 985922"/>
                <a:gd name="connsiteY2171" fmla="*/ 465758 h 1073413"/>
                <a:gd name="connsiteX2172" fmla="*/ 833168 w 985922"/>
                <a:gd name="connsiteY2172" fmla="*/ 465499 h 1073413"/>
                <a:gd name="connsiteX2173" fmla="*/ 834590 w 985922"/>
                <a:gd name="connsiteY2173" fmla="*/ 464336 h 1073413"/>
                <a:gd name="connsiteX2174" fmla="*/ 838726 w 985922"/>
                <a:gd name="connsiteY2174" fmla="*/ 456582 h 1073413"/>
                <a:gd name="connsiteX2175" fmla="*/ 837433 w 985922"/>
                <a:gd name="connsiteY2175" fmla="*/ 455290 h 1073413"/>
                <a:gd name="connsiteX2176" fmla="*/ 837433 w 985922"/>
                <a:gd name="connsiteY2176" fmla="*/ 453997 h 1073413"/>
                <a:gd name="connsiteX2177" fmla="*/ 838855 w 985922"/>
                <a:gd name="connsiteY2177" fmla="*/ 451284 h 1073413"/>
                <a:gd name="connsiteX2178" fmla="*/ 839242 w 985922"/>
                <a:gd name="connsiteY2178" fmla="*/ 450896 h 1073413"/>
                <a:gd name="connsiteX2179" fmla="*/ 839759 w 985922"/>
                <a:gd name="connsiteY2179" fmla="*/ 450637 h 1073413"/>
                <a:gd name="connsiteX2180" fmla="*/ 840147 w 985922"/>
                <a:gd name="connsiteY2180" fmla="*/ 450250 h 1073413"/>
                <a:gd name="connsiteX2181" fmla="*/ 840405 w 985922"/>
                <a:gd name="connsiteY2181" fmla="*/ 449345 h 1073413"/>
                <a:gd name="connsiteX2182" fmla="*/ 840405 w 985922"/>
                <a:gd name="connsiteY2182" fmla="*/ 446373 h 1073413"/>
                <a:gd name="connsiteX2183" fmla="*/ 840664 w 985922"/>
                <a:gd name="connsiteY2183" fmla="*/ 444046 h 1073413"/>
                <a:gd name="connsiteX2184" fmla="*/ 841310 w 985922"/>
                <a:gd name="connsiteY2184" fmla="*/ 442108 h 1073413"/>
                <a:gd name="connsiteX2185" fmla="*/ 843249 w 985922"/>
                <a:gd name="connsiteY2185" fmla="*/ 438489 h 1073413"/>
                <a:gd name="connsiteX2186" fmla="*/ 843895 w 985922"/>
                <a:gd name="connsiteY2186" fmla="*/ 438489 h 1073413"/>
                <a:gd name="connsiteX2187" fmla="*/ 843766 w 985922"/>
                <a:gd name="connsiteY2187" fmla="*/ 440428 h 1073413"/>
                <a:gd name="connsiteX2188" fmla="*/ 843378 w 985922"/>
                <a:gd name="connsiteY2188" fmla="*/ 441849 h 1073413"/>
                <a:gd name="connsiteX2189" fmla="*/ 843507 w 985922"/>
                <a:gd name="connsiteY2189" fmla="*/ 443012 h 1073413"/>
                <a:gd name="connsiteX2190" fmla="*/ 844670 w 985922"/>
                <a:gd name="connsiteY2190" fmla="*/ 444434 h 1073413"/>
                <a:gd name="connsiteX2191" fmla="*/ 846479 w 985922"/>
                <a:gd name="connsiteY2191" fmla="*/ 445210 h 1073413"/>
                <a:gd name="connsiteX2192" fmla="*/ 847643 w 985922"/>
                <a:gd name="connsiteY2192" fmla="*/ 445210 h 1073413"/>
                <a:gd name="connsiteX2193" fmla="*/ 848418 w 985922"/>
                <a:gd name="connsiteY2193" fmla="*/ 445726 h 1073413"/>
                <a:gd name="connsiteX2194" fmla="*/ 849581 w 985922"/>
                <a:gd name="connsiteY2194" fmla="*/ 450379 h 1073413"/>
                <a:gd name="connsiteX2195" fmla="*/ 850744 w 985922"/>
                <a:gd name="connsiteY2195" fmla="*/ 452705 h 1073413"/>
                <a:gd name="connsiteX2196" fmla="*/ 852941 w 985922"/>
                <a:gd name="connsiteY2196" fmla="*/ 453868 h 1073413"/>
                <a:gd name="connsiteX2197" fmla="*/ 856301 w 985922"/>
                <a:gd name="connsiteY2197" fmla="*/ 452576 h 1073413"/>
                <a:gd name="connsiteX2198" fmla="*/ 858111 w 985922"/>
                <a:gd name="connsiteY2198" fmla="*/ 454126 h 1073413"/>
                <a:gd name="connsiteX2199" fmla="*/ 859662 w 985922"/>
                <a:gd name="connsiteY2199" fmla="*/ 454773 h 1073413"/>
                <a:gd name="connsiteX2200" fmla="*/ 861342 w 985922"/>
                <a:gd name="connsiteY2200" fmla="*/ 454902 h 1073413"/>
                <a:gd name="connsiteX2201" fmla="*/ 863280 w 985922"/>
                <a:gd name="connsiteY2201" fmla="*/ 454902 h 1073413"/>
                <a:gd name="connsiteX2202" fmla="*/ 864314 w 985922"/>
                <a:gd name="connsiteY2202" fmla="*/ 462397 h 1073413"/>
                <a:gd name="connsiteX2203" fmla="*/ 864185 w 985922"/>
                <a:gd name="connsiteY2203" fmla="*/ 463044 h 1073413"/>
                <a:gd name="connsiteX2204" fmla="*/ 863926 w 985922"/>
                <a:gd name="connsiteY2204" fmla="*/ 463431 h 1073413"/>
                <a:gd name="connsiteX2205" fmla="*/ 863797 w 985922"/>
                <a:gd name="connsiteY2205" fmla="*/ 463819 h 1073413"/>
                <a:gd name="connsiteX2206" fmla="*/ 863926 w 985922"/>
                <a:gd name="connsiteY2206" fmla="*/ 464336 h 1073413"/>
                <a:gd name="connsiteX2207" fmla="*/ 864831 w 985922"/>
                <a:gd name="connsiteY2207" fmla="*/ 465370 h 1073413"/>
                <a:gd name="connsiteX2208" fmla="*/ 865089 w 985922"/>
                <a:gd name="connsiteY2208" fmla="*/ 465887 h 1073413"/>
                <a:gd name="connsiteX2209" fmla="*/ 865089 w 985922"/>
                <a:gd name="connsiteY2209" fmla="*/ 466662 h 1073413"/>
                <a:gd name="connsiteX2210" fmla="*/ 865477 w 985922"/>
                <a:gd name="connsiteY2210" fmla="*/ 467308 h 1073413"/>
                <a:gd name="connsiteX2211" fmla="*/ 866252 w 985922"/>
                <a:gd name="connsiteY2211" fmla="*/ 468084 h 1073413"/>
                <a:gd name="connsiteX2212" fmla="*/ 866769 w 985922"/>
                <a:gd name="connsiteY2212" fmla="*/ 469118 h 1073413"/>
                <a:gd name="connsiteX2213" fmla="*/ 865089 w 985922"/>
                <a:gd name="connsiteY2213" fmla="*/ 472478 h 1073413"/>
                <a:gd name="connsiteX2214" fmla="*/ 865477 w 985922"/>
                <a:gd name="connsiteY2214" fmla="*/ 474287 h 1073413"/>
                <a:gd name="connsiteX2215" fmla="*/ 866382 w 985922"/>
                <a:gd name="connsiteY2215" fmla="*/ 476096 h 1073413"/>
                <a:gd name="connsiteX2216" fmla="*/ 866511 w 985922"/>
                <a:gd name="connsiteY2216" fmla="*/ 478164 h 1073413"/>
                <a:gd name="connsiteX2217" fmla="*/ 865606 w 985922"/>
                <a:gd name="connsiteY2217" fmla="*/ 476096 h 1073413"/>
                <a:gd name="connsiteX2218" fmla="*/ 864314 w 985922"/>
                <a:gd name="connsiteY2218" fmla="*/ 476355 h 1073413"/>
                <a:gd name="connsiteX2219" fmla="*/ 863280 w 985922"/>
                <a:gd name="connsiteY2219" fmla="*/ 477776 h 1073413"/>
                <a:gd name="connsiteX2220" fmla="*/ 862117 w 985922"/>
                <a:gd name="connsiteY2220" fmla="*/ 481653 h 1073413"/>
                <a:gd name="connsiteX2221" fmla="*/ 859920 w 985922"/>
                <a:gd name="connsiteY2221" fmla="*/ 485659 h 1073413"/>
                <a:gd name="connsiteX2222" fmla="*/ 860566 w 985922"/>
                <a:gd name="connsiteY2222" fmla="*/ 487081 h 1073413"/>
                <a:gd name="connsiteX2223" fmla="*/ 863021 w 985922"/>
                <a:gd name="connsiteY2223" fmla="*/ 487598 h 1073413"/>
                <a:gd name="connsiteX2224" fmla="*/ 865477 w 985922"/>
                <a:gd name="connsiteY2224" fmla="*/ 486823 h 1073413"/>
                <a:gd name="connsiteX2225" fmla="*/ 867803 w 985922"/>
                <a:gd name="connsiteY2225" fmla="*/ 485530 h 1073413"/>
                <a:gd name="connsiteX2226" fmla="*/ 870775 w 985922"/>
                <a:gd name="connsiteY2226" fmla="*/ 484496 h 1073413"/>
                <a:gd name="connsiteX2227" fmla="*/ 872973 w 985922"/>
                <a:gd name="connsiteY2227" fmla="*/ 482429 h 1073413"/>
                <a:gd name="connsiteX2228" fmla="*/ 874006 w 985922"/>
                <a:gd name="connsiteY2228" fmla="*/ 481912 h 1073413"/>
                <a:gd name="connsiteX2229" fmla="*/ 875299 w 985922"/>
                <a:gd name="connsiteY2229" fmla="*/ 481912 h 1073413"/>
                <a:gd name="connsiteX2230" fmla="*/ 877625 w 985922"/>
                <a:gd name="connsiteY2230" fmla="*/ 481524 h 1073413"/>
                <a:gd name="connsiteX2231" fmla="*/ 878788 w 985922"/>
                <a:gd name="connsiteY2231" fmla="*/ 481136 h 1073413"/>
                <a:gd name="connsiteX2232" fmla="*/ 881114 w 985922"/>
                <a:gd name="connsiteY2232" fmla="*/ 479844 h 1073413"/>
                <a:gd name="connsiteX2233" fmla="*/ 883182 w 985922"/>
                <a:gd name="connsiteY2233" fmla="*/ 478164 h 1073413"/>
                <a:gd name="connsiteX2234" fmla="*/ 886284 w 985922"/>
                <a:gd name="connsiteY2234" fmla="*/ 473770 h 1073413"/>
                <a:gd name="connsiteX2235" fmla="*/ 894684 w 985922"/>
                <a:gd name="connsiteY2235" fmla="*/ 465628 h 1073413"/>
                <a:gd name="connsiteX2236" fmla="*/ 901921 w 985922"/>
                <a:gd name="connsiteY2236" fmla="*/ 456324 h 1073413"/>
                <a:gd name="connsiteX2237" fmla="*/ 909545 w 985922"/>
                <a:gd name="connsiteY2237" fmla="*/ 447536 h 1073413"/>
                <a:gd name="connsiteX2238" fmla="*/ 910709 w 985922"/>
                <a:gd name="connsiteY2238" fmla="*/ 446760 h 1073413"/>
                <a:gd name="connsiteX2239" fmla="*/ 912001 w 985922"/>
                <a:gd name="connsiteY2239" fmla="*/ 446114 h 1073413"/>
                <a:gd name="connsiteX2240" fmla="*/ 917558 w 985922"/>
                <a:gd name="connsiteY2240" fmla="*/ 437585 h 1073413"/>
                <a:gd name="connsiteX2241" fmla="*/ 924537 w 985922"/>
                <a:gd name="connsiteY2241" fmla="*/ 428151 h 1073413"/>
                <a:gd name="connsiteX2242" fmla="*/ 931257 w 985922"/>
                <a:gd name="connsiteY2242" fmla="*/ 418070 h 1073413"/>
                <a:gd name="connsiteX2243" fmla="*/ 940303 w 985922"/>
                <a:gd name="connsiteY2243" fmla="*/ 405276 h 1073413"/>
                <a:gd name="connsiteX2244" fmla="*/ 947670 w 985922"/>
                <a:gd name="connsiteY2244" fmla="*/ 391319 h 1073413"/>
                <a:gd name="connsiteX2245" fmla="*/ 954390 w 985922"/>
                <a:gd name="connsiteY2245" fmla="*/ 381885 h 1073413"/>
                <a:gd name="connsiteX2246" fmla="*/ 956845 w 985922"/>
                <a:gd name="connsiteY2246" fmla="*/ 375940 h 1073413"/>
                <a:gd name="connsiteX2247" fmla="*/ 959818 w 985922"/>
                <a:gd name="connsiteY2247" fmla="*/ 371029 h 1073413"/>
                <a:gd name="connsiteX2248" fmla="*/ 966020 w 985922"/>
                <a:gd name="connsiteY2248" fmla="*/ 355263 h 1073413"/>
                <a:gd name="connsiteX2249" fmla="*/ 968476 w 985922"/>
                <a:gd name="connsiteY2249" fmla="*/ 352161 h 1073413"/>
                <a:gd name="connsiteX2250" fmla="*/ 969510 w 985922"/>
                <a:gd name="connsiteY2250" fmla="*/ 350481 h 1073413"/>
                <a:gd name="connsiteX2251" fmla="*/ 970027 w 985922"/>
                <a:gd name="connsiteY2251" fmla="*/ 346475 h 1073413"/>
                <a:gd name="connsiteX2252" fmla="*/ 978039 w 985922"/>
                <a:gd name="connsiteY2252" fmla="*/ 329675 h 1073413"/>
                <a:gd name="connsiteX2253" fmla="*/ 985147 w 985922"/>
                <a:gd name="connsiteY2253" fmla="*/ 319336 h 1073413"/>
                <a:gd name="connsiteX2254" fmla="*/ 985923 w 985922"/>
                <a:gd name="connsiteY2254" fmla="*/ 317268 h 1073413"/>
                <a:gd name="connsiteX2255" fmla="*/ 982821 w 985922"/>
                <a:gd name="connsiteY2255" fmla="*/ 317398 h 1073413"/>
                <a:gd name="connsiteX2256" fmla="*/ 811845 w 985922"/>
                <a:gd name="connsiteY2256" fmla="*/ 540455 h 1073413"/>
                <a:gd name="connsiteX2257" fmla="*/ 811328 w 985922"/>
                <a:gd name="connsiteY2257" fmla="*/ 541488 h 1073413"/>
                <a:gd name="connsiteX2258" fmla="*/ 811070 w 985922"/>
                <a:gd name="connsiteY2258" fmla="*/ 544719 h 1073413"/>
                <a:gd name="connsiteX2259" fmla="*/ 810682 w 985922"/>
                <a:gd name="connsiteY2259" fmla="*/ 545882 h 1073413"/>
                <a:gd name="connsiteX2260" fmla="*/ 810553 w 985922"/>
                <a:gd name="connsiteY2260" fmla="*/ 547562 h 1073413"/>
                <a:gd name="connsiteX2261" fmla="*/ 811199 w 985922"/>
                <a:gd name="connsiteY2261" fmla="*/ 550406 h 1073413"/>
                <a:gd name="connsiteX2262" fmla="*/ 813525 w 985922"/>
                <a:gd name="connsiteY2262" fmla="*/ 554024 h 1073413"/>
                <a:gd name="connsiteX2263" fmla="*/ 814430 w 985922"/>
                <a:gd name="connsiteY2263" fmla="*/ 556867 h 1073413"/>
                <a:gd name="connsiteX2264" fmla="*/ 815722 w 985922"/>
                <a:gd name="connsiteY2264" fmla="*/ 556609 h 1073413"/>
                <a:gd name="connsiteX2265" fmla="*/ 817531 w 985922"/>
                <a:gd name="connsiteY2265" fmla="*/ 556609 h 1073413"/>
                <a:gd name="connsiteX2266" fmla="*/ 817661 w 985922"/>
                <a:gd name="connsiteY2266" fmla="*/ 557901 h 1073413"/>
                <a:gd name="connsiteX2267" fmla="*/ 818307 w 985922"/>
                <a:gd name="connsiteY2267" fmla="*/ 558418 h 1073413"/>
                <a:gd name="connsiteX2268" fmla="*/ 819470 w 985922"/>
                <a:gd name="connsiteY2268" fmla="*/ 558418 h 1073413"/>
                <a:gd name="connsiteX2269" fmla="*/ 820374 w 985922"/>
                <a:gd name="connsiteY2269" fmla="*/ 554799 h 1073413"/>
                <a:gd name="connsiteX2270" fmla="*/ 820116 w 985922"/>
                <a:gd name="connsiteY2270" fmla="*/ 553766 h 1073413"/>
                <a:gd name="connsiteX2271" fmla="*/ 818953 w 985922"/>
                <a:gd name="connsiteY2271" fmla="*/ 552732 h 1073413"/>
                <a:gd name="connsiteX2272" fmla="*/ 818953 w 985922"/>
                <a:gd name="connsiteY2272" fmla="*/ 551052 h 1073413"/>
                <a:gd name="connsiteX2273" fmla="*/ 819082 w 985922"/>
                <a:gd name="connsiteY2273" fmla="*/ 550406 h 1073413"/>
                <a:gd name="connsiteX2274" fmla="*/ 818048 w 985922"/>
                <a:gd name="connsiteY2274" fmla="*/ 549630 h 1073413"/>
                <a:gd name="connsiteX2275" fmla="*/ 817790 w 985922"/>
                <a:gd name="connsiteY2275" fmla="*/ 548338 h 1073413"/>
                <a:gd name="connsiteX2276" fmla="*/ 816239 w 985922"/>
                <a:gd name="connsiteY2276" fmla="*/ 546916 h 1073413"/>
                <a:gd name="connsiteX2277" fmla="*/ 815981 w 985922"/>
                <a:gd name="connsiteY2277" fmla="*/ 545624 h 1073413"/>
                <a:gd name="connsiteX2278" fmla="*/ 816498 w 985922"/>
                <a:gd name="connsiteY2278" fmla="*/ 543556 h 1073413"/>
                <a:gd name="connsiteX2279" fmla="*/ 817144 w 985922"/>
                <a:gd name="connsiteY2279" fmla="*/ 542005 h 1073413"/>
                <a:gd name="connsiteX2280" fmla="*/ 818178 w 985922"/>
                <a:gd name="connsiteY2280" fmla="*/ 540455 h 1073413"/>
                <a:gd name="connsiteX2281" fmla="*/ 818694 w 985922"/>
                <a:gd name="connsiteY2281" fmla="*/ 539033 h 1073413"/>
                <a:gd name="connsiteX2282" fmla="*/ 817919 w 985922"/>
                <a:gd name="connsiteY2282" fmla="*/ 537741 h 1073413"/>
                <a:gd name="connsiteX2283" fmla="*/ 819728 w 985922"/>
                <a:gd name="connsiteY2283" fmla="*/ 536319 h 1073413"/>
                <a:gd name="connsiteX2284" fmla="*/ 820116 w 985922"/>
                <a:gd name="connsiteY2284" fmla="*/ 534381 h 1073413"/>
                <a:gd name="connsiteX2285" fmla="*/ 819082 w 985922"/>
                <a:gd name="connsiteY2285" fmla="*/ 527273 h 1073413"/>
                <a:gd name="connsiteX2286" fmla="*/ 818048 w 985922"/>
                <a:gd name="connsiteY2286" fmla="*/ 526626 h 1073413"/>
                <a:gd name="connsiteX2287" fmla="*/ 814947 w 985922"/>
                <a:gd name="connsiteY2287" fmla="*/ 527790 h 1073413"/>
                <a:gd name="connsiteX2288" fmla="*/ 812620 w 985922"/>
                <a:gd name="connsiteY2288" fmla="*/ 528177 h 1073413"/>
                <a:gd name="connsiteX2289" fmla="*/ 810682 w 985922"/>
                <a:gd name="connsiteY2289" fmla="*/ 527790 h 1073413"/>
                <a:gd name="connsiteX2290" fmla="*/ 809002 w 985922"/>
                <a:gd name="connsiteY2290" fmla="*/ 527273 h 1073413"/>
                <a:gd name="connsiteX2291" fmla="*/ 807322 w 985922"/>
                <a:gd name="connsiteY2291" fmla="*/ 527014 h 1073413"/>
                <a:gd name="connsiteX2292" fmla="*/ 805513 w 985922"/>
                <a:gd name="connsiteY2292" fmla="*/ 527660 h 1073413"/>
                <a:gd name="connsiteX2293" fmla="*/ 804479 w 985922"/>
                <a:gd name="connsiteY2293" fmla="*/ 529082 h 1073413"/>
                <a:gd name="connsiteX2294" fmla="*/ 804350 w 985922"/>
                <a:gd name="connsiteY2294" fmla="*/ 531021 h 1073413"/>
                <a:gd name="connsiteX2295" fmla="*/ 805254 w 985922"/>
                <a:gd name="connsiteY2295" fmla="*/ 533088 h 1073413"/>
                <a:gd name="connsiteX2296" fmla="*/ 803962 w 985922"/>
                <a:gd name="connsiteY2296" fmla="*/ 534768 h 1073413"/>
                <a:gd name="connsiteX2297" fmla="*/ 806030 w 985922"/>
                <a:gd name="connsiteY2297" fmla="*/ 536319 h 1073413"/>
                <a:gd name="connsiteX2298" fmla="*/ 811199 w 985922"/>
                <a:gd name="connsiteY2298" fmla="*/ 538258 h 1073413"/>
                <a:gd name="connsiteX2299" fmla="*/ 812362 w 985922"/>
                <a:gd name="connsiteY2299" fmla="*/ 539162 h 1073413"/>
                <a:gd name="connsiteX2300" fmla="*/ 812362 w 985922"/>
                <a:gd name="connsiteY2300" fmla="*/ 539679 h 1073413"/>
                <a:gd name="connsiteX2301" fmla="*/ 811845 w 985922"/>
                <a:gd name="connsiteY2301" fmla="*/ 540455 h 107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Lst>
              <a:rect l="l" t="t" r="r" b="b"/>
              <a:pathLst>
                <a:path w="985922" h="1073413">
                  <a:moveTo>
                    <a:pt x="850227" y="476742"/>
                  </a:moveTo>
                  <a:lnTo>
                    <a:pt x="849452" y="474545"/>
                  </a:lnTo>
                  <a:lnTo>
                    <a:pt x="847514" y="473124"/>
                  </a:lnTo>
                  <a:lnTo>
                    <a:pt x="842990" y="471056"/>
                  </a:lnTo>
                  <a:lnTo>
                    <a:pt x="841569" y="471832"/>
                  </a:lnTo>
                  <a:lnTo>
                    <a:pt x="842344" y="473511"/>
                  </a:lnTo>
                  <a:lnTo>
                    <a:pt x="843507" y="475062"/>
                  </a:lnTo>
                  <a:lnTo>
                    <a:pt x="844412" y="476742"/>
                  </a:lnTo>
                  <a:lnTo>
                    <a:pt x="844541" y="478552"/>
                  </a:lnTo>
                  <a:lnTo>
                    <a:pt x="844153" y="478293"/>
                  </a:lnTo>
                  <a:lnTo>
                    <a:pt x="844024" y="478164"/>
                  </a:lnTo>
                  <a:lnTo>
                    <a:pt x="844024" y="478035"/>
                  </a:lnTo>
                  <a:lnTo>
                    <a:pt x="843766" y="477776"/>
                  </a:lnTo>
                  <a:lnTo>
                    <a:pt x="843120" y="478810"/>
                  </a:lnTo>
                  <a:lnTo>
                    <a:pt x="843120" y="479456"/>
                  </a:lnTo>
                  <a:lnTo>
                    <a:pt x="843636" y="479844"/>
                  </a:lnTo>
                  <a:lnTo>
                    <a:pt x="844670" y="480103"/>
                  </a:lnTo>
                  <a:lnTo>
                    <a:pt x="844670" y="480878"/>
                  </a:lnTo>
                  <a:lnTo>
                    <a:pt x="837950" y="486952"/>
                  </a:lnTo>
                  <a:lnTo>
                    <a:pt x="834978" y="489020"/>
                  </a:lnTo>
                  <a:lnTo>
                    <a:pt x="832264" y="490441"/>
                  </a:lnTo>
                  <a:lnTo>
                    <a:pt x="831618" y="491346"/>
                  </a:lnTo>
                  <a:lnTo>
                    <a:pt x="831359" y="493155"/>
                  </a:lnTo>
                  <a:lnTo>
                    <a:pt x="832135" y="497937"/>
                  </a:lnTo>
                  <a:lnTo>
                    <a:pt x="832135" y="499617"/>
                  </a:lnTo>
                  <a:lnTo>
                    <a:pt x="832910" y="499617"/>
                  </a:lnTo>
                  <a:lnTo>
                    <a:pt x="833298" y="498841"/>
                  </a:lnTo>
                  <a:lnTo>
                    <a:pt x="833815" y="498195"/>
                  </a:lnTo>
                  <a:lnTo>
                    <a:pt x="834590" y="497678"/>
                  </a:lnTo>
                  <a:lnTo>
                    <a:pt x="835753" y="497291"/>
                  </a:lnTo>
                  <a:lnTo>
                    <a:pt x="837304" y="494835"/>
                  </a:lnTo>
                  <a:lnTo>
                    <a:pt x="839372" y="493026"/>
                  </a:lnTo>
                  <a:lnTo>
                    <a:pt x="843895" y="489924"/>
                  </a:lnTo>
                  <a:lnTo>
                    <a:pt x="847514" y="486564"/>
                  </a:lnTo>
                  <a:lnTo>
                    <a:pt x="849323" y="485272"/>
                  </a:lnTo>
                  <a:lnTo>
                    <a:pt x="851520" y="484755"/>
                  </a:lnTo>
                  <a:lnTo>
                    <a:pt x="853329" y="483721"/>
                  </a:lnTo>
                  <a:lnTo>
                    <a:pt x="852812" y="481266"/>
                  </a:lnTo>
                  <a:lnTo>
                    <a:pt x="850227" y="476742"/>
                  </a:lnTo>
                  <a:close/>
                  <a:moveTo>
                    <a:pt x="982821" y="317398"/>
                  </a:moveTo>
                  <a:lnTo>
                    <a:pt x="981399" y="318948"/>
                  </a:lnTo>
                  <a:lnTo>
                    <a:pt x="980107" y="320758"/>
                  </a:lnTo>
                  <a:lnTo>
                    <a:pt x="978685" y="322050"/>
                  </a:lnTo>
                  <a:lnTo>
                    <a:pt x="976876" y="322955"/>
                  </a:lnTo>
                  <a:lnTo>
                    <a:pt x="974679" y="323601"/>
                  </a:lnTo>
                  <a:lnTo>
                    <a:pt x="972482" y="323859"/>
                  </a:lnTo>
                  <a:lnTo>
                    <a:pt x="971578" y="323730"/>
                  </a:lnTo>
                  <a:lnTo>
                    <a:pt x="965116" y="325927"/>
                  </a:lnTo>
                  <a:lnTo>
                    <a:pt x="962014" y="326056"/>
                  </a:lnTo>
                  <a:lnTo>
                    <a:pt x="955424" y="323988"/>
                  </a:lnTo>
                  <a:lnTo>
                    <a:pt x="953614" y="326315"/>
                  </a:lnTo>
                  <a:lnTo>
                    <a:pt x="952709" y="328124"/>
                  </a:lnTo>
                  <a:lnTo>
                    <a:pt x="951417" y="329158"/>
                  </a:lnTo>
                  <a:lnTo>
                    <a:pt x="950513" y="329158"/>
                  </a:lnTo>
                  <a:lnTo>
                    <a:pt x="948833" y="327736"/>
                  </a:lnTo>
                  <a:lnTo>
                    <a:pt x="943922" y="326702"/>
                  </a:lnTo>
                  <a:lnTo>
                    <a:pt x="941596" y="325927"/>
                  </a:lnTo>
                  <a:lnTo>
                    <a:pt x="937977" y="324247"/>
                  </a:lnTo>
                  <a:lnTo>
                    <a:pt x="935522" y="321274"/>
                  </a:lnTo>
                  <a:lnTo>
                    <a:pt x="933971" y="318690"/>
                  </a:lnTo>
                  <a:lnTo>
                    <a:pt x="933066" y="316622"/>
                  </a:lnTo>
                  <a:lnTo>
                    <a:pt x="932161" y="315330"/>
                  </a:lnTo>
                  <a:lnTo>
                    <a:pt x="931128" y="314684"/>
                  </a:lnTo>
                  <a:lnTo>
                    <a:pt x="929965" y="314037"/>
                  </a:lnTo>
                  <a:lnTo>
                    <a:pt x="928543" y="313003"/>
                  </a:lnTo>
                  <a:lnTo>
                    <a:pt x="927509" y="311840"/>
                  </a:lnTo>
                  <a:lnTo>
                    <a:pt x="926604" y="311453"/>
                  </a:lnTo>
                  <a:lnTo>
                    <a:pt x="925958" y="311840"/>
                  </a:lnTo>
                  <a:lnTo>
                    <a:pt x="925312" y="312357"/>
                  </a:lnTo>
                  <a:lnTo>
                    <a:pt x="924537" y="312357"/>
                  </a:lnTo>
                  <a:lnTo>
                    <a:pt x="923891" y="311840"/>
                  </a:lnTo>
                  <a:lnTo>
                    <a:pt x="922857" y="311453"/>
                  </a:lnTo>
                  <a:lnTo>
                    <a:pt x="919497" y="310677"/>
                  </a:lnTo>
                  <a:lnTo>
                    <a:pt x="917300" y="308997"/>
                  </a:lnTo>
                  <a:lnTo>
                    <a:pt x="916395" y="308093"/>
                  </a:lnTo>
                  <a:lnTo>
                    <a:pt x="915749" y="306930"/>
                  </a:lnTo>
                  <a:lnTo>
                    <a:pt x="915491" y="306025"/>
                  </a:lnTo>
                  <a:lnTo>
                    <a:pt x="915749" y="305120"/>
                  </a:lnTo>
                  <a:lnTo>
                    <a:pt x="916266" y="304474"/>
                  </a:lnTo>
                  <a:lnTo>
                    <a:pt x="917170" y="302406"/>
                  </a:lnTo>
                  <a:lnTo>
                    <a:pt x="916912" y="300468"/>
                  </a:lnTo>
                  <a:lnTo>
                    <a:pt x="917946" y="296720"/>
                  </a:lnTo>
                  <a:lnTo>
                    <a:pt x="918204" y="294523"/>
                  </a:lnTo>
                  <a:lnTo>
                    <a:pt x="918075" y="293102"/>
                  </a:lnTo>
                  <a:lnTo>
                    <a:pt x="917429" y="291163"/>
                  </a:lnTo>
                  <a:lnTo>
                    <a:pt x="916783" y="290000"/>
                  </a:lnTo>
                  <a:lnTo>
                    <a:pt x="916137" y="289225"/>
                  </a:lnTo>
                  <a:lnTo>
                    <a:pt x="915749" y="288837"/>
                  </a:lnTo>
                  <a:lnTo>
                    <a:pt x="914715" y="288191"/>
                  </a:lnTo>
                  <a:lnTo>
                    <a:pt x="911743" y="286898"/>
                  </a:lnTo>
                  <a:lnTo>
                    <a:pt x="909287" y="285477"/>
                  </a:lnTo>
                  <a:lnTo>
                    <a:pt x="908641" y="284572"/>
                  </a:lnTo>
                  <a:lnTo>
                    <a:pt x="907607" y="280824"/>
                  </a:lnTo>
                  <a:lnTo>
                    <a:pt x="906832" y="278886"/>
                  </a:lnTo>
                  <a:lnTo>
                    <a:pt x="906315" y="275655"/>
                  </a:lnTo>
                  <a:lnTo>
                    <a:pt x="905152" y="272036"/>
                  </a:lnTo>
                  <a:lnTo>
                    <a:pt x="904376" y="270486"/>
                  </a:lnTo>
                  <a:lnTo>
                    <a:pt x="903343" y="269710"/>
                  </a:lnTo>
                  <a:lnTo>
                    <a:pt x="902179" y="269193"/>
                  </a:lnTo>
                  <a:lnTo>
                    <a:pt x="900112" y="267772"/>
                  </a:lnTo>
                  <a:lnTo>
                    <a:pt x="899595" y="267255"/>
                  </a:lnTo>
                  <a:lnTo>
                    <a:pt x="897139" y="265187"/>
                  </a:lnTo>
                  <a:lnTo>
                    <a:pt x="896622" y="264024"/>
                  </a:lnTo>
                  <a:lnTo>
                    <a:pt x="895976" y="261052"/>
                  </a:lnTo>
                  <a:lnTo>
                    <a:pt x="894167" y="259113"/>
                  </a:lnTo>
                  <a:lnTo>
                    <a:pt x="892875" y="258079"/>
                  </a:lnTo>
                  <a:lnTo>
                    <a:pt x="891195" y="256141"/>
                  </a:lnTo>
                  <a:lnTo>
                    <a:pt x="890419" y="254719"/>
                  </a:lnTo>
                  <a:lnTo>
                    <a:pt x="890031" y="253427"/>
                  </a:lnTo>
                  <a:lnTo>
                    <a:pt x="889902" y="250455"/>
                  </a:lnTo>
                  <a:lnTo>
                    <a:pt x="889902" y="249162"/>
                  </a:lnTo>
                  <a:lnTo>
                    <a:pt x="890160" y="247999"/>
                  </a:lnTo>
                  <a:lnTo>
                    <a:pt x="893004" y="241796"/>
                  </a:lnTo>
                  <a:lnTo>
                    <a:pt x="893650" y="238824"/>
                  </a:lnTo>
                  <a:lnTo>
                    <a:pt x="894038" y="238048"/>
                  </a:lnTo>
                  <a:lnTo>
                    <a:pt x="894684" y="237273"/>
                  </a:lnTo>
                  <a:lnTo>
                    <a:pt x="895588" y="236368"/>
                  </a:lnTo>
                  <a:lnTo>
                    <a:pt x="896751" y="235722"/>
                  </a:lnTo>
                  <a:lnTo>
                    <a:pt x="898044" y="235334"/>
                  </a:lnTo>
                  <a:lnTo>
                    <a:pt x="899465" y="235205"/>
                  </a:lnTo>
                  <a:lnTo>
                    <a:pt x="904376" y="235334"/>
                  </a:lnTo>
                  <a:lnTo>
                    <a:pt x="906702" y="235722"/>
                  </a:lnTo>
                  <a:lnTo>
                    <a:pt x="907865" y="235980"/>
                  </a:lnTo>
                  <a:lnTo>
                    <a:pt x="910063" y="237014"/>
                  </a:lnTo>
                  <a:lnTo>
                    <a:pt x="914844" y="240374"/>
                  </a:lnTo>
                  <a:lnTo>
                    <a:pt x="915878" y="240762"/>
                  </a:lnTo>
                  <a:lnTo>
                    <a:pt x="916524" y="240891"/>
                  </a:lnTo>
                  <a:lnTo>
                    <a:pt x="919238" y="240116"/>
                  </a:lnTo>
                  <a:lnTo>
                    <a:pt x="929965" y="235463"/>
                  </a:lnTo>
                  <a:lnTo>
                    <a:pt x="935909" y="231974"/>
                  </a:lnTo>
                  <a:lnTo>
                    <a:pt x="937460" y="230682"/>
                  </a:lnTo>
                  <a:lnTo>
                    <a:pt x="938494" y="229389"/>
                  </a:lnTo>
                  <a:lnTo>
                    <a:pt x="939140" y="228097"/>
                  </a:lnTo>
                  <a:lnTo>
                    <a:pt x="939528" y="226546"/>
                  </a:lnTo>
                  <a:lnTo>
                    <a:pt x="939269" y="225383"/>
                  </a:lnTo>
                  <a:lnTo>
                    <a:pt x="938882" y="224479"/>
                  </a:lnTo>
                  <a:lnTo>
                    <a:pt x="938365" y="223574"/>
                  </a:lnTo>
                  <a:lnTo>
                    <a:pt x="936168" y="222282"/>
                  </a:lnTo>
                  <a:lnTo>
                    <a:pt x="935651" y="221506"/>
                  </a:lnTo>
                  <a:lnTo>
                    <a:pt x="935134" y="220472"/>
                  </a:lnTo>
                  <a:lnTo>
                    <a:pt x="935004" y="219309"/>
                  </a:lnTo>
                  <a:lnTo>
                    <a:pt x="935004" y="218275"/>
                  </a:lnTo>
                  <a:lnTo>
                    <a:pt x="935780" y="214786"/>
                  </a:lnTo>
                  <a:lnTo>
                    <a:pt x="936168" y="211555"/>
                  </a:lnTo>
                  <a:lnTo>
                    <a:pt x="933841" y="204577"/>
                  </a:lnTo>
                  <a:lnTo>
                    <a:pt x="934100" y="203414"/>
                  </a:lnTo>
                  <a:lnTo>
                    <a:pt x="934488" y="201992"/>
                  </a:lnTo>
                  <a:lnTo>
                    <a:pt x="935263" y="201087"/>
                  </a:lnTo>
                  <a:lnTo>
                    <a:pt x="936297" y="198632"/>
                  </a:lnTo>
                  <a:lnTo>
                    <a:pt x="936943" y="197727"/>
                  </a:lnTo>
                  <a:lnTo>
                    <a:pt x="937719" y="196435"/>
                  </a:lnTo>
                  <a:lnTo>
                    <a:pt x="938494" y="194755"/>
                  </a:lnTo>
                  <a:lnTo>
                    <a:pt x="939398" y="191653"/>
                  </a:lnTo>
                  <a:lnTo>
                    <a:pt x="940561" y="181315"/>
                  </a:lnTo>
                  <a:lnTo>
                    <a:pt x="940432" y="176791"/>
                  </a:lnTo>
                  <a:lnTo>
                    <a:pt x="940561" y="170976"/>
                  </a:lnTo>
                  <a:lnTo>
                    <a:pt x="940303" y="169554"/>
                  </a:lnTo>
                  <a:lnTo>
                    <a:pt x="939657" y="167487"/>
                  </a:lnTo>
                  <a:lnTo>
                    <a:pt x="935263" y="161154"/>
                  </a:lnTo>
                  <a:lnTo>
                    <a:pt x="934488" y="160250"/>
                  </a:lnTo>
                  <a:lnTo>
                    <a:pt x="933712" y="159603"/>
                  </a:lnTo>
                  <a:lnTo>
                    <a:pt x="932291" y="158699"/>
                  </a:lnTo>
                  <a:lnTo>
                    <a:pt x="926992" y="153271"/>
                  </a:lnTo>
                  <a:lnTo>
                    <a:pt x="926475" y="152237"/>
                  </a:lnTo>
                  <a:lnTo>
                    <a:pt x="926475" y="151203"/>
                  </a:lnTo>
                  <a:lnTo>
                    <a:pt x="926734" y="150169"/>
                  </a:lnTo>
                  <a:lnTo>
                    <a:pt x="926734" y="149135"/>
                  </a:lnTo>
                  <a:lnTo>
                    <a:pt x="926087" y="148489"/>
                  </a:lnTo>
                  <a:lnTo>
                    <a:pt x="923761" y="147843"/>
                  </a:lnTo>
                  <a:lnTo>
                    <a:pt x="922340" y="147326"/>
                  </a:lnTo>
                  <a:lnTo>
                    <a:pt x="920918" y="146034"/>
                  </a:lnTo>
                  <a:lnTo>
                    <a:pt x="920143" y="144871"/>
                  </a:lnTo>
                  <a:lnTo>
                    <a:pt x="916137" y="135566"/>
                  </a:lnTo>
                  <a:lnTo>
                    <a:pt x="913552" y="131301"/>
                  </a:lnTo>
                  <a:lnTo>
                    <a:pt x="913035" y="130009"/>
                  </a:lnTo>
                  <a:lnTo>
                    <a:pt x="913035" y="128975"/>
                  </a:lnTo>
                  <a:lnTo>
                    <a:pt x="913552" y="128070"/>
                  </a:lnTo>
                  <a:lnTo>
                    <a:pt x="914198" y="127295"/>
                  </a:lnTo>
                  <a:lnTo>
                    <a:pt x="914715" y="126390"/>
                  </a:lnTo>
                  <a:lnTo>
                    <a:pt x="915749" y="123160"/>
                  </a:lnTo>
                  <a:lnTo>
                    <a:pt x="916912" y="121221"/>
                  </a:lnTo>
                  <a:lnTo>
                    <a:pt x="917041" y="120446"/>
                  </a:lnTo>
                  <a:lnTo>
                    <a:pt x="916654" y="119799"/>
                  </a:lnTo>
                  <a:lnTo>
                    <a:pt x="916137" y="119541"/>
                  </a:lnTo>
                  <a:lnTo>
                    <a:pt x="914198" y="119282"/>
                  </a:lnTo>
                  <a:lnTo>
                    <a:pt x="913164" y="119024"/>
                  </a:lnTo>
                  <a:lnTo>
                    <a:pt x="912001" y="118249"/>
                  </a:lnTo>
                  <a:lnTo>
                    <a:pt x="911613" y="117215"/>
                  </a:lnTo>
                  <a:lnTo>
                    <a:pt x="911613" y="116052"/>
                  </a:lnTo>
                  <a:lnTo>
                    <a:pt x="912001" y="115018"/>
                  </a:lnTo>
                  <a:lnTo>
                    <a:pt x="912518" y="113984"/>
                  </a:lnTo>
                  <a:lnTo>
                    <a:pt x="913681" y="112304"/>
                  </a:lnTo>
                  <a:lnTo>
                    <a:pt x="914069" y="111270"/>
                  </a:lnTo>
                  <a:lnTo>
                    <a:pt x="914456" y="109590"/>
                  </a:lnTo>
                  <a:lnTo>
                    <a:pt x="914715" y="109073"/>
                  </a:lnTo>
                  <a:lnTo>
                    <a:pt x="915103" y="108556"/>
                  </a:lnTo>
                  <a:lnTo>
                    <a:pt x="916654" y="107522"/>
                  </a:lnTo>
                  <a:lnTo>
                    <a:pt x="915749" y="106101"/>
                  </a:lnTo>
                  <a:lnTo>
                    <a:pt x="915232" y="104291"/>
                  </a:lnTo>
                  <a:lnTo>
                    <a:pt x="915103" y="102224"/>
                  </a:lnTo>
                  <a:lnTo>
                    <a:pt x="914198" y="101707"/>
                  </a:lnTo>
                  <a:lnTo>
                    <a:pt x="908641" y="99639"/>
                  </a:lnTo>
                  <a:lnTo>
                    <a:pt x="907090" y="98734"/>
                  </a:lnTo>
                  <a:lnTo>
                    <a:pt x="905539" y="98088"/>
                  </a:lnTo>
                  <a:lnTo>
                    <a:pt x="903601" y="97701"/>
                  </a:lnTo>
                  <a:lnTo>
                    <a:pt x="899724" y="97442"/>
                  </a:lnTo>
                  <a:lnTo>
                    <a:pt x="898432" y="97184"/>
                  </a:lnTo>
                  <a:lnTo>
                    <a:pt x="897269" y="96796"/>
                  </a:lnTo>
                  <a:lnTo>
                    <a:pt x="896234" y="96150"/>
                  </a:lnTo>
                  <a:lnTo>
                    <a:pt x="895330" y="95374"/>
                  </a:lnTo>
                  <a:lnTo>
                    <a:pt x="895201" y="94987"/>
                  </a:lnTo>
                  <a:lnTo>
                    <a:pt x="895201" y="94470"/>
                  </a:lnTo>
                  <a:lnTo>
                    <a:pt x="894813" y="93177"/>
                  </a:lnTo>
                  <a:lnTo>
                    <a:pt x="891453" y="86457"/>
                  </a:lnTo>
                  <a:lnTo>
                    <a:pt x="889902" y="83356"/>
                  </a:lnTo>
                  <a:lnTo>
                    <a:pt x="886284" y="72112"/>
                  </a:lnTo>
                  <a:lnTo>
                    <a:pt x="886025" y="69786"/>
                  </a:lnTo>
                  <a:lnTo>
                    <a:pt x="885637" y="68752"/>
                  </a:lnTo>
                  <a:lnTo>
                    <a:pt x="883699" y="66297"/>
                  </a:lnTo>
                  <a:lnTo>
                    <a:pt x="883053" y="65004"/>
                  </a:lnTo>
                  <a:lnTo>
                    <a:pt x="882923" y="63841"/>
                  </a:lnTo>
                  <a:lnTo>
                    <a:pt x="883053" y="62678"/>
                  </a:lnTo>
                  <a:lnTo>
                    <a:pt x="883311" y="61515"/>
                  </a:lnTo>
                  <a:lnTo>
                    <a:pt x="883828" y="60481"/>
                  </a:lnTo>
                  <a:lnTo>
                    <a:pt x="882923" y="58930"/>
                  </a:lnTo>
                  <a:lnTo>
                    <a:pt x="883440" y="57897"/>
                  </a:lnTo>
                  <a:lnTo>
                    <a:pt x="884474" y="57121"/>
                  </a:lnTo>
                  <a:lnTo>
                    <a:pt x="885379" y="56087"/>
                  </a:lnTo>
                  <a:lnTo>
                    <a:pt x="885767" y="54924"/>
                  </a:lnTo>
                  <a:lnTo>
                    <a:pt x="886025" y="53503"/>
                  </a:lnTo>
                  <a:lnTo>
                    <a:pt x="885896" y="52340"/>
                  </a:lnTo>
                  <a:lnTo>
                    <a:pt x="884991" y="51823"/>
                  </a:lnTo>
                  <a:lnTo>
                    <a:pt x="884086" y="51176"/>
                  </a:lnTo>
                  <a:lnTo>
                    <a:pt x="883440" y="50013"/>
                  </a:lnTo>
                  <a:lnTo>
                    <a:pt x="882406" y="49496"/>
                  </a:lnTo>
                  <a:lnTo>
                    <a:pt x="880597" y="50660"/>
                  </a:lnTo>
                  <a:lnTo>
                    <a:pt x="878400" y="52469"/>
                  </a:lnTo>
                  <a:lnTo>
                    <a:pt x="875816" y="54020"/>
                  </a:lnTo>
                  <a:lnTo>
                    <a:pt x="872843" y="54537"/>
                  </a:lnTo>
                  <a:lnTo>
                    <a:pt x="870517" y="53632"/>
                  </a:lnTo>
                  <a:lnTo>
                    <a:pt x="868579" y="52340"/>
                  </a:lnTo>
                  <a:lnTo>
                    <a:pt x="866511" y="51693"/>
                  </a:lnTo>
                  <a:lnTo>
                    <a:pt x="865089" y="50789"/>
                  </a:lnTo>
                  <a:lnTo>
                    <a:pt x="862892" y="46524"/>
                  </a:lnTo>
                  <a:lnTo>
                    <a:pt x="861729" y="45102"/>
                  </a:lnTo>
                  <a:lnTo>
                    <a:pt x="865994" y="39158"/>
                  </a:lnTo>
                  <a:lnTo>
                    <a:pt x="866640" y="36185"/>
                  </a:lnTo>
                  <a:lnTo>
                    <a:pt x="864572" y="33213"/>
                  </a:lnTo>
                  <a:lnTo>
                    <a:pt x="859920" y="31274"/>
                  </a:lnTo>
                  <a:lnTo>
                    <a:pt x="856043" y="32308"/>
                  </a:lnTo>
                  <a:lnTo>
                    <a:pt x="853329" y="35410"/>
                  </a:lnTo>
                  <a:lnTo>
                    <a:pt x="852037" y="39804"/>
                  </a:lnTo>
                  <a:lnTo>
                    <a:pt x="851907" y="44973"/>
                  </a:lnTo>
                  <a:lnTo>
                    <a:pt x="851261" y="47558"/>
                  </a:lnTo>
                  <a:lnTo>
                    <a:pt x="849452" y="48592"/>
                  </a:lnTo>
                  <a:lnTo>
                    <a:pt x="847384" y="48204"/>
                  </a:lnTo>
                  <a:lnTo>
                    <a:pt x="846092" y="47041"/>
                  </a:lnTo>
                  <a:lnTo>
                    <a:pt x="842086" y="37090"/>
                  </a:lnTo>
                  <a:lnTo>
                    <a:pt x="841698" y="34893"/>
                  </a:lnTo>
                  <a:lnTo>
                    <a:pt x="840664" y="33471"/>
                  </a:lnTo>
                  <a:lnTo>
                    <a:pt x="838467" y="32308"/>
                  </a:lnTo>
                  <a:lnTo>
                    <a:pt x="834332" y="30758"/>
                  </a:lnTo>
                  <a:lnTo>
                    <a:pt x="833039" y="29594"/>
                  </a:lnTo>
                  <a:lnTo>
                    <a:pt x="832135" y="28431"/>
                  </a:lnTo>
                  <a:lnTo>
                    <a:pt x="830972" y="27527"/>
                  </a:lnTo>
                  <a:lnTo>
                    <a:pt x="827870" y="26881"/>
                  </a:lnTo>
                  <a:lnTo>
                    <a:pt x="825673" y="25847"/>
                  </a:lnTo>
                  <a:lnTo>
                    <a:pt x="824768" y="25588"/>
                  </a:lnTo>
                  <a:lnTo>
                    <a:pt x="823605" y="25717"/>
                  </a:lnTo>
                  <a:lnTo>
                    <a:pt x="820374" y="27010"/>
                  </a:lnTo>
                  <a:lnTo>
                    <a:pt x="815205" y="27914"/>
                  </a:lnTo>
                  <a:lnTo>
                    <a:pt x="812620" y="27785"/>
                  </a:lnTo>
                  <a:lnTo>
                    <a:pt x="811457" y="26622"/>
                  </a:lnTo>
                  <a:lnTo>
                    <a:pt x="810553" y="24554"/>
                  </a:lnTo>
                  <a:lnTo>
                    <a:pt x="808485" y="22874"/>
                  </a:lnTo>
                  <a:lnTo>
                    <a:pt x="806030" y="21711"/>
                  </a:lnTo>
                  <a:lnTo>
                    <a:pt x="797113" y="19127"/>
                  </a:lnTo>
                  <a:lnTo>
                    <a:pt x="793623" y="18739"/>
                  </a:lnTo>
                  <a:lnTo>
                    <a:pt x="792977" y="18222"/>
                  </a:lnTo>
                  <a:lnTo>
                    <a:pt x="792589" y="17447"/>
                  </a:lnTo>
                  <a:lnTo>
                    <a:pt x="791685" y="16671"/>
                  </a:lnTo>
                  <a:lnTo>
                    <a:pt x="790780" y="16283"/>
                  </a:lnTo>
                  <a:lnTo>
                    <a:pt x="788066" y="15896"/>
                  </a:lnTo>
                  <a:lnTo>
                    <a:pt x="786515" y="16154"/>
                  </a:lnTo>
                  <a:lnTo>
                    <a:pt x="785611" y="15767"/>
                  </a:lnTo>
                  <a:lnTo>
                    <a:pt x="785223" y="14216"/>
                  </a:lnTo>
                  <a:lnTo>
                    <a:pt x="784965" y="13699"/>
                  </a:lnTo>
                  <a:lnTo>
                    <a:pt x="784448" y="12794"/>
                  </a:lnTo>
                  <a:lnTo>
                    <a:pt x="783802" y="12019"/>
                  </a:lnTo>
                  <a:lnTo>
                    <a:pt x="782250" y="10856"/>
                  </a:lnTo>
                  <a:lnTo>
                    <a:pt x="780054" y="5040"/>
                  </a:lnTo>
                  <a:lnTo>
                    <a:pt x="778374" y="3360"/>
                  </a:lnTo>
                  <a:lnTo>
                    <a:pt x="774367" y="2326"/>
                  </a:lnTo>
                  <a:lnTo>
                    <a:pt x="770490" y="0"/>
                  </a:lnTo>
                  <a:lnTo>
                    <a:pt x="768293" y="0"/>
                  </a:lnTo>
                  <a:lnTo>
                    <a:pt x="766096" y="646"/>
                  </a:lnTo>
                  <a:lnTo>
                    <a:pt x="744514" y="12277"/>
                  </a:lnTo>
                  <a:lnTo>
                    <a:pt x="743093" y="12665"/>
                  </a:lnTo>
                  <a:lnTo>
                    <a:pt x="738570" y="12794"/>
                  </a:lnTo>
                  <a:lnTo>
                    <a:pt x="736502" y="13182"/>
                  </a:lnTo>
                  <a:lnTo>
                    <a:pt x="735339" y="14086"/>
                  </a:lnTo>
                  <a:lnTo>
                    <a:pt x="735210" y="16154"/>
                  </a:lnTo>
                  <a:lnTo>
                    <a:pt x="736760" y="23262"/>
                  </a:lnTo>
                  <a:lnTo>
                    <a:pt x="736502" y="25976"/>
                  </a:lnTo>
                  <a:lnTo>
                    <a:pt x="735468" y="27268"/>
                  </a:lnTo>
                  <a:lnTo>
                    <a:pt x="733659" y="27785"/>
                  </a:lnTo>
                  <a:lnTo>
                    <a:pt x="730945" y="28044"/>
                  </a:lnTo>
                  <a:lnTo>
                    <a:pt x="728490" y="28561"/>
                  </a:lnTo>
                  <a:lnTo>
                    <a:pt x="723966" y="29982"/>
                  </a:lnTo>
                  <a:lnTo>
                    <a:pt x="716858" y="30499"/>
                  </a:lnTo>
                  <a:lnTo>
                    <a:pt x="714661" y="31145"/>
                  </a:lnTo>
                  <a:lnTo>
                    <a:pt x="713240" y="32567"/>
                  </a:lnTo>
                  <a:lnTo>
                    <a:pt x="712981" y="34505"/>
                  </a:lnTo>
                  <a:lnTo>
                    <a:pt x="713498" y="36961"/>
                  </a:lnTo>
                  <a:lnTo>
                    <a:pt x="714274" y="39028"/>
                  </a:lnTo>
                  <a:lnTo>
                    <a:pt x="715049" y="39933"/>
                  </a:lnTo>
                  <a:lnTo>
                    <a:pt x="715307" y="41096"/>
                  </a:lnTo>
                  <a:lnTo>
                    <a:pt x="714791" y="43681"/>
                  </a:lnTo>
                  <a:lnTo>
                    <a:pt x="713886" y="46395"/>
                  </a:lnTo>
                  <a:lnTo>
                    <a:pt x="713111" y="48075"/>
                  </a:lnTo>
                  <a:lnTo>
                    <a:pt x="706907" y="54407"/>
                  </a:lnTo>
                  <a:lnTo>
                    <a:pt x="705357" y="55441"/>
                  </a:lnTo>
                  <a:lnTo>
                    <a:pt x="700833" y="56217"/>
                  </a:lnTo>
                  <a:lnTo>
                    <a:pt x="696310" y="57638"/>
                  </a:lnTo>
                  <a:lnTo>
                    <a:pt x="692175" y="60610"/>
                  </a:lnTo>
                  <a:lnTo>
                    <a:pt x="689848" y="61903"/>
                  </a:lnTo>
                  <a:lnTo>
                    <a:pt x="687781" y="61644"/>
                  </a:lnTo>
                  <a:lnTo>
                    <a:pt x="687135" y="61386"/>
                  </a:lnTo>
                  <a:lnTo>
                    <a:pt x="685842" y="61515"/>
                  </a:lnTo>
                  <a:lnTo>
                    <a:pt x="685196" y="61386"/>
                  </a:lnTo>
                  <a:lnTo>
                    <a:pt x="684550" y="60869"/>
                  </a:lnTo>
                  <a:lnTo>
                    <a:pt x="683516" y="59577"/>
                  </a:lnTo>
                  <a:lnTo>
                    <a:pt x="682999" y="59060"/>
                  </a:lnTo>
                  <a:lnTo>
                    <a:pt x="681448" y="58284"/>
                  </a:lnTo>
                  <a:lnTo>
                    <a:pt x="679381" y="57638"/>
                  </a:lnTo>
                  <a:lnTo>
                    <a:pt x="675245" y="58414"/>
                  </a:lnTo>
                  <a:lnTo>
                    <a:pt x="672790" y="62032"/>
                  </a:lnTo>
                  <a:lnTo>
                    <a:pt x="668137" y="82193"/>
                  </a:lnTo>
                  <a:lnTo>
                    <a:pt x="666845" y="85036"/>
                  </a:lnTo>
                  <a:lnTo>
                    <a:pt x="666845" y="88783"/>
                  </a:lnTo>
                  <a:lnTo>
                    <a:pt x="666199" y="89817"/>
                  </a:lnTo>
                  <a:lnTo>
                    <a:pt x="665294" y="90463"/>
                  </a:lnTo>
                  <a:lnTo>
                    <a:pt x="664260" y="90851"/>
                  </a:lnTo>
                  <a:lnTo>
                    <a:pt x="662968" y="90980"/>
                  </a:lnTo>
                  <a:lnTo>
                    <a:pt x="661676" y="90722"/>
                  </a:lnTo>
                  <a:lnTo>
                    <a:pt x="659479" y="89688"/>
                  </a:lnTo>
                  <a:lnTo>
                    <a:pt x="658574" y="89430"/>
                  </a:lnTo>
                  <a:lnTo>
                    <a:pt x="656636" y="90205"/>
                  </a:lnTo>
                  <a:lnTo>
                    <a:pt x="653922" y="93565"/>
                  </a:lnTo>
                  <a:lnTo>
                    <a:pt x="651595" y="94728"/>
                  </a:lnTo>
                  <a:lnTo>
                    <a:pt x="647202" y="95245"/>
                  </a:lnTo>
                  <a:lnTo>
                    <a:pt x="645521" y="96150"/>
                  </a:lnTo>
                  <a:lnTo>
                    <a:pt x="644229" y="100027"/>
                  </a:lnTo>
                  <a:lnTo>
                    <a:pt x="642808" y="101061"/>
                  </a:lnTo>
                  <a:lnTo>
                    <a:pt x="635571" y="103516"/>
                  </a:lnTo>
                  <a:lnTo>
                    <a:pt x="634278" y="103645"/>
                  </a:lnTo>
                  <a:lnTo>
                    <a:pt x="633115" y="103387"/>
                  </a:lnTo>
                  <a:lnTo>
                    <a:pt x="630918" y="102353"/>
                  </a:lnTo>
                  <a:lnTo>
                    <a:pt x="629755" y="102094"/>
                  </a:lnTo>
                  <a:lnTo>
                    <a:pt x="628721" y="101707"/>
                  </a:lnTo>
                  <a:lnTo>
                    <a:pt x="626266" y="99768"/>
                  </a:lnTo>
                  <a:lnTo>
                    <a:pt x="625103" y="99122"/>
                  </a:lnTo>
                  <a:lnTo>
                    <a:pt x="624327" y="98993"/>
                  </a:lnTo>
                  <a:lnTo>
                    <a:pt x="621613" y="99251"/>
                  </a:lnTo>
                  <a:lnTo>
                    <a:pt x="620838" y="99639"/>
                  </a:lnTo>
                  <a:lnTo>
                    <a:pt x="622518" y="96279"/>
                  </a:lnTo>
                  <a:lnTo>
                    <a:pt x="622906" y="95891"/>
                  </a:lnTo>
                  <a:lnTo>
                    <a:pt x="623681" y="95245"/>
                  </a:lnTo>
                  <a:lnTo>
                    <a:pt x="625103" y="93694"/>
                  </a:lnTo>
                  <a:lnTo>
                    <a:pt x="626266" y="91885"/>
                  </a:lnTo>
                  <a:lnTo>
                    <a:pt x="626912" y="90334"/>
                  </a:lnTo>
                  <a:lnTo>
                    <a:pt x="627687" y="88913"/>
                  </a:lnTo>
                  <a:lnTo>
                    <a:pt x="628075" y="88008"/>
                  </a:lnTo>
                  <a:lnTo>
                    <a:pt x="628075" y="87491"/>
                  </a:lnTo>
                  <a:lnTo>
                    <a:pt x="627946" y="86974"/>
                  </a:lnTo>
                  <a:lnTo>
                    <a:pt x="627817" y="86457"/>
                  </a:lnTo>
                  <a:lnTo>
                    <a:pt x="627687" y="85940"/>
                  </a:lnTo>
                  <a:lnTo>
                    <a:pt x="627687" y="85423"/>
                  </a:lnTo>
                  <a:lnTo>
                    <a:pt x="627946" y="82968"/>
                  </a:lnTo>
                  <a:lnTo>
                    <a:pt x="627817" y="82193"/>
                  </a:lnTo>
                  <a:lnTo>
                    <a:pt x="627558" y="81546"/>
                  </a:lnTo>
                  <a:lnTo>
                    <a:pt x="627170" y="80771"/>
                  </a:lnTo>
                  <a:lnTo>
                    <a:pt x="627041" y="80254"/>
                  </a:lnTo>
                  <a:lnTo>
                    <a:pt x="626912" y="79737"/>
                  </a:lnTo>
                  <a:lnTo>
                    <a:pt x="626524" y="77411"/>
                  </a:lnTo>
                  <a:lnTo>
                    <a:pt x="626524" y="76765"/>
                  </a:lnTo>
                  <a:lnTo>
                    <a:pt x="626524" y="76119"/>
                  </a:lnTo>
                  <a:lnTo>
                    <a:pt x="626653" y="75472"/>
                  </a:lnTo>
                  <a:lnTo>
                    <a:pt x="626653" y="74826"/>
                  </a:lnTo>
                  <a:lnTo>
                    <a:pt x="626524" y="74309"/>
                  </a:lnTo>
                  <a:lnTo>
                    <a:pt x="626136" y="73792"/>
                  </a:lnTo>
                  <a:lnTo>
                    <a:pt x="625619" y="73405"/>
                  </a:lnTo>
                  <a:lnTo>
                    <a:pt x="624586" y="73017"/>
                  </a:lnTo>
                  <a:lnTo>
                    <a:pt x="622260" y="72888"/>
                  </a:lnTo>
                  <a:lnTo>
                    <a:pt x="620967" y="72758"/>
                  </a:lnTo>
                  <a:lnTo>
                    <a:pt x="620321" y="72629"/>
                  </a:lnTo>
                  <a:lnTo>
                    <a:pt x="613988" y="68494"/>
                  </a:lnTo>
                  <a:lnTo>
                    <a:pt x="612955" y="68106"/>
                  </a:lnTo>
                  <a:lnTo>
                    <a:pt x="611662" y="67977"/>
                  </a:lnTo>
                  <a:lnTo>
                    <a:pt x="611145" y="67718"/>
                  </a:lnTo>
                  <a:lnTo>
                    <a:pt x="610758" y="67331"/>
                  </a:lnTo>
                  <a:lnTo>
                    <a:pt x="610499" y="66555"/>
                  </a:lnTo>
                  <a:lnTo>
                    <a:pt x="610370" y="65780"/>
                  </a:lnTo>
                  <a:lnTo>
                    <a:pt x="610370" y="65004"/>
                  </a:lnTo>
                  <a:lnTo>
                    <a:pt x="610628" y="60998"/>
                  </a:lnTo>
                  <a:lnTo>
                    <a:pt x="610499" y="60352"/>
                  </a:lnTo>
                  <a:lnTo>
                    <a:pt x="610370" y="59835"/>
                  </a:lnTo>
                  <a:lnTo>
                    <a:pt x="610112" y="59318"/>
                  </a:lnTo>
                  <a:lnTo>
                    <a:pt x="609853" y="58801"/>
                  </a:lnTo>
                  <a:lnTo>
                    <a:pt x="607397" y="56217"/>
                  </a:lnTo>
                  <a:lnTo>
                    <a:pt x="606881" y="55441"/>
                  </a:lnTo>
                  <a:lnTo>
                    <a:pt x="606622" y="54795"/>
                  </a:lnTo>
                  <a:lnTo>
                    <a:pt x="606364" y="53503"/>
                  </a:lnTo>
                  <a:lnTo>
                    <a:pt x="606364" y="52081"/>
                  </a:lnTo>
                  <a:lnTo>
                    <a:pt x="606751" y="48721"/>
                  </a:lnTo>
                  <a:lnTo>
                    <a:pt x="606622" y="47429"/>
                  </a:lnTo>
                  <a:lnTo>
                    <a:pt x="606105" y="45102"/>
                  </a:lnTo>
                  <a:lnTo>
                    <a:pt x="606105" y="44456"/>
                  </a:lnTo>
                  <a:lnTo>
                    <a:pt x="606105" y="43810"/>
                  </a:lnTo>
                  <a:lnTo>
                    <a:pt x="606622" y="39158"/>
                  </a:lnTo>
                  <a:lnTo>
                    <a:pt x="607139" y="37348"/>
                  </a:lnTo>
                  <a:lnTo>
                    <a:pt x="607268" y="36702"/>
                  </a:lnTo>
                  <a:lnTo>
                    <a:pt x="607268" y="36056"/>
                  </a:lnTo>
                  <a:lnTo>
                    <a:pt x="607010" y="35410"/>
                  </a:lnTo>
                  <a:lnTo>
                    <a:pt x="606622" y="34764"/>
                  </a:lnTo>
                  <a:lnTo>
                    <a:pt x="605976" y="33988"/>
                  </a:lnTo>
                  <a:lnTo>
                    <a:pt x="604554" y="32696"/>
                  </a:lnTo>
                  <a:lnTo>
                    <a:pt x="604038" y="32308"/>
                  </a:lnTo>
                  <a:lnTo>
                    <a:pt x="603521" y="32050"/>
                  </a:lnTo>
                  <a:lnTo>
                    <a:pt x="603004" y="31921"/>
                  </a:lnTo>
                  <a:lnTo>
                    <a:pt x="602487" y="32179"/>
                  </a:lnTo>
                  <a:lnTo>
                    <a:pt x="601582" y="32954"/>
                  </a:lnTo>
                  <a:lnTo>
                    <a:pt x="601065" y="33213"/>
                  </a:lnTo>
                  <a:lnTo>
                    <a:pt x="600290" y="33213"/>
                  </a:lnTo>
                  <a:lnTo>
                    <a:pt x="599385" y="32954"/>
                  </a:lnTo>
                  <a:lnTo>
                    <a:pt x="598093" y="32179"/>
                  </a:lnTo>
                  <a:lnTo>
                    <a:pt x="597447" y="31533"/>
                  </a:lnTo>
                  <a:lnTo>
                    <a:pt x="597059" y="31016"/>
                  </a:lnTo>
                  <a:lnTo>
                    <a:pt x="596801" y="30499"/>
                  </a:lnTo>
                  <a:lnTo>
                    <a:pt x="596671" y="29982"/>
                  </a:lnTo>
                  <a:lnTo>
                    <a:pt x="596671" y="28690"/>
                  </a:lnTo>
                  <a:lnTo>
                    <a:pt x="596542" y="28173"/>
                  </a:lnTo>
                  <a:lnTo>
                    <a:pt x="596284" y="27656"/>
                  </a:lnTo>
                  <a:lnTo>
                    <a:pt x="596025" y="27268"/>
                  </a:lnTo>
                  <a:lnTo>
                    <a:pt x="595379" y="26622"/>
                  </a:lnTo>
                  <a:lnTo>
                    <a:pt x="594991" y="26493"/>
                  </a:lnTo>
                  <a:lnTo>
                    <a:pt x="594474" y="26493"/>
                  </a:lnTo>
                  <a:lnTo>
                    <a:pt x="593440" y="26751"/>
                  </a:lnTo>
                  <a:lnTo>
                    <a:pt x="590468" y="27785"/>
                  </a:lnTo>
                  <a:lnTo>
                    <a:pt x="587883" y="28173"/>
                  </a:lnTo>
                  <a:lnTo>
                    <a:pt x="587108" y="28173"/>
                  </a:lnTo>
                  <a:lnTo>
                    <a:pt x="586333" y="28044"/>
                  </a:lnTo>
                  <a:lnTo>
                    <a:pt x="585557" y="27785"/>
                  </a:lnTo>
                  <a:lnTo>
                    <a:pt x="584782" y="27139"/>
                  </a:lnTo>
                  <a:lnTo>
                    <a:pt x="584394" y="26622"/>
                  </a:lnTo>
                  <a:lnTo>
                    <a:pt x="584265" y="25976"/>
                  </a:lnTo>
                  <a:lnTo>
                    <a:pt x="584265" y="25330"/>
                  </a:lnTo>
                  <a:lnTo>
                    <a:pt x="584653" y="22745"/>
                  </a:lnTo>
                  <a:lnTo>
                    <a:pt x="584653" y="22099"/>
                  </a:lnTo>
                  <a:lnTo>
                    <a:pt x="584523" y="21453"/>
                  </a:lnTo>
                  <a:lnTo>
                    <a:pt x="584265" y="21065"/>
                  </a:lnTo>
                  <a:lnTo>
                    <a:pt x="584006" y="20677"/>
                  </a:lnTo>
                  <a:lnTo>
                    <a:pt x="583231" y="20290"/>
                  </a:lnTo>
                  <a:lnTo>
                    <a:pt x="582197" y="19902"/>
                  </a:lnTo>
                  <a:lnTo>
                    <a:pt x="580000" y="19514"/>
                  </a:lnTo>
                  <a:lnTo>
                    <a:pt x="578062" y="19385"/>
                  </a:lnTo>
                  <a:lnTo>
                    <a:pt x="571988" y="20031"/>
                  </a:lnTo>
                  <a:lnTo>
                    <a:pt x="569274" y="20807"/>
                  </a:lnTo>
                  <a:lnTo>
                    <a:pt x="567852" y="21582"/>
                  </a:lnTo>
                  <a:lnTo>
                    <a:pt x="566818" y="21970"/>
                  </a:lnTo>
                  <a:lnTo>
                    <a:pt x="565009" y="22357"/>
                  </a:lnTo>
                  <a:lnTo>
                    <a:pt x="564233" y="22487"/>
                  </a:lnTo>
                  <a:lnTo>
                    <a:pt x="563329" y="22487"/>
                  </a:lnTo>
                  <a:lnTo>
                    <a:pt x="561003" y="22357"/>
                  </a:lnTo>
                  <a:lnTo>
                    <a:pt x="560227" y="22228"/>
                  </a:lnTo>
                  <a:lnTo>
                    <a:pt x="558418" y="21453"/>
                  </a:lnTo>
                  <a:lnTo>
                    <a:pt x="555446" y="19773"/>
                  </a:lnTo>
                  <a:lnTo>
                    <a:pt x="553895" y="22874"/>
                  </a:lnTo>
                  <a:lnTo>
                    <a:pt x="552473" y="27397"/>
                  </a:lnTo>
                  <a:lnTo>
                    <a:pt x="551957" y="28431"/>
                  </a:lnTo>
                  <a:lnTo>
                    <a:pt x="551698" y="28819"/>
                  </a:lnTo>
                  <a:lnTo>
                    <a:pt x="550535" y="29853"/>
                  </a:lnTo>
                  <a:lnTo>
                    <a:pt x="549889" y="30758"/>
                  </a:lnTo>
                  <a:lnTo>
                    <a:pt x="549113" y="32179"/>
                  </a:lnTo>
                  <a:lnTo>
                    <a:pt x="548855" y="32567"/>
                  </a:lnTo>
                  <a:lnTo>
                    <a:pt x="545107" y="36185"/>
                  </a:lnTo>
                  <a:lnTo>
                    <a:pt x="544590" y="37090"/>
                  </a:lnTo>
                  <a:lnTo>
                    <a:pt x="542910" y="42259"/>
                  </a:lnTo>
                  <a:lnTo>
                    <a:pt x="542393" y="43164"/>
                  </a:lnTo>
                  <a:lnTo>
                    <a:pt x="542135" y="43552"/>
                  </a:lnTo>
                  <a:lnTo>
                    <a:pt x="541876" y="43810"/>
                  </a:lnTo>
                  <a:lnTo>
                    <a:pt x="538774" y="45490"/>
                  </a:lnTo>
                  <a:lnTo>
                    <a:pt x="537870" y="46136"/>
                  </a:lnTo>
                  <a:lnTo>
                    <a:pt x="536836" y="47299"/>
                  </a:lnTo>
                  <a:lnTo>
                    <a:pt x="536448" y="47687"/>
                  </a:lnTo>
                  <a:lnTo>
                    <a:pt x="535802" y="47946"/>
                  </a:lnTo>
                  <a:lnTo>
                    <a:pt x="535027" y="48075"/>
                  </a:lnTo>
                  <a:lnTo>
                    <a:pt x="533605" y="47946"/>
                  </a:lnTo>
                  <a:lnTo>
                    <a:pt x="532830" y="47687"/>
                  </a:lnTo>
                  <a:lnTo>
                    <a:pt x="532184" y="47429"/>
                  </a:lnTo>
                  <a:lnTo>
                    <a:pt x="531667" y="47170"/>
                  </a:lnTo>
                  <a:lnTo>
                    <a:pt x="531150" y="47041"/>
                  </a:lnTo>
                  <a:lnTo>
                    <a:pt x="530504" y="46912"/>
                  </a:lnTo>
                  <a:lnTo>
                    <a:pt x="529857" y="46912"/>
                  </a:lnTo>
                  <a:lnTo>
                    <a:pt x="528953" y="47041"/>
                  </a:lnTo>
                  <a:lnTo>
                    <a:pt x="524947" y="48333"/>
                  </a:lnTo>
                  <a:lnTo>
                    <a:pt x="523913" y="48463"/>
                  </a:lnTo>
                  <a:lnTo>
                    <a:pt x="520165" y="48204"/>
                  </a:lnTo>
                  <a:lnTo>
                    <a:pt x="519260" y="48333"/>
                  </a:lnTo>
                  <a:lnTo>
                    <a:pt x="517839" y="48592"/>
                  </a:lnTo>
                  <a:lnTo>
                    <a:pt x="516934" y="48850"/>
                  </a:lnTo>
                  <a:lnTo>
                    <a:pt x="516159" y="49626"/>
                  </a:lnTo>
                  <a:lnTo>
                    <a:pt x="515900" y="50143"/>
                  </a:lnTo>
                  <a:lnTo>
                    <a:pt x="515771" y="50660"/>
                  </a:lnTo>
                  <a:lnTo>
                    <a:pt x="515771" y="50918"/>
                  </a:lnTo>
                  <a:lnTo>
                    <a:pt x="515771" y="51176"/>
                  </a:lnTo>
                  <a:lnTo>
                    <a:pt x="516805" y="56475"/>
                  </a:lnTo>
                  <a:lnTo>
                    <a:pt x="516934" y="62161"/>
                  </a:lnTo>
                  <a:lnTo>
                    <a:pt x="517322" y="63971"/>
                  </a:lnTo>
                  <a:lnTo>
                    <a:pt x="517322" y="65134"/>
                  </a:lnTo>
                  <a:lnTo>
                    <a:pt x="517193" y="65651"/>
                  </a:lnTo>
                  <a:lnTo>
                    <a:pt x="516934" y="66167"/>
                  </a:lnTo>
                  <a:lnTo>
                    <a:pt x="516676" y="66555"/>
                  </a:lnTo>
                  <a:lnTo>
                    <a:pt x="516288" y="66943"/>
                  </a:lnTo>
                  <a:lnTo>
                    <a:pt x="515642" y="67460"/>
                  </a:lnTo>
                  <a:lnTo>
                    <a:pt x="511248" y="69011"/>
                  </a:lnTo>
                  <a:lnTo>
                    <a:pt x="510472" y="69398"/>
                  </a:lnTo>
                  <a:lnTo>
                    <a:pt x="510085" y="69786"/>
                  </a:lnTo>
                  <a:lnTo>
                    <a:pt x="509826" y="70174"/>
                  </a:lnTo>
                  <a:lnTo>
                    <a:pt x="509568" y="70691"/>
                  </a:lnTo>
                  <a:lnTo>
                    <a:pt x="507500" y="75343"/>
                  </a:lnTo>
                  <a:lnTo>
                    <a:pt x="506466" y="76506"/>
                  </a:lnTo>
                  <a:lnTo>
                    <a:pt x="505691" y="77152"/>
                  </a:lnTo>
                  <a:lnTo>
                    <a:pt x="504786" y="77799"/>
                  </a:lnTo>
                  <a:lnTo>
                    <a:pt x="504140" y="77928"/>
                  </a:lnTo>
                  <a:lnTo>
                    <a:pt x="503494" y="78057"/>
                  </a:lnTo>
                  <a:lnTo>
                    <a:pt x="502460" y="77799"/>
                  </a:lnTo>
                  <a:lnTo>
                    <a:pt x="501814" y="77411"/>
                  </a:lnTo>
                  <a:lnTo>
                    <a:pt x="501426" y="76894"/>
                  </a:lnTo>
                  <a:lnTo>
                    <a:pt x="500780" y="75343"/>
                  </a:lnTo>
                  <a:lnTo>
                    <a:pt x="500521" y="74826"/>
                  </a:lnTo>
                  <a:lnTo>
                    <a:pt x="500263" y="74439"/>
                  </a:lnTo>
                  <a:lnTo>
                    <a:pt x="499875" y="74051"/>
                  </a:lnTo>
                  <a:lnTo>
                    <a:pt x="499358" y="73792"/>
                  </a:lnTo>
                  <a:lnTo>
                    <a:pt x="498841" y="73534"/>
                  </a:lnTo>
                  <a:lnTo>
                    <a:pt x="497678" y="73146"/>
                  </a:lnTo>
                  <a:lnTo>
                    <a:pt x="497032" y="73146"/>
                  </a:lnTo>
                  <a:lnTo>
                    <a:pt x="496386" y="73275"/>
                  </a:lnTo>
                  <a:lnTo>
                    <a:pt x="495740" y="73663"/>
                  </a:lnTo>
                  <a:lnTo>
                    <a:pt x="495223" y="74051"/>
                  </a:lnTo>
                  <a:lnTo>
                    <a:pt x="494706" y="74309"/>
                  </a:lnTo>
                  <a:lnTo>
                    <a:pt x="494060" y="74439"/>
                  </a:lnTo>
                  <a:lnTo>
                    <a:pt x="493026" y="74180"/>
                  </a:lnTo>
                  <a:lnTo>
                    <a:pt x="492380" y="73922"/>
                  </a:lnTo>
                  <a:lnTo>
                    <a:pt x="491734" y="73663"/>
                  </a:lnTo>
                  <a:lnTo>
                    <a:pt x="490829" y="73146"/>
                  </a:lnTo>
                  <a:lnTo>
                    <a:pt x="490312" y="73017"/>
                  </a:lnTo>
                  <a:lnTo>
                    <a:pt x="489666" y="73017"/>
                  </a:lnTo>
                  <a:lnTo>
                    <a:pt x="488761" y="73405"/>
                  </a:lnTo>
                  <a:lnTo>
                    <a:pt x="487727" y="74180"/>
                  </a:lnTo>
                  <a:lnTo>
                    <a:pt x="487210" y="74309"/>
                  </a:lnTo>
                  <a:lnTo>
                    <a:pt x="486435" y="73922"/>
                  </a:lnTo>
                  <a:lnTo>
                    <a:pt x="485660" y="73017"/>
                  </a:lnTo>
                  <a:lnTo>
                    <a:pt x="485143" y="72758"/>
                  </a:lnTo>
                  <a:lnTo>
                    <a:pt x="484367" y="72758"/>
                  </a:lnTo>
                  <a:lnTo>
                    <a:pt x="483204" y="73275"/>
                  </a:lnTo>
                  <a:lnTo>
                    <a:pt x="482558" y="73792"/>
                  </a:lnTo>
                  <a:lnTo>
                    <a:pt x="482041" y="74309"/>
                  </a:lnTo>
                  <a:lnTo>
                    <a:pt x="481136" y="75731"/>
                  </a:lnTo>
                  <a:lnTo>
                    <a:pt x="478164" y="79479"/>
                  </a:lnTo>
                  <a:lnTo>
                    <a:pt x="477389" y="80125"/>
                  </a:lnTo>
                  <a:lnTo>
                    <a:pt x="476484" y="80642"/>
                  </a:lnTo>
                  <a:lnTo>
                    <a:pt x="473899" y="81676"/>
                  </a:lnTo>
                  <a:lnTo>
                    <a:pt x="472866" y="82193"/>
                  </a:lnTo>
                  <a:lnTo>
                    <a:pt x="460588" y="84648"/>
                  </a:lnTo>
                  <a:lnTo>
                    <a:pt x="459813" y="84648"/>
                  </a:lnTo>
                  <a:lnTo>
                    <a:pt x="458521" y="84389"/>
                  </a:lnTo>
                  <a:lnTo>
                    <a:pt x="457099" y="83743"/>
                  </a:lnTo>
                  <a:lnTo>
                    <a:pt x="456453" y="83614"/>
                  </a:lnTo>
                  <a:lnTo>
                    <a:pt x="455677" y="83614"/>
                  </a:lnTo>
                  <a:lnTo>
                    <a:pt x="454644" y="84002"/>
                  </a:lnTo>
                  <a:lnTo>
                    <a:pt x="453481" y="84648"/>
                  </a:lnTo>
                  <a:lnTo>
                    <a:pt x="452705" y="85294"/>
                  </a:lnTo>
                  <a:lnTo>
                    <a:pt x="451671" y="86457"/>
                  </a:lnTo>
                  <a:lnTo>
                    <a:pt x="451154" y="87362"/>
                  </a:lnTo>
                  <a:lnTo>
                    <a:pt x="450508" y="89688"/>
                  </a:lnTo>
                  <a:lnTo>
                    <a:pt x="450250" y="90076"/>
                  </a:lnTo>
                  <a:lnTo>
                    <a:pt x="449991" y="90463"/>
                  </a:lnTo>
                  <a:lnTo>
                    <a:pt x="449733" y="90722"/>
                  </a:lnTo>
                  <a:lnTo>
                    <a:pt x="449474" y="90980"/>
                  </a:lnTo>
                  <a:lnTo>
                    <a:pt x="448699" y="91497"/>
                  </a:lnTo>
                  <a:lnTo>
                    <a:pt x="447665" y="92014"/>
                  </a:lnTo>
                  <a:lnTo>
                    <a:pt x="444305" y="93048"/>
                  </a:lnTo>
                  <a:lnTo>
                    <a:pt x="443788" y="93307"/>
                  </a:lnTo>
                  <a:lnTo>
                    <a:pt x="443400" y="93694"/>
                  </a:lnTo>
                  <a:lnTo>
                    <a:pt x="442625" y="94470"/>
                  </a:lnTo>
                  <a:lnTo>
                    <a:pt x="441720" y="95762"/>
                  </a:lnTo>
                  <a:lnTo>
                    <a:pt x="439523" y="99510"/>
                  </a:lnTo>
                  <a:lnTo>
                    <a:pt x="438618" y="100544"/>
                  </a:lnTo>
                  <a:lnTo>
                    <a:pt x="437843" y="101061"/>
                  </a:lnTo>
                  <a:lnTo>
                    <a:pt x="437585" y="101707"/>
                  </a:lnTo>
                  <a:lnTo>
                    <a:pt x="437455" y="102999"/>
                  </a:lnTo>
                  <a:lnTo>
                    <a:pt x="437326" y="103516"/>
                  </a:lnTo>
                  <a:lnTo>
                    <a:pt x="437068" y="103904"/>
                  </a:lnTo>
                  <a:lnTo>
                    <a:pt x="436809" y="104162"/>
                  </a:lnTo>
                  <a:lnTo>
                    <a:pt x="436680" y="104291"/>
                  </a:lnTo>
                  <a:lnTo>
                    <a:pt x="434871" y="104162"/>
                  </a:lnTo>
                  <a:lnTo>
                    <a:pt x="429831" y="103258"/>
                  </a:lnTo>
                  <a:lnTo>
                    <a:pt x="428668" y="102870"/>
                  </a:lnTo>
                  <a:lnTo>
                    <a:pt x="428022" y="102741"/>
                  </a:lnTo>
                  <a:lnTo>
                    <a:pt x="427375" y="102741"/>
                  </a:lnTo>
                  <a:lnTo>
                    <a:pt x="426342" y="103128"/>
                  </a:lnTo>
                  <a:lnTo>
                    <a:pt x="425824" y="103516"/>
                  </a:lnTo>
                  <a:lnTo>
                    <a:pt x="425437" y="103904"/>
                  </a:lnTo>
                  <a:lnTo>
                    <a:pt x="425178" y="104421"/>
                  </a:lnTo>
                  <a:lnTo>
                    <a:pt x="424015" y="108815"/>
                  </a:lnTo>
                  <a:lnTo>
                    <a:pt x="423627" y="109848"/>
                  </a:lnTo>
                  <a:lnTo>
                    <a:pt x="423111" y="110882"/>
                  </a:lnTo>
                  <a:lnTo>
                    <a:pt x="422723" y="111270"/>
                  </a:lnTo>
                  <a:lnTo>
                    <a:pt x="422206" y="111399"/>
                  </a:lnTo>
                  <a:lnTo>
                    <a:pt x="421431" y="111399"/>
                  </a:lnTo>
                  <a:lnTo>
                    <a:pt x="420268" y="110882"/>
                  </a:lnTo>
                  <a:lnTo>
                    <a:pt x="419621" y="110495"/>
                  </a:lnTo>
                  <a:lnTo>
                    <a:pt x="419104" y="110107"/>
                  </a:lnTo>
                  <a:lnTo>
                    <a:pt x="417295" y="108168"/>
                  </a:lnTo>
                  <a:lnTo>
                    <a:pt x="416907" y="107910"/>
                  </a:lnTo>
                  <a:lnTo>
                    <a:pt x="415874" y="107652"/>
                  </a:lnTo>
                  <a:lnTo>
                    <a:pt x="411350" y="107005"/>
                  </a:lnTo>
                  <a:lnTo>
                    <a:pt x="408249" y="106876"/>
                  </a:lnTo>
                  <a:lnTo>
                    <a:pt x="405147" y="107522"/>
                  </a:lnTo>
                  <a:lnTo>
                    <a:pt x="403467" y="107522"/>
                  </a:lnTo>
                  <a:lnTo>
                    <a:pt x="402046" y="107781"/>
                  </a:lnTo>
                  <a:lnTo>
                    <a:pt x="401011" y="108168"/>
                  </a:lnTo>
                  <a:lnTo>
                    <a:pt x="400107" y="108685"/>
                  </a:lnTo>
                  <a:lnTo>
                    <a:pt x="399719" y="109073"/>
                  </a:lnTo>
                  <a:lnTo>
                    <a:pt x="398944" y="109848"/>
                  </a:lnTo>
                  <a:lnTo>
                    <a:pt x="398427" y="109978"/>
                  </a:lnTo>
                  <a:lnTo>
                    <a:pt x="397781" y="109848"/>
                  </a:lnTo>
                  <a:lnTo>
                    <a:pt x="392611" y="107264"/>
                  </a:lnTo>
                  <a:lnTo>
                    <a:pt x="390156" y="106618"/>
                  </a:lnTo>
                  <a:lnTo>
                    <a:pt x="389639" y="106359"/>
                  </a:lnTo>
                  <a:lnTo>
                    <a:pt x="389122" y="106101"/>
                  </a:lnTo>
                  <a:lnTo>
                    <a:pt x="388734" y="105713"/>
                  </a:lnTo>
                  <a:lnTo>
                    <a:pt x="388476" y="105325"/>
                  </a:lnTo>
                  <a:lnTo>
                    <a:pt x="388217" y="104938"/>
                  </a:lnTo>
                  <a:lnTo>
                    <a:pt x="388088" y="104550"/>
                  </a:lnTo>
                  <a:lnTo>
                    <a:pt x="388088" y="104291"/>
                  </a:lnTo>
                  <a:lnTo>
                    <a:pt x="388088" y="103904"/>
                  </a:lnTo>
                  <a:lnTo>
                    <a:pt x="388347" y="102870"/>
                  </a:lnTo>
                  <a:lnTo>
                    <a:pt x="389122" y="101448"/>
                  </a:lnTo>
                  <a:lnTo>
                    <a:pt x="389381" y="100931"/>
                  </a:lnTo>
                  <a:lnTo>
                    <a:pt x="389381" y="100414"/>
                  </a:lnTo>
                  <a:lnTo>
                    <a:pt x="389252" y="99897"/>
                  </a:lnTo>
                  <a:lnTo>
                    <a:pt x="388993" y="99510"/>
                  </a:lnTo>
                  <a:lnTo>
                    <a:pt x="388605" y="99122"/>
                  </a:lnTo>
                  <a:lnTo>
                    <a:pt x="388088" y="98864"/>
                  </a:lnTo>
                  <a:lnTo>
                    <a:pt x="385633" y="98217"/>
                  </a:lnTo>
                  <a:lnTo>
                    <a:pt x="384082" y="97442"/>
                  </a:lnTo>
                  <a:lnTo>
                    <a:pt x="383436" y="97184"/>
                  </a:lnTo>
                  <a:lnTo>
                    <a:pt x="382402" y="97184"/>
                  </a:lnTo>
                  <a:lnTo>
                    <a:pt x="380076" y="97701"/>
                  </a:lnTo>
                  <a:lnTo>
                    <a:pt x="379300" y="97701"/>
                  </a:lnTo>
                  <a:lnTo>
                    <a:pt x="378784" y="97313"/>
                  </a:lnTo>
                  <a:lnTo>
                    <a:pt x="378525" y="96796"/>
                  </a:lnTo>
                  <a:lnTo>
                    <a:pt x="378267" y="96150"/>
                  </a:lnTo>
                  <a:lnTo>
                    <a:pt x="378137" y="94211"/>
                  </a:lnTo>
                  <a:lnTo>
                    <a:pt x="377879" y="93694"/>
                  </a:lnTo>
                  <a:lnTo>
                    <a:pt x="377491" y="93307"/>
                  </a:lnTo>
                  <a:lnTo>
                    <a:pt x="376974" y="93048"/>
                  </a:lnTo>
                  <a:lnTo>
                    <a:pt x="372193" y="92014"/>
                  </a:lnTo>
                  <a:lnTo>
                    <a:pt x="371676" y="91756"/>
                  </a:lnTo>
                  <a:lnTo>
                    <a:pt x="369608" y="90722"/>
                  </a:lnTo>
                  <a:lnTo>
                    <a:pt x="368832" y="90593"/>
                  </a:lnTo>
                  <a:lnTo>
                    <a:pt x="367928" y="90593"/>
                  </a:lnTo>
                  <a:lnTo>
                    <a:pt x="366377" y="90980"/>
                  </a:lnTo>
                  <a:lnTo>
                    <a:pt x="363792" y="92143"/>
                  </a:lnTo>
                  <a:lnTo>
                    <a:pt x="363405" y="92531"/>
                  </a:lnTo>
                  <a:lnTo>
                    <a:pt x="363146" y="93048"/>
                  </a:lnTo>
                  <a:lnTo>
                    <a:pt x="362500" y="94728"/>
                  </a:lnTo>
                  <a:lnTo>
                    <a:pt x="362242" y="95116"/>
                  </a:lnTo>
                  <a:lnTo>
                    <a:pt x="361854" y="95374"/>
                  </a:lnTo>
                  <a:lnTo>
                    <a:pt x="361208" y="95504"/>
                  </a:lnTo>
                  <a:lnTo>
                    <a:pt x="360561" y="95374"/>
                  </a:lnTo>
                  <a:lnTo>
                    <a:pt x="359915" y="94987"/>
                  </a:lnTo>
                  <a:lnTo>
                    <a:pt x="359011" y="94211"/>
                  </a:lnTo>
                  <a:lnTo>
                    <a:pt x="358623" y="93953"/>
                  </a:lnTo>
                  <a:lnTo>
                    <a:pt x="357848" y="93824"/>
                  </a:lnTo>
                  <a:lnTo>
                    <a:pt x="356814" y="93824"/>
                  </a:lnTo>
                  <a:lnTo>
                    <a:pt x="354875" y="94082"/>
                  </a:lnTo>
                  <a:lnTo>
                    <a:pt x="353454" y="94082"/>
                  </a:lnTo>
                  <a:lnTo>
                    <a:pt x="350352" y="93694"/>
                  </a:lnTo>
                  <a:lnTo>
                    <a:pt x="349318" y="93694"/>
                  </a:lnTo>
                  <a:lnTo>
                    <a:pt x="348414" y="94082"/>
                  </a:lnTo>
                  <a:lnTo>
                    <a:pt x="347767" y="94470"/>
                  </a:lnTo>
                  <a:lnTo>
                    <a:pt x="347250" y="94857"/>
                  </a:lnTo>
                  <a:lnTo>
                    <a:pt x="346604" y="95633"/>
                  </a:lnTo>
                  <a:lnTo>
                    <a:pt x="346217" y="95891"/>
                  </a:lnTo>
                  <a:lnTo>
                    <a:pt x="345700" y="96150"/>
                  </a:lnTo>
                  <a:lnTo>
                    <a:pt x="345053" y="96279"/>
                  </a:lnTo>
                  <a:lnTo>
                    <a:pt x="344278" y="96279"/>
                  </a:lnTo>
                  <a:lnTo>
                    <a:pt x="342986" y="95891"/>
                  </a:lnTo>
                  <a:lnTo>
                    <a:pt x="342340" y="95504"/>
                  </a:lnTo>
                  <a:lnTo>
                    <a:pt x="341823" y="95116"/>
                  </a:lnTo>
                  <a:lnTo>
                    <a:pt x="341435" y="94728"/>
                  </a:lnTo>
                  <a:lnTo>
                    <a:pt x="341176" y="94340"/>
                  </a:lnTo>
                  <a:lnTo>
                    <a:pt x="338721" y="87362"/>
                  </a:lnTo>
                  <a:lnTo>
                    <a:pt x="338463" y="86974"/>
                  </a:lnTo>
                  <a:lnTo>
                    <a:pt x="338075" y="86586"/>
                  </a:lnTo>
                  <a:lnTo>
                    <a:pt x="336783" y="85682"/>
                  </a:lnTo>
                  <a:lnTo>
                    <a:pt x="333681" y="82709"/>
                  </a:lnTo>
                  <a:lnTo>
                    <a:pt x="333035" y="82580"/>
                  </a:lnTo>
                  <a:lnTo>
                    <a:pt x="332130" y="82839"/>
                  </a:lnTo>
                  <a:lnTo>
                    <a:pt x="330450" y="83873"/>
                  </a:lnTo>
                  <a:lnTo>
                    <a:pt x="329675" y="84648"/>
                  </a:lnTo>
                  <a:lnTo>
                    <a:pt x="329158" y="85423"/>
                  </a:lnTo>
                  <a:lnTo>
                    <a:pt x="328641" y="86974"/>
                  </a:lnTo>
                  <a:lnTo>
                    <a:pt x="328253" y="87620"/>
                  </a:lnTo>
                  <a:lnTo>
                    <a:pt x="327607" y="88267"/>
                  </a:lnTo>
                  <a:lnTo>
                    <a:pt x="327219" y="88525"/>
                  </a:lnTo>
                  <a:lnTo>
                    <a:pt x="326573" y="88783"/>
                  </a:lnTo>
                  <a:lnTo>
                    <a:pt x="325798" y="88913"/>
                  </a:lnTo>
                  <a:lnTo>
                    <a:pt x="324505" y="88913"/>
                  </a:lnTo>
                  <a:lnTo>
                    <a:pt x="322955" y="88654"/>
                  </a:lnTo>
                  <a:lnTo>
                    <a:pt x="322438" y="88396"/>
                  </a:lnTo>
                  <a:lnTo>
                    <a:pt x="320499" y="87362"/>
                  </a:lnTo>
                  <a:lnTo>
                    <a:pt x="317010" y="86328"/>
                  </a:lnTo>
                  <a:lnTo>
                    <a:pt x="316105" y="86457"/>
                  </a:lnTo>
                  <a:lnTo>
                    <a:pt x="314942" y="86845"/>
                  </a:lnTo>
                  <a:lnTo>
                    <a:pt x="313004" y="88008"/>
                  </a:lnTo>
                  <a:lnTo>
                    <a:pt x="312099" y="88783"/>
                  </a:lnTo>
                  <a:lnTo>
                    <a:pt x="311453" y="89430"/>
                  </a:lnTo>
                  <a:lnTo>
                    <a:pt x="310419" y="91368"/>
                  </a:lnTo>
                  <a:lnTo>
                    <a:pt x="310031" y="92531"/>
                  </a:lnTo>
                  <a:lnTo>
                    <a:pt x="309256" y="96279"/>
                  </a:lnTo>
                  <a:lnTo>
                    <a:pt x="308997" y="96796"/>
                  </a:lnTo>
                  <a:lnTo>
                    <a:pt x="308739" y="97184"/>
                  </a:lnTo>
                  <a:lnTo>
                    <a:pt x="308351" y="97571"/>
                  </a:lnTo>
                  <a:lnTo>
                    <a:pt x="307964" y="97959"/>
                  </a:lnTo>
                  <a:lnTo>
                    <a:pt x="307576" y="98217"/>
                  </a:lnTo>
                  <a:lnTo>
                    <a:pt x="306800" y="98347"/>
                  </a:lnTo>
                  <a:lnTo>
                    <a:pt x="305767" y="98217"/>
                  </a:lnTo>
                  <a:lnTo>
                    <a:pt x="301502" y="96925"/>
                  </a:lnTo>
                  <a:lnTo>
                    <a:pt x="299305" y="96537"/>
                  </a:lnTo>
                  <a:lnTo>
                    <a:pt x="295169" y="96408"/>
                  </a:lnTo>
                  <a:lnTo>
                    <a:pt x="294265" y="96796"/>
                  </a:lnTo>
                  <a:lnTo>
                    <a:pt x="293877" y="97054"/>
                  </a:lnTo>
                  <a:lnTo>
                    <a:pt x="293231" y="98476"/>
                  </a:lnTo>
                  <a:lnTo>
                    <a:pt x="292714" y="101965"/>
                  </a:lnTo>
                  <a:lnTo>
                    <a:pt x="293360" y="104162"/>
                  </a:lnTo>
                  <a:lnTo>
                    <a:pt x="293748" y="104679"/>
                  </a:lnTo>
                  <a:lnTo>
                    <a:pt x="295299" y="106876"/>
                  </a:lnTo>
                  <a:lnTo>
                    <a:pt x="296074" y="107652"/>
                  </a:lnTo>
                  <a:lnTo>
                    <a:pt x="297237" y="109461"/>
                  </a:lnTo>
                  <a:lnTo>
                    <a:pt x="297625" y="109848"/>
                  </a:lnTo>
                  <a:lnTo>
                    <a:pt x="298013" y="110236"/>
                  </a:lnTo>
                  <a:lnTo>
                    <a:pt x="298788" y="111012"/>
                  </a:lnTo>
                  <a:lnTo>
                    <a:pt x="299046" y="111528"/>
                  </a:lnTo>
                  <a:lnTo>
                    <a:pt x="299176" y="112045"/>
                  </a:lnTo>
                  <a:lnTo>
                    <a:pt x="299305" y="112562"/>
                  </a:lnTo>
                  <a:lnTo>
                    <a:pt x="302406" y="121738"/>
                  </a:lnTo>
                  <a:lnTo>
                    <a:pt x="302794" y="124193"/>
                  </a:lnTo>
                  <a:lnTo>
                    <a:pt x="302923" y="126907"/>
                  </a:lnTo>
                  <a:lnTo>
                    <a:pt x="303311" y="128717"/>
                  </a:lnTo>
                  <a:lnTo>
                    <a:pt x="303699" y="129750"/>
                  </a:lnTo>
                  <a:lnTo>
                    <a:pt x="303957" y="130267"/>
                  </a:lnTo>
                  <a:lnTo>
                    <a:pt x="304603" y="131043"/>
                  </a:lnTo>
                  <a:lnTo>
                    <a:pt x="307576" y="133240"/>
                  </a:lnTo>
                  <a:lnTo>
                    <a:pt x="307964" y="133627"/>
                  </a:lnTo>
                  <a:lnTo>
                    <a:pt x="308222" y="134015"/>
                  </a:lnTo>
                  <a:lnTo>
                    <a:pt x="308480" y="134532"/>
                  </a:lnTo>
                  <a:lnTo>
                    <a:pt x="308997" y="136729"/>
                  </a:lnTo>
                  <a:lnTo>
                    <a:pt x="309385" y="141381"/>
                  </a:lnTo>
                  <a:lnTo>
                    <a:pt x="309385" y="142028"/>
                  </a:lnTo>
                  <a:lnTo>
                    <a:pt x="309127" y="143837"/>
                  </a:lnTo>
                  <a:lnTo>
                    <a:pt x="308739" y="145258"/>
                  </a:lnTo>
                  <a:lnTo>
                    <a:pt x="306283" y="150557"/>
                  </a:lnTo>
                  <a:lnTo>
                    <a:pt x="305896" y="151849"/>
                  </a:lnTo>
                  <a:lnTo>
                    <a:pt x="305767" y="152754"/>
                  </a:lnTo>
                  <a:lnTo>
                    <a:pt x="306671" y="154822"/>
                  </a:lnTo>
                  <a:lnTo>
                    <a:pt x="307188" y="156502"/>
                  </a:lnTo>
                  <a:lnTo>
                    <a:pt x="307446" y="158569"/>
                  </a:lnTo>
                  <a:lnTo>
                    <a:pt x="307446" y="159991"/>
                  </a:lnTo>
                  <a:lnTo>
                    <a:pt x="307188" y="161930"/>
                  </a:lnTo>
                  <a:lnTo>
                    <a:pt x="306671" y="163351"/>
                  </a:lnTo>
                  <a:lnTo>
                    <a:pt x="305767" y="165031"/>
                  </a:lnTo>
                  <a:lnTo>
                    <a:pt x="301890" y="169296"/>
                  </a:lnTo>
                  <a:lnTo>
                    <a:pt x="301502" y="169942"/>
                  </a:lnTo>
                  <a:lnTo>
                    <a:pt x="301114" y="170976"/>
                  </a:lnTo>
                  <a:lnTo>
                    <a:pt x="300985" y="171881"/>
                  </a:lnTo>
                  <a:lnTo>
                    <a:pt x="301114" y="175370"/>
                  </a:lnTo>
                  <a:lnTo>
                    <a:pt x="300985" y="176016"/>
                  </a:lnTo>
                  <a:lnTo>
                    <a:pt x="300597" y="176662"/>
                  </a:lnTo>
                  <a:lnTo>
                    <a:pt x="299951" y="177308"/>
                  </a:lnTo>
                  <a:lnTo>
                    <a:pt x="298659" y="178213"/>
                  </a:lnTo>
                  <a:lnTo>
                    <a:pt x="297237" y="178988"/>
                  </a:lnTo>
                  <a:lnTo>
                    <a:pt x="296720" y="179376"/>
                  </a:lnTo>
                  <a:lnTo>
                    <a:pt x="296332" y="179893"/>
                  </a:lnTo>
                  <a:lnTo>
                    <a:pt x="295686" y="181702"/>
                  </a:lnTo>
                  <a:lnTo>
                    <a:pt x="295428" y="183124"/>
                  </a:lnTo>
                  <a:lnTo>
                    <a:pt x="295299" y="183641"/>
                  </a:lnTo>
                  <a:lnTo>
                    <a:pt x="291422" y="189327"/>
                  </a:lnTo>
                  <a:lnTo>
                    <a:pt x="290258" y="191912"/>
                  </a:lnTo>
                  <a:lnTo>
                    <a:pt x="289483" y="195143"/>
                  </a:lnTo>
                  <a:lnTo>
                    <a:pt x="288966" y="196176"/>
                  </a:lnTo>
                  <a:lnTo>
                    <a:pt x="288449" y="196693"/>
                  </a:lnTo>
                  <a:lnTo>
                    <a:pt x="287803" y="197210"/>
                  </a:lnTo>
                  <a:lnTo>
                    <a:pt x="285865" y="198244"/>
                  </a:lnTo>
                  <a:lnTo>
                    <a:pt x="285348" y="198761"/>
                  </a:lnTo>
                  <a:lnTo>
                    <a:pt x="285089" y="199536"/>
                  </a:lnTo>
                  <a:lnTo>
                    <a:pt x="284572" y="203026"/>
                  </a:lnTo>
                  <a:lnTo>
                    <a:pt x="284185" y="204189"/>
                  </a:lnTo>
                  <a:lnTo>
                    <a:pt x="283797" y="204835"/>
                  </a:lnTo>
                  <a:lnTo>
                    <a:pt x="283151" y="205352"/>
                  </a:lnTo>
                  <a:lnTo>
                    <a:pt x="281729" y="205998"/>
                  </a:lnTo>
                  <a:lnTo>
                    <a:pt x="280824" y="206128"/>
                  </a:lnTo>
                  <a:lnTo>
                    <a:pt x="280049" y="206128"/>
                  </a:lnTo>
                  <a:lnTo>
                    <a:pt x="278886" y="205869"/>
                  </a:lnTo>
                  <a:lnTo>
                    <a:pt x="277594" y="205869"/>
                  </a:lnTo>
                  <a:lnTo>
                    <a:pt x="276947" y="205998"/>
                  </a:lnTo>
                  <a:lnTo>
                    <a:pt x="276043" y="206644"/>
                  </a:lnTo>
                  <a:lnTo>
                    <a:pt x="264024" y="219568"/>
                  </a:lnTo>
                  <a:lnTo>
                    <a:pt x="262473" y="221377"/>
                  </a:lnTo>
                  <a:lnTo>
                    <a:pt x="260664" y="222669"/>
                  </a:lnTo>
                  <a:lnTo>
                    <a:pt x="259630" y="223186"/>
                  </a:lnTo>
                  <a:lnTo>
                    <a:pt x="251876" y="225771"/>
                  </a:lnTo>
                  <a:lnTo>
                    <a:pt x="251230" y="225900"/>
                  </a:lnTo>
                  <a:lnTo>
                    <a:pt x="250325" y="225771"/>
                  </a:lnTo>
                  <a:lnTo>
                    <a:pt x="249162" y="225513"/>
                  </a:lnTo>
                  <a:lnTo>
                    <a:pt x="241796" y="222669"/>
                  </a:lnTo>
                  <a:lnTo>
                    <a:pt x="231586" y="221506"/>
                  </a:lnTo>
                  <a:lnTo>
                    <a:pt x="230165" y="221635"/>
                  </a:lnTo>
                  <a:lnTo>
                    <a:pt x="229648" y="221894"/>
                  </a:lnTo>
                  <a:lnTo>
                    <a:pt x="228356" y="222799"/>
                  </a:lnTo>
                  <a:lnTo>
                    <a:pt x="225383" y="224349"/>
                  </a:lnTo>
                  <a:lnTo>
                    <a:pt x="222023" y="225383"/>
                  </a:lnTo>
                  <a:lnTo>
                    <a:pt x="218534" y="225771"/>
                  </a:lnTo>
                  <a:lnTo>
                    <a:pt x="217371" y="226029"/>
                  </a:lnTo>
                  <a:lnTo>
                    <a:pt x="216854" y="226288"/>
                  </a:lnTo>
                  <a:lnTo>
                    <a:pt x="215949" y="226805"/>
                  </a:lnTo>
                  <a:lnTo>
                    <a:pt x="215561" y="227192"/>
                  </a:lnTo>
                  <a:lnTo>
                    <a:pt x="213752" y="229906"/>
                  </a:lnTo>
                  <a:lnTo>
                    <a:pt x="212977" y="230682"/>
                  </a:lnTo>
                  <a:lnTo>
                    <a:pt x="212460" y="230940"/>
                  </a:lnTo>
                  <a:lnTo>
                    <a:pt x="211943" y="231199"/>
                  </a:lnTo>
                  <a:lnTo>
                    <a:pt x="210263" y="231716"/>
                  </a:lnTo>
                  <a:lnTo>
                    <a:pt x="209229" y="232103"/>
                  </a:lnTo>
                  <a:lnTo>
                    <a:pt x="208841" y="232362"/>
                  </a:lnTo>
                  <a:lnTo>
                    <a:pt x="208454" y="232750"/>
                  </a:lnTo>
                  <a:lnTo>
                    <a:pt x="208066" y="233137"/>
                  </a:lnTo>
                  <a:lnTo>
                    <a:pt x="207032" y="235851"/>
                  </a:lnTo>
                  <a:lnTo>
                    <a:pt x="206515" y="236756"/>
                  </a:lnTo>
                  <a:lnTo>
                    <a:pt x="206127" y="237143"/>
                  </a:lnTo>
                  <a:lnTo>
                    <a:pt x="205740" y="237531"/>
                  </a:lnTo>
                  <a:lnTo>
                    <a:pt x="205352" y="237919"/>
                  </a:lnTo>
                  <a:lnTo>
                    <a:pt x="204835" y="238177"/>
                  </a:lnTo>
                  <a:lnTo>
                    <a:pt x="203672" y="238565"/>
                  </a:lnTo>
                  <a:lnTo>
                    <a:pt x="200700" y="239211"/>
                  </a:lnTo>
                  <a:lnTo>
                    <a:pt x="196435" y="240891"/>
                  </a:lnTo>
                  <a:lnTo>
                    <a:pt x="195530" y="241408"/>
                  </a:lnTo>
                  <a:lnTo>
                    <a:pt x="194755" y="242184"/>
                  </a:lnTo>
                  <a:lnTo>
                    <a:pt x="194497" y="242571"/>
                  </a:lnTo>
                  <a:lnTo>
                    <a:pt x="191136" y="250584"/>
                  </a:lnTo>
                  <a:lnTo>
                    <a:pt x="190878" y="250972"/>
                  </a:lnTo>
                  <a:lnTo>
                    <a:pt x="190490" y="251359"/>
                  </a:lnTo>
                  <a:lnTo>
                    <a:pt x="190102" y="251618"/>
                  </a:lnTo>
                  <a:lnTo>
                    <a:pt x="189198" y="252135"/>
                  </a:lnTo>
                  <a:lnTo>
                    <a:pt x="188164" y="252522"/>
                  </a:lnTo>
                  <a:lnTo>
                    <a:pt x="187001" y="252781"/>
                  </a:lnTo>
                  <a:lnTo>
                    <a:pt x="185579" y="252910"/>
                  </a:lnTo>
                  <a:lnTo>
                    <a:pt x="183899" y="252781"/>
                  </a:lnTo>
                  <a:lnTo>
                    <a:pt x="175241" y="251101"/>
                  </a:lnTo>
                  <a:lnTo>
                    <a:pt x="173948" y="251101"/>
                  </a:lnTo>
                  <a:lnTo>
                    <a:pt x="170201" y="251747"/>
                  </a:lnTo>
                  <a:lnTo>
                    <a:pt x="169167" y="252135"/>
                  </a:lnTo>
                  <a:lnTo>
                    <a:pt x="168262" y="252522"/>
                  </a:lnTo>
                  <a:lnTo>
                    <a:pt x="166841" y="253556"/>
                  </a:lnTo>
                  <a:lnTo>
                    <a:pt x="166323" y="253815"/>
                  </a:lnTo>
                  <a:lnTo>
                    <a:pt x="165807" y="254073"/>
                  </a:lnTo>
                  <a:lnTo>
                    <a:pt x="164644" y="254461"/>
                  </a:lnTo>
                  <a:lnTo>
                    <a:pt x="163351" y="254719"/>
                  </a:lnTo>
                  <a:lnTo>
                    <a:pt x="162705" y="254719"/>
                  </a:lnTo>
                  <a:lnTo>
                    <a:pt x="161930" y="254590"/>
                  </a:lnTo>
                  <a:lnTo>
                    <a:pt x="161025" y="254332"/>
                  </a:lnTo>
                  <a:lnTo>
                    <a:pt x="155339" y="251618"/>
                  </a:lnTo>
                  <a:lnTo>
                    <a:pt x="153400" y="251101"/>
                  </a:lnTo>
                  <a:lnTo>
                    <a:pt x="152883" y="250842"/>
                  </a:lnTo>
                  <a:lnTo>
                    <a:pt x="148619" y="247870"/>
                  </a:lnTo>
                  <a:lnTo>
                    <a:pt x="146422" y="246707"/>
                  </a:lnTo>
                  <a:lnTo>
                    <a:pt x="141511" y="245414"/>
                  </a:lnTo>
                  <a:lnTo>
                    <a:pt x="137892" y="242959"/>
                  </a:lnTo>
                  <a:lnTo>
                    <a:pt x="136729" y="242442"/>
                  </a:lnTo>
                  <a:lnTo>
                    <a:pt x="135695" y="242184"/>
                  </a:lnTo>
                  <a:lnTo>
                    <a:pt x="134274" y="242054"/>
                  </a:lnTo>
                  <a:lnTo>
                    <a:pt x="133627" y="241796"/>
                  </a:lnTo>
                  <a:lnTo>
                    <a:pt x="132981" y="241279"/>
                  </a:lnTo>
                  <a:lnTo>
                    <a:pt x="131689" y="239340"/>
                  </a:lnTo>
                  <a:lnTo>
                    <a:pt x="127553" y="231974"/>
                  </a:lnTo>
                  <a:lnTo>
                    <a:pt x="121221" y="224737"/>
                  </a:lnTo>
                  <a:lnTo>
                    <a:pt x="120833" y="224091"/>
                  </a:lnTo>
                  <a:lnTo>
                    <a:pt x="119024" y="219826"/>
                  </a:lnTo>
                  <a:lnTo>
                    <a:pt x="118895" y="219180"/>
                  </a:lnTo>
                  <a:lnTo>
                    <a:pt x="118378" y="215303"/>
                  </a:lnTo>
                  <a:lnTo>
                    <a:pt x="118249" y="212589"/>
                  </a:lnTo>
                  <a:lnTo>
                    <a:pt x="117732" y="210134"/>
                  </a:lnTo>
                  <a:lnTo>
                    <a:pt x="117473" y="209617"/>
                  </a:lnTo>
                  <a:lnTo>
                    <a:pt x="116439" y="207678"/>
                  </a:lnTo>
                  <a:lnTo>
                    <a:pt x="112821" y="202380"/>
                  </a:lnTo>
                  <a:lnTo>
                    <a:pt x="105842" y="195143"/>
                  </a:lnTo>
                  <a:lnTo>
                    <a:pt x="104421" y="194109"/>
                  </a:lnTo>
                  <a:lnTo>
                    <a:pt x="103387" y="193462"/>
                  </a:lnTo>
                  <a:lnTo>
                    <a:pt x="99897" y="193204"/>
                  </a:lnTo>
                  <a:lnTo>
                    <a:pt x="86845" y="193333"/>
                  </a:lnTo>
                  <a:lnTo>
                    <a:pt x="85553" y="193721"/>
                  </a:lnTo>
                  <a:lnTo>
                    <a:pt x="84519" y="194238"/>
                  </a:lnTo>
                  <a:lnTo>
                    <a:pt x="84002" y="194884"/>
                  </a:lnTo>
                  <a:lnTo>
                    <a:pt x="83356" y="195918"/>
                  </a:lnTo>
                  <a:lnTo>
                    <a:pt x="82580" y="197727"/>
                  </a:lnTo>
                  <a:lnTo>
                    <a:pt x="82193" y="198890"/>
                  </a:lnTo>
                  <a:lnTo>
                    <a:pt x="81934" y="201217"/>
                  </a:lnTo>
                  <a:lnTo>
                    <a:pt x="81675" y="202509"/>
                  </a:lnTo>
                  <a:lnTo>
                    <a:pt x="81417" y="203026"/>
                  </a:lnTo>
                  <a:lnTo>
                    <a:pt x="80900" y="203801"/>
                  </a:lnTo>
                  <a:lnTo>
                    <a:pt x="80125" y="204706"/>
                  </a:lnTo>
                  <a:lnTo>
                    <a:pt x="77540" y="207032"/>
                  </a:lnTo>
                  <a:lnTo>
                    <a:pt x="76377" y="207937"/>
                  </a:lnTo>
                  <a:lnTo>
                    <a:pt x="75860" y="208195"/>
                  </a:lnTo>
                  <a:lnTo>
                    <a:pt x="74309" y="208841"/>
                  </a:lnTo>
                  <a:lnTo>
                    <a:pt x="72500" y="210004"/>
                  </a:lnTo>
                  <a:lnTo>
                    <a:pt x="69398" y="211297"/>
                  </a:lnTo>
                  <a:lnTo>
                    <a:pt x="68364" y="211943"/>
                  </a:lnTo>
                  <a:lnTo>
                    <a:pt x="65392" y="214140"/>
                  </a:lnTo>
                  <a:lnTo>
                    <a:pt x="59964" y="216854"/>
                  </a:lnTo>
                  <a:lnTo>
                    <a:pt x="56604" y="219439"/>
                  </a:lnTo>
                  <a:lnTo>
                    <a:pt x="55958" y="219697"/>
                  </a:lnTo>
                  <a:lnTo>
                    <a:pt x="53374" y="220085"/>
                  </a:lnTo>
                  <a:lnTo>
                    <a:pt x="51823" y="220731"/>
                  </a:lnTo>
                  <a:lnTo>
                    <a:pt x="51306" y="220989"/>
                  </a:lnTo>
                  <a:lnTo>
                    <a:pt x="47041" y="225513"/>
                  </a:lnTo>
                  <a:lnTo>
                    <a:pt x="46007" y="226288"/>
                  </a:lnTo>
                  <a:lnTo>
                    <a:pt x="40450" y="228873"/>
                  </a:lnTo>
                  <a:lnTo>
                    <a:pt x="40062" y="229131"/>
                  </a:lnTo>
                  <a:lnTo>
                    <a:pt x="39287" y="229777"/>
                  </a:lnTo>
                  <a:lnTo>
                    <a:pt x="35152" y="234429"/>
                  </a:lnTo>
                  <a:lnTo>
                    <a:pt x="33213" y="236110"/>
                  </a:lnTo>
                  <a:lnTo>
                    <a:pt x="31791" y="237014"/>
                  </a:lnTo>
                  <a:lnTo>
                    <a:pt x="28431" y="239599"/>
                  </a:lnTo>
                  <a:lnTo>
                    <a:pt x="28044" y="240245"/>
                  </a:lnTo>
                  <a:lnTo>
                    <a:pt x="27785" y="241021"/>
                  </a:lnTo>
                  <a:lnTo>
                    <a:pt x="27656" y="242571"/>
                  </a:lnTo>
                  <a:lnTo>
                    <a:pt x="27914" y="243217"/>
                  </a:lnTo>
                  <a:lnTo>
                    <a:pt x="28431" y="243605"/>
                  </a:lnTo>
                  <a:lnTo>
                    <a:pt x="29724" y="243864"/>
                  </a:lnTo>
                  <a:lnTo>
                    <a:pt x="30887" y="244251"/>
                  </a:lnTo>
                  <a:lnTo>
                    <a:pt x="31274" y="244639"/>
                  </a:lnTo>
                  <a:lnTo>
                    <a:pt x="31662" y="245027"/>
                  </a:lnTo>
                  <a:lnTo>
                    <a:pt x="31791" y="245544"/>
                  </a:lnTo>
                  <a:lnTo>
                    <a:pt x="31921" y="246190"/>
                  </a:lnTo>
                  <a:lnTo>
                    <a:pt x="31921" y="246836"/>
                  </a:lnTo>
                  <a:lnTo>
                    <a:pt x="32050" y="247353"/>
                  </a:lnTo>
                  <a:lnTo>
                    <a:pt x="32567" y="248258"/>
                  </a:lnTo>
                  <a:lnTo>
                    <a:pt x="36056" y="253039"/>
                  </a:lnTo>
                  <a:lnTo>
                    <a:pt x="36315" y="253556"/>
                  </a:lnTo>
                  <a:lnTo>
                    <a:pt x="36444" y="254073"/>
                  </a:lnTo>
                  <a:lnTo>
                    <a:pt x="36315" y="254848"/>
                  </a:lnTo>
                  <a:lnTo>
                    <a:pt x="35798" y="255624"/>
                  </a:lnTo>
                  <a:lnTo>
                    <a:pt x="34376" y="256658"/>
                  </a:lnTo>
                  <a:lnTo>
                    <a:pt x="33471" y="257175"/>
                  </a:lnTo>
                  <a:lnTo>
                    <a:pt x="32696" y="257433"/>
                  </a:lnTo>
                  <a:lnTo>
                    <a:pt x="30758" y="257821"/>
                  </a:lnTo>
                  <a:lnTo>
                    <a:pt x="26881" y="259113"/>
                  </a:lnTo>
                  <a:lnTo>
                    <a:pt x="24037" y="260664"/>
                  </a:lnTo>
                  <a:lnTo>
                    <a:pt x="22228" y="261827"/>
                  </a:lnTo>
                  <a:lnTo>
                    <a:pt x="21453" y="262603"/>
                  </a:lnTo>
                  <a:lnTo>
                    <a:pt x="20031" y="264929"/>
                  </a:lnTo>
                  <a:lnTo>
                    <a:pt x="14733" y="276430"/>
                  </a:lnTo>
                  <a:lnTo>
                    <a:pt x="11502" y="285348"/>
                  </a:lnTo>
                  <a:lnTo>
                    <a:pt x="10985" y="286123"/>
                  </a:lnTo>
                  <a:lnTo>
                    <a:pt x="10209" y="287028"/>
                  </a:lnTo>
                  <a:lnTo>
                    <a:pt x="7496" y="289095"/>
                  </a:lnTo>
                  <a:lnTo>
                    <a:pt x="6720" y="289483"/>
                  </a:lnTo>
                  <a:lnTo>
                    <a:pt x="5686" y="289871"/>
                  </a:lnTo>
                  <a:lnTo>
                    <a:pt x="4394" y="291292"/>
                  </a:lnTo>
                  <a:lnTo>
                    <a:pt x="1551" y="296203"/>
                  </a:lnTo>
                  <a:lnTo>
                    <a:pt x="1034" y="297237"/>
                  </a:lnTo>
                  <a:lnTo>
                    <a:pt x="129" y="300080"/>
                  </a:lnTo>
                  <a:lnTo>
                    <a:pt x="0" y="300726"/>
                  </a:lnTo>
                  <a:lnTo>
                    <a:pt x="0" y="301373"/>
                  </a:lnTo>
                  <a:lnTo>
                    <a:pt x="129" y="302277"/>
                  </a:lnTo>
                  <a:lnTo>
                    <a:pt x="388" y="303311"/>
                  </a:lnTo>
                  <a:lnTo>
                    <a:pt x="1163" y="305120"/>
                  </a:lnTo>
                  <a:lnTo>
                    <a:pt x="2068" y="306671"/>
                  </a:lnTo>
                  <a:lnTo>
                    <a:pt x="2843" y="307317"/>
                  </a:lnTo>
                  <a:lnTo>
                    <a:pt x="6979" y="309256"/>
                  </a:lnTo>
                  <a:lnTo>
                    <a:pt x="7625" y="309773"/>
                  </a:lnTo>
                  <a:lnTo>
                    <a:pt x="7883" y="310031"/>
                  </a:lnTo>
                  <a:lnTo>
                    <a:pt x="8529" y="310677"/>
                  </a:lnTo>
                  <a:lnTo>
                    <a:pt x="8788" y="311194"/>
                  </a:lnTo>
                  <a:lnTo>
                    <a:pt x="9305" y="312228"/>
                  </a:lnTo>
                  <a:lnTo>
                    <a:pt x="9951" y="314037"/>
                  </a:lnTo>
                  <a:lnTo>
                    <a:pt x="11373" y="317268"/>
                  </a:lnTo>
                  <a:lnTo>
                    <a:pt x="11760" y="317785"/>
                  </a:lnTo>
                  <a:lnTo>
                    <a:pt x="12148" y="318173"/>
                  </a:lnTo>
                  <a:lnTo>
                    <a:pt x="12923" y="318819"/>
                  </a:lnTo>
                  <a:lnTo>
                    <a:pt x="13828" y="319465"/>
                  </a:lnTo>
                  <a:lnTo>
                    <a:pt x="14862" y="319853"/>
                  </a:lnTo>
                  <a:lnTo>
                    <a:pt x="15379" y="319982"/>
                  </a:lnTo>
                  <a:lnTo>
                    <a:pt x="31274" y="322050"/>
                  </a:lnTo>
                  <a:lnTo>
                    <a:pt x="40708" y="324764"/>
                  </a:lnTo>
                  <a:lnTo>
                    <a:pt x="48979" y="328641"/>
                  </a:lnTo>
                  <a:lnTo>
                    <a:pt x="50272" y="329675"/>
                  </a:lnTo>
                  <a:lnTo>
                    <a:pt x="51693" y="330579"/>
                  </a:lnTo>
                  <a:lnTo>
                    <a:pt x="52081" y="330967"/>
                  </a:lnTo>
                  <a:lnTo>
                    <a:pt x="52210" y="331872"/>
                  </a:lnTo>
                  <a:lnTo>
                    <a:pt x="52081" y="333164"/>
                  </a:lnTo>
                  <a:lnTo>
                    <a:pt x="51176" y="336007"/>
                  </a:lnTo>
                  <a:lnTo>
                    <a:pt x="50530" y="337170"/>
                  </a:lnTo>
                  <a:lnTo>
                    <a:pt x="49884" y="337946"/>
                  </a:lnTo>
                  <a:lnTo>
                    <a:pt x="49367" y="338204"/>
                  </a:lnTo>
                  <a:lnTo>
                    <a:pt x="48979" y="338592"/>
                  </a:lnTo>
                  <a:lnTo>
                    <a:pt x="48592" y="338980"/>
                  </a:lnTo>
                  <a:lnTo>
                    <a:pt x="47687" y="339626"/>
                  </a:lnTo>
                  <a:lnTo>
                    <a:pt x="40450" y="341952"/>
                  </a:lnTo>
                  <a:lnTo>
                    <a:pt x="34764" y="344407"/>
                  </a:lnTo>
                  <a:lnTo>
                    <a:pt x="33859" y="344924"/>
                  </a:lnTo>
                  <a:lnTo>
                    <a:pt x="33084" y="345700"/>
                  </a:lnTo>
                  <a:lnTo>
                    <a:pt x="32438" y="346475"/>
                  </a:lnTo>
                  <a:lnTo>
                    <a:pt x="32179" y="346863"/>
                  </a:lnTo>
                  <a:lnTo>
                    <a:pt x="31921" y="347380"/>
                  </a:lnTo>
                  <a:lnTo>
                    <a:pt x="31533" y="348543"/>
                  </a:lnTo>
                  <a:lnTo>
                    <a:pt x="31533" y="349706"/>
                  </a:lnTo>
                  <a:lnTo>
                    <a:pt x="32179" y="354488"/>
                  </a:lnTo>
                  <a:lnTo>
                    <a:pt x="32567" y="355909"/>
                  </a:lnTo>
                  <a:lnTo>
                    <a:pt x="33084" y="356814"/>
                  </a:lnTo>
                  <a:lnTo>
                    <a:pt x="33601" y="357072"/>
                  </a:lnTo>
                  <a:lnTo>
                    <a:pt x="34247" y="357072"/>
                  </a:lnTo>
                  <a:lnTo>
                    <a:pt x="35410" y="356943"/>
                  </a:lnTo>
                  <a:lnTo>
                    <a:pt x="37736" y="356297"/>
                  </a:lnTo>
                  <a:lnTo>
                    <a:pt x="40192" y="355909"/>
                  </a:lnTo>
                  <a:lnTo>
                    <a:pt x="41613" y="355909"/>
                  </a:lnTo>
                  <a:lnTo>
                    <a:pt x="42905" y="356038"/>
                  </a:lnTo>
                  <a:lnTo>
                    <a:pt x="44198" y="356297"/>
                  </a:lnTo>
                  <a:lnTo>
                    <a:pt x="46395" y="357201"/>
                  </a:lnTo>
                  <a:lnTo>
                    <a:pt x="48333" y="358365"/>
                  </a:lnTo>
                  <a:lnTo>
                    <a:pt x="50143" y="359657"/>
                  </a:lnTo>
                  <a:lnTo>
                    <a:pt x="51176" y="360820"/>
                  </a:lnTo>
                  <a:lnTo>
                    <a:pt x="53503" y="364439"/>
                  </a:lnTo>
                  <a:lnTo>
                    <a:pt x="53632" y="364955"/>
                  </a:lnTo>
                  <a:lnTo>
                    <a:pt x="53503" y="365602"/>
                  </a:lnTo>
                  <a:lnTo>
                    <a:pt x="52856" y="366377"/>
                  </a:lnTo>
                  <a:lnTo>
                    <a:pt x="52210" y="366765"/>
                  </a:lnTo>
                  <a:lnTo>
                    <a:pt x="51047" y="367282"/>
                  </a:lnTo>
                  <a:lnTo>
                    <a:pt x="50530" y="367540"/>
                  </a:lnTo>
                  <a:lnTo>
                    <a:pt x="49626" y="368186"/>
                  </a:lnTo>
                  <a:lnTo>
                    <a:pt x="47300" y="370383"/>
                  </a:lnTo>
                  <a:lnTo>
                    <a:pt x="46395" y="370900"/>
                  </a:lnTo>
                  <a:lnTo>
                    <a:pt x="39804" y="373097"/>
                  </a:lnTo>
                  <a:lnTo>
                    <a:pt x="38512" y="373873"/>
                  </a:lnTo>
                  <a:lnTo>
                    <a:pt x="38124" y="374131"/>
                  </a:lnTo>
                  <a:lnTo>
                    <a:pt x="37995" y="374260"/>
                  </a:lnTo>
                  <a:lnTo>
                    <a:pt x="34247" y="379559"/>
                  </a:lnTo>
                  <a:lnTo>
                    <a:pt x="33471" y="380205"/>
                  </a:lnTo>
                  <a:lnTo>
                    <a:pt x="32179" y="381110"/>
                  </a:lnTo>
                  <a:lnTo>
                    <a:pt x="26364" y="384082"/>
                  </a:lnTo>
                  <a:lnTo>
                    <a:pt x="25976" y="384470"/>
                  </a:lnTo>
                  <a:lnTo>
                    <a:pt x="25588" y="384857"/>
                  </a:lnTo>
                  <a:lnTo>
                    <a:pt x="25330" y="385374"/>
                  </a:lnTo>
                  <a:lnTo>
                    <a:pt x="25071" y="386021"/>
                  </a:lnTo>
                  <a:lnTo>
                    <a:pt x="24684" y="388217"/>
                  </a:lnTo>
                  <a:lnTo>
                    <a:pt x="24037" y="411221"/>
                  </a:lnTo>
                  <a:lnTo>
                    <a:pt x="24296" y="412384"/>
                  </a:lnTo>
                  <a:lnTo>
                    <a:pt x="25976" y="417554"/>
                  </a:lnTo>
                  <a:lnTo>
                    <a:pt x="27139" y="420267"/>
                  </a:lnTo>
                  <a:lnTo>
                    <a:pt x="27914" y="421043"/>
                  </a:lnTo>
                  <a:lnTo>
                    <a:pt x="28819" y="421689"/>
                  </a:lnTo>
                  <a:lnTo>
                    <a:pt x="32825" y="423757"/>
                  </a:lnTo>
                  <a:lnTo>
                    <a:pt x="39675" y="425307"/>
                  </a:lnTo>
                  <a:lnTo>
                    <a:pt x="40838" y="425695"/>
                  </a:lnTo>
                  <a:lnTo>
                    <a:pt x="42776" y="426858"/>
                  </a:lnTo>
                  <a:lnTo>
                    <a:pt x="43164" y="427246"/>
                  </a:lnTo>
                  <a:lnTo>
                    <a:pt x="43552" y="427634"/>
                  </a:lnTo>
                  <a:lnTo>
                    <a:pt x="43810" y="428021"/>
                  </a:lnTo>
                  <a:lnTo>
                    <a:pt x="44069" y="428538"/>
                  </a:lnTo>
                  <a:lnTo>
                    <a:pt x="44198" y="428926"/>
                  </a:lnTo>
                  <a:lnTo>
                    <a:pt x="44586" y="438102"/>
                  </a:lnTo>
                  <a:lnTo>
                    <a:pt x="42905" y="440686"/>
                  </a:lnTo>
                  <a:lnTo>
                    <a:pt x="42647" y="441462"/>
                  </a:lnTo>
                  <a:lnTo>
                    <a:pt x="34764" y="453351"/>
                  </a:lnTo>
                  <a:lnTo>
                    <a:pt x="34118" y="455031"/>
                  </a:lnTo>
                  <a:lnTo>
                    <a:pt x="33601" y="457099"/>
                  </a:lnTo>
                  <a:lnTo>
                    <a:pt x="33471" y="458004"/>
                  </a:lnTo>
                  <a:lnTo>
                    <a:pt x="33471" y="458779"/>
                  </a:lnTo>
                  <a:lnTo>
                    <a:pt x="33730" y="460588"/>
                  </a:lnTo>
                  <a:lnTo>
                    <a:pt x="34764" y="462527"/>
                  </a:lnTo>
                  <a:lnTo>
                    <a:pt x="36185" y="464724"/>
                  </a:lnTo>
                  <a:lnTo>
                    <a:pt x="37607" y="466533"/>
                  </a:lnTo>
                  <a:lnTo>
                    <a:pt x="50401" y="475709"/>
                  </a:lnTo>
                  <a:lnTo>
                    <a:pt x="52210" y="477647"/>
                  </a:lnTo>
                  <a:lnTo>
                    <a:pt x="52727" y="478552"/>
                  </a:lnTo>
                  <a:lnTo>
                    <a:pt x="52986" y="479069"/>
                  </a:lnTo>
                  <a:lnTo>
                    <a:pt x="53115" y="479585"/>
                  </a:lnTo>
                  <a:lnTo>
                    <a:pt x="52986" y="480361"/>
                  </a:lnTo>
                  <a:lnTo>
                    <a:pt x="52727" y="481136"/>
                  </a:lnTo>
                  <a:lnTo>
                    <a:pt x="51952" y="482170"/>
                  </a:lnTo>
                  <a:lnTo>
                    <a:pt x="51306" y="482687"/>
                  </a:lnTo>
                  <a:lnTo>
                    <a:pt x="50660" y="483075"/>
                  </a:lnTo>
                  <a:lnTo>
                    <a:pt x="49626" y="483463"/>
                  </a:lnTo>
                  <a:lnTo>
                    <a:pt x="43422" y="487727"/>
                  </a:lnTo>
                  <a:lnTo>
                    <a:pt x="43035" y="488115"/>
                  </a:lnTo>
                  <a:lnTo>
                    <a:pt x="42776" y="488632"/>
                  </a:lnTo>
                  <a:lnTo>
                    <a:pt x="42259" y="489795"/>
                  </a:lnTo>
                  <a:lnTo>
                    <a:pt x="40321" y="501943"/>
                  </a:lnTo>
                  <a:lnTo>
                    <a:pt x="40192" y="505562"/>
                  </a:lnTo>
                  <a:lnTo>
                    <a:pt x="40321" y="507500"/>
                  </a:lnTo>
                  <a:lnTo>
                    <a:pt x="40708" y="508017"/>
                  </a:lnTo>
                  <a:lnTo>
                    <a:pt x="43164" y="509439"/>
                  </a:lnTo>
                  <a:lnTo>
                    <a:pt x="50660" y="512023"/>
                  </a:lnTo>
                  <a:lnTo>
                    <a:pt x="51047" y="512411"/>
                  </a:lnTo>
                  <a:lnTo>
                    <a:pt x="51306" y="512928"/>
                  </a:lnTo>
                  <a:lnTo>
                    <a:pt x="51564" y="513445"/>
                  </a:lnTo>
                  <a:lnTo>
                    <a:pt x="51693" y="514091"/>
                  </a:lnTo>
                  <a:lnTo>
                    <a:pt x="51693" y="516805"/>
                  </a:lnTo>
                  <a:lnTo>
                    <a:pt x="51435" y="518356"/>
                  </a:lnTo>
                  <a:lnTo>
                    <a:pt x="50918" y="520294"/>
                  </a:lnTo>
                  <a:lnTo>
                    <a:pt x="50660" y="520940"/>
                  </a:lnTo>
                  <a:lnTo>
                    <a:pt x="50013" y="521716"/>
                  </a:lnTo>
                  <a:lnTo>
                    <a:pt x="49109" y="522620"/>
                  </a:lnTo>
                  <a:lnTo>
                    <a:pt x="45878" y="525205"/>
                  </a:lnTo>
                  <a:lnTo>
                    <a:pt x="43681" y="526626"/>
                  </a:lnTo>
                  <a:lnTo>
                    <a:pt x="39675" y="528565"/>
                  </a:lnTo>
                  <a:lnTo>
                    <a:pt x="38641" y="530116"/>
                  </a:lnTo>
                  <a:lnTo>
                    <a:pt x="36702" y="535156"/>
                  </a:lnTo>
                  <a:lnTo>
                    <a:pt x="34634" y="543427"/>
                  </a:lnTo>
                  <a:lnTo>
                    <a:pt x="32567" y="548984"/>
                  </a:lnTo>
                  <a:lnTo>
                    <a:pt x="31274" y="553895"/>
                  </a:lnTo>
                  <a:lnTo>
                    <a:pt x="30628" y="555446"/>
                  </a:lnTo>
                  <a:lnTo>
                    <a:pt x="30499" y="556092"/>
                  </a:lnTo>
                  <a:lnTo>
                    <a:pt x="30241" y="566301"/>
                  </a:lnTo>
                  <a:lnTo>
                    <a:pt x="31921" y="579225"/>
                  </a:lnTo>
                  <a:lnTo>
                    <a:pt x="35798" y="593440"/>
                  </a:lnTo>
                  <a:lnTo>
                    <a:pt x="40838" y="600548"/>
                  </a:lnTo>
                  <a:lnTo>
                    <a:pt x="41484" y="601711"/>
                  </a:lnTo>
                  <a:lnTo>
                    <a:pt x="46007" y="613859"/>
                  </a:lnTo>
                  <a:lnTo>
                    <a:pt x="46266" y="614376"/>
                  </a:lnTo>
                  <a:lnTo>
                    <a:pt x="46653" y="614893"/>
                  </a:lnTo>
                  <a:lnTo>
                    <a:pt x="47041" y="615281"/>
                  </a:lnTo>
                  <a:lnTo>
                    <a:pt x="52727" y="618382"/>
                  </a:lnTo>
                  <a:lnTo>
                    <a:pt x="53503" y="619029"/>
                  </a:lnTo>
                  <a:lnTo>
                    <a:pt x="55700" y="621355"/>
                  </a:lnTo>
                  <a:lnTo>
                    <a:pt x="58672" y="626653"/>
                  </a:lnTo>
                  <a:lnTo>
                    <a:pt x="59060" y="627041"/>
                  </a:lnTo>
                  <a:lnTo>
                    <a:pt x="59447" y="627300"/>
                  </a:lnTo>
                  <a:lnTo>
                    <a:pt x="63971" y="629755"/>
                  </a:lnTo>
                  <a:lnTo>
                    <a:pt x="66814" y="630789"/>
                  </a:lnTo>
                  <a:lnTo>
                    <a:pt x="67331" y="631047"/>
                  </a:lnTo>
                  <a:lnTo>
                    <a:pt x="67718" y="631435"/>
                  </a:lnTo>
                  <a:lnTo>
                    <a:pt x="68106" y="631823"/>
                  </a:lnTo>
                  <a:lnTo>
                    <a:pt x="68364" y="632340"/>
                  </a:lnTo>
                  <a:lnTo>
                    <a:pt x="68494" y="633244"/>
                  </a:lnTo>
                  <a:lnTo>
                    <a:pt x="68364" y="634537"/>
                  </a:lnTo>
                  <a:lnTo>
                    <a:pt x="66814" y="639577"/>
                  </a:lnTo>
                  <a:lnTo>
                    <a:pt x="63971" y="645004"/>
                  </a:lnTo>
                  <a:lnTo>
                    <a:pt x="63712" y="645909"/>
                  </a:lnTo>
                  <a:lnTo>
                    <a:pt x="63583" y="647201"/>
                  </a:lnTo>
                  <a:lnTo>
                    <a:pt x="63583" y="649915"/>
                  </a:lnTo>
                  <a:lnTo>
                    <a:pt x="63841" y="652241"/>
                  </a:lnTo>
                  <a:lnTo>
                    <a:pt x="64488" y="654568"/>
                  </a:lnTo>
                  <a:lnTo>
                    <a:pt x="64746" y="655085"/>
                  </a:lnTo>
                  <a:lnTo>
                    <a:pt x="65780" y="657023"/>
                  </a:lnTo>
                  <a:lnTo>
                    <a:pt x="67848" y="661546"/>
                  </a:lnTo>
                  <a:lnTo>
                    <a:pt x="68235" y="664002"/>
                  </a:lnTo>
                  <a:lnTo>
                    <a:pt x="68881" y="666328"/>
                  </a:lnTo>
                  <a:lnTo>
                    <a:pt x="69269" y="669430"/>
                  </a:lnTo>
                  <a:lnTo>
                    <a:pt x="69011" y="671368"/>
                  </a:lnTo>
                  <a:lnTo>
                    <a:pt x="68494" y="673048"/>
                  </a:lnTo>
                  <a:lnTo>
                    <a:pt x="67977" y="674340"/>
                  </a:lnTo>
                  <a:lnTo>
                    <a:pt x="67201" y="675504"/>
                  </a:lnTo>
                  <a:lnTo>
                    <a:pt x="64746" y="677959"/>
                  </a:lnTo>
                  <a:lnTo>
                    <a:pt x="62808" y="680414"/>
                  </a:lnTo>
                  <a:lnTo>
                    <a:pt x="57380" y="688815"/>
                  </a:lnTo>
                  <a:lnTo>
                    <a:pt x="57509" y="689978"/>
                  </a:lnTo>
                  <a:lnTo>
                    <a:pt x="57767" y="691012"/>
                  </a:lnTo>
                  <a:lnTo>
                    <a:pt x="58930" y="693596"/>
                  </a:lnTo>
                  <a:lnTo>
                    <a:pt x="59060" y="694242"/>
                  </a:lnTo>
                  <a:lnTo>
                    <a:pt x="59189" y="696439"/>
                  </a:lnTo>
                  <a:lnTo>
                    <a:pt x="59318" y="696956"/>
                  </a:lnTo>
                  <a:lnTo>
                    <a:pt x="59577" y="697473"/>
                  </a:lnTo>
                  <a:lnTo>
                    <a:pt x="62290" y="701479"/>
                  </a:lnTo>
                  <a:lnTo>
                    <a:pt x="62420" y="701996"/>
                  </a:lnTo>
                  <a:lnTo>
                    <a:pt x="62549" y="702513"/>
                  </a:lnTo>
                  <a:lnTo>
                    <a:pt x="62549" y="703030"/>
                  </a:lnTo>
                  <a:lnTo>
                    <a:pt x="62420" y="703289"/>
                  </a:lnTo>
                  <a:lnTo>
                    <a:pt x="62161" y="703677"/>
                  </a:lnTo>
                  <a:lnTo>
                    <a:pt x="60869" y="705356"/>
                  </a:lnTo>
                  <a:lnTo>
                    <a:pt x="60223" y="706261"/>
                  </a:lnTo>
                  <a:lnTo>
                    <a:pt x="58414" y="710655"/>
                  </a:lnTo>
                  <a:lnTo>
                    <a:pt x="57638" y="714532"/>
                  </a:lnTo>
                  <a:lnTo>
                    <a:pt x="55700" y="719443"/>
                  </a:lnTo>
                  <a:lnTo>
                    <a:pt x="53503" y="723449"/>
                  </a:lnTo>
                  <a:lnTo>
                    <a:pt x="52210" y="725129"/>
                  </a:lnTo>
                  <a:lnTo>
                    <a:pt x="51952" y="725646"/>
                  </a:lnTo>
                  <a:lnTo>
                    <a:pt x="51047" y="727714"/>
                  </a:lnTo>
                  <a:lnTo>
                    <a:pt x="50918" y="728231"/>
                  </a:lnTo>
                  <a:lnTo>
                    <a:pt x="50918" y="728877"/>
                  </a:lnTo>
                  <a:lnTo>
                    <a:pt x="51047" y="729523"/>
                  </a:lnTo>
                  <a:lnTo>
                    <a:pt x="51435" y="730040"/>
                  </a:lnTo>
                  <a:lnTo>
                    <a:pt x="52081" y="730557"/>
                  </a:lnTo>
                  <a:lnTo>
                    <a:pt x="52856" y="730428"/>
                  </a:lnTo>
                  <a:lnTo>
                    <a:pt x="53761" y="729911"/>
                  </a:lnTo>
                  <a:lnTo>
                    <a:pt x="55053" y="728231"/>
                  </a:lnTo>
                  <a:lnTo>
                    <a:pt x="55829" y="727585"/>
                  </a:lnTo>
                  <a:lnTo>
                    <a:pt x="56475" y="727068"/>
                  </a:lnTo>
                  <a:lnTo>
                    <a:pt x="61903" y="724871"/>
                  </a:lnTo>
                  <a:lnTo>
                    <a:pt x="62678" y="724483"/>
                  </a:lnTo>
                  <a:lnTo>
                    <a:pt x="63195" y="724095"/>
                  </a:lnTo>
                  <a:lnTo>
                    <a:pt x="63583" y="723708"/>
                  </a:lnTo>
                  <a:lnTo>
                    <a:pt x="64746" y="721898"/>
                  </a:lnTo>
                  <a:lnTo>
                    <a:pt x="65134" y="721511"/>
                  </a:lnTo>
                  <a:lnTo>
                    <a:pt x="65780" y="720606"/>
                  </a:lnTo>
                  <a:lnTo>
                    <a:pt x="66814" y="718538"/>
                  </a:lnTo>
                  <a:lnTo>
                    <a:pt x="67460" y="717634"/>
                  </a:lnTo>
                  <a:lnTo>
                    <a:pt x="67848" y="717246"/>
                  </a:lnTo>
                  <a:lnTo>
                    <a:pt x="68752" y="716988"/>
                  </a:lnTo>
                  <a:lnTo>
                    <a:pt x="70045" y="716988"/>
                  </a:lnTo>
                  <a:lnTo>
                    <a:pt x="75860" y="717763"/>
                  </a:lnTo>
                  <a:lnTo>
                    <a:pt x="77152" y="718151"/>
                  </a:lnTo>
                  <a:lnTo>
                    <a:pt x="85036" y="719314"/>
                  </a:lnTo>
                  <a:lnTo>
                    <a:pt x="86328" y="719185"/>
                  </a:lnTo>
                  <a:lnTo>
                    <a:pt x="86974" y="719055"/>
                  </a:lnTo>
                  <a:lnTo>
                    <a:pt x="90463" y="716858"/>
                  </a:lnTo>
                  <a:lnTo>
                    <a:pt x="94211" y="713498"/>
                  </a:lnTo>
                  <a:lnTo>
                    <a:pt x="95374" y="711947"/>
                  </a:lnTo>
                  <a:lnTo>
                    <a:pt x="96020" y="709492"/>
                  </a:lnTo>
                  <a:lnTo>
                    <a:pt x="96408" y="708329"/>
                  </a:lnTo>
                  <a:lnTo>
                    <a:pt x="96796" y="707812"/>
                  </a:lnTo>
                  <a:lnTo>
                    <a:pt x="98605" y="706520"/>
                  </a:lnTo>
                  <a:lnTo>
                    <a:pt x="100027" y="705744"/>
                  </a:lnTo>
                  <a:lnTo>
                    <a:pt x="102094" y="703806"/>
                  </a:lnTo>
                  <a:lnTo>
                    <a:pt x="102482" y="703289"/>
                  </a:lnTo>
                  <a:lnTo>
                    <a:pt x="102611" y="703160"/>
                  </a:lnTo>
                  <a:lnTo>
                    <a:pt x="103128" y="701996"/>
                  </a:lnTo>
                  <a:lnTo>
                    <a:pt x="103516" y="701479"/>
                  </a:lnTo>
                  <a:lnTo>
                    <a:pt x="104679" y="700187"/>
                  </a:lnTo>
                  <a:lnTo>
                    <a:pt x="105455" y="699153"/>
                  </a:lnTo>
                  <a:lnTo>
                    <a:pt x="106489" y="697990"/>
                  </a:lnTo>
                  <a:lnTo>
                    <a:pt x="106747" y="697473"/>
                  </a:lnTo>
                  <a:lnTo>
                    <a:pt x="106876" y="696956"/>
                  </a:lnTo>
                  <a:lnTo>
                    <a:pt x="107135" y="696439"/>
                  </a:lnTo>
                  <a:lnTo>
                    <a:pt x="107652" y="696052"/>
                  </a:lnTo>
                  <a:lnTo>
                    <a:pt x="110236" y="695922"/>
                  </a:lnTo>
                  <a:lnTo>
                    <a:pt x="110882" y="696052"/>
                  </a:lnTo>
                  <a:lnTo>
                    <a:pt x="111529" y="696181"/>
                  </a:lnTo>
                  <a:lnTo>
                    <a:pt x="112045" y="696439"/>
                  </a:lnTo>
                  <a:lnTo>
                    <a:pt x="113338" y="697086"/>
                  </a:lnTo>
                  <a:lnTo>
                    <a:pt x="113726" y="697215"/>
                  </a:lnTo>
                  <a:lnTo>
                    <a:pt x="114242" y="697215"/>
                  </a:lnTo>
                  <a:lnTo>
                    <a:pt x="117344" y="696698"/>
                  </a:lnTo>
                  <a:lnTo>
                    <a:pt x="119412" y="695922"/>
                  </a:lnTo>
                  <a:lnTo>
                    <a:pt x="123289" y="693596"/>
                  </a:lnTo>
                  <a:lnTo>
                    <a:pt x="126261" y="691141"/>
                  </a:lnTo>
                  <a:lnTo>
                    <a:pt x="127941" y="689332"/>
                  </a:lnTo>
                  <a:lnTo>
                    <a:pt x="128458" y="688944"/>
                  </a:lnTo>
                  <a:lnTo>
                    <a:pt x="129104" y="688556"/>
                  </a:lnTo>
                  <a:lnTo>
                    <a:pt x="131043" y="688039"/>
                  </a:lnTo>
                  <a:lnTo>
                    <a:pt x="131818" y="687781"/>
                  </a:lnTo>
                  <a:lnTo>
                    <a:pt x="132464" y="687393"/>
                  </a:lnTo>
                  <a:lnTo>
                    <a:pt x="133498" y="685842"/>
                  </a:lnTo>
                  <a:lnTo>
                    <a:pt x="134015" y="685196"/>
                  </a:lnTo>
                  <a:lnTo>
                    <a:pt x="134790" y="684550"/>
                  </a:lnTo>
                  <a:lnTo>
                    <a:pt x="135695" y="683516"/>
                  </a:lnTo>
                  <a:lnTo>
                    <a:pt x="135954" y="682999"/>
                  </a:lnTo>
                  <a:lnTo>
                    <a:pt x="136600" y="681448"/>
                  </a:lnTo>
                  <a:lnTo>
                    <a:pt x="136987" y="680931"/>
                  </a:lnTo>
                  <a:lnTo>
                    <a:pt x="140864" y="677442"/>
                  </a:lnTo>
                  <a:lnTo>
                    <a:pt x="141252" y="677054"/>
                  </a:lnTo>
                  <a:lnTo>
                    <a:pt x="141511" y="676537"/>
                  </a:lnTo>
                  <a:lnTo>
                    <a:pt x="142028" y="675504"/>
                  </a:lnTo>
                  <a:lnTo>
                    <a:pt x="142286" y="674987"/>
                  </a:lnTo>
                  <a:lnTo>
                    <a:pt x="142674" y="674599"/>
                  </a:lnTo>
                  <a:lnTo>
                    <a:pt x="143320" y="674211"/>
                  </a:lnTo>
                  <a:lnTo>
                    <a:pt x="144225" y="673823"/>
                  </a:lnTo>
                  <a:lnTo>
                    <a:pt x="145517" y="673565"/>
                  </a:lnTo>
                  <a:lnTo>
                    <a:pt x="147843" y="673694"/>
                  </a:lnTo>
                  <a:lnTo>
                    <a:pt x="148360" y="673565"/>
                  </a:lnTo>
                  <a:lnTo>
                    <a:pt x="150040" y="673048"/>
                  </a:lnTo>
                  <a:lnTo>
                    <a:pt x="151203" y="672790"/>
                  </a:lnTo>
                  <a:lnTo>
                    <a:pt x="151849" y="672919"/>
                  </a:lnTo>
                  <a:lnTo>
                    <a:pt x="152366" y="673048"/>
                  </a:lnTo>
                  <a:lnTo>
                    <a:pt x="153012" y="673177"/>
                  </a:lnTo>
                  <a:lnTo>
                    <a:pt x="153659" y="673048"/>
                  </a:lnTo>
                  <a:lnTo>
                    <a:pt x="155726" y="672402"/>
                  </a:lnTo>
                  <a:lnTo>
                    <a:pt x="179376" y="659091"/>
                  </a:lnTo>
                  <a:lnTo>
                    <a:pt x="181831" y="656894"/>
                  </a:lnTo>
                  <a:lnTo>
                    <a:pt x="181961" y="656248"/>
                  </a:lnTo>
                  <a:lnTo>
                    <a:pt x="181961" y="655214"/>
                  </a:lnTo>
                  <a:lnTo>
                    <a:pt x="182219" y="654697"/>
                  </a:lnTo>
                  <a:lnTo>
                    <a:pt x="183899" y="652241"/>
                  </a:lnTo>
                  <a:lnTo>
                    <a:pt x="184158" y="651078"/>
                  </a:lnTo>
                  <a:lnTo>
                    <a:pt x="184158" y="650691"/>
                  </a:lnTo>
                  <a:lnTo>
                    <a:pt x="184416" y="650174"/>
                  </a:lnTo>
                  <a:lnTo>
                    <a:pt x="185062" y="649786"/>
                  </a:lnTo>
                  <a:lnTo>
                    <a:pt x="186355" y="649269"/>
                  </a:lnTo>
                  <a:lnTo>
                    <a:pt x="187647" y="648623"/>
                  </a:lnTo>
                  <a:lnTo>
                    <a:pt x="198373" y="641774"/>
                  </a:lnTo>
                  <a:lnTo>
                    <a:pt x="200183" y="639964"/>
                  </a:lnTo>
                  <a:lnTo>
                    <a:pt x="202121" y="638543"/>
                  </a:lnTo>
                  <a:lnTo>
                    <a:pt x="202509" y="638026"/>
                  </a:lnTo>
                  <a:lnTo>
                    <a:pt x="203155" y="637509"/>
                  </a:lnTo>
                  <a:lnTo>
                    <a:pt x="203931" y="636992"/>
                  </a:lnTo>
                  <a:lnTo>
                    <a:pt x="205611" y="636346"/>
                  </a:lnTo>
                  <a:lnTo>
                    <a:pt x="208324" y="634407"/>
                  </a:lnTo>
                  <a:lnTo>
                    <a:pt x="211426" y="632727"/>
                  </a:lnTo>
                  <a:lnTo>
                    <a:pt x="212331" y="632081"/>
                  </a:lnTo>
                  <a:lnTo>
                    <a:pt x="213752" y="631306"/>
                  </a:lnTo>
                  <a:lnTo>
                    <a:pt x="223962" y="627946"/>
                  </a:lnTo>
                  <a:lnTo>
                    <a:pt x="230553" y="624456"/>
                  </a:lnTo>
                  <a:lnTo>
                    <a:pt x="234171" y="623552"/>
                  </a:lnTo>
                  <a:lnTo>
                    <a:pt x="235464" y="623422"/>
                  </a:lnTo>
                  <a:lnTo>
                    <a:pt x="236368" y="622906"/>
                  </a:lnTo>
                  <a:lnTo>
                    <a:pt x="238307" y="621226"/>
                  </a:lnTo>
                  <a:lnTo>
                    <a:pt x="239211" y="620579"/>
                  </a:lnTo>
                  <a:lnTo>
                    <a:pt x="239728" y="620450"/>
                  </a:lnTo>
                  <a:lnTo>
                    <a:pt x="240374" y="620579"/>
                  </a:lnTo>
                  <a:lnTo>
                    <a:pt x="242313" y="621226"/>
                  </a:lnTo>
                  <a:lnTo>
                    <a:pt x="243088" y="621226"/>
                  </a:lnTo>
                  <a:lnTo>
                    <a:pt x="244251" y="620967"/>
                  </a:lnTo>
                  <a:lnTo>
                    <a:pt x="244898" y="620967"/>
                  </a:lnTo>
                  <a:lnTo>
                    <a:pt x="245673" y="621096"/>
                  </a:lnTo>
                  <a:lnTo>
                    <a:pt x="247482" y="621742"/>
                  </a:lnTo>
                  <a:lnTo>
                    <a:pt x="248128" y="621872"/>
                  </a:lnTo>
                  <a:lnTo>
                    <a:pt x="248645" y="621742"/>
                  </a:lnTo>
                  <a:lnTo>
                    <a:pt x="249033" y="621355"/>
                  </a:lnTo>
                  <a:lnTo>
                    <a:pt x="249291" y="620838"/>
                  </a:lnTo>
                  <a:lnTo>
                    <a:pt x="249679" y="620450"/>
                  </a:lnTo>
                  <a:lnTo>
                    <a:pt x="250067" y="620321"/>
                  </a:lnTo>
                  <a:lnTo>
                    <a:pt x="250455" y="620062"/>
                  </a:lnTo>
                  <a:lnTo>
                    <a:pt x="250842" y="619933"/>
                  </a:lnTo>
                  <a:lnTo>
                    <a:pt x="251359" y="620062"/>
                  </a:lnTo>
                  <a:lnTo>
                    <a:pt x="252264" y="620967"/>
                  </a:lnTo>
                  <a:lnTo>
                    <a:pt x="253298" y="621742"/>
                  </a:lnTo>
                  <a:lnTo>
                    <a:pt x="255236" y="622906"/>
                  </a:lnTo>
                  <a:lnTo>
                    <a:pt x="256270" y="623293"/>
                  </a:lnTo>
                  <a:lnTo>
                    <a:pt x="257175" y="623422"/>
                  </a:lnTo>
                  <a:lnTo>
                    <a:pt x="258338" y="623164"/>
                  </a:lnTo>
                  <a:lnTo>
                    <a:pt x="258984" y="623293"/>
                  </a:lnTo>
                  <a:lnTo>
                    <a:pt x="259630" y="623552"/>
                  </a:lnTo>
                  <a:lnTo>
                    <a:pt x="260147" y="624069"/>
                  </a:lnTo>
                  <a:lnTo>
                    <a:pt x="260923" y="624198"/>
                  </a:lnTo>
                  <a:lnTo>
                    <a:pt x="261439" y="624069"/>
                  </a:lnTo>
                  <a:lnTo>
                    <a:pt x="262344" y="623422"/>
                  </a:lnTo>
                  <a:lnTo>
                    <a:pt x="262990" y="623293"/>
                  </a:lnTo>
                  <a:lnTo>
                    <a:pt x="263766" y="623293"/>
                  </a:lnTo>
                  <a:lnTo>
                    <a:pt x="264670" y="623422"/>
                  </a:lnTo>
                  <a:lnTo>
                    <a:pt x="265833" y="623810"/>
                  </a:lnTo>
                  <a:lnTo>
                    <a:pt x="266738" y="623939"/>
                  </a:lnTo>
                  <a:lnTo>
                    <a:pt x="267772" y="624198"/>
                  </a:lnTo>
                  <a:lnTo>
                    <a:pt x="269452" y="624844"/>
                  </a:lnTo>
                  <a:lnTo>
                    <a:pt x="270486" y="625103"/>
                  </a:lnTo>
                  <a:lnTo>
                    <a:pt x="271261" y="625103"/>
                  </a:lnTo>
                  <a:lnTo>
                    <a:pt x="271778" y="624844"/>
                  </a:lnTo>
                  <a:lnTo>
                    <a:pt x="273200" y="623939"/>
                  </a:lnTo>
                  <a:lnTo>
                    <a:pt x="273587" y="623681"/>
                  </a:lnTo>
                  <a:lnTo>
                    <a:pt x="274104" y="623552"/>
                  </a:lnTo>
                  <a:lnTo>
                    <a:pt x="274621" y="623681"/>
                  </a:lnTo>
                  <a:lnTo>
                    <a:pt x="275397" y="623939"/>
                  </a:lnTo>
                  <a:lnTo>
                    <a:pt x="276818" y="624844"/>
                  </a:lnTo>
                  <a:lnTo>
                    <a:pt x="279274" y="626782"/>
                  </a:lnTo>
                  <a:lnTo>
                    <a:pt x="280049" y="627041"/>
                  </a:lnTo>
                  <a:lnTo>
                    <a:pt x="282505" y="627170"/>
                  </a:lnTo>
                  <a:lnTo>
                    <a:pt x="283280" y="627170"/>
                  </a:lnTo>
                  <a:lnTo>
                    <a:pt x="284443" y="626912"/>
                  </a:lnTo>
                  <a:lnTo>
                    <a:pt x="285089" y="626912"/>
                  </a:lnTo>
                  <a:lnTo>
                    <a:pt x="285735" y="626912"/>
                  </a:lnTo>
                  <a:lnTo>
                    <a:pt x="286382" y="627041"/>
                  </a:lnTo>
                  <a:lnTo>
                    <a:pt x="287028" y="627300"/>
                  </a:lnTo>
                  <a:lnTo>
                    <a:pt x="288966" y="628333"/>
                  </a:lnTo>
                  <a:lnTo>
                    <a:pt x="289742" y="628592"/>
                  </a:lnTo>
                  <a:lnTo>
                    <a:pt x="290388" y="628592"/>
                  </a:lnTo>
                  <a:lnTo>
                    <a:pt x="290905" y="628463"/>
                  </a:lnTo>
                  <a:lnTo>
                    <a:pt x="291551" y="628463"/>
                  </a:lnTo>
                  <a:lnTo>
                    <a:pt x="292326" y="628721"/>
                  </a:lnTo>
                  <a:lnTo>
                    <a:pt x="293231" y="629238"/>
                  </a:lnTo>
                  <a:lnTo>
                    <a:pt x="294653" y="630401"/>
                  </a:lnTo>
                  <a:lnTo>
                    <a:pt x="296332" y="631306"/>
                  </a:lnTo>
                  <a:lnTo>
                    <a:pt x="296591" y="631693"/>
                  </a:lnTo>
                  <a:lnTo>
                    <a:pt x="295040" y="634020"/>
                  </a:lnTo>
                  <a:lnTo>
                    <a:pt x="293102" y="637121"/>
                  </a:lnTo>
                  <a:lnTo>
                    <a:pt x="291551" y="640611"/>
                  </a:lnTo>
                  <a:lnTo>
                    <a:pt x="290517" y="645263"/>
                  </a:lnTo>
                  <a:lnTo>
                    <a:pt x="288449" y="648752"/>
                  </a:lnTo>
                  <a:lnTo>
                    <a:pt x="287932" y="650432"/>
                  </a:lnTo>
                  <a:lnTo>
                    <a:pt x="287803" y="651854"/>
                  </a:lnTo>
                  <a:lnTo>
                    <a:pt x="286769" y="655602"/>
                  </a:lnTo>
                  <a:lnTo>
                    <a:pt x="287157" y="656894"/>
                  </a:lnTo>
                  <a:lnTo>
                    <a:pt x="287415" y="657540"/>
                  </a:lnTo>
                  <a:lnTo>
                    <a:pt x="288320" y="659091"/>
                  </a:lnTo>
                  <a:lnTo>
                    <a:pt x="288579" y="659737"/>
                  </a:lnTo>
                  <a:lnTo>
                    <a:pt x="288708" y="660383"/>
                  </a:lnTo>
                  <a:lnTo>
                    <a:pt x="288837" y="661676"/>
                  </a:lnTo>
                  <a:lnTo>
                    <a:pt x="288837" y="662322"/>
                  </a:lnTo>
                  <a:lnTo>
                    <a:pt x="288708" y="662968"/>
                  </a:lnTo>
                  <a:lnTo>
                    <a:pt x="288449" y="663485"/>
                  </a:lnTo>
                  <a:lnTo>
                    <a:pt x="288320" y="664002"/>
                  </a:lnTo>
                  <a:lnTo>
                    <a:pt x="288320" y="664648"/>
                  </a:lnTo>
                  <a:lnTo>
                    <a:pt x="288449" y="665294"/>
                  </a:lnTo>
                  <a:lnTo>
                    <a:pt x="288708" y="666457"/>
                  </a:lnTo>
                  <a:lnTo>
                    <a:pt x="288966" y="667103"/>
                  </a:lnTo>
                  <a:lnTo>
                    <a:pt x="289354" y="667750"/>
                  </a:lnTo>
                  <a:lnTo>
                    <a:pt x="290517" y="669042"/>
                  </a:lnTo>
                  <a:lnTo>
                    <a:pt x="291034" y="669430"/>
                  </a:lnTo>
                  <a:lnTo>
                    <a:pt x="291939" y="669947"/>
                  </a:lnTo>
                  <a:lnTo>
                    <a:pt x="292972" y="670334"/>
                  </a:lnTo>
                  <a:lnTo>
                    <a:pt x="302406" y="672273"/>
                  </a:lnTo>
                  <a:lnTo>
                    <a:pt x="303311" y="672660"/>
                  </a:lnTo>
                  <a:lnTo>
                    <a:pt x="304603" y="673565"/>
                  </a:lnTo>
                  <a:lnTo>
                    <a:pt x="305379" y="674857"/>
                  </a:lnTo>
                  <a:lnTo>
                    <a:pt x="305767" y="675116"/>
                  </a:lnTo>
                  <a:lnTo>
                    <a:pt x="328641" y="680802"/>
                  </a:lnTo>
                  <a:lnTo>
                    <a:pt x="333423" y="679639"/>
                  </a:lnTo>
                  <a:lnTo>
                    <a:pt x="333939" y="679251"/>
                  </a:lnTo>
                  <a:lnTo>
                    <a:pt x="334198" y="678864"/>
                  </a:lnTo>
                  <a:lnTo>
                    <a:pt x="335102" y="677571"/>
                  </a:lnTo>
                  <a:lnTo>
                    <a:pt x="335490" y="677184"/>
                  </a:lnTo>
                  <a:lnTo>
                    <a:pt x="336266" y="676408"/>
                  </a:lnTo>
                  <a:lnTo>
                    <a:pt x="337558" y="675374"/>
                  </a:lnTo>
                  <a:lnTo>
                    <a:pt x="337946" y="674987"/>
                  </a:lnTo>
                  <a:lnTo>
                    <a:pt x="338204" y="674599"/>
                  </a:lnTo>
                  <a:lnTo>
                    <a:pt x="338463" y="674082"/>
                  </a:lnTo>
                  <a:lnTo>
                    <a:pt x="338721" y="672790"/>
                  </a:lnTo>
                  <a:lnTo>
                    <a:pt x="338980" y="672273"/>
                  </a:lnTo>
                  <a:lnTo>
                    <a:pt x="339238" y="671885"/>
                  </a:lnTo>
                  <a:lnTo>
                    <a:pt x="339626" y="671497"/>
                  </a:lnTo>
                  <a:lnTo>
                    <a:pt x="340013" y="671110"/>
                  </a:lnTo>
                  <a:lnTo>
                    <a:pt x="351127" y="665811"/>
                  </a:lnTo>
                  <a:lnTo>
                    <a:pt x="354746" y="664907"/>
                  </a:lnTo>
                  <a:lnTo>
                    <a:pt x="356814" y="664002"/>
                  </a:lnTo>
                  <a:lnTo>
                    <a:pt x="357460" y="663873"/>
                  </a:lnTo>
                  <a:lnTo>
                    <a:pt x="358752" y="663743"/>
                  </a:lnTo>
                  <a:lnTo>
                    <a:pt x="362242" y="663614"/>
                  </a:lnTo>
                  <a:lnTo>
                    <a:pt x="364180" y="663873"/>
                  </a:lnTo>
                  <a:lnTo>
                    <a:pt x="367023" y="664777"/>
                  </a:lnTo>
                  <a:lnTo>
                    <a:pt x="369608" y="665940"/>
                  </a:lnTo>
                  <a:lnTo>
                    <a:pt x="374389" y="666845"/>
                  </a:lnTo>
                  <a:lnTo>
                    <a:pt x="375036" y="666845"/>
                  </a:lnTo>
                  <a:lnTo>
                    <a:pt x="376328" y="666716"/>
                  </a:lnTo>
                  <a:lnTo>
                    <a:pt x="377620" y="666845"/>
                  </a:lnTo>
                  <a:lnTo>
                    <a:pt x="382273" y="668654"/>
                  </a:lnTo>
                  <a:lnTo>
                    <a:pt x="383178" y="668783"/>
                  </a:lnTo>
                  <a:lnTo>
                    <a:pt x="385116" y="668525"/>
                  </a:lnTo>
                  <a:lnTo>
                    <a:pt x="386408" y="668654"/>
                  </a:lnTo>
                  <a:lnTo>
                    <a:pt x="387184" y="669042"/>
                  </a:lnTo>
                  <a:lnTo>
                    <a:pt x="388088" y="669688"/>
                  </a:lnTo>
                  <a:lnTo>
                    <a:pt x="389639" y="671110"/>
                  </a:lnTo>
                  <a:lnTo>
                    <a:pt x="390415" y="671885"/>
                  </a:lnTo>
                  <a:lnTo>
                    <a:pt x="390931" y="672531"/>
                  </a:lnTo>
                  <a:lnTo>
                    <a:pt x="392224" y="675116"/>
                  </a:lnTo>
                  <a:lnTo>
                    <a:pt x="392482" y="675633"/>
                  </a:lnTo>
                  <a:lnTo>
                    <a:pt x="393258" y="676408"/>
                  </a:lnTo>
                  <a:lnTo>
                    <a:pt x="401658" y="682482"/>
                  </a:lnTo>
                  <a:lnTo>
                    <a:pt x="403596" y="684421"/>
                  </a:lnTo>
                  <a:lnTo>
                    <a:pt x="408507" y="688168"/>
                  </a:lnTo>
                  <a:lnTo>
                    <a:pt x="409800" y="689461"/>
                  </a:lnTo>
                  <a:lnTo>
                    <a:pt x="414969" y="692821"/>
                  </a:lnTo>
                  <a:lnTo>
                    <a:pt x="415744" y="693467"/>
                  </a:lnTo>
                  <a:lnTo>
                    <a:pt x="416778" y="694759"/>
                  </a:lnTo>
                  <a:lnTo>
                    <a:pt x="417295" y="695276"/>
                  </a:lnTo>
                  <a:lnTo>
                    <a:pt x="419363" y="696569"/>
                  </a:lnTo>
                  <a:lnTo>
                    <a:pt x="420268" y="697086"/>
                  </a:lnTo>
                  <a:lnTo>
                    <a:pt x="421172" y="697344"/>
                  </a:lnTo>
                  <a:lnTo>
                    <a:pt x="422594" y="697344"/>
                  </a:lnTo>
                  <a:lnTo>
                    <a:pt x="426600" y="696569"/>
                  </a:lnTo>
                  <a:lnTo>
                    <a:pt x="427246" y="696569"/>
                  </a:lnTo>
                  <a:lnTo>
                    <a:pt x="427892" y="696827"/>
                  </a:lnTo>
                  <a:lnTo>
                    <a:pt x="429314" y="698378"/>
                  </a:lnTo>
                  <a:lnTo>
                    <a:pt x="433062" y="699800"/>
                  </a:lnTo>
                  <a:lnTo>
                    <a:pt x="436034" y="701867"/>
                  </a:lnTo>
                  <a:lnTo>
                    <a:pt x="436809" y="702643"/>
                  </a:lnTo>
                  <a:lnTo>
                    <a:pt x="438102" y="704193"/>
                  </a:lnTo>
                  <a:lnTo>
                    <a:pt x="439523" y="704969"/>
                  </a:lnTo>
                  <a:lnTo>
                    <a:pt x="443012" y="707812"/>
                  </a:lnTo>
                  <a:lnTo>
                    <a:pt x="456194" y="713757"/>
                  </a:lnTo>
                  <a:lnTo>
                    <a:pt x="458391" y="715178"/>
                  </a:lnTo>
                  <a:lnTo>
                    <a:pt x="461105" y="716212"/>
                  </a:lnTo>
                  <a:lnTo>
                    <a:pt x="466533" y="717375"/>
                  </a:lnTo>
                  <a:lnTo>
                    <a:pt x="467696" y="717375"/>
                  </a:lnTo>
                  <a:lnTo>
                    <a:pt x="468213" y="717117"/>
                  </a:lnTo>
                  <a:lnTo>
                    <a:pt x="470022" y="715954"/>
                  </a:lnTo>
                  <a:lnTo>
                    <a:pt x="470669" y="715954"/>
                  </a:lnTo>
                  <a:lnTo>
                    <a:pt x="471315" y="716212"/>
                  </a:lnTo>
                  <a:lnTo>
                    <a:pt x="471961" y="716988"/>
                  </a:lnTo>
                  <a:lnTo>
                    <a:pt x="472736" y="718151"/>
                  </a:lnTo>
                  <a:lnTo>
                    <a:pt x="473253" y="718667"/>
                  </a:lnTo>
                  <a:lnTo>
                    <a:pt x="474029" y="719185"/>
                  </a:lnTo>
                  <a:lnTo>
                    <a:pt x="476225" y="720348"/>
                  </a:lnTo>
                  <a:lnTo>
                    <a:pt x="476742" y="720864"/>
                  </a:lnTo>
                  <a:lnTo>
                    <a:pt x="478164" y="722415"/>
                  </a:lnTo>
                  <a:lnTo>
                    <a:pt x="478423" y="722932"/>
                  </a:lnTo>
                  <a:lnTo>
                    <a:pt x="478681" y="723449"/>
                  </a:lnTo>
                  <a:lnTo>
                    <a:pt x="479069" y="723966"/>
                  </a:lnTo>
                  <a:lnTo>
                    <a:pt x="479586" y="724354"/>
                  </a:lnTo>
                  <a:lnTo>
                    <a:pt x="480619" y="724483"/>
                  </a:lnTo>
                  <a:lnTo>
                    <a:pt x="481395" y="724354"/>
                  </a:lnTo>
                  <a:lnTo>
                    <a:pt x="483592" y="723449"/>
                  </a:lnTo>
                  <a:lnTo>
                    <a:pt x="484238" y="723320"/>
                  </a:lnTo>
                  <a:lnTo>
                    <a:pt x="485143" y="723191"/>
                  </a:lnTo>
                  <a:lnTo>
                    <a:pt x="486435" y="723320"/>
                  </a:lnTo>
                  <a:lnTo>
                    <a:pt x="489278" y="722803"/>
                  </a:lnTo>
                  <a:lnTo>
                    <a:pt x="490441" y="722803"/>
                  </a:lnTo>
                  <a:lnTo>
                    <a:pt x="493930" y="723578"/>
                  </a:lnTo>
                  <a:lnTo>
                    <a:pt x="494835" y="723578"/>
                  </a:lnTo>
                  <a:lnTo>
                    <a:pt x="495482" y="723320"/>
                  </a:lnTo>
                  <a:lnTo>
                    <a:pt x="495998" y="723062"/>
                  </a:lnTo>
                  <a:lnTo>
                    <a:pt x="497032" y="722674"/>
                  </a:lnTo>
                  <a:lnTo>
                    <a:pt x="497549" y="722415"/>
                  </a:lnTo>
                  <a:lnTo>
                    <a:pt x="501167" y="720735"/>
                  </a:lnTo>
                  <a:lnTo>
                    <a:pt x="502977" y="719572"/>
                  </a:lnTo>
                  <a:lnTo>
                    <a:pt x="503752" y="718797"/>
                  </a:lnTo>
                  <a:lnTo>
                    <a:pt x="504011" y="718409"/>
                  </a:lnTo>
                  <a:lnTo>
                    <a:pt x="504398" y="718021"/>
                  </a:lnTo>
                  <a:lnTo>
                    <a:pt x="504915" y="717892"/>
                  </a:lnTo>
                  <a:lnTo>
                    <a:pt x="507629" y="717763"/>
                  </a:lnTo>
                  <a:lnTo>
                    <a:pt x="508276" y="717634"/>
                  </a:lnTo>
                  <a:lnTo>
                    <a:pt x="508793" y="717375"/>
                  </a:lnTo>
                  <a:lnTo>
                    <a:pt x="510214" y="716600"/>
                  </a:lnTo>
                  <a:lnTo>
                    <a:pt x="542522" y="745160"/>
                  </a:lnTo>
                  <a:lnTo>
                    <a:pt x="557384" y="759118"/>
                  </a:lnTo>
                  <a:lnTo>
                    <a:pt x="560615" y="783543"/>
                  </a:lnTo>
                  <a:lnTo>
                    <a:pt x="561520" y="786386"/>
                  </a:lnTo>
                  <a:lnTo>
                    <a:pt x="564492" y="785869"/>
                  </a:lnTo>
                  <a:lnTo>
                    <a:pt x="569403" y="787291"/>
                  </a:lnTo>
                  <a:lnTo>
                    <a:pt x="574443" y="788066"/>
                  </a:lnTo>
                  <a:lnTo>
                    <a:pt x="575348" y="788324"/>
                  </a:lnTo>
                  <a:lnTo>
                    <a:pt x="575865" y="788583"/>
                  </a:lnTo>
                  <a:lnTo>
                    <a:pt x="579096" y="790651"/>
                  </a:lnTo>
                  <a:lnTo>
                    <a:pt x="581034" y="790392"/>
                  </a:lnTo>
                  <a:lnTo>
                    <a:pt x="585945" y="787549"/>
                  </a:lnTo>
                  <a:lnTo>
                    <a:pt x="590210" y="786515"/>
                  </a:lnTo>
                  <a:lnTo>
                    <a:pt x="592923" y="785481"/>
                  </a:lnTo>
                  <a:lnTo>
                    <a:pt x="596542" y="782250"/>
                  </a:lnTo>
                  <a:lnTo>
                    <a:pt x="597447" y="780958"/>
                  </a:lnTo>
                  <a:lnTo>
                    <a:pt x="597834" y="780570"/>
                  </a:lnTo>
                  <a:lnTo>
                    <a:pt x="598351" y="780312"/>
                  </a:lnTo>
                  <a:lnTo>
                    <a:pt x="599514" y="780053"/>
                  </a:lnTo>
                  <a:lnTo>
                    <a:pt x="600031" y="779795"/>
                  </a:lnTo>
                  <a:lnTo>
                    <a:pt x="600936" y="779149"/>
                  </a:lnTo>
                  <a:lnTo>
                    <a:pt x="601453" y="778890"/>
                  </a:lnTo>
                  <a:lnTo>
                    <a:pt x="601970" y="778761"/>
                  </a:lnTo>
                  <a:lnTo>
                    <a:pt x="602875" y="778890"/>
                  </a:lnTo>
                  <a:lnTo>
                    <a:pt x="603908" y="779278"/>
                  </a:lnTo>
                  <a:lnTo>
                    <a:pt x="606751" y="780958"/>
                  </a:lnTo>
                  <a:lnTo>
                    <a:pt x="607656" y="781346"/>
                  </a:lnTo>
                  <a:lnTo>
                    <a:pt x="608949" y="781346"/>
                  </a:lnTo>
                  <a:lnTo>
                    <a:pt x="609724" y="781217"/>
                  </a:lnTo>
                  <a:lnTo>
                    <a:pt x="611016" y="780829"/>
                  </a:lnTo>
                  <a:lnTo>
                    <a:pt x="613084" y="779924"/>
                  </a:lnTo>
                  <a:lnTo>
                    <a:pt x="613601" y="779795"/>
                  </a:lnTo>
                  <a:lnTo>
                    <a:pt x="614118" y="779795"/>
                  </a:lnTo>
                  <a:lnTo>
                    <a:pt x="615023" y="779924"/>
                  </a:lnTo>
                  <a:lnTo>
                    <a:pt x="616056" y="780312"/>
                  </a:lnTo>
                  <a:lnTo>
                    <a:pt x="617607" y="781217"/>
                  </a:lnTo>
                  <a:lnTo>
                    <a:pt x="618382" y="781863"/>
                  </a:lnTo>
                  <a:lnTo>
                    <a:pt x="619029" y="782380"/>
                  </a:lnTo>
                  <a:lnTo>
                    <a:pt x="621484" y="785869"/>
                  </a:lnTo>
                  <a:lnTo>
                    <a:pt x="622001" y="786257"/>
                  </a:lnTo>
                  <a:lnTo>
                    <a:pt x="622776" y="786386"/>
                  </a:lnTo>
                  <a:lnTo>
                    <a:pt x="623939" y="786257"/>
                  </a:lnTo>
                  <a:lnTo>
                    <a:pt x="625361" y="785740"/>
                  </a:lnTo>
                  <a:lnTo>
                    <a:pt x="627299" y="784706"/>
                  </a:lnTo>
                  <a:lnTo>
                    <a:pt x="628334" y="784189"/>
                  </a:lnTo>
                  <a:lnTo>
                    <a:pt x="631306" y="783414"/>
                  </a:lnTo>
                  <a:lnTo>
                    <a:pt x="631952" y="783284"/>
                  </a:lnTo>
                  <a:lnTo>
                    <a:pt x="633244" y="783543"/>
                  </a:lnTo>
                  <a:lnTo>
                    <a:pt x="635054" y="784189"/>
                  </a:lnTo>
                  <a:lnTo>
                    <a:pt x="640482" y="787032"/>
                  </a:lnTo>
                  <a:lnTo>
                    <a:pt x="641515" y="787807"/>
                  </a:lnTo>
                  <a:lnTo>
                    <a:pt x="643712" y="791685"/>
                  </a:lnTo>
                  <a:lnTo>
                    <a:pt x="644100" y="792072"/>
                  </a:lnTo>
                  <a:lnTo>
                    <a:pt x="644617" y="792331"/>
                  </a:lnTo>
                  <a:lnTo>
                    <a:pt x="645651" y="792201"/>
                  </a:lnTo>
                  <a:lnTo>
                    <a:pt x="646167" y="791943"/>
                  </a:lnTo>
                  <a:lnTo>
                    <a:pt x="646685" y="791555"/>
                  </a:lnTo>
                  <a:lnTo>
                    <a:pt x="647202" y="791297"/>
                  </a:lnTo>
                  <a:lnTo>
                    <a:pt x="647719" y="791038"/>
                  </a:lnTo>
                  <a:lnTo>
                    <a:pt x="649398" y="790780"/>
                  </a:lnTo>
                  <a:lnTo>
                    <a:pt x="649786" y="790651"/>
                  </a:lnTo>
                  <a:lnTo>
                    <a:pt x="651725" y="789746"/>
                  </a:lnTo>
                  <a:lnTo>
                    <a:pt x="652241" y="789617"/>
                  </a:lnTo>
                  <a:lnTo>
                    <a:pt x="653405" y="789875"/>
                  </a:lnTo>
                  <a:lnTo>
                    <a:pt x="661805" y="793623"/>
                  </a:lnTo>
                  <a:lnTo>
                    <a:pt x="665036" y="794657"/>
                  </a:lnTo>
                  <a:lnTo>
                    <a:pt x="667491" y="795174"/>
                  </a:lnTo>
                  <a:lnTo>
                    <a:pt x="669688" y="795174"/>
                  </a:lnTo>
                  <a:lnTo>
                    <a:pt x="671498" y="794657"/>
                  </a:lnTo>
                  <a:lnTo>
                    <a:pt x="672144" y="794528"/>
                  </a:lnTo>
                  <a:lnTo>
                    <a:pt x="677572" y="794398"/>
                  </a:lnTo>
                  <a:lnTo>
                    <a:pt x="678864" y="794657"/>
                  </a:lnTo>
                  <a:lnTo>
                    <a:pt x="679510" y="795045"/>
                  </a:lnTo>
                  <a:lnTo>
                    <a:pt x="680156" y="795562"/>
                  </a:lnTo>
                  <a:lnTo>
                    <a:pt x="680673" y="796725"/>
                  </a:lnTo>
                  <a:lnTo>
                    <a:pt x="680673" y="797371"/>
                  </a:lnTo>
                  <a:lnTo>
                    <a:pt x="680544" y="798017"/>
                  </a:lnTo>
                  <a:lnTo>
                    <a:pt x="680415" y="798534"/>
                  </a:lnTo>
                  <a:lnTo>
                    <a:pt x="680544" y="799051"/>
                  </a:lnTo>
                  <a:lnTo>
                    <a:pt x="680931" y="799438"/>
                  </a:lnTo>
                  <a:lnTo>
                    <a:pt x="681578" y="799697"/>
                  </a:lnTo>
                  <a:lnTo>
                    <a:pt x="683387" y="800085"/>
                  </a:lnTo>
                  <a:lnTo>
                    <a:pt x="683904" y="800472"/>
                  </a:lnTo>
                  <a:lnTo>
                    <a:pt x="684162" y="801119"/>
                  </a:lnTo>
                  <a:lnTo>
                    <a:pt x="684033" y="802411"/>
                  </a:lnTo>
                  <a:lnTo>
                    <a:pt x="684162" y="802928"/>
                  </a:lnTo>
                  <a:lnTo>
                    <a:pt x="684550" y="803186"/>
                  </a:lnTo>
                  <a:lnTo>
                    <a:pt x="685325" y="803186"/>
                  </a:lnTo>
                  <a:lnTo>
                    <a:pt x="685972" y="803057"/>
                  </a:lnTo>
                  <a:lnTo>
                    <a:pt x="687135" y="802669"/>
                  </a:lnTo>
                  <a:lnTo>
                    <a:pt x="687781" y="802669"/>
                  </a:lnTo>
                  <a:lnTo>
                    <a:pt x="688556" y="802669"/>
                  </a:lnTo>
                  <a:lnTo>
                    <a:pt x="689978" y="803315"/>
                  </a:lnTo>
                  <a:lnTo>
                    <a:pt x="691658" y="804220"/>
                  </a:lnTo>
                  <a:lnTo>
                    <a:pt x="694889" y="806546"/>
                  </a:lnTo>
                  <a:lnTo>
                    <a:pt x="696181" y="807709"/>
                  </a:lnTo>
                  <a:lnTo>
                    <a:pt x="696957" y="808614"/>
                  </a:lnTo>
                  <a:lnTo>
                    <a:pt x="697473" y="810294"/>
                  </a:lnTo>
                  <a:lnTo>
                    <a:pt x="697990" y="811199"/>
                  </a:lnTo>
                  <a:lnTo>
                    <a:pt x="698507" y="811716"/>
                  </a:lnTo>
                  <a:lnTo>
                    <a:pt x="699153" y="812233"/>
                  </a:lnTo>
                  <a:lnTo>
                    <a:pt x="702126" y="813913"/>
                  </a:lnTo>
                  <a:lnTo>
                    <a:pt x="702901" y="814171"/>
                  </a:lnTo>
                  <a:lnTo>
                    <a:pt x="703547" y="814300"/>
                  </a:lnTo>
                  <a:lnTo>
                    <a:pt x="704323" y="814300"/>
                  </a:lnTo>
                  <a:lnTo>
                    <a:pt x="705486" y="814042"/>
                  </a:lnTo>
                  <a:lnTo>
                    <a:pt x="707295" y="814042"/>
                  </a:lnTo>
                  <a:lnTo>
                    <a:pt x="709751" y="814817"/>
                  </a:lnTo>
                  <a:lnTo>
                    <a:pt x="710526" y="815851"/>
                  </a:lnTo>
                  <a:lnTo>
                    <a:pt x="710655" y="816497"/>
                  </a:lnTo>
                  <a:lnTo>
                    <a:pt x="711172" y="817790"/>
                  </a:lnTo>
                  <a:lnTo>
                    <a:pt x="712077" y="819211"/>
                  </a:lnTo>
                  <a:lnTo>
                    <a:pt x="712723" y="819987"/>
                  </a:lnTo>
                  <a:lnTo>
                    <a:pt x="714403" y="821279"/>
                  </a:lnTo>
                  <a:lnTo>
                    <a:pt x="714791" y="821667"/>
                  </a:lnTo>
                  <a:lnTo>
                    <a:pt x="715049" y="822184"/>
                  </a:lnTo>
                  <a:lnTo>
                    <a:pt x="715307" y="822830"/>
                  </a:lnTo>
                  <a:lnTo>
                    <a:pt x="715695" y="824381"/>
                  </a:lnTo>
                  <a:lnTo>
                    <a:pt x="715954" y="824897"/>
                  </a:lnTo>
                  <a:lnTo>
                    <a:pt x="717117" y="826836"/>
                  </a:lnTo>
                  <a:lnTo>
                    <a:pt x="717505" y="827999"/>
                  </a:lnTo>
                  <a:lnTo>
                    <a:pt x="717634" y="828774"/>
                  </a:lnTo>
                  <a:lnTo>
                    <a:pt x="717634" y="829679"/>
                  </a:lnTo>
                  <a:lnTo>
                    <a:pt x="717246" y="830842"/>
                  </a:lnTo>
                  <a:lnTo>
                    <a:pt x="716471" y="831359"/>
                  </a:lnTo>
                  <a:lnTo>
                    <a:pt x="715179" y="831747"/>
                  </a:lnTo>
                  <a:lnTo>
                    <a:pt x="714661" y="832393"/>
                  </a:lnTo>
                  <a:lnTo>
                    <a:pt x="714015" y="833427"/>
                  </a:lnTo>
                  <a:lnTo>
                    <a:pt x="712464" y="836787"/>
                  </a:lnTo>
                  <a:lnTo>
                    <a:pt x="711948" y="838596"/>
                  </a:lnTo>
                  <a:lnTo>
                    <a:pt x="711818" y="841439"/>
                  </a:lnTo>
                  <a:lnTo>
                    <a:pt x="711689" y="843249"/>
                  </a:lnTo>
                  <a:lnTo>
                    <a:pt x="711431" y="844541"/>
                  </a:lnTo>
                  <a:lnTo>
                    <a:pt x="710397" y="847255"/>
                  </a:lnTo>
                  <a:lnTo>
                    <a:pt x="709234" y="849193"/>
                  </a:lnTo>
                  <a:lnTo>
                    <a:pt x="708587" y="849840"/>
                  </a:lnTo>
                  <a:lnTo>
                    <a:pt x="706003" y="852295"/>
                  </a:lnTo>
                  <a:lnTo>
                    <a:pt x="704323" y="853587"/>
                  </a:lnTo>
                  <a:lnTo>
                    <a:pt x="696698" y="858240"/>
                  </a:lnTo>
                  <a:lnTo>
                    <a:pt x="688556" y="870129"/>
                  </a:lnTo>
                  <a:lnTo>
                    <a:pt x="687910" y="871809"/>
                  </a:lnTo>
                  <a:lnTo>
                    <a:pt x="688298" y="872972"/>
                  </a:lnTo>
                  <a:lnTo>
                    <a:pt x="688427" y="873619"/>
                  </a:lnTo>
                  <a:lnTo>
                    <a:pt x="688427" y="874265"/>
                  </a:lnTo>
                  <a:lnTo>
                    <a:pt x="688168" y="874911"/>
                  </a:lnTo>
                  <a:lnTo>
                    <a:pt x="687781" y="875299"/>
                  </a:lnTo>
                  <a:lnTo>
                    <a:pt x="687005" y="875557"/>
                  </a:lnTo>
                  <a:lnTo>
                    <a:pt x="686359" y="875557"/>
                  </a:lnTo>
                  <a:lnTo>
                    <a:pt x="685713" y="875428"/>
                  </a:lnTo>
                  <a:lnTo>
                    <a:pt x="684550" y="875040"/>
                  </a:lnTo>
                  <a:lnTo>
                    <a:pt x="683258" y="874782"/>
                  </a:lnTo>
                  <a:lnTo>
                    <a:pt x="681965" y="874911"/>
                  </a:lnTo>
                  <a:lnTo>
                    <a:pt x="675891" y="877237"/>
                  </a:lnTo>
                  <a:lnTo>
                    <a:pt x="675374" y="877496"/>
                  </a:lnTo>
                  <a:lnTo>
                    <a:pt x="674857" y="878142"/>
                  </a:lnTo>
                  <a:lnTo>
                    <a:pt x="674341" y="878917"/>
                  </a:lnTo>
                  <a:lnTo>
                    <a:pt x="673824" y="880597"/>
                  </a:lnTo>
                  <a:lnTo>
                    <a:pt x="673694" y="881631"/>
                  </a:lnTo>
                  <a:lnTo>
                    <a:pt x="673694" y="882536"/>
                  </a:lnTo>
                  <a:lnTo>
                    <a:pt x="674082" y="885896"/>
                  </a:lnTo>
                  <a:lnTo>
                    <a:pt x="673824" y="890290"/>
                  </a:lnTo>
                  <a:lnTo>
                    <a:pt x="672661" y="896881"/>
                  </a:lnTo>
                  <a:lnTo>
                    <a:pt x="672661" y="897527"/>
                  </a:lnTo>
                  <a:lnTo>
                    <a:pt x="672661" y="898173"/>
                  </a:lnTo>
                  <a:lnTo>
                    <a:pt x="672790" y="898819"/>
                  </a:lnTo>
                  <a:lnTo>
                    <a:pt x="673048" y="899336"/>
                  </a:lnTo>
                  <a:lnTo>
                    <a:pt x="674987" y="901275"/>
                  </a:lnTo>
                  <a:lnTo>
                    <a:pt x="675633" y="902179"/>
                  </a:lnTo>
                  <a:lnTo>
                    <a:pt x="676537" y="904376"/>
                  </a:lnTo>
                  <a:lnTo>
                    <a:pt x="676796" y="905539"/>
                  </a:lnTo>
                  <a:lnTo>
                    <a:pt x="676925" y="906185"/>
                  </a:lnTo>
                  <a:lnTo>
                    <a:pt x="676925" y="906832"/>
                  </a:lnTo>
                  <a:lnTo>
                    <a:pt x="676537" y="907607"/>
                  </a:lnTo>
                  <a:lnTo>
                    <a:pt x="675762" y="908253"/>
                  </a:lnTo>
                  <a:lnTo>
                    <a:pt x="674082" y="909158"/>
                  </a:lnTo>
                  <a:lnTo>
                    <a:pt x="673307" y="909675"/>
                  </a:lnTo>
                  <a:lnTo>
                    <a:pt x="672661" y="910192"/>
                  </a:lnTo>
                  <a:lnTo>
                    <a:pt x="672402" y="910708"/>
                  </a:lnTo>
                  <a:lnTo>
                    <a:pt x="671756" y="911613"/>
                  </a:lnTo>
                  <a:lnTo>
                    <a:pt x="671368" y="912001"/>
                  </a:lnTo>
                  <a:lnTo>
                    <a:pt x="669817" y="912259"/>
                  </a:lnTo>
                  <a:lnTo>
                    <a:pt x="667491" y="912518"/>
                  </a:lnTo>
                  <a:lnTo>
                    <a:pt x="659350" y="912647"/>
                  </a:lnTo>
                  <a:lnTo>
                    <a:pt x="655731" y="912001"/>
                  </a:lnTo>
                  <a:lnTo>
                    <a:pt x="652629" y="910967"/>
                  </a:lnTo>
                  <a:lnTo>
                    <a:pt x="652113" y="910967"/>
                  </a:lnTo>
                  <a:lnTo>
                    <a:pt x="651725" y="911226"/>
                  </a:lnTo>
                  <a:lnTo>
                    <a:pt x="651337" y="911613"/>
                  </a:lnTo>
                  <a:lnTo>
                    <a:pt x="650562" y="913164"/>
                  </a:lnTo>
                  <a:lnTo>
                    <a:pt x="650303" y="913681"/>
                  </a:lnTo>
                  <a:lnTo>
                    <a:pt x="647977" y="916007"/>
                  </a:lnTo>
                  <a:lnTo>
                    <a:pt x="647589" y="916395"/>
                  </a:lnTo>
                  <a:lnTo>
                    <a:pt x="647331" y="916912"/>
                  </a:lnTo>
                  <a:lnTo>
                    <a:pt x="646814" y="917946"/>
                  </a:lnTo>
                  <a:lnTo>
                    <a:pt x="643971" y="932290"/>
                  </a:lnTo>
                  <a:lnTo>
                    <a:pt x="642161" y="936685"/>
                  </a:lnTo>
                  <a:lnTo>
                    <a:pt x="641515" y="939140"/>
                  </a:lnTo>
                  <a:lnTo>
                    <a:pt x="641515" y="940561"/>
                  </a:lnTo>
                  <a:lnTo>
                    <a:pt x="642808" y="945343"/>
                  </a:lnTo>
                  <a:lnTo>
                    <a:pt x="642937" y="946635"/>
                  </a:lnTo>
                  <a:lnTo>
                    <a:pt x="642937" y="947669"/>
                  </a:lnTo>
                  <a:lnTo>
                    <a:pt x="642808" y="948315"/>
                  </a:lnTo>
                  <a:lnTo>
                    <a:pt x="642549" y="949608"/>
                  </a:lnTo>
                  <a:lnTo>
                    <a:pt x="642549" y="950512"/>
                  </a:lnTo>
                  <a:lnTo>
                    <a:pt x="642808" y="953097"/>
                  </a:lnTo>
                  <a:lnTo>
                    <a:pt x="642808" y="954002"/>
                  </a:lnTo>
                  <a:lnTo>
                    <a:pt x="642678" y="954777"/>
                  </a:lnTo>
                  <a:lnTo>
                    <a:pt x="642420" y="955294"/>
                  </a:lnTo>
                  <a:lnTo>
                    <a:pt x="642161" y="955682"/>
                  </a:lnTo>
                  <a:lnTo>
                    <a:pt x="641774" y="956070"/>
                  </a:lnTo>
                  <a:lnTo>
                    <a:pt x="640223" y="956845"/>
                  </a:lnTo>
                  <a:lnTo>
                    <a:pt x="639835" y="957233"/>
                  </a:lnTo>
                  <a:lnTo>
                    <a:pt x="639447" y="957620"/>
                  </a:lnTo>
                  <a:lnTo>
                    <a:pt x="638672" y="959171"/>
                  </a:lnTo>
                  <a:lnTo>
                    <a:pt x="638414" y="960463"/>
                  </a:lnTo>
                  <a:lnTo>
                    <a:pt x="638155" y="965762"/>
                  </a:lnTo>
                  <a:lnTo>
                    <a:pt x="637767" y="968476"/>
                  </a:lnTo>
                  <a:lnTo>
                    <a:pt x="637767" y="969122"/>
                  </a:lnTo>
                  <a:lnTo>
                    <a:pt x="638026" y="969897"/>
                  </a:lnTo>
                  <a:lnTo>
                    <a:pt x="638543" y="970544"/>
                  </a:lnTo>
                  <a:lnTo>
                    <a:pt x="639835" y="971190"/>
                  </a:lnTo>
                  <a:lnTo>
                    <a:pt x="640611" y="971190"/>
                  </a:lnTo>
                  <a:lnTo>
                    <a:pt x="641257" y="970931"/>
                  </a:lnTo>
                  <a:lnTo>
                    <a:pt x="641645" y="970544"/>
                  </a:lnTo>
                  <a:lnTo>
                    <a:pt x="641903" y="970027"/>
                  </a:lnTo>
                  <a:lnTo>
                    <a:pt x="642678" y="967701"/>
                  </a:lnTo>
                  <a:lnTo>
                    <a:pt x="642937" y="967184"/>
                  </a:lnTo>
                  <a:lnTo>
                    <a:pt x="643324" y="966796"/>
                  </a:lnTo>
                  <a:lnTo>
                    <a:pt x="643841" y="966537"/>
                  </a:lnTo>
                  <a:lnTo>
                    <a:pt x="645134" y="966408"/>
                  </a:lnTo>
                  <a:lnTo>
                    <a:pt x="645780" y="966279"/>
                  </a:lnTo>
                  <a:lnTo>
                    <a:pt x="646685" y="965762"/>
                  </a:lnTo>
                  <a:lnTo>
                    <a:pt x="647202" y="965762"/>
                  </a:lnTo>
                  <a:lnTo>
                    <a:pt x="647719" y="966020"/>
                  </a:lnTo>
                  <a:lnTo>
                    <a:pt x="647977" y="966925"/>
                  </a:lnTo>
                  <a:lnTo>
                    <a:pt x="647848" y="967571"/>
                  </a:lnTo>
                  <a:lnTo>
                    <a:pt x="647589" y="968218"/>
                  </a:lnTo>
                  <a:lnTo>
                    <a:pt x="645909" y="970415"/>
                  </a:lnTo>
                  <a:lnTo>
                    <a:pt x="645651" y="970931"/>
                  </a:lnTo>
                  <a:lnTo>
                    <a:pt x="645392" y="971448"/>
                  </a:lnTo>
                  <a:lnTo>
                    <a:pt x="645263" y="972094"/>
                  </a:lnTo>
                  <a:lnTo>
                    <a:pt x="645392" y="972741"/>
                  </a:lnTo>
                  <a:lnTo>
                    <a:pt x="645780" y="973258"/>
                  </a:lnTo>
                  <a:lnTo>
                    <a:pt x="646555" y="973516"/>
                  </a:lnTo>
                  <a:lnTo>
                    <a:pt x="647202" y="973387"/>
                  </a:lnTo>
                  <a:lnTo>
                    <a:pt x="647719" y="973128"/>
                  </a:lnTo>
                  <a:lnTo>
                    <a:pt x="648623" y="972482"/>
                  </a:lnTo>
                  <a:lnTo>
                    <a:pt x="649011" y="972224"/>
                  </a:lnTo>
                  <a:lnTo>
                    <a:pt x="649398" y="972094"/>
                  </a:lnTo>
                  <a:lnTo>
                    <a:pt x="649786" y="972094"/>
                  </a:lnTo>
                  <a:lnTo>
                    <a:pt x="650303" y="972482"/>
                  </a:lnTo>
                  <a:lnTo>
                    <a:pt x="650820" y="973258"/>
                  </a:lnTo>
                  <a:lnTo>
                    <a:pt x="651466" y="974808"/>
                  </a:lnTo>
                  <a:lnTo>
                    <a:pt x="651725" y="975842"/>
                  </a:lnTo>
                  <a:lnTo>
                    <a:pt x="651854" y="976747"/>
                  </a:lnTo>
                  <a:lnTo>
                    <a:pt x="651725" y="977393"/>
                  </a:lnTo>
                  <a:lnTo>
                    <a:pt x="650174" y="981270"/>
                  </a:lnTo>
                  <a:lnTo>
                    <a:pt x="650045" y="982045"/>
                  </a:lnTo>
                  <a:lnTo>
                    <a:pt x="649915" y="983467"/>
                  </a:lnTo>
                  <a:lnTo>
                    <a:pt x="649915" y="984113"/>
                  </a:lnTo>
                  <a:lnTo>
                    <a:pt x="650432" y="986698"/>
                  </a:lnTo>
                  <a:lnTo>
                    <a:pt x="650820" y="987344"/>
                  </a:lnTo>
                  <a:lnTo>
                    <a:pt x="651466" y="987861"/>
                  </a:lnTo>
                  <a:lnTo>
                    <a:pt x="652759" y="988249"/>
                  </a:lnTo>
                  <a:lnTo>
                    <a:pt x="653534" y="988249"/>
                  </a:lnTo>
                  <a:lnTo>
                    <a:pt x="654309" y="988119"/>
                  </a:lnTo>
                  <a:lnTo>
                    <a:pt x="654826" y="987990"/>
                  </a:lnTo>
                  <a:lnTo>
                    <a:pt x="656119" y="987732"/>
                  </a:lnTo>
                  <a:lnTo>
                    <a:pt x="657540" y="987732"/>
                  </a:lnTo>
                  <a:lnTo>
                    <a:pt x="658833" y="987990"/>
                  </a:lnTo>
                  <a:lnTo>
                    <a:pt x="659479" y="988378"/>
                  </a:lnTo>
                  <a:lnTo>
                    <a:pt x="659996" y="989024"/>
                  </a:lnTo>
                  <a:lnTo>
                    <a:pt x="660771" y="990446"/>
                  </a:lnTo>
                  <a:lnTo>
                    <a:pt x="661676" y="994064"/>
                  </a:lnTo>
                  <a:lnTo>
                    <a:pt x="662063" y="995098"/>
                  </a:lnTo>
                  <a:lnTo>
                    <a:pt x="662709" y="995744"/>
                  </a:lnTo>
                  <a:lnTo>
                    <a:pt x="663614" y="996520"/>
                  </a:lnTo>
                  <a:lnTo>
                    <a:pt x="668008" y="999234"/>
                  </a:lnTo>
                  <a:lnTo>
                    <a:pt x="668525" y="999750"/>
                  </a:lnTo>
                  <a:lnTo>
                    <a:pt x="669171" y="1000397"/>
                  </a:lnTo>
                  <a:lnTo>
                    <a:pt x="670076" y="1001689"/>
                  </a:lnTo>
                  <a:lnTo>
                    <a:pt x="670463" y="1002594"/>
                  </a:lnTo>
                  <a:lnTo>
                    <a:pt x="670851" y="1004015"/>
                  </a:lnTo>
                  <a:lnTo>
                    <a:pt x="671498" y="1004661"/>
                  </a:lnTo>
                  <a:lnTo>
                    <a:pt x="672531" y="1005308"/>
                  </a:lnTo>
                  <a:lnTo>
                    <a:pt x="676796" y="1007375"/>
                  </a:lnTo>
                  <a:lnTo>
                    <a:pt x="678088" y="1008280"/>
                  </a:lnTo>
                  <a:lnTo>
                    <a:pt x="680673" y="1010864"/>
                  </a:lnTo>
                  <a:lnTo>
                    <a:pt x="682094" y="1013708"/>
                  </a:lnTo>
                  <a:lnTo>
                    <a:pt x="682741" y="1015775"/>
                  </a:lnTo>
                  <a:lnTo>
                    <a:pt x="682999" y="1016680"/>
                  </a:lnTo>
                  <a:lnTo>
                    <a:pt x="682999" y="1017585"/>
                  </a:lnTo>
                  <a:lnTo>
                    <a:pt x="682870" y="1018877"/>
                  </a:lnTo>
                  <a:lnTo>
                    <a:pt x="682224" y="1021203"/>
                  </a:lnTo>
                  <a:lnTo>
                    <a:pt x="681836" y="1022366"/>
                  </a:lnTo>
                  <a:lnTo>
                    <a:pt x="681448" y="1023142"/>
                  </a:lnTo>
                  <a:lnTo>
                    <a:pt x="679768" y="1025339"/>
                  </a:lnTo>
                  <a:lnTo>
                    <a:pt x="679122" y="1026243"/>
                  </a:lnTo>
                  <a:lnTo>
                    <a:pt x="678605" y="1027277"/>
                  </a:lnTo>
                  <a:lnTo>
                    <a:pt x="678476" y="1027923"/>
                  </a:lnTo>
                  <a:lnTo>
                    <a:pt x="678735" y="1029991"/>
                  </a:lnTo>
                  <a:lnTo>
                    <a:pt x="680802" y="1034773"/>
                  </a:lnTo>
                  <a:lnTo>
                    <a:pt x="683258" y="1038262"/>
                  </a:lnTo>
                  <a:lnTo>
                    <a:pt x="738053" y="1073414"/>
                  </a:lnTo>
                  <a:lnTo>
                    <a:pt x="738053" y="1073414"/>
                  </a:lnTo>
                  <a:lnTo>
                    <a:pt x="739474" y="1067857"/>
                  </a:lnTo>
                  <a:lnTo>
                    <a:pt x="743222" y="1058810"/>
                  </a:lnTo>
                  <a:lnTo>
                    <a:pt x="756662" y="1037874"/>
                  </a:lnTo>
                  <a:lnTo>
                    <a:pt x="761961" y="1031413"/>
                  </a:lnTo>
                  <a:lnTo>
                    <a:pt x="765450" y="1028440"/>
                  </a:lnTo>
                  <a:lnTo>
                    <a:pt x="769198" y="1026502"/>
                  </a:lnTo>
                  <a:lnTo>
                    <a:pt x="776435" y="1025080"/>
                  </a:lnTo>
                  <a:lnTo>
                    <a:pt x="779149" y="1023271"/>
                  </a:lnTo>
                  <a:lnTo>
                    <a:pt x="780054" y="1022883"/>
                  </a:lnTo>
                  <a:lnTo>
                    <a:pt x="780700" y="1022366"/>
                  </a:lnTo>
                  <a:lnTo>
                    <a:pt x="780958" y="1021462"/>
                  </a:lnTo>
                  <a:lnTo>
                    <a:pt x="781087" y="1020040"/>
                  </a:lnTo>
                  <a:lnTo>
                    <a:pt x="781475" y="1019006"/>
                  </a:lnTo>
                  <a:lnTo>
                    <a:pt x="782509" y="1017197"/>
                  </a:lnTo>
                  <a:lnTo>
                    <a:pt x="794140" y="1004920"/>
                  </a:lnTo>
                  <a:lnTo>
                    <a:pt x="795432" y="1001430"/>
                  </a:lnTo>
                  <a:lnTo>
                    <a:pt x="794398" y="998975"/>
                  </a:lnTo>
                  <a:lnTo>
                    <a:pt x="792331" y="996390"/>
                  </a:lnTo>
                  <a:lnTo>
                    <a:pt x="790522" y="992643"/>
                  </a:lnTo>
                  <a:lnTo>
                    <a:pt x="790004" y="990187"/>
                  </a:lnTo>
                  <a:lnTo>
                    <a:pt x="790263" y="976101"/>
                  </a:lnTo>
                  <a:lnTo>
                    <a:pt x="789875" y="973645"/>
                  </a:lnTo>
                  <a:lnTo>
                    <a:pt x="787808" y="968218"/>
                  </a:lnTo>
                  <a:lnTo>
                    <a:pt x="786903" y="958525"/>
                  </a:lnTo>
                  <a:lnTo>
                    <a:pt x="787808" y="943663"/>
                  </a:lnTo>
                  <a:lnTo>
                    <a:pt x="788454" y="941725"/>
                  </a:lnTo>
                  <a:lnTo>
                    <a:pt x="790392" y="938494"/>
                  </a:lnTo>
                  <a:lnTo>
                    <a:pt x="791943" y="934100"/>
                  </a:lnTo>
                  <a:lnTo>
                    <a:pt x="794011" y="920143"/>
                  </a:lnTo>
                  <a:lnTo>
                    <a:pt x="796854" y="914327"/>
                  </a:lnTo>
                  <a:lnTo>
                    <a:pt x="797113" y="913681"/>
                  </a:lnTo>
                  <a:lnTo>
                    <a:pt x="797113" y="912130"/>
                  </a:lnTo>
                  <a:lnTo>
                    <a:pt x="795820" y="909545"/>
                  </a:lnTo>
                  <a:lnTo>
                    <a:pt x="795562" y="908253"/>
                  </a:lnTo>
                  <a:lnTo>
                    <a:pt x="795562" y="903342"/>
                  </a:lnTo>
                  <a:lnTo>
                    <a:pt x="800214" y="887576"/>
                  </a:lnTo>
                  <a:lnTo>
                    <a:pt x="803574" y="867674"/>
                  </a:lnTo>
                  <a:lnTo>
                    <a:pt x="804608" y="865348"/>
                  </a:lnTo>
                  <a:lnTo>
                    <a:pt x="804737" y="864314"/>
                  </a:lnTo>
                  <a:lnTo>
                    <a:pt x="804220" y="863151"/>
                  </a:lnTo>
                  <a:lnTo>
                    <a:pt x="808097" y="857206"/>
                  </a:lnTo>
                  <a:lnTo>
                    <a:pt x="809389" y="854621"/>
                  </a:lnTo>
                  <a:lnTo>
                    <a:pt x="809519" y="851003"/>
                  </a:lnTo>
                  <a:lnTo>
                    <a:pt x="809261" y="848030"/>
                  </a:lnTo>
                  <a:lnTo>
                    <a:pt x="809519" y="845316"/>
                  </a:lnTo>
                  <a:lnTo>
                    <a:pt x="810294" y="842861"/>
                  </a:lnTo>
                  <a:lnTo>
                    <a:pt x="814688" y="835107"/>
                  </a:lnTo>
                  <a:lnTo>
                    <a:pt x="815205" y="833298"/>
                  </a:lnTo>
                  <a:lnTo>
                    <a:pt x="815722" y="823864"/>
                  </a:lnTo>
                  <a:lnTo>
                    <a:pt x="816110" y="822184"/>
                  </a:lnTo>
                  <a:lnTo>
                    <a:pt x="817661" y="819082"/>
                  </a:lnTo>
                  <a:lnTo>
                    <a:pt x="818178" y="817402"/>
                  </a:lnTo>
                  <a:lnTo>
                    <a:pt x="818178" y="815334"/>
                  </a:lnTo>
                  <a:lnTo>
                    <a:pt x="820891" y="808097"/>
                  </a:lnTo>
                  <a:lnTo>
                    <a:pt x="821150" y="805771"/>
                  </a:lnTo>
                  <a:lnTo>
                    <a:pt x="821667" y="804220"/>
                  </a:lnTo>
                  <a:lnTo>
                    <a:pt x="824122" y="800343"/>
                  </a:lnTo>
                  <a:lnTo>
                    <a:pt x="824639" y="798663"/>
                  </a:lnTo>
                  <a:lnTo>
                    <a:pt x="824381" y="797500"/>
                  </a:lnTo>
                  <a:lnTo>
                    <a:pt x="822959" y="795174"/>
                  </a:lnTo>
                  <a:lnTo>
                    <a:pt x="822442" y="794140"/>
                  </a:lnTo>
                  <a:lnTo>
                    <a:pt x="821796" y="790909"/>
                  </a:lnTo>
                  <a:lnTo>
                    <a:pt x="821409" y="790004"/>
                  </a:lnTo>
                  <a:lnTo>
                    <a:pt x="820116" y="788066"/>
                  </a:lnTo>
                  <a:lnTo>
                    <a:pt x="818048" y="783414"/>
                  </a:lnTo>
                  <a:lnTo>
                    <a:pt x="815981" y="766872"/>
                  </a:lnTo>
                  <a:lnTo>
                    <a:pt x="812750" y="749684"/>
                  </a:lnTo>
                  <a:lnTo>
                    <a:pt x="812104" y="740249"/>
                  </a:lnTo>
                  <a:lnTo>
                    <a:pt x="809777" y="730169"/>
                  </a:lnTo>
                  <a:lnTo>
                    <a:pt x="809002" y="701350"/>
                  </a:lnTo>
                  <a:lnTo>
                    <a:pt x="807451" y="693596"/>
                  </a:lnTo>
                  <a:lnTo>
                    <a:pt x="807063" y="688815"/>
                  </a:lnTo>
                  <a:lnTo>
                    <a:pt x="807451" y="684292"/>
                  </a:lnTo>
                  <a:lnTo>
                    <a:pt x="806676" y="684162"/>
                  </a:lnTo>
                  <a:lnTo>
                    <a:pt x="805642" y="684421"/>
                  </a:lnTo>
                  <a:lnTo>
                    <a:pt x="804737" y="684550"/>
                  </a:lnTo>
                  <a:lnTo>
                    <a:pt x="804091" y="683904"/>
                  </a:lnTo>
                  <a:lnTo>
                    <a:pt x="804220" y="682741"/>
                  </a:lnTo>
                  <a:lnTo>
                    <a:pt x="804996" y="682224"/>
                  </a:lnTo>
                  <a:lnTo>
                    <a:pt x="806288" y="681836"/>
                  </a:lnTo>
                  <a:lnTo>
                    <a:pt x="805900" y="680414"/>
                  </a:lnTo>
                  <a:lnTo>
                    <a:pt x="804350" y="678864"/>
                  </a:lnTo>
                  <a:lnTo>
                    <a:pt x="803962" y="677571"/>
                  </a:lnTo>
                  <a:lnTo>
                    <a:pt x="802540" y="668913"/>
                  </a:lnTo>
                  <a:lnTo>
                    <a:pt x="802669" y="666716"/>
                  </a:lnTo>
                  <a:lnTo>
                    <a:pt x="803703" y="663097"/>
                  </a:lnTo>
                  <a:lnTo>
                    <a:pt x="804220" y="659737"/>
                  </a:lnTo>
                  <a:lnTo>
                    <a:pt x="806159" y="653922"/>
                  </a:lnTo>
                  <a:lnTo>
                    <a:pt x="806934" y="645651"/>
                  </a:lnTo>
                  <a:lnTo>
                    <a:pt x="809131" y="640352"/>
                  </a:lnTo>
                  <a:lnTo>
                    <a:pt x="809131" y="638543"/>
                  </a:lnTo>
                  <a:lnTo>
                    <a:pt x="808873" y="636863"/>
                  </a:lnTo>
                  <a:lnTo>
                    <a:pt x="809002" y="635441"/>
                  </a:lnTo>
                  <a:lnTo>
                    <a:pt x="809907" y="634278"/>
                  </a:lnTo>
                  <a:lnTo>
                    <a:pt x="809261" y="632856"/>
                  </a:lnTo>
                  <a:lnTo>
                    <a:pt x="809777" y="631693"/>
                  </a:lnTo>
                  <a:lnTo>
                    <a:pt x="810682" y="630530"/>
                  </a:lnTo>
                  <a:lnTo>
                    <a:pt x="811457" y="629109"/>
                  </a:lnTo>
                  <a:lnTo>
                    <a:pt x="811587" y="627687"/>
                  </a:lnTo>
                  <a:lnTo>
                    <a:pt x="810811" y="624198"/>
                  </a:lnTo>
                  <a:lnTo>
                    <a:pt x="810811" y="619675"/>
                  </a:lnTo>
                  <a:lnTo>
                    <a:pt x="811070" y="618124"/>
                  </a:lnTo>
                  <a:lnTo>
                    <a:pt x="813008" y="614764"/>
                  </a:lnTo>
                  <a:lnTo>
                    <a:pt x="813267" y="613471"/>
                  </a:lnTo>
                  <a:lnTo>
                    <a:pt x="813396" y="610887"/>
                  </a:lnTo>
                  <a:lnTo>
                    <a:pt x="813654" y="609595"/>
                  </a:lnTo>
                  <a:lnTo>
                    <a:pt x="814171" y="608302"/>
                  </a:lnTo>
                  <a:lnTo>
                    <a:pt x="815463" y="606105"/>
                  </a:lnTo>
                  <a:lnTo>
                    <a:pt x="817919" y="595379"/>
                  </a:lnTo>
                  <a:lnTo>
                    <a:pt x="817402" y="593053"/>
                  </a:lnTo>
                  <a:lnTo>
                    <a:pt x="817273" y="583619"/>
                  </a:lnTo>
                  <a:lnTo>
                    <a:pt x="816627" y="582714"/>
                  </a:lnTo>
                  <a:lnTo>
                    <a:pt x="815205" y="582843"/>
                  </a:lnTo>
                  <a:lnTo>
                    <a:pt x="813654" y="583619"/>
                  </a:lnTo>
                  <a:lnTo>
                    <a:pt x="812491" y="584394"/>
                  </a:lnTo>
                  <a:lnTo>
                    <a:pt x="811457" y="585686"/>
                  </a:lnTo>
                  <a:lnTo>
                    <a:pt x="810811" y="587237"/>
                  </a:lnTo>
                  <a:lnTo>
                    <a:pt x="811070" y="588271"/>
                  </a:lnTo>
                  <a:lnTo>
                    <a:pt x="812879" y="587883"/>
                  </a:lnTo>
                  <a:lnTo>
                    <a:pt x="812362" y="588917"/>
                  </a:lnTo>
                  <a:lnTo>
                    <a:pt x="812104" y="589305"/>
                  </a:lnTo>
                  <a:lnTo>
                    <a:pt x="813396" y="589563"/>
                  </a:lnTo>
                  <a:lnTo>
                    <a:pt x="814300" y="589951"/>
                  </a:lnTo>
                  <a:lnTo>
                    <a:pt x="814817" y="590726"/>
                  </a:lnTo>
                  <a:lnTo>
                    <a:pt x="815076" y="591889"/>
                  </a:lnTo>
                  <a:lnTo>
                    <a:pt x="814817" y="592277"/>
                  </a:lnTo>
                  <a:lnTo>
                    <a:pt x="813783" y="592406"/>
                  </a:lnTo>
                  <a:lnTo>
                    <a:pt x="813267" y="592665"/>
                  </a:lnTo>
                  <a:lnTo>
                    <a:pt x="812879" y="593311"/>
                  </a:lnTo>
                  <a:lnTo>
                    <a:pt x="813137" y="593570"/>
                  </a:lnTo>
                  <a:lnTo>
                    <a:pt x="813525" y="593828"/>
                  </a:lnTo>
                  <a:lnTo>
                    <a:pt x="813654" y="594345"/>
                  </a:lnTo>
                  <a:lnTo>
                    <a:pt x="813008" y="596283"/>
                  </a:lnTo>
                  <a:lnTo>
                    <a:pt x="812879" y="597576"/>
                  </a:lnTo>
                  <a:lnTo>
                    <a:pt x="813396" y="598093"/>
                  </a:lnTo>
                  <a:lnTo>
                    <a:pt x="814300" y="598610"/>
                  </a:lnTo>
                  <a:lnTo>
                    <a:pt x="814430" y="599644"/>
                  </a:lnTo>
                  <a:lnTo>
                    <a:pt x="814300" y="600936"/>
                  </a:lnTo>
                  <a:lnTo>
                    <a:pt x="814559" y="601840"/>
                  </a:lnTo>
                  <a:lnTo>
                    <a:pt x="809648" y="604425"/>
                  </a:lnTo>
                  <a:lnTo>
                    <a:pt x="807322" y="605200"/>
                  </a:lnTo>
                  <a:lnTo>
                    <a:pt x="805254" y="605459"/>
                  </a:lnTo>
                  <a:lnTo>
                    <a:pt x="803057" y="606622"/>
                  </a:lnTo>
                  <a:lnTo>
                    <a:pt x="803703" y="609207"/>
                  </a:lnTo>
                  <a:lnTo>
                    <a:pt x="806159" y="613859"/>
                  </a:lnTo>
                  <a:lnTo>
                    <a:pt x="805513" y="613859"/>
                  </a:lnTo>
                  <a:lnTo>
                    <a:pt x="804866" y="612308"/>
                  </a:lnTo>
                  <a:lnTo>
                    <a:pt x="803833" y="611662"/>
                  </a:lnTo>
                  <a:lnTo>
                    <a:pt x="802669" y="611145"/>
                  </a:lnTo>
                  <a:lnTo>
                    <a:pt x="801894" y="610111"/>
                  </a:lnTo>
                  <a:lnTo>
                    <a:pt x="801765" y="608690"/>
                  </a:lnTo>
                  <a:lnTo>
                    <a:pt x="802152" y="607397"/>
                  </a:lnTo>
                  <a:lnTo>
                    <a:pt x="802799" y="606364"/>
                  </a:lnTo>
                  <a:lnTo>
                    <a:pt x="803445" y="605718"/>
                  </a:lnTo>
                  <a:lnTo>
                    <a:pt x="802152" y="604167"/>
                  </a:lnTo>
                  <a:lnTo>
                    <a:pt x="802411" y="603133"/>
                  </a:lnTo>
                  <a:lnTo>
                    <a:pt x="804220" y="601194"/>
                  </a:lnTo>
                  <a:lnTo>
                    <a:pt x="805771" y="602874"/>
                  </a:lnTo>
                  <a:lnTo>
                    <a:pt x="807063" y="603262"/>
                  </a:lnTo>
                  <a:lnTo>
                    <a:pt x="811328" y="602616"/>
                  </a:lnTo>
                  <a:lnTo>
                    <a:pt x="812104" y="602228"/>
                  </a:lnTo>
                  <a:lnTo>
                    <a:pt x="812233" y="601323"/>
                  </a:lnTo>
                  <a:lnTo>
                    <a:pt x="811845" y="600160"/>
                  </a:lnTo>
                  <a:lnTo>
                    <a:pt x="810424" y="597834"/>
                  </a:lnTo>
                  <a:lnTo>
                    <a:pt x="810424" y="596671"/>
                  </a:lnTo>
                  <a:lnTo>
                    <a:pt x="810682" y="595508"/>
                  </a:lnTo>
                  <a:lnTo>
                    <a:pt x="810811" y="594216"/>
                  </a:lnTo>
                  <a:lnTo>
                    <a:pt x="810294" y="592923"/>
                  </a:lnTo>
                  <a:lnTo>
                    <a:pt x="809131" y="591114"/>
                  </a:lnTo>
                  <a:lnTo>
                    <a:pt x="807580" y="589563"/>
                  </a:lnTo>
                  <a:lnTo>
                    <a:pt x="805513" y="588659"/>
                  </a:lnTo>
                  <a:lnTo>
                    <a:pt x="803833" y="587625"/>
                  </a:lnTo>
                  <a:lnTo>
                    <a:pt x="803187" y="587366"/>
                  </a:lnTo>
                  <a:lnTo>
                    <a:pt x="802411" y="583748"/>
                  </a:lnTo>
                  <a:lnTo>
                    <a:pt x="802023" y="582714"/>
                  </a:lnTo>
                  <a:lnTo>
                    <a:pt x="802799" y="579741"/>
                  </a:lnTo>
                  <a:lnTo>
                    <a:pt x="804737" y="580646"/>
                  </a:lnTo>
                  <a:lnTo>
                    <a:pt x="806288" y="581034"/>
                  </a:lnTo>
                  <a:lnTo>
                    <a:pt x="809131" y="581163"/>
                  </a:lnTo>
                  <a:lnTo>
                    <a:pt x="810036" y="580517"/>
                  </a:lnTo>
                  <a:lnTo>
                    <a:pt x="810682" y="579225"/>
                  </a:lnTo>
                  <a:lnTo>
                    <a:pt x="810294" y="577932"/>
                  </a:lnTo>
                  <a:lnTo>
                    <a:pt x="806546" y="576769"/>
                  </a:lnTo>
                  <a:lnTo>
                    <a:pt x="805383" y="575218"/>
                  </a:lnTo>
                  <a:lnTo>
                    <a:pt x="803574" y="571471"/>
                  </a:lnTo>
                  <a:lnTo>
                    <a:pt x="802411" y="570178"/>
                  </a:lnTo>
                  <a:lnTo>
                    <a:pt x="797759" y="567723"/>
                  </a:lnTo>
                  <a:lnTo>
                    <a:pt x="798405" y="566818"/>
                  </a:lnTo>
                  <a:lnTo>
                    <a:pt x="798663" y="565914"/>
                  </a:lnTo>
                  <a:lnTo>
                    <a:pt x="798534" y="565009"/>
                  </a:lnTo>
                  <a:lnTo>
                    <a:pt x="797888" y="564104"/>
                  </a:lnTo>
                  <a:lnTo>
                    <a:pt x="794786" y="566430"/>
                  </a:lnTo>
                  <a:lnTo>
                    <a:pt x="794269" y="565655"/>
                  </a:lnTo>
                  <a:lnTo>
                    <a:pt x="795045" y="563717"/>
                  </a:lnTo>
                  <a:lnTo>
                    <a:pt x="795949" y="562683"/>
                  </a:lnTo>
                  <a:lnTo>
                    <a:pt x="798276" y="562553"/>
                  </a:lnTo>
                  <a:lnTo>
                    <a:pt x="799439" y="562683"/>
                  </a:lnTo>
                  <a:lnTo>
                    <a:pt x="800343" y="563070"/>
                  </a:lnTo>
                  <a:lnTo>
                    <a:pt x="800860" y="566172"/>
                  </a:lnTo>
                  <a:lnTo>
                    <a:pt x="801248" y="566301"/>
                  </a:lnTo>
                  <a:lnTo>
                    <a:pt x="801765" y="566172"/>
                  </a:lnTo>
                  <a:lnTo>
                    <a:pt x="802282" y="566430"/>
                  </a:lnTo>
                  <a:lnTo>
                    <a:pt x="803057" y="567206"/>
                  </a:lnTo>
                  <a:lnTo>
                    <a:pt x="803833" y="567723"/>
                  </a:lnTo>
                  <a:lnTo>
                    <a:pt x="804479" y="568369"/>
                  </a:lnTo>
                  <a:lnTo>
                    <a:pt x="805254" y="569532"/>
                  </a:lnTo>
                  <a:lnTo>
                    <a:pt x="805642" y="570695"/>
                  </a:lnTo>
                  <a:lnTo>
                    <a:pt x="805900" y="571988"/>
                  </a:lnTo>
                  <a:lnTo>
                    <a:pt x="806288" y="573280"/>
                  </a:lnTo>
                  <a:lnTo>
                    <a:pt x="807063" y="574314"/>
                  </a:lnTo>
                  <a:lnTo>
                    <a:pt x="809002" y="576123"/>
                  </a:lnTo>
                  <a:lnTo>
                    <a:pt x="810036" y="576640"/>
                  </a:lnTo>
                  <a:lnTo>
                    <a:pt x="811457" y="576898"/>
                  </a:lnTo>
                  <a:lnTo>
                    <a:pt x="812362" y="576511"/>
                  </a:lnTo>
                  <a:lnTo>
                    <a:pt x="812104" y="575606"/>
                  </a:lnTo>
                  <a:lnTo>
                    <a:pt x="811070" y="573926"/>
                  </a:lnTo>
                  <a:lnTo>
                    <a:pt x="810811" y="571988"/>
                  </a:lnTo>
                  <a:lnTo>
                    <a:pt x="811070" y="565267"/>
                  </a:lnTo>
                  <a:lnTo>
                    <a:pt x="811716" y="562812"/>
                  </a:lnTo>
                  <a:lnTo>
                    <a:pt x="812879" y="560873"/>
                  </a:lnTo>
                  <a:lnTo>
                    <a:pt x="813783" y="558806"/>
                  </a:lnTo>
                  <a:lnTo>
                    <a:pt x="813525" y="555963"/>
                  </a:lnTo>
                  <a:lnTo>
                    <a:pt x="812362" y="553507"/>
                  </a:lnTo>
                  <a:lnTo>
                    <a:pt x="811199" y="551569"/>
                  </a:lnTo>
                  <a:lnTo>
                    <a:pt x="810165" y="549372"/>
                  </a:lnTo>
                  <a:lnTo>
                    <a:pt x="809777" y="546529"/>
                  </a:lnTo>
                  <a:lnTo>
                    <a:pt x="810036" y="545624"/>
                  </a:lnTo>
                  <a:lnTo>
                    <a:pt x="810682" y="544978"/>
                  </a:lnTo>
                  <a:lnTo>
                    <a:pt x="811070" y="544332"/>
                  </a:lnTo>
                  <a:lnTo>
                    <a:pt x="810811" y="543556"/>
                  </a:lnTo>
                  <a:lnTo>
                    <a:pt x="810036" y="542264"/>
                  </a:lnTo>
                  <a:lnTo>
                    <a:pt x="809648" y="540325"/>
                  </a:lnTo>
                  <a:lnTo>
                    <a:pt x="809131" y="539421"/>
                  </a:lnTo>
                  <a:lnTo>
                    <a:pt x="806417" y="537999"/>
                  </a:lnTo>
                  <a:lnTo>
                    <a:pt x="804091" y="539162"/>
                  </a:lnTo>
                  <a:lnTo>
                    <a:pt x="802411" y="541618"/>
                  </a:lnTo>
                  <a:lnTo>
                    <a:pt x="801765" y="544202"/>
                  </a:lnTo>
                  <a:lnTo>
                    <a:pt x="802152" y="549501"/>
                  </a:lnTo>
                  <a:lnTo>
                    <a:pt x="801119" y="551052"/>
                  </a:lnTo>
                  <a:lnTo>
                    <a:pt x="798017" y="551310"/>
                  </a:lnTo>
                  <a:lnTo>
                    <a:pt x="798017" y="550535"/>
                  </a:lnTo>
                  <a:lnTo>
                    <a:pt x="800602" y="549889"/>
                  </a:lnTo>
                  <a:lnTo>
                    <a:pt x="801377" y="548209"/>
                  </a:lnTo>
                  <a:lnTo>
                    <a:pt x="800989" y="543298"/>
                  </a:lnTo>
                  <a:lnTo>
                    <a:pt x="801248" y="541101"/>
                  </a:lnTo>
                  <a:lnTo>
                    <a:pt x="801894" y="539033"/>
                  </a:lnTo>
                  <a:lnTo>
                    <a:pt x="802799" y="537353"/>
                  </a:lnTo>
                  <a:lnTo>
                    <a:pt x="803962" y="536319"/>
                  </a:lnTo>
                  <a:lnTo>
                    <a:pt x="803057" y="533088"/>
                  </a:lnTo>
                  <a:lnTo>
                    <a:pt x="803703" y="528694"/>
                  </a:lnTo>
                  <a:lnTo>
                    <a:pt x="806159" y="521328"/>
                  </a:lnTo>
                  <a:lnTo>
                    <a:pt x="806417" y="522362"/>
                  </a:lnTo>
                  <a:lnTo>
                    <a:pt x="806546" y="523266"/>
                  </a:lnTo>
                  <a:lnTo>
                    <a:pt x="806417" y="524042"/>
                  </a:lnTo>
                  <a:lnTo>
                    <a:pt x="806159" y="524947"/>
                  </a:lnTo>
                  <a:lnTo>
                    <a:pt x="809389" y="524300"/>
                  </a:lnTo>
                  <a:lnTo>
                    <a:pt x="810553" y="524300"/>
                  </a:lnTo>
                  <a:lnTo>
                    <a:pt x="811587" y="524688"/>
                  </a:lnTo>
                  <a:lnTo>
                    <a:pt x="814300" y="526497"/>
                  </a:lnTo>
                  <a:lnTo>
                    <a:pt x="815335" y="525593"/>
                  </a:lnTo>
                  <a:lnTo>
                    <a:pt x="815076" y="523913"/>
                  </a:lnTo>
                  <a:lnTo>
                    <a:pt x="813525" y="520552"/>
                  </a:lnTo>
                  <a:lnTo>
                    <a:pt x="814300" y="518356"/>
                  </a:lnTo>
                  <a:lnTo>
                    <a:pt x="814947" y="513832"/>
                  </a:lnTo>
                  <a:lnTo>
                    <a:pt x="815981" y="511894"/>
                  </a:lnTo>
                  <a:lnTo>
                    <a:pt x="817661" y="510343"/>
                  </a:lnTo>
                  <a:lnTo>
                    <a:pt x="823735" y="506208"/>
                  </a:lnTo>
                  <a:lnTo>
                    <a:pt x="826319" y="503365"/>
                  </a:lnTo>
                  <a:lnTo>
                    <a:pt x="827353" y="502589"/>
                  </a:lnTo>
                  <a:lnTo>
                    <a:pt x="828516" y="502201"/>
                  </a:lnTo>
                  <a:lnTo>
                    <a:pt x="829679" y="502072"/>
                  </a:lnTo>
                  <a:lnTo>
                    <a:pt x="830584" y="501684"/>
                  </a:lnTo>
                  <a:lnTo>
                    <a:pt x="830972" y="500651"/>
                  </a:lnTo>
                  <a:lnTo>
                    <a:pt x="823605" y="498712"/>
                  </a:lnTo>
                  <a:lnTo>
                    <a:pt x="822701" y="498324"/>
                  </a:lnTo>
                  <a:lnTo>
                    <a:pt x="822055" y="497937"/>
                  </a:lnTo>
                  <a:lnTo>
                    <a:pt x="821667" y="497420"/>
                  </a:lnTo>
                  <a:lnTo>
                    <a:pt x="821409" y="496644"/>
                  </a:lnTo>
                  <a:lnTo>
                    <a:pt x="821279" y="495352"/>
                  </a:lnTo>
                  <a:lnTo>
                    <a:pt x="821537" y="493801"/>
                  </a:lnTo>
                  <a:lnTo>
                    <a:pt x="822184" y="492509"/>
                  </a:lnTo>
                  <a:lnTo>
                    <a:pt x="823218" y="491992"/>
                  </a:lnTo>
                  <a:lnTo>
                    <a:pt x="825544" y="491475"/>
                  </a:lnTo>
                  <a:lnTo>
                    <a:pt x="827870" y="490312"/>
                  </a:lnTo>
                  <a:lnTo>
                    <a:pt x="829938" y="488890"/>
                  </a:lnTo>
                  <a:lnTo>
                    <a:pt x="831489" y="487469"/>
                  </a:lnTo>
                  <a:lnTo>
                    <a:pt x="833039" y="485789"/>
                  </a:lnTo>
                  <a:lnTo>
                    <a:pt x="835107" y="482687"/>
                  </a:lnTo>
                  <a:lnTo>
                    <a:pt x="836399" y="481136"/>
                  </a:lnTo>
                  <a:lnTo>
                    <a:pt x="836787" y="480232"/>
                  </a:lnTo>
                  <a:lnTo>
                    <a:pt x="836916" y="479069"/>
                  </a:lnTo>
                  <a:lnTo>
                    <a:pt x="836787" y="476742"/>
                  </a:lnTo>
                  <a:lnTo>
                    <a:pt x="836916" y="475450"/>
                  </a:lnTo>
                  <a:lnTo>
                    <a:pt x="837304" y="474545"/>
                  </a:lnTo>
                  <a:lnTo>
                    <a:pt x="837821" y="473770"/>
                  </a:lnTo>
                  <a:lnTo>
                    <a:pt x="838467" y="472219"/>
                  </a:lnTo>
                  <a:lnTo>
                    <a:pt x="838726" y="471832"/>
                  </a:lnTo>
                  <a:lnTo>
                    <a:pt x="839759" y="471185"/>
                  </a:lnTo>
                  <a:lnTo>
                    <a:pt x="838338" y="470669"/>
                  </a:lnTo>
                  <a:lnTo>
                    <a:pt x="836787" y="470281"/>
                  </a:lnTo>
                  <a:lnTo>
                    <a:pt x="835366" y="470281"/>
                  </a:lnTo>
                  <a:lnTo>
                    <a:pt x="834203" y="470927"/>
                  </a:lnTo>
                  <a:lnTo>
                    <a:pt x="833427" y="471185"/>
                  </a:lnTo>
                  <a:lnTo>
                    <a:pt x="832910" y="470539"/>
                  </a:lnTo>
                  <a:lnTo>
                    <a:pt x="832522" y="469505"/>
                  </a:lnTo>
                  <a:lnTo>
                    <a:pt x="832005" y="468730"/>
                  </a:lnTo>
                  <a:lnTo>
                    <a:pt x="831359" y="468730"/>
                  </a:lnTo>
                  <a:lnTo>
                    <a:pt x="830455" y="469247"/>
                  </a:lnTo>
                  <a:lnTo>
                    <a:pt x="828775" y="470669"/>
                  </a:lnTo>
                  <a:lnTo>
                    <a:pt x="827999" y="470022"/>
                  </a:lnTo>
                  <a:lnTo>
                    <a:pt x="825931" y="468988"/>
                  </a:lnTo>
                  <a:lnTo>
                    <a:pt x="825156" y="468342"/>
                  </a:lnTo>
                  <a:lnTo>
                    <a:pt x="824639" y="467179"/>
                  </a:lnTo>
                  <a:lnTo>
                    <a:pt x="824381" y="465628"/>
                  </a:lnTo>
                  <a:lnTo>
                    <a:pt x="824381" y="464336"/>
                  </a:lnTo>
                  <a:lnTo>
                    <a:pt x="824510" y="463819"/>
                  </a:lnTo>
                  <a:lnTo>
                    <a:pt x="823735" y="462656"/>
                  </a:lnTo>
                  <a:lnTo>
                    <a:pt x="823088" y="462397"/>
                  </a:lnTo>
                  <a:lnTo>
                    <a:pt x="822442" y="462268"/>
                  </a:lnTo>
                  <a:lnTo>
                    <a:pt x="821667" y="461622"/>
                  </a:lnTo>
                  <a:lnTo>
                    <a:pt x="820762" y="460330"/>
                  </a:lnTo>
                  <a:lnTo>
                    <a:pt x="819599" y="457745"/>
                  </a:lnTo>
                  <a:lnTo>
                    <a:pt x="818694" y="456453"/>
                  </a:lnTo>
                  <a:lnTo>
                    <a:pt x="820116" y="455807"/>
                  </a:lnTo>
                  <a:lnTo>
                    <a:pt x="820633" y="454773"/>
                  </a:lnTo>
                  <a:lnTo>
                    <a:pt x="820891" y="453480"/>
                  </a:lnTo>
                  <a:lnTo>
                    <a:pt x="821667" y="451930"/>
                  </a:lnTo>
                  <a:lnTo>
                    <a:pt x="823088" y="450766"/>
                  </a:lnTo>
                  <a:lnTo>
                    <a:pt x="824381" y="450120"/>
                  </a:lnTo>
                  <a:lnTo>
                    <a:pt x="825027" y="449216"/>
                  </a:lnTo>
                  <a:lnTo>
                    <a:pt x="824510" y="447536"/>
                  </a:lnTo>
                  <a:lnTo>
                    <a:pt x="825285" y="447536"/>
                  </a:lnTo>
                  <a:lnTo>
                    <a:pt x="826707" y="449733"/>
                  </a:lnTo>
                  <a:lnTo>
                    <a:pt x="824381" y="451671"/>
                  </a:lnTo>
                  <a:lnTo>
                    <a:pt x="823218" y="453093"/>
                  </a:lnTo>
                  <a:lnTo>
                    <a:pt x="823088" y="454902"/>
                  </a:lnTo>
                  <a:lnTo>
                    <a:pt x="825156" y="462914"/>
                  </a:lnTo>
                  <a:lnTo>
                    <a:pt x="826061" y="465241"/>
                  </a:lnTo>
                  <a:lnTo>
                    <a:pt x="827224" y="466274"/>
                  </a:lnTo>
                  <a:lnTo>
                    <a:pt x="828258" y="466533"/>
                  </a:lnTo>
                  <a:lnTo>
                    <a:pt x="829421" y="467567"/>
                  </a:lnTo>
                  <a:lnTo>
                    <a:pt x="830584" y="467696"/>
                  </a:lnTo>
                  <a:lnTo>
                    <a:pt x="831359" y="467308"/>
                  </a:lnTo>
                  <a:lnTo>
                    <a:pt x="832522" y="465758"/>
                  </a:lnTo>
                  <a:lnTo>
                    <a:pt x="833168" y="465499"/>
                  </a:lnTo>
                  <a:lnTo>
                    <a:pt x="834590" y="464336"/>
                  </a:lnTo>
                  <a:lnTo>
                    <a:pt x="838726" y="456582"/>
                  </a:lnTo>
                  <a:lnTo>
                    <a:pt x="837433" y="455290"/>
                  </a:lnTo>
                  <a:lnTo>
                    <a:pt x="837433" y="453997"/>
                  </a:lnTo>
                  <a:lnTo>
                    <a:pt x="838855" y="451284"/>
                  </a:lnTo>
                  <a:lnTo>
                    <a:pt x="839242" y="450896"/>
                  </a:lnTo>
                  <a:lnTo>
                    <a:pt x="839759" y="450637"/>
                  </a:lnTo>
                  <a:lnTo>
                    <a:pt x="840147" y="450250"/>
                  </a:lnTo>
                  <a:lnTo>
                    <a:pt x="840405" y="449345"/>
                  </a:lnTo>
                  <a:lnTo>
                    <a:pt x="840405" y="446373"/>
                  </a:lnTo>
                  <a:lnTo>
                    <a:pt x="840664" y="444046"/>
                  </a:lnTo>
                  <a:lnTo>
                    <a:pt x="841310" y="442108"/>
                  </a:lnTo>
                  <a:lnTo>
                    <a:pt x="843249" y="438489"/>
                  </a:lnTo>
                  <a:lnTo>
                    <a:pt x="843895" y="438489"/>
                  </a:lnTo>
                  <a:lnTo>
                    <a:pt x="843766" y="440428"/>
                  </a:lnTo>
                  <a:lnTo>
                    <a:pt x="843378" y="441849"/>
                  </a:lnTo>
                  <a:lnTo>
                    <a:pt x="843507" y="443012"/>
                  </a:lnTo>
                  <a:lnTo>
                    <a:pt x="844670" y="444434"/>
                  </a:lnTo>
                  <a:lnTo>
                    <a:pt x="846479" y="445210"/>
                  </a:lnTo>
                  <a:lnTo>
                    <a:pt x="847643" y="445210"/>
                  </a:lnTo>
                  <a:lnTo>
                    <a:pt x="848418" y="445726"/>
                  </a:lnTo>
                  <a:lnTo>
                    <a:pt x="849581" y="450379"/>
                  </a:lnTo>
                  <a:lnTo>
                    <a:pt x="850744" y="452705"/>
                  </a:lnTo>
                  <a:lnTo>
                    <a:pt x="852941" y="453868"/>
                  </a:lnTo>
                  <a:lnTo>
                    <a:pt x="856301" y="452576"/>
                  </a:lnTo>
                  <a:lnTo>
                    <a:pt x="858111" y="454126"/>
                  </a:lnTo>
                  <a:lnTo>
                    <a:pt x="859662" y="454773"/>
                  </a:lnTo>
                  <a:lnTo>
                    <a:pt x="861342" y="454902"/>
                  </a:lnTo>
                  <a:lnTo>
                    <a:pt x="863280" y="454902"/>
                  </a:lnTo>
                  <a:lnTo>
                    <a:pt x="864314" y="462397"/>
                  </a:lnTo>
                  <a:lnTo>
                    <a:pt x="864185" y="463044"/>
                  </a:lnTo>
                  <a:lnTo>
                    <a:pt x="863926" y="463431"/>
                  </a:lnTo>
                  <a:lnTo>
                    <a:pt x="863797" y="463819"/>
                  </a:lnTo>
                  <a:lnTo>
                    <a:pt x="863926" y="464336"/>
                  </a:lnTo>
                  <a:lnTo>
                    <a:pt x="864831" y="465370"/>
                  </a:lnTo>
                  <a:lnTo>
                    <a:pt x="865089" y="465887"/>
                  </a:lnTo>
                  <a:lnTo>
                    <a:pt x="865089" y="466662"/>
                  </a:lnTo>
                  <a:lnTo>
                    <a:pt x="865477" y="467308"/>
                  </a:lnTo>
                  <a:lnTo>
                    <a:pt x="866252" y="468084"/>
                  </a:lnTo>
                  <a:lnTo>
                    <a:pt x="866769" y="469118"/>
                  </a:lnTo>
                  <a:lnTo>
                    <a:pt x="865089" y="472478"/>
                  </a:lnTo>
                  <a:lnTo>
                    <a:pt x="865477" y="474287"/>
                  </a:lnTo>
                  <a:lnTo>
                    <a:pt x="866382" y="476096"/>
                  </a:lnTo>
                  <a:lnTo>
                    <a:pt x="866511" y="478164"/>
                  </a:lnTo>
                  <a:lnTo>
                    <a:pt x="865606" y="476096"/>
                  </a:lnTo>
                  <a:lnTo>
                    <a:pt x="864314" y="476355"/>
                  </a:lnTo>
                  <a:lnTo>
                    <a:pt x="863280" y="477776"/>
                  </a:lnTo>
                  <a:lnTo>
                    <a:pt x="862117" y="481653"/>
                  </a:lnTo>
                  <a:lnTo>
                    <a:pt x="859920" y="485659"/>
                  </a:lnTo>
                  <a:lnTo>
                    <a:pt x="860566" y="487081"/>
                  </a:lnTo>
                  <a:lnTo>
                    <a:pt x="863021" y="487598"/>
                  </a:lnTo>
                  <a:lnTo>
                    <a:pt x="865477" y="486823"/>
                  </a:lnTo>
                  <a:lnTo>
                    <a:pt x="867803" y="485530"/>
                  </a:lnTo>
                  <a:lnTo>
                    <a:pt x="870775" y="484496"/>
                  </a:lnTo>
                  <a:lnTo>
                    <a:pt x="872973" y="482429"/>
                  </a:lnTo>
                  <a:lnTo>
                    <a:pt x="874006" y="481912"/>
                  </a:lnTo>
                  <a:lnTo>
                    <a:pt x="875299" y="481912"/>
                  </a:lnTo>
                  <a:lnTo>
                    <a:pt x="877625" y="481524"/>
                  </a:lnTo>
                  <a:lnTo>
                    <a:pt x="878788" y="481136"/>
                  </a:lnTo>
                  <a:lnTo>
                    <a:pt x="881114" y="479844"/>
                  </a:lnTo>
                  <a:lnTo>
                    <a:pt x="883182" y="478164"/>
                  </a:lnTo>
                  <a:lnTo>
                    <a:pt x="886284" y="473770"/>
                  </a:lnTo>
                  <a:lnTo>
                    <a:pt x="894684" y="465628"/>
                  </a:lnTo>
                  <a:lnTo>
                    <a:pt x="901921" y="456324"/>
                  </a:lnTo>
                  <a:lnTo>
                    <a:pt x="909545" y="447536"/>
                  </a:lnTo>
                  <a:lnTo>
                    <a:pt x="910709" y="446760"/>
                  </a:lnTo>
                  <a:lnTo>
                    <a:pt x="912001" y="446114"/>
                  </a:lnTo>
                  <a:lnTo>
                    <a:pt x="917558" y="437585"/>
                  </a:lnTo>
                  <a:lnTo>
                    <a:pt x="924537" y="428151"/>
                  </a:lnTo>
                  <a:lnTo>
                    <a:pt x="931257" y="418070"/>
                  </a:lnTo>
                  <a:lnTo>
                    <a:pt x="940303" y="405276"/>
                  </a:lnTo>
                  <a:lnTo>
                    <a:pt x="947670" y="391319"/>
                  </a:lnTo>
                  <a:lnTo>
                    <a:pt x="954390" y="381885"/>
                  </a:lnTo>
                  <a:lnTo>
                    <a:pt x="956845" y="375940"/>
                  </a:lnTo>
                  <a:lnTo>
                    <a:pt x="959818" y="371029"/>
                  </a:lnTo>
                  <a:lnTo>
                    <a:pt x="966020" y="355263"/>
                  </a:lnTo>
                  <a:lnTo>
                    <a:pt x="968476" y="352161"/>
                  </a:lnTo>
                  <a:lnTo>
                    <a:pt x="969510" y="350481"/>
                  </a:lnTo>
                  <a:lnTo>
                    <a:pt x="970027" y="346475"/>
                  </a:lnTo>
                  <a:lnTo>
                    <a:pt x="978039" y="329675"/>
                  </a:lnTo>
                  <a:lnTo>
                    <a:pt x="985147" y="319336"/>
                  </a:lnTo>
                  <a:lnTo>
                    <a:pt x="985923" y="317268"/>
                  </a:lnTo>
                  <a:lnTo>
                    <a:pt x="982821" y="317398"/>
                  </a:lnTo>
                  <a:close/>
                  <a:moveTo>
                    <a:pt x="811845" y="540455"/>
                  </a:moveTo>
                  <a:lnTo>
                    <a:pt x="811328" y="541488"/>
                  </a:lnTo>
                  <a:lnTo>
                    <a:pt x="811070" y="544719"/>
                  </a:lnTo>
                  <a:lnTo>
                    <a:pt x="810682" y="545882"/>
                  </a:lnTo>
                  <a:lnTo>
                    <a:pt x="810553" y="547562"/>
                  </a:lnTo>
                  <a:lnTo>
                    <a:pt x="811199" y="550406"/>
                  </a:lnTo>
                  <a:lnTo>
                    <a:pt x="813525" y="554024"/>
                  </a:lnTo>
                  <a:lnTo>
                    <a:pt x="814430" y="556867"/>
                  </a:lnTo>
                  <a:lnTo>
                    <a:pt x="815722" y="556609"/>
                  </a:lnTo>
                  <a:lnTo>
                    <a:pt x="817531" y="556609"/>
                  </a:lnTo>
                  <a:lnTo>
                    <a:pt x="817661" y="557901"/>
                  </a:lnTo>
                  <a:lnTo>
                    <a:pt x="818307" y="558418"/>
                  </a:lnTo>
                  <a:lnTo>
                    <a:pt x="819470" y="558418"/>
                  </a:lnTo>
                  <a:lnTo>
                    <a:pt x="820374" y="554799"/>
                  </a:lnTo>
                  <a:lnTo>
                    <a:pt x="820116" y="553766"/>
                  </a:lnTo>
                  <a:lnTo>
                    <a:pt x="818953" y="552732"/>
                  </a:lnTo>
                  <a:lnTo>
                    <a:pt x="818953" y="551052"/>
                  </a:lnTo>
                  <a:lnTo>
                    <a:pt x="819082" y="550406"/>
                  </a:lnTo>
                  <a:lnTo>
                    <a:pt x="818048" y="549630"/>
                  </a:lnTo>
                  <a:lnTo>
                    <a:pt x="817790" y="548338"/>
                  </a:lnTo>
                  <a:lnTo>
                    <a:pt x="816239" y="546916"/>
                  </a:lnTo>
                  <a:lnTo>
                    <a:pt x="815981" y="545624"/>
                  </a:lnTo>
                  <a:lnTo>
                    <a:pt x="816498" y="543556"/>
                  </a:lnTo>
                  <a:lnTo>
                    <a:pt x="817144" y="542005"/>
                  </a:lnTo>
                  <a:lnTo>
                    <a:pt x="818178" y="540455"/>
                  </a:lnTo>
                  <a:lnTo>
                    <a:pt x="818694" y="539033"/>
                  </a:lnTo>
                  <a:lnTo>
                    <a:pt x="817919" y="537741"/>
                  </a:lnTo>
                  <a:lnTo>
                    <a:pt x="819728" y="536319"/>
                  </a:lnTo>
                  <a:lnTo>
                    <a:pt x="820116" y="534381"/>
                  </a:lnTo>
                  <a:lnTo>
                    <a:pt x="819082" y="527273"/>
                  </a:lnTo>
                  <a:lnTo>
                    <a:pt x="818048" y="526626"/>
                  </a:lnTo>
                  <a:lnTo>
                    <a:pt x="814947" y="527790"/>
                  </a:lnTo>
                  <a:lnTo>
                    <a:pt x="812620" y="528177"/>
                  </a:lnTo>
                  <a:lnTo>
                    <a:pt x="810682" y="527790"/>
                  </a:lnTo>
                  <a:lnTo>
                    <a:pt x="809002" y="527273"/>
                  </a:lnTo>
                  <a:lnTo>
                    <a:pt x="807322" y="527014"/>
                  </a:lnTo>
                  <a:lnTo>
                    <a:pt x="805513" y="527660"/>
                  </a:lnTo>
                  <a:lnTo>
                    <a:pt x="804479" y="529082"/>
                  </a:lnTo>
                  <a:lnTo>
                    <a:pt x="804350" y="531021"/>
                  </a:lnTo>
                  <a:lnTo>
                    <a:pt x="805254" y="533088"/>
                  </a:lnTo>
                  <a:lnTo>
                    <a:pt x="803962" y="534768"/>
                  </a:lnTo>
                  <a:lnTo>
                    <a:pt x="806030" y="536319"/>
                  </a:lnTo>
                  <a:lnTo>
                    <a:pt x="811199" y="538258"/>
                  </a:lnTo>
                  <a:lnTo>
                    <a:pt x="812362" y="539162"/>
                  </a:lnTo>
                  <a:lnTo>
                    <a:pt x="812362" y="539679"/>
                  </a:lnTo>
                  <a:lnTo>
                    <a:pt x="811845" y="540455"/>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6" name="Graphic 2">
              <a:extLst>
                <a:ext uri="{FF2B5EF4-FFF2-40B4-BE49-F238E27FC236}">
                  <a16:creationId xmlns:a16="http://schemas.microsoft.com/office/drawing/2014/main" id="{6FDE7938-9B97-7D66-980B-71CFA6B05124}"/>
                </a:ext>
              </a:extLst>
            </p:cNvPr>
            <p:cNvSpPr/>
            <p:nvPr/>
          </p:nvSpPr>
          <p:spPr>
            <a:xfrm>
              <a:off x="3702982" y="1563126"/>
              <a:ext cx="1873369" cy="1289104"/>
            </a:xfrm>
            <a:custGeom>
              <a:avLst/>
              <a:gdLst>
                <a:gd name="connsiteX0" fmla="*/ 1867166 w 1873369"/>
                <a:gd name="connsiteY0" fmla="*/ 477389 h 1289104"/>
                <a:gd name="connsiteX1" fmla="*/ 1866132 w 1873369"/>
                <a:gd name="connsiteY1" fmla="*/ 478035 h 1289104"/>
                <a:gd name="connsiteX2" fmla="*/ 1865357 w 1873369"/>
                <a:gd name="connsiteY2" fmla="*/ 478552 h 1289104"/>
                <a:gd name="connsiteX3" fmla="*/ 1864581 w 1873369"/>
                <a:gd name="connsiteY3" fmla="*/ 479327 h 1289104"/>
                <a:gd name="connsiteX4" fmla="*/ 1864194 w 1873369"/>
                <a:gd name="connsiteY4" fmla="*/ 479456 h 1289104"/>
                <a:gd name="connsiteX5" fmla="*/ 1863935 w 1873369"/>
                <a:gd name="connsiteY5" fmla="*/ 479456 h 1289104"/>
                <a:gd name="connsiteX6" fmla="*/ 1863418 w 1873369"/>
                <a:gd name="connsiteY6" fmla="*/ 479327 h 1289104"/>
                <a:gd name="connsiteX7" fmla="*/ 1861092 w 1873369"/>
                <a:gd name="connsiteY7" fmla="*/ 478810 h 1289104"/>
                <a:gd name="connsiteX8" fmla="*/ 1859154 w 1873369"/>
                <a:gd name="connsiteY8" fmla="*/ 478681 h 1289104"/>
                <a:gd name="connsiteX9" fmla="*/ 1856698 w 1873369"/>
                <a:gd name="connsiteY9" fmla="*/ 478164 h 1289104"/>
                <a:gd name="connsiteX10" fmla="*/ 1855664 w 1873369"/>
                <a:gd name="connsiteY10" fmla="*/ 477776 h 1289104"/>
                <a:gd name="connsiteX11" fmla="*/ 1855147 w 1873369"/>
                <a:gd name="connsiteY11" fmla="*/ 477518 h 1289104"/>
                <a:gd name="connsiteX12" fmla="*/ 1854760 w 1873369"/>
                <a:gd name="connsiteY12" fmla="*/ 477001 h 1289104"/>
                <a:gd name="connsiteX13" fmla="*/ 1854630 w 1873369"/>
                <a:gd name="connsiteY13" fmla="*/ 476226 h 1289104"/>
                <a:gd name="connsiteX14" fmla="*/ 1854630 w 1873369"/>
                <a:gd name="connsiteY14" fmla="*/ 475579 h 1289104"/>
                <a:gd name="connsiteX15" fmla="*/ 1854630 w 1873369"/>
                <a:gd name="connsiteY15" fmla="*/ 474933 h 1289104"/>
                <a:gd name="connsiteX16" fmla="*/ 1855406 w 1873369"/>
                <a:gd name="connsiteY16" fmla="*/ 471961 h 1289104"/>
                <a:gd name="connsiteX17" fmla="*/ 1855406 w 1873369"/>
                <a:gd name="connsiteY17" fmla="*/ 471315 h 1289104"/>
                <a:gd name="connsiteX18" fmla="*/ 1855406 w 1873369"/>
                <a:gd name="connsiteY18" fmla="*/ 470668 h 1289104"/>
                <a:gd name="connsiteX19" fmla="*/ 1855277 w 1873369"/>
                <a:gd name="connsiteY19" fmla="*/ 470022 h 1289104"/>
                <a:gd name="connsiteX20" fmla="*/ 1854889 w 1873369"/>
                <a:gd name="connsiteY20" fmla="*/ 468859 h 1289104"/>
                <a:gd name="connsiteX21" fmla="*/ 1854630 w 1873369"/>
                <a:gd name="connsiteY21" fmla="*/ 468342 h 1289104"/>
                <a:gd name="connsiteX22" fmla="*/ 1854114 w 1873369"/>
                <a:gd name="connsiteY22" fmla="*/ 467955 h 1289104"/>
                <a:gd name="connsiteX23" fmla="*/ 1853338 w 1873369"/>
                <a:gd name="connsiteY23" fmla="*/ 467696 h 1289104"/>
                <a:gd name="connsiteX24" fmla="*/ 1852692 w 1873369"/>
                <a:gd name="connsiteY24" fmla="*/ 467696 h 1289104"/>
                <a:gd name="connsiteX25" fmla="*/ 1852046 w 1873369"/>
                <a:gd name="connsiteY25" fmla="*/ 467825 h 1289104"/>
                <a:gd name="connsiteX26" fmla="*/ 1850883 w 1873369"/>
                <a:gd name="connsiteY26" fmla="*/ 468084 h 1289104"/>
                <a:gd name="connsiteX27" fmla="*/ 1845326 w 1873369"/>
                <a:gd name="connsiteY27" fmla="*/ 470022 h 1289104"/>
                <a:gd name="connsiteX28" fmla="*/ 1844938 w 1873369"/>
                <a:gd name="connsiteY28" fmla="*/ 470281 h 1289104"/>
                <a:gd name="connsiteX29" fmla="*/ 1840156 w 1873369"/>
                <a:gd name="connsiteY29" fmla="*/ 473641 h 1289104"/>
                <a:gd name="connsiteX30" fmla="*/ 1839510 w 1873369"/>
                <a:gd name="connsiteY30" fmla="*/ 473899 h 1289104"/>
                <a:gd name="connsiteX31" fmla="*/ 1838735 w 1873369"/>
                <a:gd name="connsiteY31" fmla="*/ 474158 h 1289104"/>
                <a:gd name="connsiteX32" fmla="*/ 1837830 w 1873369"/>
                <a:gd name="connsiteY32" fmla="*/ 474029 h 1289104"/>
                <a:gd name="connsiteX33" fmla="*/ 1835762 w 1873369"/>
                <a:gd name="connsiteY33" fmla="*/ 473253 h 1289104"/>
                <a:gd name="connsiteX34" fmla="*/ 1833436 w 1873369"/>
                <a:gd name="connsiteY34" fmla="*/ 472607 h 1289104"/>
                <a:gd name="connsiteX35" fmla="*/ 1832402 w 1873369"/>
                <a:gd name="connsiteY35" fmla="*/ 472219 h 1289104"/>
                <a:gd name="connsiteX36" fmla="*/ 1831368 w 1873369"/>
                <a:gd name="connsiteY36" fmla="*/ 471832 h 1289104"/>
                <a:gd name="connsiteX37" fmla="*/ 1829559 w 1873369"/>
                <a:gd name="connsiteY37" fmla="*/ 470668 h 1289104"/>
                <a:gd name="connsiteX38" fmla="*/ 1828655 w 1873369"/>
                <a:gd name="connsiteY38" fmla="*/ 470152 h 1289104"/>
                <a:gd name="connsiteX39" fmla="*/ 1827621 w 1873369"/>
                <a:gd name="connsiteY39" fmla="*/ 469764 h 1289104"/>
                <a:gd name="connsiteX40" fmla="*/ 1826587 w 1873369"/>
                <a:gd name="connsiteY40" fmla="*/ 469247 h 1289104"/>
                <a:gd name="connsiteX41" fmla="*/ 1825682 w 1873369"/>
                <a:gd name="connsiteY41" fmla="*/ 468342 h 1289104"/>
                <a:gd name="connsiteX42" fmla="*/ 1825295 w 1873369"/>
                <a:gd name="connsiteY42" fmla="*/ 466791 h 1289104"/>
                <a:gd name="connsiteX43" fmla="*/ 1825165 w 1873369"/>
                <a:gd name="connsiteY43" fmla="*/ 465499 h 1289104"/>
                <a:gd name="connsiteX44" fmla="*/ 1825424 w 1873369"/>
                <a:gd name="connsiteY44" fmla="*/ 464207 h 1289104"/>
                <a:gd name="connsiteX45" fmla="*/ 1826974 w 1873369"/>
                <a:gd name="connsiteY45" fmla="*/ 458650 h 1289104"/>
                <a:gd name="connsiteX46" fmla="*/ 1827233 w 1873369"/>
                <a:gd name="connsiteY46" fmla="*/ 457487 h 1289104"/>
                <a:gd name="connsiteX47" fmla="*/ 1827233 w 1873369"/>
                <a:gd name="connsiteY47" fmla="*/ 456324 h 1289104"/>
                <a:gd name="connsiteX48" fmla="*/ 1826845 w 1873369"/>
                <a:gd name="connsiteY48" fmla="*/ 455160 h 1289104"/>
                <a:gd name="connsiteX49" fmla="*/ 1826070 w 1873369"/>
                <a:gd name="connsiteY49" fmla="*/ 454385 h 1289104"/>
                <a:gd name="connsiteX50" fmla="*/ 1824777 w 1873369"/>
                <a:gd name="connsiteY50" fmla="*/ 453868 h 1289104"/>
                <a:gd name="connsiteX51" fmla="*/ 1823485 w 1873369"/>
                <a:gd name="connsiteY51" fmla="*/ 453997 h 1289104"/>
                <a:gd name="connsiteX52" fmla="*/ 1821030 w 1873369"/>
                <a:gd name="connsiteY52" fmla="*/ 454385 h 1289104"/>
                <a:gd name="connsiteX53" fmla="*/ 1819737 w 1873369"/>
                <a:gd name="connsiteY53" fmla="*/ 454385 h 1289104"/>
                <a:gd name="connsiteX54" fmla="*/ 1818574 w 1873369"/>
                <a:gd name="connsiteY54" fmla="*/ 454256 h 1289104"/>
                <a:gd name="connsiteX55" fmla="*/ 1817411 w 1873369"/>
                <a:gd name="connsiteY55" fmla="*/ 453868 h 1289104"/>
                <a:gd name="connsiteX56" fmla="*/ 1816377 w 1873369"/>
                <a:gd name="connsiteY56" fmla="*/ 453480 h 1289104"/>
                <a:gd name="connsiteX57" fmla="*/ 1815473 w 1873369"/>
                <a:gd name="connsiteY57" fmla="*/ 452963 h 1289104"/>
                <a:gd name="connsiteX58" fmla="*/ 1808623 w 1873369"/>
                <a:gd name="connsiteY58" fmla="*/ 448053 h 1289104"/>
                <a:gd name="connsiteX59" fmla="*/ 1806685 w 1873369"/>
                <a:gd name="connsiteY59" fmla="*/ 447148 h 1289104"/>
                <a:gd name="connsiteX60" fmla="*/ 1802420 w 1873369"/>
                <a:gd name="connsiteY60" fmla="*/ 445597 h 1289104"/>
                <a:gd name="connsiteX61" fmla="*/ 1800482 w 1873369"/>
                <a:gd name="connsiteY61" fmla="*/ 444692 h 1289104"/>
                <a:gd name="connsiteX62" fmla="*/ 1799189 w 1873369"/>
                <a:gd name="connsiteY62" fmla="*/ 443659 h 1289104"/>
                <a:gd name="connsiteX63" fmla="*/ 1794149 w 1873369"/>
                <a:gd name="connsiteY63" fmla="*/ 438360 h 1289104"/>
                <a:gd name="connsiteX64" fmla="*/ 1791952 w 1873369"/>
                <a:gd name="connsiteY64" fmla="*/ 435000 h 1289104"/>
                <a:gd name="connsiteX65" fmla="*/ 1790789 w 1873369"/>
                <a:gd name="connsiteY65" fmla="*/ 431511 h 1289104"/>
                <a:gd name="connsiteX66" fmla="*/ 1790272 w 1873369"/>
                <a:gd name="connsiteY66" fmla="*/ 430477 h 1289104"/>
                <a:gd name="connsiteX67" fmla="*/ 1788980 w 1873369"/>
                <a:gd name="connsiteY67" fmla="*/ 429701 h 1289104"/>
                <a:gd name="connsiteX68" fmla="*/ 1786395 w 1873369"/>
                <a:gd name="connsiteY68" fmla="*/ 429055 h 1289104"/>
                <a:gd name="connsiteX69" fmla="*/ 1785232 w 1873369"/>
                <a:gd name="connsiteY69" fmla="*/ 428409 h 1289104"/>
                <a:gd name="connsiteX70" fmla="*/ 1781872 w 1873369"/>
                <a:gd name="connsiteY70" fmla="*/ 426083 h 1289104"/>
                <a:gd name="connsiteX71" fmla="*/ 1780192 w 1873369"/>
                <a:gd name="connsiteY71" fmla="*/ 425566 h 1289104"/>
                <a:gd name="connsiteX72" fmla="*/ 1778641 w 1873369"/>
                <a:gd name="connsiteY72" fmla="*/ 425437 h 1289104"/>
                <a:gd name="connsiteX73" fmla="*/ 1774893 w 1873369"/>
                <a:gd name="connsiteY73" fmla="*/ 425824 h 1289104"/>
                <a:gd name="connsiteX74" fmla="*/ 1773730 w 1873369"/>
                <a:gd name="connsiteY74" fmla="*/ 425566 h 1289104"/>
                <a:gd name="connsiteX75" fmla="*/ 1772955 w 1873369"/>
                <a:gd name="connsiteY75" fmla="*/ 424920 h 1289104"/>
                <a:gd name="connsiteX76" fmla="*/ 1772826 w 1873369"/>
                <a:gd name="connsiteY76" fmla="*/ 423498 h 1289104"/>
                <a:gd name="connsiteX77" fmla="*/ 1772826 w 1873369"/>
                <a:gd name="connsiteY77" fmla="*/ 421172 h 1289104"/>
                <a:gd name="connsiteX78" fmla="*/ 1772438 w 1873369"/>
                <a:gd name="connsiteY78" fmla="*/ 420397 h 1289104"/>
                <a:gd name="connsiteX79" fmla="*/ 1771533 w 1873369"/>
                <a:gd name="connsiteY79" fmla="*/ 420009 h 1289104"/>
                <a:gd name="connsiteX80" fmla="*/ 1770499 w 1873369"/>
                <a:gd name="connsiteY80" fmla="*/ 420138 h 1289104"/>
                <a:gd name="connsiteX81" fmla="*/ 1768432 w 1873369"/>
                <a:gd name="connsiteY81" fmla="*/ 421043 h 1289104"/>
                <a:gd name="connsiteX82" fmla="*/ 1766106 w 1873369"/>
                <a:gd name="connsiteY82" fmla="*/ 421560 h 1289104"/>
                <a:gd name="connsiteX83" fmla="*/ 1764813 w 1873369"/>
                <a:gd name="connsiteY83" fmla="*/ 421818 h 1289104"/>
                <a:gd name="connsiteX84" fmla="*/ 1763521 w 1873369"/>
                <a:gd name="connsiteY84" fmla="*/ 421689 h 1289104"/>
                <a:gd name="connsiteX85" fmla="*/ 1762487 w 1873369"/>
                <a:gd name="connsiteY85" fmla="*/ 421430 h 1289104"/>
                <a:gd name="connsiteX86" fmla="*/ 1760548 w 1873369"/>
                <a:gd name="connsiteY86" fmla="*/ 420397 h 1289104"/>
                <a:gd name="connsiteX87" fmla="*/ 1759515 w 1873369"/>
                <a:gd name="connsiteY87" fmla="*/ 420138 h 1289104"/>
                <a:gd name="connsiteX88" fmla="*/ 1757318 w 1873369"/>
                <a:gd name="connsiteY88" fmla="*/ 419880 h 1289104"/>
                <a:gd name="connsiteX89" fmla="*/ 1756284 w 1873369"/>
                <a:gd name="connsiteY89" fmla="*/ 419492 h 1289104"/>
                <a:gd name="connsiteX90" fmla="*/ 1751761 w 1873369"/>
                <a:gd name="connsiteY90" fmla="*/ 417553 h 1289104"/>
                <a:gd name="connsiteX91" fmla="*/ 1750468 w 1873369"/>
                <a:gd name="connsiteY91" fmla="*/ 416907 h 1289104"/>
                <a:gd name="connsiteX92" fmla="*/ 1747754 w 1873369"/>
                <a:gd name="connsiteY92" fmla="*/ 415098 h 1289104"/>
                <a:gd name="connsiteX93" fmla="*/ 1744911 w 1873369"/>
                <a:gd name="connsiteY93" fmla="*/ 413676 h 1289104"/>
                <a:gd name="connsiteX94" fmla="*/ 1741680 w 1873369"/>
                <a:gd name="connsiteY94" fmla="*/ 411609 h 1289104"/>
                <a:gd name="connsiteX95" fmla="*/ 1739354 w 1873369"/>
                <a:gd name="connsiteY95" fmla="*/ 410316 h 1289104"/>
                <a:gd name="connsiteX96" fmla="*/ 1729532 w 1873369"/>
                <a:gd name="connsiteY96" fmla="*/ 406956 h 1289104"/>
                <a:gd name="connsiteX97" fmla="*/ 1728240 w 1873369"/>
                <a:gd name="connsiteY97" fmla="*/ 406181 h 1289104"/>
                <a:gd name="connsiteX98" fmla="*/ 1727077 w 1873369"/>
                <a:gd name="connsiteY98" fmla="*/ 405147 h 1289104"/>
                <a:gd name="connsiteX99" fmla="*/ 1726043 w 1873369"/>
                <a:gd name="connsiteY99" fmla="*/ 403209 h 1289104"/>
                <a:gd name="connsiteX100" fmla="*/ 1725139 w 1873369"/>
                <a:gd name="connsiteY100" fmla="*/ 401916 h 1289104"/>
                <a:gd name="connsiteX101" fmla="*/ 1724105 w 1873369"/>
                <a:gd name="connsiteY101" fmla="*/ 401141 h 1289104"/>
                <a:gd name="connsiteX102" fmla="*/ 1723071 w 1873369"/>
                <a:gd name="connsiteY102" fmla="*/ 400882 h 1289104"/>
                <a:gd name="connsiteX103" fmla="*/ 1721003 w 1873369"/>
                <a:gd name="connsiteY103" fmla="*/ 400624 h 1289104"/>
                <a:gd name="connsiteX104" fmla="*/ 1719581 w 1873369"/>
                <a:gd name="connsiteY104" fmla="*/ 399590 h 1289104"/>
                <a:gd name="connsiteX105" fmla="*/ 1717772 w 1873369"/>
                <a:gd name="connsiteY105" fmla="*/ 397781 h 1289104"/>
                <a:gd name="connsiteX106" fmla="*/ 1714670 w 1873369"/>
                <a:gd name="connsiteY106" fmla="*/ 394033 h 1289104"/>
                <a:gd name="connsiteX107" fmla="*/ 1712732 w 1873369"/>
                <a:gd name="connsiteY107" fmla="*/ 392353 h 1289104"/>
                <a:gd name="connsiteX108" fmla="*/ 1711181 w 1873369"/>
                <a:gd name="connsiteY108" fmla="*/ 391319 h 1289104"/>
                <a:gd name="connsiteX109" fmla="*/ 1703169 w 1873369"/>
                <a:gd name="connsiteY109" fmla="*/ 389122 h 1289104"/>
                <a:gd name="connsiteX110" fmla="*/ 1701747 w 1873369"/>
                <a:gd name="connsiteY110" fmla="*/ 388217 h 1289104"/>
                <a:gd name="connsiteX111" fmla="*/ 1700067 w 1873369"/>
                <a:gd name="connsiteY111" fmla="*/ 386667 h 1289104"/>
                <a:gd name="connsiteX112" fmla="*/ 1697612 w 1873369"/>
                <a:gd name="connsiteY112" fmla="*/ 383824 h 1289104"/>
                <a:gd name="connsiteX113" fmla="*/ 1696061 w 1873369"/>
                <a:gd name="connsiteY113" fmla="*/ 382143 h 1289104"/>
                <a:gd name="connsiteX114" fmla="*/ 1694769 w 1873369"/>
                <a:gd name="connsiteY114" fmla="*/ 381239 h 1289104"/>
                <a:gd name="connsiteX115" fmla="*/ 1692055 w 1873369"/>
                <a:gd name="connsiteY115" fmla="*/ 380205 h 1289104"/>
                <a:gd name="connsiteX116" fmla="*/ 1683913 w 1873369"/>
                <a:gd name="connsiteY116" fmla="*/ 375940 h 1289104"/>
                <a:gd name="connsiteX117" fmla="*/ 1682621 w 1873369"/>
                <a:gd name="connsiteY117" fmla="*/ 374906 h 1289104"/>
                <a:gd name="connsiteX118" fmla="*/ 1681458 w 1873369"/>
                <a:gd name="connsiteY118" fmla="*/ 373614 h 1289104"/>
                <a:gd name="connsiteX119" fmla="*/ 1680424 w 1873369"/>
                <a:gd name="connsiteY119" fmla="*/ 371417 h 1289104"/>
                <a:gd name="connsiteX120" fmla="*/ 1679648 w 1873369"/>
                <a:gd name="connsiteY120" fmla="*/ 370125 h 1289104"/>
                <a:gd name="connsiteX121" fmla="*/ 1678614 w 1873369"/>
                <a:gd name="connsiteY121" fmla="*/ 369349 h 1289104"/>
                <a:gd name="connsiteX122" fmla="*/ 1676547 w 1873369"/>
                <a:gd name="connsiteY122" fmla="*/ 369479 h 1289104"/>
                <a:gd name="connsiteX123" fmla="*/ 1675384 w 1873369"/>
                <a:gd name="connsiteY123" fmla="*/ 369220 h 1289104"/>
                <a:gd name="connsiteX124" fmla="*/ 1674220 w 1873369"/>
                <a:gd name="connsiteY124" fmla="*/ 368703 h 1289104"/>
                <a:gd name="connsiteX125" fmla="*/ 1672928 w 1873369"/>
                <a:gd name="connsiteY125" fmla="*/ 367540 h 1289104"/>
                <a:gd name="connsiteX126" fmla="*/ 1671377 w 1873369"/>
                <a:gd name="connsiteY126" fmla="*/ 365860 h 1289104"/>
                <a:gd name="connsiteX127" fmla="*/ 1667500 w 1873369"/>
                <a:gd name="connsiteY127" fmla="*/ 359657 h 1289104"/>
                <a:gd name="connsiteX128" fmla="*/ 1666466 w 1873369"/>
                <a:gd name="connsiteY128" fmla="*/ 358623 h 1289104"/>
                <a:gd name="connsiteX129" fmla="*/ 1665433 w 1873369"/>
                <a:gd name="connsiteY129" fmla="*/ 357977 h 1289104"/>
                <a:gd name="connsiteX130" fmla="*/ 1664140 w 1873369"/>
                <a:gd name="connsiteY130" fmla="*/ 357848 h 1289104"/>
                <a:gd name="connsiteX131" fmla="*/ 1661814 w 1873369"/>
                <a:gd name="connsiteY131" fmla="*/ 357977 h 1289104"/>
                <a:gd name="connsiteX132" fmla="*/ 1660780 w 1873369"/>
                <a:gd name="connsiteY132" fmla="*/ 357848 h 1289104"/>
                <a:gd name="connsiteX133" fmla="*/ 1659746 w 1873369"/>
                <a:gd name="connsiteY133" fmla="*/ 357331 h 1289104"/>
                <a:gd name="connsiteX134" fmla="*/ 1658712 w 1873369"/>
                <a:gd name="connsiteY134" fmla="*/ 356685 h 1289104"/>
                <a:gd name="connsiteX135" fmla="*/ 1650958 w 1873369"/>
                <a:gd name="connsiteY135" fmla="*/ 349318 h 1289104"/>
                <a:gd name="connsiteX136" fmla="*/ 1650054 w 1873369"/>
                <a:gd name="connsiteY136" fmla="*/ 348284 h 1289104"/>
                <a:gd name="connsiteX137" fmla="*/ 1649278 w 1873369"/>
                <a:gd name="connsiteY137" fmla="*/ 346992 h 1289104"/>
                <a:gd name="connsiteX138" fmla="*/ 1648761 w 1873369"/>
                <a:gd name="connsiteY138" fmla="*/ 345570 h 1289104"/>
                <a:gd name="connsiteX139" fmla="*/ 1648503 w 1873369"/>
                <a:gd name="connsiteY139" fmla="*/ 343373 h 1289104"/>
                <a:gd name="connsiteX140" fmla="*/ 1648503 w 1873369"/>
                <a:gd name="connsiteY140" fmla="*/ 340530 h 1289104"/>
                <a:gd name="connsiteX141" fmla="*/ 1648244 w 1873369"/>
                <a:gd name="connsiteY141" fmla="*/ 339238 h 1289104"/>
                <a:gd name="connsiteX142" fmla="*/ 1647857 w 1873369"/>
                <a:gd name="connsiteY142" fmla="*/ 337687 h 1289104"/>
                <a:gd name="connsiteX143" fmla="*/ 1646952 w 1873369"/>
                <a:gd name="connsiteY143" fmla="*/ 335619 h 1289104"/>
                <a:gd name="connsiteX144" fmla="*/ 1646565 w 1873369"/>
                <a:gd name="connsiteY144" fmla="*/ 333422 h 1289104"/>
                <a:gd name="connsiteX145" fmla="*/ 1645401 w 1873369"/>
                <a:gd name="connsiteY145" fmla="*/ 329416 h 1289104"/>
                <a:gd name="connsiteX146" fmla="*/ 1644626 w 1873369"/>
                <a:gd name="connsiteY146" fmla="*/ 327995 h 1289104"/>
                <a:gd name="connsiteX147" fmla="*/ 1643204 w 1873369"/>
                <a:gd name="connsiteY147" fmla="*/ 326573 h 1289104"/>
                <a:gd name="connsiteX148" fmla="*/ 1641912 w 1873369"/>
                <a:gd name="connsiteY148" fmla="*/ 325927 h 1289104"/>
                <a:gd name="connsiteX149" fmla="*/ 1639715 w 1873369"/>
                <a:gd name="connsiteY149" fmla="*/ 325152 h 1289104"/>
                <a:gd name="connsiteX150" fmla="*/ 1639069 w 1873369"/>
                <a:gd name="connsiteY150" fmla="*/ 324764 h 1289104"/>
                <a:gd name="connsiteX151" fmla="*/ 1634029 w 1873369"/>
                <a:gd name="connsiteY151" fmla="*/ 320111 h 1289104"/>
                <a:gd name="connsiteX152" fmla="*/ 1632736 w 1873369"/>
                <a:gd name="connsiteY152" fmla="*/ 319465 h 1289104"/>
                <a:gd name="connsiteX153" fmla="*/ 1631573 w 1873369"/>
                <a:gd name="connsiteY153" fmla="*/ 319078 h 1289104"/>
                <a:gd name="connsiteX154" fmla="*/ 1630410 w 1873369"/>
                <a:gd name="connsiteY154" fmla="*/ 319336 h 1289104"/>
                <a:gd name="connsiteX155" fmla="*/ 1627955 w 1873369"/>
                <a:gd name="connsiteY155" fmla="*/ 319982 h 1289104"/>
                <a:gd name="connsiteX156" fmla="*/ 1626662 w 1873369"/>
                <a:gd name="connsiteY156" fmla="*/ 319853 h 1289104"/>
                <a:gd name="connsiteX157" fmla="*/ 1625499 w 1873369"/>
                <a:gd name="connsiteY157" fmla="*/ 319207 h 1289104"/>
                <a:gd name="connsiteX158" fmla="*/ 1617358 w 1873369"/>
                <a:gd name="connsiteY158" fmla="*/ 311711 h 1289104"/>
                <a:gd name="connsiteX159" fmla="*/ 1613610 w 1873369"/>
                <a:gd name="connsiteY159" fmla="*/ 307188 h 1289104"/>
                <a:gd name="connsiteX160" fmla="*/ 1612834 w 1873369"/>
                <a:gd name="connsiteY160" fmla="*/ 305766 h 1289104"/>
                <a:gd name="connsiteX161" fmla="*/ 1612318 w 1873369"/>
                <a:gd name="connsiteY161" fmla="*/ 303957 h 1289104"/>
                <a:gd name="connsiteX162" fmla="*/ 1612318 w 1873369"/>
                <a:gd name="connsiteY162" fmla="*/ 300985 h 1289104"/>
                <a:gd name="connsiteX163" fmla="*/ 1613093 w 1873369"/>
                <a:gd name="connsiteY163" fmla="*/ 296074 h 1289104"/>
                <a:gd name="connsiteX164" fmla="*/ 1613093 w 1873369"/>
                <a:gd name="connsiteY164" fmla="*/ 291422 h 1289104"/>
                <a:gd name="connsiteX165" fmla="*/ 1613481 w 1873369"/>
                <a:gd name="connsiteY165" fmla="*/ 289612 h 1289104"/>
                <a:gd name="connsiteX166" fmla="*/ 1614127 w 1873369"/>
                <a:gd name="connsiteY166" fmla="*/ 288061 h 1289104"/>
                <a:gd name="connsiteX167" fmla="*/ 1614515 w 1873369"/>
                <a:gd name="connsiteY167" fmla="*/ 286769 h 1289104"/>
                <a:gd name="connsiteX168" fmla="*/ 1614515 w 1873369"/>
                <a:gd name="connsiteY168" fmla="*/ 285348 h 1289104"/>
                <a:gd name="connsiteX169" fmla="*/ 1613351 w 1873369"/>
                <a:gd name="connsiteY169" fmla="*/ 283668 h 1289104"/>
                <a:gd name="connsiteX170" fmla="*/ 1612188 w 1873369"/>
                <a:gd name="connsiteY170" fmla="*/ 282634 h 1289104"/>
                <a:gd name="connsiteX171" fmla="*/ 1610896 w 1873369"/>
                <a:gd name="connsiteY171" fmla="*/ 281988 h 1289104"/>
                <a:gd name="connsiteX172" fmla="*/ 1605468 w 1873369"/>
                <a:gd name="connsiteY172" fmla="*/ 279661 h 1289104"/>
                <a:gd name="connsiteX173" fmla="*/ 1604305 w 1873369"/>
                <a:gd name="connsiteY173" fmla="*/ 279015 h 1289104"/>
                <a:gd name="connsiteX174" fmla="*/ 1603271 w 1873369"/>
                <a:gd name="connsiteY174" fmla="*/ 278240 h 1289104"/>
                <a:gd name="connsiteX175" fmla="*/ 1602367 w 1873369"/>
                <a:gd name="connsiteY175" fmla="*/ 277335 h 1289104"/>
                <a:gd name="connsiteX176" fmla="*/ 1601720 w 1873369"/>
                <a:gd name="connsiteY176" fmla="*/ 276301 h 1289104"/>
                <a:gd name="connsiteX177" fmla="*/ 1601204 w 1873369"/>
                <a:gd name="connsiteY177" fmla="*/ 275267 h 1289104"/>
                <a:gd name="connsiteX178" fmla="*/ 1600428 w 1873369"/>
                <a:gd name="connsiteY178" fmla="*/ 272037 h 1289104"/>
                <a:gd name="connsiteX179" fmla="*/ 1600170 w 1873369"/>
                <a:gd name="connsiteY179" fmla="*/ 268418 h 1289104"/>
                <a:gd name="connsiteX180" fmla="*/ 1600170 w 1873369"/>
                <a:gd name="connsiteY180" fmla="*/ 256270 h 1289104"/>
                <a:gd name="connsiteX181" fmla="*/ 1600945 w 1873369"/>
                <a:gd name="connsiteY181" fmla="*/ 250325 h 1289104"/>
                <a:gd name="connsiteX182" fmla="*/ 1601462 w 1873369"/>
                <a:gd name="connsiteY182" fmla="*/ 249162 h 1289104"/>
                <a:gd name="connsiteX183" fmla="*/ 1601720 w 1873369"/>
                <a:gd name="connsiteY183" fmla="*/ 246578 h 1289104"/>
                <a:gd name="connsiteX184" fmla="*/ 1599394 w 1873369"/>
                <a:gd name="connsiteY184" fmla="*/ 213881 h 1289104"/>
                <a:gd name="connsiteX185" fmla="*/ 1503244 w 1873369"/>
                <a:gd name="connsiteY185" fmla="*/ 213365 h 1289104"/>
                <a:gd name="connsiteX186" fmla="*/ 1475976 w 1873369"/>
                <a:gd name="connsiteY186" fmla="*/ 214011 h 1289104"/>
                <a:gd name="connsiteX187" fmla="*/ 1473391 w 1873369"/>
                <a:gd name="connsiteY187" fmla="*/ 215303 h 1289104"/>
                <a:gd name="connsiteX188" fmla="*/ 1472875 w 1873369"/>
                <a:gd name="connsiteY188" fmla="*/ 216078 h 1289104"/>
                <a:gd name="connsiteX189" fmla="*/ 1472745 w 1873369"/>
                <a:gd name="connsiteY189" fmla="*/ 217112 h 1289104"/>
                <a:gd name="connsiteX190" fmla="*/ 1472616 w 1873369"/>
                <a:gd name="connsiteY190" fmla="*/ 218146 h 1289104"/>
                <a:gd name="connsiteX191" fmla="*/ 1471970 w 1873369"/>
                <a:gd name="connsiteY191" fmla="*/ 219180 h 1289104"/>
                <a:gd name="connsiteX192" fmla="*/ 1471324 w 1873369"/>
                <a:gd name="connsiteY192" fmla="*/ 220214 h 1289104"/>
                <a:gd name="connsiteX193" fmla="*/ 1470290 w 1873369"/>
                <a:gd name="connsiteY193" fmla="*/ 220989 h 1289104"/>
                <a:gd name="connsiteX194" fmla="*/ 1468093 w 1873369"/>
                <a:gd name="connsiteY194" fmla="*/ 222282 h 1289104"/>
                <a:gd name="connsiteX195" fmla="*/ 1467059 w 1873369"/>
                <a:gd name="connsiteY195" fmla="*/ 222669 h 1289104"/>
                <a:gd name="connsiteX196" fmla="*/ 1465896 w 1873369"/>
                <a:gd name="connsiteY196" fmla="*/ 223316 h 1289104"/>
                <a:gd name="connsiteX197" fmla="*/ 1464991 w 1873369"/>
                <a:gd name="connsiteY197" fmla="*/ 223962 h 1289104"/>
                <a:gd name="connsiteX198" fmla="*/ 1464216 w 1873369"/>
                <a:gd name="connsiteY198" fmla="*/ 224996 h 1289104"/>
                <a:gd name="connsiteX199" fmla="*/ 1463957 w 1873369"/>
                <a:gd name="connsiteY199" fmla="*/ 226159 h 1289104"/>
                <a:gd name="connsiteX200" fmla="*/ 1463957 w 1873369"/>
                <a:gd name="connsiteY200" fmla="*/ 227193 h 1289104"/>
                <a:gd name="connsiteX201" fmla="*/ 1464216 w 1873369"/>
                <a:gd name="connsiteY201" fmla="*/ 228356 h 1289104"/>
                <a:gd name="connsiteX202" fmla="*/ 1464087 w 1873369"/>
                <a:gd name="connsiteY202" fmla="*/ 229519 h 1289104"/>
                <a:gd name="connsiteX203" fmla="*/ 1463699 w 1873369"/>
                <a:gd name="connsiteY203" fmla="*/ 230682 h 1289104"/>
                <a:gd name="connsiteX204" fmla="*/ 1460339 w 1873369"/>
                <a:gd name="connsiteY204" fmla="*/ 237144 h 1289104"/>
                <a:gd name="connsiteX205" fmla="*/ 1455945 w 1873369"/>
                <a:gd name="connsiteY205" fmla="*/ 241537 h 1289104"/>
                <a:gd name="connsiteX206" fmla="*/ 1455170 w 1873369"/>
                <a:gd name="connsiteY206" fmla="*/ 242571 h 1289104"/>
                <a:gd name="connsiteX207" fmla="*/ 1454653 w 1873369"/>
                <a:gd name="connsiteY207" fmla="*/ 243605 h 1289104"/>
                <a:gd name="connsiteX208" fmla="*/ 1454265 w 1873369"/>
                <a:gd name="connsiteY208" fmla="*/ 244639 h 1289104"/>
                <a:gd name="connsiteX209" fmla="*/ 1453102 w 1873369"/>
                <a:gd name="connsiteY209" fmla="*/ 246965 h 1289104"/>
                <a:gd name="connsiteX210" fmla="*/ 1452714 w 1873369"/>
                <a:gd name="connsiteY210" fmla="*/ 248128 h 1289104"/>
                <a:gd name="connsiteX211" fmla="*/ 1452197 w 1873369"/>
                <a:gd name="connsiteY211" fmla="*/ 251488 h 1289104"/>
                <a:gd name="connsiteX212" fmla="*/ 1451939 w 1873369"/>
                <a:gd name="connsiteY212" fmla="*/ 252522 h 1289104"/>
                <a:gd name="connsiteX213" fmla="*/ 1451422 w 1873369"/>
                <a:gd name="connsiteY213" fmla="*/ 253685 h 1289104"/>
                <a:gd name="connsiteX214" fmla="*/ 1447803 w 1873369"/>
                <a:gd name="connsiteY214" fmla="*/ 258855 h 1289104"/>
                <a:gd name="connsiteX215" fmla="*/ 1445994 w 1873369"/>
                <a:gd name="connsiteY215" fmla="*/ 260793 h 1289104"/>
                <a:gd name="connsiteX216" fmla="*/ 1445477 w 1873369"/>
                <a:gd name="connsiteY216" fmla="*/ 261827 h 1289104"/>
                <a:gd name="connsiteX217" fmla="*/ 1445348 w 1873369"/>
                <a:gd name="connsiteY217" fmla="*/ 262861 h 1289104"/>
                <a:gd name="connsiteX218" fmla="*/ 1445089 w 1873369"/>
                <a:gd name="connsiteY218" fmla="*/ 268160 h 1289104"/>
                <a:gd name="connsiteX219" fmla="*/ 1444960 w 1873369"/>
                <a:gd name="connsiteY219" fmla="*/ 269193 h 1289104"/>
                <a:gd name="connsiteX220" fmla="*/ 1444572 w 1873369"/>
                <a:gd name="connsiteY220" fmla="*/ 270357 h 1289104"/>
                <a:gd name="connsiteX221" fmla="*/ 1442892 w 1873369"/>
                <a:gd name="connsiteY221" fmla="*/ 273587 h 1289104"/>
                <a:gd name="connsiteX222" fmla="*/ 1442246 w 1873369"/>
                <a:gd name="connsiteY222" fmla="*/ 275526 h 1289104"/>
                <a:gd name="connsiteX223" fmla="*/ 1440566 w 1873369"/>
                <a:gd name="connsiteY223" fmla="*/ 278757 h 1289104"/>
                <a:gd name="connsiteX224" fmla="*/ 1440178 w 1873369"/>
                <a:gd name="connsiteY224" fmla="*/ 279791 h 1289104"/>
                <a:gd name="connsiteX225" fmla="*/ 1439532 w 1873369"/>
                <a:gd name="connsiteY225" fmla="*/ 281988 h 1289104"/>
                <a:gd name="connsiteX226" fmla="*/ 1439145 w 1873369"/>
                <a:gd name="connsiteY226" fmla="*/ 283151 h 1289104"/>
                <a:gd name="connsiteX227" fmla="*/ 1437982 w 1873369"/>
                <a:gd name="connsiteY227" fmla="*/ 284960 h 1289104"/>
                <a:gd name="connsiteX228" fmla="*/ 1437594 w 1873369"/>
                <a:gd name="connsiteY228" fmla="*/ 285994 h 1289104"/>
                <a:gd name="connsiteX229" fmla="*/ 1437206 w 1873369"/>
                <a:gd name="connsiteY229" fmla="*/ 287157 h 1289104"/>
                <a:gd name="connsiteX230" fmla="*/ 1436431 w 1873369"/>
                <a:gd name="connsiteY230" fmla="*/ 291292 h 1289104"/>
                <a:gd name="connsiteX231" fmla="*/ 1436431 w 1873369"/>
                <a:gd name="connsiteY231" fmla="*/ 292068 h 1289104"/>
                <a:gd name="connsiteX232" fmla="*/ 1436560 w 1873369"/>
                <a:gd name="connsiteY232" fmla="*/ 292972 h 1289104"/>
                <a:gd name="connsiteX233" fmla="*/ 1437206 w 1873369"/>
                <a:gd name="connsiteY233" fmla="*/ 295040 h 1289104"/>
                <a:gd name="connsiteX234" fmla="*/ 1437723 w 1873369"/>
                <a:gd name="connsiteY234" fmla="*/ 296074 h 1289104"/>
                <a:gd name="connsiteX235" fmla="*/ 1438369 w 1873369"/>
                <a:gd name="connsiteY235" fmla="*/ 296979 h 1289104"/>
                <a:gd name="connsiteX236" fmla="*/ 1444572 w 1873369"/>
                <a:gd name="connsiteY236" fmla="*/ 303828 h 1289104"/>
                <a:gd name="connsiteX237" fmla="*/ 1445089 w 1873369"/>
                <a:gd name="connsiteY237" fmla="*/ 304733 h 1289104"/>
                <a:gd name="connsiteX238" fmla="*/ 1445606 w 1873369"/>
                <a:gd name="connsiteY238" fmla="*/ 305766 h 1289104"/>
                <a:gd name="connsiteX239" fmla="*/ 1445865 w 1873369"/>
                <a:gd name="connsiteY239" fmla="*/ 306930 h 1289104"/>
                <a:gd name="connsiteX240" fmla="*/ 1445865 w 1873369"/>
                <a:gd name="connsiteY240" fmla="*/ 308222 h 1289104"/>
                <a:gd name="connsiteX241" fmla="*/ 1445865 w 1873369"/>
                <a:gd name="connsiteY241" fmla="*/ 309127 h 1289104"/>
                <a:gd name="connsiteX242" fmla="*/ 1445477 w 1873369"/>
                <a:gd name="connsiteY242" fmla="*/ 310160 h 1289104"/>
                <a:gd name="connsiteX243" fmla="*/ 1444960 w 1873369"/>
                <a:gd name="connsiteY243" fmla="*/ 311065 h 1289104"/>
                <a:gd name="connsiteX244" fmla="*/ 1444185 w 1873369"/>
                <a:gd name="connsiteY244" fmla="*/ 311711 h 1289104"/>
                <a:gd name="connsiteX245" fmla="*/ 1443280 w 1873369"/>
                <a:gd name="connsiteY245" fmla="*/ 312228 h 1289104"/>
                <a:gd name="connsiteX246" fmla="*/ 1442117 w 1873369"/>
                <a:gd name="connsiteY246" fmla="*/ 312745 h 1289104"/>
                <a:gd name="connsiteX247" fmla="*/ 1438369 w 1873369"/>
                <a:gd name="connsiteY247" fmla="*/ 313391 h 1289104"/>
                <a:gd name="connsiteX248" fmla="*/ 1435397 w 1873369"/>
                <a:gd name="connsiteY248" fmla="*/ 314813 h 1289104"/>
                <a:gd name="connsiteX249" fmla="*/ 1428418 w 1873369"/>
                <a:gd name="connsiteY249" fmla="*/ 316622 h 1289104"/>
                <a:gd name="connsiteX250" fmla="*/ 1427514 w 1873369"/>
                <a:gd name="connsiteY250" fmla="*/ 317139 h 1289104"/>
                <a:gd name="connsiteX251" fmla="*/ 1426867 w 1873369"/>
                <a:gd name="connsiteY251" fmla="*/ 318044 h 1289104"/>
                <a:gd name="connsiteX252" fmla="*/ 1426609 w 1873369"/>
                <a:gd name="connsiteY252" fmla="*/ 319078 h 1289104"/>
                <a:gd name="connsiteX253" fmla="*/ 1426221 w 1873369"/>
                <a:gd name="connsiteY253" fmla="*/ 319982 h 1289104"/>
                <a:gd name="connsiteX254" fmla="*/ 1425575 w 1873369"/>
                <a:gd name="connsiteY254" fmla="*/ 320628 h 1289104"/>
                <a:gd name="connsiteX255" fmla="*/ 1425187 w 1873369"/>
                <a:gd name="connsiteY255" fmla="*/ 321145 h 1289104"/>
                <a:gd name="connsiteX256" fmla="*/ 1424800 w 1873369"/>
                <a:gd name="connsiteY256" fmla="*/ 321791 h 1289104"/>
                <a:gd name="connsiteX257" fmla="*/ 1424541 w 1873369"/>
                <a:gd name="connsiteY257" fmla="*/ 324118 h 1289104"/>
                <a:gd name="connsiteX258" fmla="*/ 1424154 w 1873369"/>
                <a:gd name="connsiteY258" fmla="*/ 325152 h 1289104"/>
                <a:gd name="connsiteX259" fmla="*/ 1423378 w 1873369"/>
                <a:gd name="connsiteY259" fmla="*/ 325927 h 1289104"/>
                <a:gd name="connsiteX260" fmla="*/ 1422474 w 1873369"/>
                <a:gd name="connsiteY260" fmla="*/ 326444 h 1289104"/>
                <a:gd name="connsiteX261" fmla="*/ 1421181 w 1873369"/>
                <a:gd name="connsiteY261" fmla="*/ 326573 h 1289104"/>
                <a:gd name="connsiteX262" fmla="*/ 1418338 w 1873369"/>
                <a:gd name="connsiteY262" fmla="*/ 326185 h 1289104"/>
                <a:gd name="connsiteX263" fmla="*/ 1416141 w 1873369"/>
                <a:gd name="connsiteY263" fmla="*/ 326573 h 1289104"/>
                <a:gd name="connsiteX264" fmla="*/ 1414332 w 1873369"/>
                <a:gd name="connsiteY264" fmla="*/ 326444 h 1289104"/>
                <a:gd name="connsiteX265" fmla="*/ 1413556 w 1873369"/>
                <a:gd name="connsiteY265" fmla="*/ 326832 h 1289104"/>
                <a:gd name="connsiteX266" fmla="*/ 1413169 w 1873369"/>
                <a:gd name="connsiteY266" fmla="*/ 327219 h 1289104"/>
                <a:gd name="connsiteX267" fmla="*/ 1412652 w 1873369"/>
                <a:gd name="connsiteY267" fmla="*/ 327736 h 1289104"/>
                <a:gd name="connsiteX268" fmla="*/ 1411876 w 1873369"/>
                <a:gd name="connsiteY268" fmla="*/ 328382 h 1289104"/>
                <a:gd name="connsiteX269" fmla="*/ 1410972 w 1873369"/>
                <a:gd name="connsiteY269" fmla="*/ 328899 h 1289104"/>
                <a:gd name="connsiteX270" fmla="*/ 1410067 w 1873369"/>
                <a:gd name="connsiteY270" fmla="*/ 329158 h 1289104"/>
                <a:gd name="connsiteX271" fmla="*/ 1409033 w 1873369"/>
                <a:gd name="connsiteY271" fmla="*/ 329158 h 1289104"/>
                <a:gd name="connsiteX272" fmla="*/ 1406319 w 1873369"/>
                <a:gd name="connsiteY272" fmla="*/ 328641 h 1289104"/>
                <a:gd name="connsiteX273" fmla="*/ 1399728 w 1873369"/>
                <a:gd name="connsiteY273" fmla="*/ 328124 h 1289104"/>
                <a:gd name="connsiteX274" fmla="*/ 1398565 w 1873369"/>
                <a:gd name="connsiteY274" fmla="*/ 327736 h 1289104"/>
                <a:gd name="connsiteX275" fmla="*/ 1397661 w 1873369"/>
                <a:gd name="connsiteY275" fmla="*/ 326961 h 1289104"/>
                <a:gd name="connsiteX276" fmla="*/ 1397015 w 1873369"/>
                <a:gd name="connsiteY276" fmla="*/ 325539 h 1289104"/>
                <a:gd name="connsiteX277" fmla="*/ 1396885 w 1873369"/>
                <a:gd name="connsiteY277" fmla="*/ 324247 h 1289104"/>
                <a:gd name="connsiteX278" fmla="*/ 1397144 w 1873369"/>
                <a:gd name="connsiteY278" fmla="*/ 322050 h 1289104"/>
                <a:gd name="connsiteX279" fmla="*/ 1396756 w 1873369"/>
                <a:gd name="connsiteY279" fmla="*/ 321275 h 1289104"/>
                <a:gd name="connsiteX280" fmla="*/ 1396110 w 1873369"/>
                <a:gd name="connsiteY280" fmla="*/ 320499 h 1289104"/>
                <a:gd name="connsiteX281" fmla="*/ 1395593 w 1873369"/>
                <a:gd name="connsiteY281" fmla="*/ 319724 h 1289104"/>
                <a:gd name="connsiteX282" fmla="*/ 1395076 w 1873369"/>
                <a:gd name="connsiteY282" fmla="*/ 317398 h 1289104"/>
                <a:gd name="connsiteX283" fmla="*/ 1392362 w 1873369"/>
                <a:gd name="connsiteY283" fmla="*/ 312228 h 1289104"/>
                <a:gd name="connsiteX284" fmla="*/ 1391328 w 1873369"/>
                <a:gd name="connsiteY284" fmla="*/ 310807 h 1289104"/>
                <a:gd name="connsiteX285" fmla="*/ 1388356 w 1873369"/>
                <a:gd name="connsiteY285" fmla="*/ 308480 h 1289104"/>
                <a:gd name="connsiteX286" fmla="*/ 1385900 w 1873369"/>
                <a:gd name="connsiteY286" fmla="*/ 305637 h 1289104"/>
                <a:gd name="connsiteX287" fmla="*/ 1384220 w 1873369"/>
                <a:gd name="connsiteY287" fmla="*/ 304345 h 1289104"/>
                <a:gd name="connsiteX288" fmla="*/ 1382928 w 1873369"/>
                <a:gd name="connsiteY288" fmla="*/ 303570 h 1289104"/>
                <a:gd name="connsiteX289" fmla="*/ 1381894 w 1873369"/>
                <a:gd name="connsiteY289" fmla="*/ 302794 h 1289104"/>
                <a:gd name="connsiteX290" fmla="*/ 1381119 w 1873369"/>
                <a:gd name="connsiteY290" fmla="*/ 301889 h 1289104"/>
                <a:gd name="connsiteX291" fmla="*/ 1380343 w 1873369"/>
                <a:gd name="connsiteY291" fmla="*/ 300468 h 1289104"/>
                <a:gd name="connsiteX292" fmla="*/ 1379568 w 1873369"/>
                <a:gd name="connsiteY292" fmla="*/ 297883 h 1289104"/>
                <a:gd name="connsiteX293" fmla="*/ 1378922 w 1873369"/>
                <a:gd name="connsiteY293" fmla="*/ 296849 h 1289104"/>
                <a:gd name="connsiteX294" fmla="*/ 1377500 w 1873369"/>
                <a:gd name="connsiteY294" fmla="*/ 296074 h 1289104"/>
                <a:gd name="connsiteX295" fmla="*/ 1376208 w 1873369"/>
                <a:gd name="connsiteY295" fmla="*/ 295815 h 1289104"/>
                <a:gd name="connsiteX296" fmla="*/ 1371943 w 1873369"/>
                <a:gd name="connsiteY296" fmla="*/ 295686 h 1289104"/>
                <a:gd name="connsiteX297" fmla="*/ 1370522 w 1873369"/>
                <a:gd name="connsiteY297" fmla="*/ 295557 h 1289104"/>
                <a:gd name="connsiteX298" fmla="*/ 1365094 w 1873369"/>
                <a:gd name="connsiteY298" fmla="*/ 294006 h 1289104"/>
                <a:gd name="connsiteX299" fmla="*/ 1364060 w 1873369"/>
                <a:gd name="connsiteY299" fmla="*/ 293489 h 1289104"/>
                <a:gd name="connsiteX300" fmla="*/ 1363285 w 1873369"/>
                <a:gd name="connsiteY300" fmla="*/ 292843 h 1289104"/>
                <a:gd name="connsiteX301" fmla="*/ 1361346 w 1873369"/>
                <a:gd name="connsiteY301" fmla="*/ 290905 h 1289104"/>
                <a:gd name="connsiteX302" fmla="*/ 1360829 w 1873369"/>
                <a:gd name="connsiteY302" fmla="*/ 290646 h 1289104"/>
                <a:gd name="connsiteX303" fmla="*/ 1360054 w 1873369"/>
                <a:gd name="connsiteY303" fmla="*/ 290258 h 1289104"/>
                <a:gd name="connsiteX304" fmla="*/ 1359020 w 1873369"/>
                <a:gd name="connsiteY304" fmla="*/ 289871 h 1289104"/>
                <a:gd name="connsiteX305" fmla="*/ 1357728 w 1873369"/>
                <a:gd name="connsiteY305" fmla="*/ 289742 h 1289104"/>
                <a:gd name="connsiteX306" fmla="*/ 1356435 w 1873369"/>
                <a:gd name="connsiteY306" fmla="*/ 289742 h 1289104"/>
                <a:gd name="connsiteX307" fmla="*/ 1352946 w 1873369"/>
                <a:gd name="connsiteY307" fmla="*/ 290517 h 1289104"/>
                <a:gd name="connsiteX308" fmla="*/ 1351783 w 1873369"/>
                <a:gd name="connsiteY308" fmla="*/ 290517 h 1289104"/>
                <a:gd name="connsiteX309" fmla="*/ 1349715 w 1873369"/>
                <a:gd name="connsiteY309" fmla="*/ 290258 h 1289104"/>
                <a:gd name="connsiteX310" fmla="*/ 1349198 w 1873369"/>
                <a:gd name="connsiteY310" fmla="*/ 290258 h 1289104"/>
                <a:gd name="connsiteX311" fmla="*/ 1348294 w 1873369"/>
                <a:gd name="connsiteY311" fmla="*/ 290388 h 1289104"/>
                <a:gd name="connsiteX312" fmla="*/ 1347906 w 1873369"/>
                <a:gd name="connsiteY312" fmla="*/ 290775 h 1289104"/>
                <a:gd name="connsiteX313" fmla="*/ 1347518 w 1873369"/>
                <a:gd name="connsiteY313" fmla="*/ 291034 h 1289104"/>
                <a:gd name="connsiteX314" fmla="*/ 1347389 w 1873369"/>
                <a:gd name="connsiteY314" fmla="*/ 291551 h 1289104"/>
                <a:gd name="connsiteX315" fmla="*/ 1346872 w 1873369"/>
                <a:gd name="connsiteY315" fmla="*/ 293360 h 1289104"/>
                <a:gd name="connsiteX316" fmla="*/ 1346484 w 1873369"/>
                <a:gd name="connsiteY316" fmla="*/ 294523 h 1289104"/>
                <a:gd name="connsiteX317" fmla="*/ 1345838 w 1873369"/>
                <a:gd name="connsiteY317" fmla="*/ 295428 h 1289104"/>
                <a:gd name="connsiteX318" fmla="*/ 1345192 w 1873369"/>
                <a:gd name="connsiteY318" fmla="*/ 296203 h 1289104"/>
                <a:gd name="connsiteX319" fmla="*/ 1344416 w 1873369"/>
                <a:gd name="connsiteY319" fmla="*/ 296849 h 1289104"/>
                <a:gd name="connsiteX320" fmla="*/ 1343512 w 1873369"/>
                <a:gd name="connsiteY320" fmla="*/ 297366 h 1289104"/>
                <a:gd name="connsiteX321" fmla="*/ 1334982 w 1873369"/>
                <a:gd name="connsiteY321" fmla="*/ 300468 h 1289104"/>
                <a:gd name="connsiteX322" fmla="*/ 1331105 w 1873369"/>
                <a:gd name="connsiteY322" fmla="*/ 301243 h 1289104"/>
                <a:gd name="connsiteX323" fmla="*/ 1330072 w 1873369"/>
                <a:gd name="connsiteY323" fmla="*/ 301631 h 1289104"/>
                <a:gd name="connsiteX324" fmla="*/ 1322447 w 1873369"/>
                <a:gd name="connsiteY324" fmla="*/ 305766 h 1289104"/>
                <a:gd name="connsiteX325" fmla="*/ 1321542 w 1873369"/>
                <a:gd name="connsiteY325" fmla="*/ 306283 h 1289104"/>
                <a:gd name="connsiteX326" fmla="*/ 1320896 w 1873369"/>
                <a:gd name="connsiteY326" fmla="*/ 307059 h 1289104"/>
                <a:gd name="connsiteX327" fmla="*/ 1320250 w 1873369"/>
                <a:gd name="connsiteY327" fmla="*/ 307963 h 1289104"/>
                <a:gd name="connsiteX328" fmla="*/ 1319474 w 1873369"/>
                <a:gd name="connsiteY328" fmla="*/ 310031 h 1289104"/>
                <a:gd name="connsiteX329" fmla="*/ 1318957 w 1873369"/>
                <a:gd name="connsiteY329" fmla="*/ 310807 h 1289104"/>
                <a:gd name="connsiteX330" fmla="*/ 1318441 w 1873369"/>
                <a:gd name="connsiteY330" fmla="*/ 311582 h 1289104"/>
                <a:gd name="connsiteX331" fmla="*/ 1315856 w 1873369"/>
                <a:gd name="connsiteY331" fmla="*/ 313650 h 1289104"/>
                <a:gd name="connsiteX332" fmla="*/ 1315080 w 1873369"/>
                <a:gd name="connsiteY332" fmla="*/ 314425 h 1289104"/>
                <a:gd name="connsiteX333" fmla="*/ 1314564 w 1873369"/>
                <a:gd name="connsiteY333" fmla="*/ 315330 h 1289104"/>
                <a:gd name="connsiteX334" fmla="*/ 1314047 w 1873369"/>
                <a:gd name="connsiteY334" fmla="*/ 316364 h 1289104"/>
                <a:gd name="connsiteX335" fmla="*/ 1313142 w 1873369"/>
                <a:gd name="connsiteY335" fmla="*/ 319724 h 1289104"/>
                <a:gd name="connsiteX336" fmla="*/ 1312496 w 1873369"/>
                <a:gd name="connsiteY336" fmla="*/ 326185 h 1289104"/>
                <a:gd name="connsiteX337" fmla="*/ 1312108 w 1873369"/>
                <a:gd name="connsiteY337" fmla="*/ 327090 h 1289104"/>
                <a:gd name="connsiteX338" fmla="*/ 1309782 w 1873369"/>
                <a:gd name="connsiteY338" fmla="*/ 332259 h 1289104"/>
                <a:gd name="connsiteX339" fmla="*/ 1309265 w 1873369"/>
                <a:gd name="connsiteY339" fmla="*/ 334456 h 1289104"/>
                <a:gd name="connsiteX340" fmla="*/ 1309136 w 1873369"/>
                <a:gd name="connsiteY340" fmla="*/ 335749 h 1289104"/>
                <a:gd name="connsiteX341" fmla="*/ 1309394 w 1873369"/>
                <a:gd name="connsiteY341" fmla="*/ 338333 h 1289104"/>
                <a:gd name="connsiteX342" fmla="*/ 1311462 w 1873369"/>
                <a:gd name="connsiteY342" fmla="*/ 346475 h 1289104"/>
                <a:gd name="connsiteX343" fmla="*/ 1311591 w 1873369"/>
                <a:gd name="connsiteY343" fmla="*/ 347767 h 1289104"/>
                <a:gd name="connsiteX344" fmla="*/ 1311462 w 1873369"/>
                <a:gd name="connsiteY344" fmla="*/ 348930 h 1289104"/>
                <a:gd name="connsiteX345" fmla="*/ 1310945 w 1873369"/>
                <a:gd name="connsiteY345" fmla="*/ 349964 h 1289104"/>
                <a:gd name="connsiteX346" fmla="*/ 1310428 w 1873369"/>
                <a:gd name="connsiteY346" fmla="*/ 350869 h 1289104"/>
                <a:gd name="connsiteX347" fmla="*/ 1309911 w 1873369"/>
                <a:gd name="connsiteY347" fmla="*/ 351774 h 1289104"/>
                <a:gd name="connsiteX348" fmla="*/ 1309653 w 1873369"/>
                <a:gd name="connsiteY348" fmla="*/ 352937 h 1289104"/>
                <a:gd name="connsiteX349" fmla="*/ 1309653 w 1873369"/>
                <a:gd name="connsiteY349" fmla="*/ 354229 h 1289104"/>
                <a:gd name="connsiteX350" fmla="*/ 1309911 w 1873369"/>
                <a:gd name="connsiteY350" fmla="*/ 358106 h 1289104"/>
                <a:gd name="connsiteX351" fmla="*/ 1309782 w 1873369"/>
                <a:gd name="connsiteY351" fmla="*/ 359269 h 1289104"/>
                <a:gd name="connsiteX352" fmla="*/ 1307973 w 1873369"/>
                <a:gd name="connsiteY352" fmla="*/ 366119 h 1289104"/>
                <a:gd name="connsiteX353" fmla="*/ 1305129 w 1873369"/>
                <a:gd name="connsiteY353" fmla="*/ 373356 h 1289104"/>
                <a:gd name="connsiteX354" fmla="*/ 1304871 w 1873369"/>
                <a:gd name="connsiteY354" fmla="*/ 374519 h 1289104"/>
                <a:gd name="connsiteX355" fmla="*/ 1305000 w 1873369"/>
                <a:gd name="connsiteY355" fmla="*/ 375682 h 1289104"/>
                <a:gd name="connsiteX356" fmla="*/ 1307068 w 1873369"/>
                <a:gd name="connsiteY356" fmla="*/ 386667 h 1289104"/>
                <a:gd name="connsiteX357" fmla="*/ 1307068 w 1873369"/>
                <a:gd name="connsiteY357" fmla="*/ 388605 h 1289104"/>
                <a:gd name="connsiteX358" fmla="*/ 1305646 w 1873369"/>
                <a:gd name="connsiteY358" fmla="*/ 388217 h 1289104"/>
                <a:gd name="connsiteX359" fmla="*/ 1305129 w 1873369"/>
                <a:gd name="connsiteY359" fmla="*/ 387959 h 1289104"/>
                <a:gd name="connsiteX360" fmla="*/ 1302933 w 1873369"/>
                <a:gd name="connsiteY360" fmla="*/ 387184 h 1289104"/>
                <a:gd name="connsiteX361" fmla="*/ 1298539 w 1873369"/>
                <a:gd name="connsiteY361" fmla="*/ 386537 h 1289104"/>
                <a:gd name="connsiteX362" fmla="*/ 1295825 w 1873369"/>
                <a:gd name="connsiteY362" fmla="*/ 386408 h 1289104"/>
                <a:gd name="connsiteX363" fmla="*/ 1295179 w 1873369"/>
                <a:gd name="connsiteY363" fmla="*/ 386408 h 1289104"/>
                <a:gd name="connsiteX364" fmla="*/ 1294403 w 1873369"/>
                <a:gd name="connsiteY364" fmla="*/ 385891 h 1289104"/>
                <a:gd name="connsiteX365" fmla="*/ 1293498 w 1873369"/>
                <a:gd name="connsiteY365" fmla="*/ 385116 h 1289104"/>
                <a:gd name="connsiteX366" fmla="*/ 1291818 w 1873369"/>
                <a:gd name="connsiteY366" fmla="*/ 383307 h 1289104"/>
                <a:gd name="connsiteX367" fmla="*/ 1290914 w 1873369"/>
                <a:gd name="connsiteY367" fmla="*/ 382660 h 1289104"/>
                <a:gd name="connsiteX368" fmla="*/ 1290009 w 1873369"/>
                <a:gd name="connsiteY368" fmla="*/ 382402 h 1289104"/>
                <a:gd name="connsiteX369" fmla="*/ 1287812 w 1873369"/>
                <a:gd name="connsiteY369" fmla="*/ 382919 h 1289104"/>
                <a:gd name="connsiteX370" fmla="*/ 1283289 w 1873369"/>
                <a:gd name="connsiteY370" fmla="*/ 385116 h 1289104"/>
                <a:gd name="connsiteX371" fmla="*/ 1282643 w 1873369"/>
                <a:gd name="connsiteY371" fmla="*/ 385245 h 1289104"/>
                <a:gd name="connsiteX372" fmla="*/ 1281480 w 1873369"/>
                <a:gd name="connsiteY372" fmla="*/ 385374 h 1289104"/>
                <a:gd name="connsiteX373" fmla="*/ 1280834 w 1873369"/>
                <a:gd name="connsiteY373" fmla="*/ 385374 h 1289104"/>
                <a:gd name="connsiteX374" fmla="*/ 1280187 w 1873369"/>
                <a:gd name="connsiteY374" fmla="*/ 385374 h 1289104"/>
                <a:gd name="connsiteX375" fmla="*/ 1279541 w 1873369"/>
                <a:gd name="connsiteY375" fmla="*/ 385245 h 1289104"/>
                <a:gd name="connsiteX376" fmla="*/ 1278895 w 1873369"/>
                <a:gd name="connsiteY376" fmla="*/ 384987 h 1289104"/>
                <a:gd name="connsiteX377" fmla="*/ 1278249 w 1873369"/>
                <a:gd name="connsiteY377" fmla="*/ 384470 h 1289104"/>
                <a:gd name="connsiteX378" fmla="*/ 1277861 w 1873369"/>
                <a:gd name="connsiteY378" fmla="*/ 384082 h 1289104"/>
                <a:gd name="connsiteX379" fmla="*/ 1277344 w 1873369"/>
                <a:gd name="connsiteY379" fmla="*/ 383436 h 1289104"/>
                <a:gd name="connsiteX380" fmla="*/ 1271141 w 1873369"/>
                <a:gd name="connsiteY380" fmla="*/ 370254 h 1289104"/>
                <a:gd name="connsiteX381" fmla="*/ 1270753 w 1873369"/>
                <a:gd name="connsiteY381" fmla="*/ 369866 h 1289104"/>
                <a:gd name="connsiteX382" fmla="*/ 1269978 w 1873369"/>
                <a:gd name="connsiteY382" fmla="*/ 369091 h 1289104"/>
                <a:gd name="connsiteX383" fmla="*/ 1269203 w 1873369"/>
                <a:gd name="connsiteY383" fmla="*/ 368574 h 1289104"/>
                <a:gd name="connsiteX384" fmla="*/ 1268686 w 1873369"/>
                <a:gd name="connsiteY384" fmla="*/ 368315 h 1289104"/>
                <a:gd name="connsiteX385" fmla="*/ 1268039 w 1873369"/>
                <a:gd name="connsiteY385" fmla="*/ 368057 h 1289104"/>
                <a:gd name="connsiteX386" fmla="*/ 1267135 w 1873369"/>
                <a:gd name="connsiteY386" fmla="*/ 367799 h 1289104"/>
                <a:gd name="connsiteX387" fmla="*/ 1266230 w 1873369"/>
                <a:gd name="connsiteY387" fmla="*/ 367152 h 1289104"/>
                <a:gd name="connsiteX388" fmla="*/ 1265326 w 1873369"/>
                <a:gd name="connsiteY388" fmla="*/ 365860 h 1289104"/>
                <a:gd name="connsiteX389" fmla="*/ 1263646 w 1873369"/>
                <a:gd name="connsiteY389" fmla="*/ 362371 h 1289104"/>
                <a:gd name="connsiteX390" fmla="*/ 1262482 w 1873369"/>
                <a:gd name="connsiteY390" fmla="*/ 360691 h 1289104"/>
                <a:gd name="connsiteX391" fmla="*/ 1261449 w 1873369"/>
                <a:gd name="connsiteY391" fmla="*/ 359528 h 1289104"/>
                <a:gd name="connsiteX392" fmla="*/ 1260673 w 1873369"/>
                <a:gd name="connsiteY392" fmla="*/ 358881 h 1289104"/>
                <a:gd name="connsiteX393" fmla="*/ 1255892 w 1873369"/>
                <a:gd name="connsiteY393" fmla="*/ 356297 h 1289104"/>
                <a:gd name="connsiteX394" fmla="*/ 1249430 w 1873369"/>
                <a:gd name="connsiteY394" fmla="*/ 351257 h 1289104"/>
                <a:gd name="connsiteX395" fmla="*/ 1248396 w 1873369"/>
                <a:gd name="connsiteY395" fmla="*/ 350869 h 1289104"/>
                <a:gd name="connsiteX396" fmla="*/ 1247362 w 1873369"/>
                <a:gd name="connsiteY396" fmla="*/ 350481 h 1289104"/>
                <a:gd name="connsiteX397" fmla="*/ 1245294 w 1873369"/>
                <a:gd name="connsiteY397" fmla="*/ 350352 h 1289104"/>
                <a:gd name="connsiteX398" fmla="*/ 1244131 w 1873369"/>
                <a:gd name="connsiteY398" fmla="*/ 350094 h 1289104"/>
                <a:gd name="connsiteX399" fmla="*/ 1243227 w 1873369"/>
                <a:gd name="connsiteY399" fmla="*/ 349577 h 1289104"/>
                <a:gd name="connsiteX400" fmla="*/ 1242580 w 1873369"/>
                <a:gd name="connsiteY400" fmla="*/ 348930 h 1289104"/>
                <a:gd name="connsiteX401" fmla="*/ 1238445 w 1873369"/>
                <a:gd name="connsiteY401" fmla="*/ 342210 h 1289104"/>
                <a:gd name="connsiteX402" fmla="*/ 1236894 w 1873369"/>
                <a:gd name="connsiteY402" fmla="*/ 341176 h 1289104"/>
                <a:gd name="connsiteX403" fmla="*/ 1235473 w 1873369"/>
                <a:gd name="connsiteY403" fmla="*/ 340401 h 1289104"/>
                <a:gd name="connsiteX404" fmla="*/ 1234309 w 1873369"/>
                <a:gd name="connsiteY404" fmla="*/ 340143 h 1289104"/>
                <a:gd name="connsiteX405" fmla="*/ 1232371 w 1873369"/>
                <a:gd name="connsiteY405" fmla="*/ 339238 h 1289104"/>
                <a:gd name="connsiteX406" fmla="*/ 1230562 w 1873369"/>
                <a:gd name="connsiteY406" fmla="*/ 338075 h 1289104"/>
                <a:gd name="connsiteX407" fmla="*/ 1223325 w 1873369"/>
                <a:gd name="connsiteY407" fmla="*/ 330838 h 1289104"/>
                <a:gd name="connsiteX408" fmla="*/ 1220869 w 1873369"/>
                <a:gd name="connsiteY408" fmla="*/ 327348 h 1289104"/>
                <a:gd name="connsiteX409" fmla="*/ 1219577 w 1873369"/>
                <a:gd name="connsiteY409" fmla="*/ 325798 h 1289104"/>
                <a:gd name="connsiteX410" fmla="*/ 1218672 w 1873369"/>
                <a:gd name="connsiteY410" fmla="*/ 325152 h 1289104"/>
                <a:gd name="connsiteX411" fmla="*/ 1217768 w 1873369"/>
                <a:gd name="connsiteY411" fmla="*/ 324635 h 1289104"/>
                <a:gd name="connsiteX412" fmla="*/ 1212469 w 1873369"/>
                <a:gd name="connsiteY412" fmla="*/ 322825 h 1289104"/>
                <a:gd name="connsiteX413" fmla="*/ 1211564 w 1873369"/>
                <a:gd name="connsiteY413" fmla="*/ 322308 h 1289104"/>
                <a:gd name="connsiteX414" fmla="*/ 1211047 w 1873369"/>
                <a:gd name="connsiteY414" fmla="*/ 321921 h 1289104"/>
                <a:gd name="connsiteX415" fmla="*/ 1210660 w 1873369"/>
                <a:gd name="connsiteY415" fmla="*/ 321145 h 1289104"/>
                <a:gd name="connsiteX416" fmla="*/ 1210272 w 1873369"/>
                <a:gd name="connsiteY416" fmla="*/ 319982 h 1289104"/>
                <a:gd name="connsiteX417" fmla="*/ 1210143 w 1873369"/>
                <a:gd name="connsiteY417" fmla="*/ 318173 h 1289104"/>
                <a:gd name="connsiteX418" fmla="*/ 1210272 w 1873369"/>
                <a:gd name="connsiteY418" fmla="*/ 316622 h 1289104"/>
                <a:gd name="connsiteX419" fmla="*/ 1210660 w 1873369"/>
                <a:gd name="connsiteY419" fmla="*/ 312874 h 1289104"/>
                <a:gd name="connsiteX420" fmla="*/ 1211047 w 1873369"/>
                <a:gd name="connsiteY420" fmla="*/ 312099 h 1289104"/>
                <a:gd name="connsiteX421" fmla="*/ 1211435 w 1873369"/>
                <a:gd name="connsiteY421" fmla="*/ 311711 h 1289104"/>
                <a:gd name="connsiteX422" fmla="*/ 1212211 w 1873369"/>
                <a:gd name="connsiteY422" fmla="*/ 311453 h 1289104"/>
                <a:gd name="connsiteX423" fmla="*/ 1213374 w 1873369"/>
                <a:gd name="connsiteY423" fmla="*/ 311582 h 1289104"/>
                <a:gd name="connsiteX424" fmla="*/ 1217897 w 1873369"/>
                <a:gd name="connsiteY424" fmla="*/ 312745 h 1289104"/>
                <a:gd name="connsiteX425" fmla="*/ 1218931 w 1873369"/>
                <a:gd name="connsiteY425" fmla="*/ 313133 h 1289104"/>
                <a:gd name="connsiteX426" fmla="*/ 1220740 w 1873369"/>
                <a:gd name="connsiteY426" fmla="*/ 314296 h 1289104"/>
                <a:gd name="connsiteX427" fmla="*/ 1221903 w 1873369"/>
                <a:gd name="connsiteY427" fmla="*/ 314425 h 1289104"/>
                <a:gd name="connsiteX428" fmla="*/ 1223066 w 1873369"/>
                <a:gd name="connsiteY428" fmla="*/ 314425 h 1289104"/>
                <a:gd name="connsiteX429" fmla="*/ 1223971 w 1873369"/>
                <a:gd name="connsiteY429" fmla="*/ 313908 h 1289104"/>
                <a:gd name="connsiteX430" fmla="*/ 1224617 w 1873369"/>
                <a:gd name="connsiteY430" fmla="*/ 313133 h 1289104"/>
                <a:gd name="connsiteX431" fmla="*/ 1225651 w 1873369"/>
                <a:gd name="connsiteY431" fmla="*/ 311194 h 1289104"/>
                <a:gd name="connsiteX432" fmla="*/ 1226297 w 1873369"/>
                <a:gd name="connsiteY432" fmla="*/ 310548 h 1289104"/>
                <a:gd name="connsiteX433" fmla="*/ 1228236 w 1873369"/>
                <a:gd name="connsiteY433" fmla="*/ 309385 h 1289104"/>
                <a:gd name="connsiteX434" fmla="*/ 1229011 w 1873369"/>
                <a:gd name="connsiteY434" fmla="*/ 308610 h 1289104"/>
                <a:gd name="connsiteX435" fmla="*/ 1231079 w 1873369"/>
                <a:gd name="connsiteY435" fmla="*/ 306025 h 1289104"/>
                <a:gd name="connsiteX436" fmla="*/ 1231596 w 1873369"/>
                <a:gd name="connsiteY436" fmla="*/ 304991 h 1289104"/>
                <a:gd name="connsiteX437" fmla="*/ 1231854 w 1873369"/>
                <a:gd name="connsiteY437" fmla="*/ 303828 h 1289104"/>
                <a:gd name="connsiteX438" fmla="*/ 1231983 w 1873369"/>
                <a:gd name="connsiteY438" fmla="*/ 302665 h 1289104"/>
                <a:gd name="connsiteX439" fmla="*/ 1230303 w 1873369"/>
                <a:gd name="connsiteY439" fmla="*/ 293102 h 1289104"/>
                <a:gd name="connsiteX440" fmla="*/ 1229528 w 1873369"/>
                <a:gd name="connsiteY440" fmla="*/ 291680 h 1289104"/>
                <a:gd name="connsiteX441" fmla="*/ 1229140 w 1873369"/>
                <a:gd name="connsiteY441" fmla="*/ 291163 h 1289104"/>
                <a:gd name="connsiteX442" fmla="*/ 1228623 w 1873369"/>
                <a:gd name="connsiteY442" fmla="*/ 290646 h 1289104"/>
                <a:gd name="connsiteX443" fmla="*/ 1226297 w 1873369"/>
                <a:gd name="connsiteY443" fmla="*/ 289095 h 1289104"/>
                <a:gd name="connsiteX444" fmla="*/ 1225392 w 1873369"/>
                <a:gd name="connsiteY444" fmla="*/ 288449 h 1289104"/>
                <a:gd name="connsiteX445" fmla="*/ 1224746 w 1873369"/>
                <a:gd name="connsiteY445" fmla="*/ 287545 h 1289104"/>
                <a:gd name="connsiteX446" fmla="*/ 1224359 w 1873369"/>
                <a:gd name="connsiteY446" fmla="*/ 286381 h 1289104"/>
                <a:gd name="connsiteX447" fmla="*/ 1224229 w 1873369"/>
                <a:gd name="connsiteY447" fmla="*/ 284701 h 1289104"/>
                <a:gd name="connsiteX448" fmla="*/ 1225005 w 1873369"/>
                <a:gd name="connsiteY448" fmla="*/ 279532 h 1289104"/>
                <a:gd name="connsiteX449" fmla="*/ 1224875 w 1873369"/>
                <a:gd name="connsiteY449" fmla="*/ 276818 h 1289104"/>
                <a:gd name="connsiteX450" fmla="*/ 1224617 w 1873369"/>
                <a:gd name="connsiteY450" fmla="*/ 274104 h 1289104"/>
                <a:gd name="connsiteX451" fmla="*/ 1224229 w 1873369"/>
                <a:gd name="connsiteY451" fmla="*/ 272553 h 1289104"/>
                <a:gd name="connsiteX452" fmla="*/ 1223583 w 1873369"/>
                <a:gd name="connsiteY452" fmla="*/ 270744 h 1289104"/>
                <a:gd name="connsiteX453" fmla="*/ 1220998 w 1873369"/>
                <a:gd name="connsiteY453" fmla="*/ 266480 h 1289104"/>
                <a:gd name="connsiteX454" fmla="*/ 1219965 w 1873369"/>
                <a:gd name="connsiteY454" fmla="*/ 265187 h 1289104"/>
                <a:gd name="connsiteX455" fmla="*/ 1218931 w 1873369"/>
                <a:gd name="connsiteY455" fmla="*/ 264541 h 1289104"/>
                <a:gd name="connsiteX456" fmla="*/ 1215571 w 1873369"/>
                <a:gd name="connsiteY456" fmla="*/ 263249 h 1289104"/>
                <a:gd name="connsiteX457" fmla="*/ 1214408 w 1873369"/>
                <a:gd name="connsiteY457" fmla="*/ 262473 h 1289104"/>
                <a:gd name="connsiteX458" fmla="*/ 1213374 w 1873369"/>
                <a:gd name="connsiteY458" fmla="*/ 261569 h 1289104"/>
                <a:gd name="connsiteX459" fmla="*/ 1212340 w 1873369"/>
                <a:gd name="connsiteY459" fmla="*/ 260018 h 1289104"/>
                <a:gd name="connsiteX460" fmla="*/ 1211435 w 1873369"/>
                <a:gd name="connsiteY460" fmla="*/ 257950 h 1289104"/>
                <a:gd name="connsiteX461" fmla="*/ 1209755 w 1873369"/>
                <a:gd name="connsiteY461" fmla="*/ 250971 h 1289104"/>
                <a:gd name="connsiteX462" fmla="*/ 1208980 w 1873369"/>
                <a:gd name="connsiteY462" fmla="*/ 249291 h 1289104"/>
                <a:gd name="connsiteX463" fmla="*/ 1207300 w 1873369"/>
                <a:gd name="connsiteY463" fmla="*/ 246965 h 1289104"/>
                <a:gd name="connsiteX464" fmla="*/ 1206007 w 1873369"/>
                <a:gd name="connsiteY464" fmla="*/ 245285 h 1289104"/>
                <a:gd name="connsiteX465" fmla="*/ 1203552 w 1873369"/>
                <a:gd name="connsiteY465" fmla="*/ 242959 h 1289104"/>
                <a:gd name="connsiteX466" fmla="*/ 1202518 w 1873369"/>
                <a:gd name="connsiteY466" fmla="*/ 241408 h 1289104"/>
                <a:gd name="connsiteX467" fmla="*/ 1201743 w 1873369"/>
                <a:gd name="connsiteY467" fmla="*/ 238953 h 1289104"/>
                <a:gd name="connsiteX468" fmla="*/ 1201872 w 1873369"/>
                <a:gd name="connsiteY468" fmla="*/ 237144 h 1289104"/>
                <a:gd name="connsiteX469" fmla="*/ 1202518 w 1873369"/>
                <a:gd name="connsiteY469" fmla="*/ 235980 h 1289104"/>
                <a:gd name="connsiteX470" fmla="*/ 1203552 w 1873369"/>
                <a:gd name="connsiteY470" fmla="*/ 235463 h 1289104"/>
                <a:gd name="connsiteX471" fmla="*/ 1204586 w 1873369"/>
                <a:gd name="connsiteY471" fmla="*/ 235076 h 1289104"/>
                <a:gd name="connsiteX472" fmla="*/ 1205490 w 1873369"/>
                <a:gd name="connsiteY472" fmla="*/ 234300 h 1289104"/>
                <a:gd name="connsiteX473" fmla="*/ 1206137 w 1873369"/>
                <a:gd name="connsiteY473" fmla="*/ 233266 h 1289104"/>
                <a:gd name="connsiteX474" fmla="*/ 1208204 w 1873369"/>
                <a:gd name="connsiteY474" fmla="*/ 227709 h 1289104"/>
                <a:gd name="connsiteX475" fmla="*/ 1208075 w 1873369"/>
                <a:gd name="connsiteY475" fmla="*/ 226417 h 1289104"/>
                <a:gd name="connsiteX476" fmla="*/ 1207558 w 1873369"/>
                <a:gd name="connsiteY476" fmla="*/ 224996 h 1289104"/>
                <a:gd name="connsiteX477" fmla="*/ 1205103 w 1873369"/>
                <a:gd name="connsiteY477" fmla="*/ 221765 h 1289104"/>
                <a:gd name="connsiteX478" fmla="*/ 1204198 w 1873369"/>
                <a:gd name="connsiteY478" fmla="*/ 220472 h 1289104"/>
                <a:gd name="connsiteX479" fmla="*/ 1203810 w 1873369"/>
                <a:gd name="connsiteY479" fmla="*/ 219180 h 1289104"/>
                <a:gd name="connsiteX480" fmla="*/ 1203681 w 1873369"/>
                <a:gd name="connsiteY480" fmla="*/ 211555 h 1289104"/>
                <a:gd name="connsiteX481" fmla="*/ 1203940 w 1873369"/>
                <a:gd name="connsiteY481" fmla="*/ 210392 h 1289104"/>
                <a:gd name="connsiteX482" fmla="*/ 1204586 w 1873369"/>
                <a:gd name="connsiteY482" fmla="*/ 209229 h 1289104"/>
                <a:gd name="connsiteX483" fmla="*/ 1207300 w 1873369"/>
                <a:gd name="connsiteY483" fmla="*/ 204577 h 1289104"/>
                <a:gd name="connsiteX484" fmla="*/ 1207817 w 1873369"/>
                <a:gd name="connsiteY484" fmla="*/ 203543 h 1289104"/>
                <a:gd name="connsiteX485" fmla="*/ 1207946 w 1873369"/>
                <a:gd name="connsiteY485" fmla="*/ 202380 h 1289104"/>
                <a:gd name="connsiteX486" fmla="*/ 1207946 w 1873369"/>
                <a:gd name="connsiteY486" fmla="*/ 201087 h 1289104"/>
                <a:gd name="connsiteX487" fmla="*/ 1206783 w 1873369"/>
                <a:gd name="connsiteY487" fmla="*/ 195530 h 1289104"/>
                <a:gd name="connsiteX488" fmla="*/ 1206912 w 1873369"/>
                <a:gd name="connsiteY488" fmla="*/ 194367 h 1289104"/>
                <a:gd name="connsiteX489" fmla="*/ 1207170 w 1873369"/>
                <a:gd name="connsiteY489" fmla="*/ 193333 h 1289104"/>
                <a:gd name="connsiteX490" fmla="*/ 1207687 w 1873369"/>
                <a:gd name="connsiteY490" fmla="*/ 192299 h 1289104"/>
                <a:gd name="connsiteX491" fmla="*/ 1208592 w 1873369"/>
                <a:gd name="connsiteY491" fmla="*/ 191266 h 1289104"/>
                <a:gd name="connsiteX492" fmla="*/ 1210531 w 1873369"/>
                <a:gd name="connsiteY492" fmla="*/ 189715 h 1289104"/>
                <a:gd name="connsiteX493" fmla="*/ 1211047 w 1873369"/>
                <a:gd name="connsiteY493" fmla="*/ 189069 h 1289104"/>
                <a:gd name="connsiteX494" fmla="*/ 1211564 w 1873369"/>
                <a:gd name="connsiteY494" fmla="*/ 188164 h 1289104"/>
                <a:gd name="connsiteX495" fmla="*/ 1212340 w 1873369"/>
                <a:gd name="connsiteY495" fmla="*/ 185967 h 1289104"/>
                <a:gd name="connsiteX496" fmla="*/ 1212857 w 1873369"/>
                <a:gd name="connsiteY496" fmla="*/ 183512 h 1289104"/>
                <a:gd name="connsiteX497" fmla="*/ 1212986 w 1873369"/>
                <a:gd name="connsiteY497" fmla="*/ 182607 h 1289104"/>
                <a:gd name="connsiteX498" fmla="*/ 1212469 w 1873369"/>
                <a:gd name="connsiteY498" fmla="*/ 180410 h 1289104"/>
                <a:gd name="connsiteX499" fmla="*/ 1206783 w 1873369"/>
                <a:gd name="connsiteY499" fmla="*/ 165807 h 1289104"/>
                <a:gd name="connsiteX500" fmla="*/ 1206266 w 1873369"/>
                <a:gd name="connsiteY500" fmla="*/ 163351 h 1289104"/>
                <a:gd name="connsiteX501" fmla="*/ 1206137 w 1873369"/>
                <a:gd name="connsiteY501" fmla="*/ 162188 h 1289104"/>
                <a:gd name="connsiteX502" fmla="*/ 1206395 w 1873369"/>
                <a:gd name="connsiteY502" fmla="*/ 161025 h 1289104"/>
                <a:gd name="connsiteX503" fmla="*/ 1207041 w 1873369"/>
                <a:gd name="connsiteY503" fmla="*/ 159991 h 1289104"/>
                <a:gd name="connsiteX504" fmla="*/ 1208075 w 1873369"/>
                <a:gd name="connsiteY504" fmla="*/ 159086 h 1289104"/>
                <a:gd name="connsiteX505" fmla="*/ 1209109 w 1873369"/>
                <a:gd name="connsiteY505" fmla="*/ 158440 h 1289104"/>
                <a:gd name="connsiteX506" fmla="*/ 1210918 w 1873369"/>
                <a:gd name="connsiteY506" fmla="*/ 157536 h 1289104"/>
                <a:gd name="connsiteX507" fmla="*/ 1212598 w 1873369"/>
                <a:gd name="connsiteY507" fmla="*/ 156373 h 1289104"/>
                <a:gd name="connsiteX508" fmla="*/ 1214924 w 1873369"/>
                <a:gd name="connsiteY508" fmla="*/ 154434 h 1289104"/>
                <a:gd name="connsiteX509" fmla="*/ 1216734 w 1873369"/>
                <a:gd name="connsiteY509" fmla="*/ 152237 h 1289104"/>
                <a:gd name="connsiteX510" fmla="*/ 1216475 w 1873369"/>
                <a:gd name="connsiteY510" fmla="*/ 150169 h 1289104"/>
                <a:gd name="connsiteX511" fmla="*/ 1215441 w 1873369"/>
                <a:gd name="connsiteY511" fmla="*/ 147197 h 1289104"/>
                <a:gd name="connsiteX512" fmla="*/ 1210660 w 1873369"/>
                <a:gd name="connsiteY512" fmla="*/ 137892 h 1289104"/>
                <a:gd name="connsiteX513" fmla="*/ 1209884 w 1873369"/>
                <a:gd name="connsiteY513" fmla="*/ 135566 h 1289104"/>
                <a:gd name="connsiteX514" fmla="*/ 1209367 w 1873369"/>
                <a:gd name="connsiteY514" fmla="*/ 125227 h 1289104"/>
                <a:gd name="connsiteX515" fmla="*/ 1208721 w 1873369"/>
                <a:gd name="connsiteY515" fmla="*/ 122901 h 1289104"/>
                <a:gd name="connsiteX516" fmla="*/ 1205749 w 1873369"/>
                <a:gd name="connsiteY516" fmla="*/ 117344 h 1289104"/>
                <a:gd name="connsiteX517" fmla="*/ 1205232 w 1873369"/>
                <a:gd name="connsiteY517" fmla="*/ 116181 h 1289104"/>
                <a:gd name="connsiteX518" fmla="*/ 1204973 w 1873369"/>
                <a:gd name="connsiteY518" fmla="*/ 115147 h 1289104"/>
                <a:gd name="connsiteX519" fmla="*/ 1204844 w 1873369"/>
                <a:gd name="connsiteY519" fmla="*/ 111658 h 1289104"/>
                <a:gd name="connsiteX520" fmla="*/ 1198641 w 1873369"/>
                <a:gd name="connsiteY520" fmla="*/ 93048 h 1289104"/>
                <a:gd name="connsiteX521" fmla="*/ 1198512 w 1873369"/>
                <a:gd name="connsiteY521" fmla="*/ 91627 h 1289104"/>
                <a:gd name="connsiteX522" fmla="*/ 1198770 w 1873369"/>
                <a:gd name="connsiteY522" fmla="*/ 90334 h 1289104"/>
                <a:gd name="connsiteX523" fmla="*/ 1198641 w 1873369"/>
                <a:gd name="connsiteY523" fmla="*/ 88913 h 1289104"/>
                <a:gd name="connsiteX524" fmla="*/ 1197736 w 1873369"/>
                <a:gd name="connsiteY524" fmla="*/ 87233 h 1289104"/>
                <a:gd name="connsiteX525" fmla="*/ 1195152 w 1873369"/>
                <a:gd name="connsiteY525" fmla="*/ 84648 h 1289104"/>
                <a:gd name="connsiteX526" fmla="*/ 1193601 w 1873369"/>
                <a:gd name="connsiteY526" fmla="*/ 83485 h 1289104"/>
                <a:gd name="connsiteX527" fmla="*/ 1192050 w 1873369"/>
                <a:gd name="connsiteY527" fmla="*/ 82451 h 1289104"/>
                <a:gd name="connsiteX528" fmla="*/ 1191016 w 1873369"/>
                <a:gd name="connsiteY528" fmla="*/ 81934 h 1289104"/>
                <a:gd name="connsiteX529" fmla="*/ 1189982 w 1873369"/>
                <a:gd name="connsiteY529" fmla="*/ 81288 h 1289104"/>
                <a:gd name="connsiteX530" fmla="*/ 1188690 w 1873369"/>
                <a:gd name="connsiteY530" fmla="*/ 80125 h 1289104"/>
                <a:gd name="connsiteX531" fmla="*/ 1187398 w 1873369"/>
                <a:gd name="connsiteY531" fmla="*/ 78703 h 1289104"/>
                <a:gd name="connsiteX532" fmla="*/ 1185718 w 1873369"/>
                <a:gd name="connsiteY532" fmla="*/ 76377 h 1289104"/>
                <a:gd name="connsiteX533" fmla="*/ 1183779 w 1873369"/>
                <a:gd name="connsiteY533" fmla="*/ 72629 h 1289104"/>
                <a:gd name="connsiteX534" fmla="*/ 1180290 w 1873369"/>
                <a:gd name="connsiteY534" fmla="*/ 67331 h 1289104"/>
                <a:gd name="connsiteX535" fmla="*/ 1180031 w 1873369"/>
                <a:gd name="connsiteY535" fmla="*/ 65780 h 1289104"/>
                <a:gd name="connsiteX536" fmla="*/ 1180548 w 1873369"/>
                <a:gd name="connsiteY536" fmla="*/ 64488 h 1289104"/>
                <a:gd name="connsiteX537" fmla="*/ 1182358 w 1873369"/>
                <a:gd name="connsiteY537" fmla="*/ 62678 h 1289104"/>
                <a:gd name="connsiteX538" fmla="*/ 1182875 w 1873369"/>
                <a:gd name="connsiteY538" fmla="*/ 61515 h 1289104"/>
                <a:gd name="connsiteX539" fmla="*/ 1183908 w 1873369"/>
                <a:gd name="connsiteY539" fmla="*/ 57767 h 1289104"/>
                <a:gd name="connsiteX540" fmla="*/ 1184555 w 1873369"/>
                <a:gd name="connsiteY540" fmla="*/ 56863 h 1289104"/>
                <a:gd name="connsiteX541" fmla="*/ 1187398 w 1873369"/>
                <a:gd name="connsiteY541" fmla="*/ 55053 h 1289104"/>
                <a:gd name="connsiteX542" fmla="*/ 1188044 w 1873369"/>
                <a:gd name="connsiteY542" fmla="*/ 54149 h 1289104"/>
                <a:gd name="connsiteX543" fmla="*/ 1188173 w 1873369"/>
                <a:gd name="connsiteY543" fmla="*/ 53115 h 1289104"/>
                <a:gd name="connsiteX544" fmla="*/ 1187398 w 1873369"/>
                <a:gd name="connsiteY544" fmla="*/ 49626 h 1289104"/>
                <a:gd name="connsiteX545" fmla="*/ 1186105 w 1873369"/>
                <a:gd name="connsiteY545" fmla="*/ 45102 h 1289104"/>
                <a:gd name="connsiteX546" fmla="*/ 1185976 w 1873369"/>
                <a:gd name="connsiteY546" fmla="*/ 44069 h 1289104"/>
                <a:gd name="connsiteX547" fmla="*/ 1186105 w 1873369"/>
                <a:gd name="connsiteY547" fmla="*/ 42906 h 1289104"/>
                <a:gd name="connsiteX548" fmla="*/ 1186493 w 1873369"/>
                <a:gd name="connsiteY548" fmla="*/ 41613 h 1289104"/>
                <a:gd name="connsiteX549" fmla="*/ 1187268 w 1873369"/>
                <a:gd name="connsiteY549" fmla="*/ 40450 h 1289104"/>
                <a:gd name="connsiteX550" fmla="*/ 1189853 w 1873369"/>
                <a:gd name="connsiteY550" fmla="*/ 36832 h 1289104"/>
                <a:gd name="connsiteX551" fmla="*/ 1190370 w 1873369"/>
                <a:gd name="connsiteY551" fmla="*/ 35668 h 1289104"/>
                <a:gd name="connsiteX552" fmla="*/ 1190499 w 1873369"/>
                <a:gd name="connsiteY552" fmla="*/ 34505 h 1289104"/>
                <a:gd name="connsiteX553" fmla="*/ 1190241 w 1873369"/>
                <a:gd name="connsiteY553" fmla="*/ 33213 h 1289104"/>
                <a:gd name="connsiteX554" fmla="*/ 1189724 w 1873369"/>
                <a:gd name="connsiteY554" fmla="*/ 31921 h 1289104"/>
                <a:gd name="connsiteX555" fmla="*/ 1188819 w 1873369"/>
                <a:gd name="connsiteY555" fmla="*/ 30758 h 1289104"/>
                <a:gd name="connsiteX556" fmla="*/ 1187656 w 1873369"/>
                <a:gd name="connsiteY556" fmla="*/ 29853 h 1289104"/>
                <a:gd name="connsiteX557" fmla="*/ 1186364 w 1873369"/>
                <a:gd name="connsiteY557" fmla="*/ 29207 h 1289104"/>
                <a:gd name="connsiteX558" fmla="*/ 1182875 w 1873369"/>
                <a:gd name="connsiteY558" fmla="*/ 28044 h 1289104"/>
                <a:gd name="connsiteX559" fmla="*/ 1176542 w 1873369"/>
                <a:gd name="connsiteY559" fmla="*/ 24296 h 1289104"/>
                <a:gd name="connsiteX560" fmla="*/ 1173699 w 1873369"/>
                <a:gd name="connsiteY560" fmla="*/ 23133 h 1289104"/>
                <a:gd name="connsiteX561" fmla="*/ 1172277 w 1873369"/>
                <a:gd name="connsiteY561" fmla="*/ 23004 h 1289104"/>
                <a:gd name="connsiteX562" fmla="*/ 1168530 w 1873369"/>
                <a:gd name="connsiteY562" fmla="*/ 23133 h 1289104"/>
                <a:gd name="connsiteX563" fmla="*/ 1167108 w 1873369"/>
                <a:gd name="connsiteY563" fmla="*/ 23004 h 1289104"/>
                <a:gd name="connsiteX564" fmla="*/ 1165040 w 1873369"/>
                <a:gd name="connsiteY564" fmla="*/ 22487 h 1289104"/>
                <a:gd name="connsiteX565" fmla="*/ 1163619 w 1873369"/>
                <a:gd name="connsiteY565" fmla="*/ 22357 h 1289104"/>
                <a:gd name="connsiteX566" fmla="*/ 1162326 w 1873369"/>
                <a:gd name="connsiteY566" fmla="*/ 22487 h 1289104"/>
                <a:gd name="connsiteX567" fmla="*/ 1160129 w 1873369"/>
                <a:gd name="connsiteY567" fmla="*/ 23004 h 1289104"/>
                <a:gd name="connsiteX568" fmla="*/ 1158708 w 1873369"/>
                <a:gd name="connsiteY568" fmla="*/ 23133 h 1289104"/>
                <a:gd name="connsiteX569" fmla="*/ 1157028 w 1873369"/>
                <a:gd name="connsiteY569" fmla="*/ 22874 h 1289104"/>
                <a:gd name="connsiteX570" fmla="*/ 1154185 w 1873369"/>
                <a:gd name="connsiteY570" fmla="*/ 21711 h 1289104"/>
                <a:gd name="connsiteX571" fmla="*/ 1152117 w 1873369"/>
                <a:gd name="connsiteY571" fmla="*/ 20677 h 1289104"/>
                <a:gd name="connsiteX572" fmla="*/ 1149791 w 1873369"/>
                <a:gd name="connsiteY572" fmla="*/ 18868 h 1289104"/>
                <a:gd name="connsiteX573" fmla="*/ 1146172 w 1873369"/>
                <a:gd name="connsiteY573" fmla="*/ 14733 h 1289104"/>
                <a:gd name="connsiteX574" fmla="*/ 1144363 w 1873369"/>
                <a:gd name="connsiteY574" fmla="*/ 12923 h 1289104"/>
                <a:gd name="connsiteX575" fmla="*/ 1143588 w 1873369"/>
                <a:gd name="connsiteY575" fmla="*/ 11502 h 1289104"/>
                <a:gd name="connsiteX576" fmla="*/ 1143458 w 1873369"/>
                <a:gd name="connsiteY576" fmla="*/ 10209 h 1289104"/>
                <a:gd name="connsiteX577" fmla="*/ 1143458 w 1873369"/>
                <a:gd name="connsiteY577" fmla="*/ 8012 h 1289104"/>
                <a:gd name="connsiteX578" fmla="*/ 1142812 w 1873369"/>
                <a:gd name="connsiteY578" fmla="*/ 6979 h 1289104"/>
                <a:gd name="connsiteX579" fmla="*/ 1141520 w 1873369"/>
                <a:gd name="connsiteY579" fmla="*/ 6203 h 1289104"/>
                <a:gd name="connsiteX580" fmla="*/ 1139064 w 1873369"/>
                <a:gd name="connsiteY580" fmla="*/ 6074 h 1289104"/>
                <a:gd name="connsiteX581" fmla="*/ 1137384 w 1873369"/>
                <a:gd name="connsiteY581" fmla="*/ 6203 h 1289104"/>
                <a:gd name="connsiteX582" fmla="*/ 1136092 w 1873369"/>
                <a:gd name="connsiteY582" fmla="*/ 6591 h 1289104"/>
                <a:gd name="connsiteX583" fmla="*/ 1132732 w 1873369"/>
                <a:gd name="connsiteY583" fmla="*/ 7883 h 1289104"/>
                <a:gd name="connsiteX584" fmla="*/ 1131569 w 1873369"/>
                <a:gd name="connsiteY584" fmla="*/ 8271 h 1289104"/>
                <a:gd name="connsiteX585" fmla="*/ 1130406 w 1873369"/>
                <a:gd name="connsiteY585" fmla="*/ 8400 h 1289104"/>
                <a:gd name="connsiteX586" fmla="*/ 1129113 w 1873369"/>
                <a:gd name="connsiteY586" fmla="*/ 8529 h 1289104"/>
                <a:gd name="connsiteX587" fmla="*/ 1126529 w 1873369"/>
                <a:gd name="connsiteY587" fmla="*/ 8142 h 1289104"/>
                <a:gd name="connsiteX588" fmla="*/ 1124849 w 1873369"/>
                <a:gd name="connsiteY588" fmla="*/ 7625 h 1289104"/>
                <a:gd name="connsiteX589" fmla="*/ 1121747 w 1873369"/>
                <a:gd name="connsiteY589" fmla="*/ 5815 h 1289104"/>
                <a:gd name="connsiteX590" fmla="*/ 1116836 w 1873369"/>
                <a:gd name="connsiteY590" fmla="*/ 775 h 1289104"/>
                <a:gd name="connsiteX591" fmla="*/ 1116061 w 1873369"/>
                <a:gd name="connsiteY591" fmla="*/ 0 h 1289104"/>
                <a:gd name="connsiteX592" fmla="*/ 1114510 w 1873369"/>
                <a:gd name="connsiteY592" fmla="*/ 3360 h 1289104"/>
                <a:gd name="connsiteX593" fmla="*/ 1114122 w 1873369"/>
                <a:gd name="connsiteY593" fmla="*/ 5040 h 1289104"/>
                <a:gd name="connsiteX594" fmla="*/ 1114381 w 1873369"/>
                <a:gd name="connsiteY594" fmla="*/ 6979 h 1289104"/>
                <a:gd name="connsiteX595" fmla="*/ 1113347 w 1873369"/>
                <a:gd name="connsiteY595" fmla="*/ 9176 h 1289104"/>
                <a:gd name="connsiteX596" fmla="*/ 1109987 w 1873369"/>
                <a:gd name="connsiteY596" fmla="*/ 10597 h 1289104"/>
                <a:gd name="connsiteX597" fmla="*/ 1102750 w 1873369"/>
                <a:gd name="connsiteY597" fmla="*/ 11889 h 1289104"/>
                <a:gd name="connsiteX598" fmla="*/ 1101716 w 1873369"/>
                <a:gd name="connsiteY598" fmla="*/ 11889 h 1289104"/>
                <a:gd name="connsiteX599" fmla="*/ 1098614 w 1873369"/>
                <a:gd name="connsiteY599" fmla="*/ 11502 h 1289104"/>
                <a:gd name="connsiteX600" fmla="*/ 1097322 w 1873369"/>
                <a:gd name="connsiteY600" fmla="*/ 11631 h 1289104"/>
                <a:gd name="connsiteX601" fmla="*/ 1091377 w 1873369"/>
                <a:gd name="connsiteY601" fmla="*/ 14345 h 1289104"/>
                <a:gd name="connsiteX602" fmla="*/ 1075740 w 1873369"/>
                <a:gd name="connsiteY602" fmla="*/ 26622 h 1289104"/>
                <a:gd name="connsiteX603" fmla="*/ 1073543 w 1873369"/>
                <a:gd name="connsiteY603" fmla="*/ 27785 h 1289104"/>
                <a:gd name="connsiteX604" fmla="*/ 1071604 w 1873369"/>
                <a:gd name="connsiteY604" fmla="*/ 28044 h 1289104"/>
                <a:gd name="connsiteX605" fmla="*/ 1058810 w 1873369"/>
                <a:gd name="connsiteY605" fmla="*/ 27914 h 1289104"/>
                <a:gd name="connsiteX606" fmla="*/ 1054804 w 1873369"/>
                <a:gd name="connsiteY606" fmla="*/ 28302 h 1289104"/>
                <a:gd name="connsiteX607" fmla="*/ 1050927 w 1873369"/>
                <a:gd name="connsiteY607" fmla="*/ 29594 h 1289104"/>
                <a:gd name="connsiteX608" fmla="*/ 1046404 w 1873369"/>
                <a:gd name="connsiteY608" fmla="*/ 32825 h 1289104"/>
                <a:gd name="connsiteX609" fmla="*/ 1044595 w 1873369"/>
                <a:gd name="connsiteY609" fmla="*/ 36444 h 1289104"/>
                <a:gd name="connsiteX610" fmla="*/ 1043948 w 1873369"/>
                <a:gd name="connsiteY610" fmla="*/ 45619 h 1289104"/>
                <a:gd name="connsiteX611" fmla="*/ 1042268 w 1873369"/>
                <a:gd name="connsiteY611" fmla="*/ 52210 h 1289104"/>
                <a:gd name="connsiteX612" fmla="*/ 1042656 w 1873369"/>
                <a:gd name="connsiteY612" fmla="*/ 58672 h 1289104"/>
                <a:gd name="connsiteX613" fmla="*/ 1042268 w 1873369"/>
                <a:gd name="connsiteY613" fmla="*/ 60740 h 1289104"/>
                <a:gd name="connsiteX614" fmla="*/ 1041752 w 1873369"/>
                <a:gd name="connsiteY614" fmla="*/ 62678 h 1289104"/>
                <a:gd name="connsiteX615" fmla="*/ 1040459 w 1873369"/>
                <a:gd name="connsiteY615" fmla="*/ 65263 h 1289104"/>
                <a:gd name="connsiteX616" fmla="*/ 1038650 w 1873369"/>
                <a:gd name="connsiteY616" fmla="*/ 67848 h 1289104"/>
                <a:gd name="connsiteX617" fmla="*/ 1036453 w 1873369"/>
                <a:gd name="connsiteY617" fmla="*/ 70045 h 1289104"/>
                <a:gd name="connsiteX618" fmla="*/ 1031413 w 1873369"/>
                <a:gd name="connsiteY618" fmla="*/ 72888 h 1289104"/>
                <a:gd name="connsiteX619" fmla="*/ 1025468 w 1873369"/>
                <a:gd name="connsiteY619" fmla="*/ 78574 h 1289104"/>
                <a:gd name="connsiteX620" fmla="*/ 1018102 w 1873369"/>
                <a:gd name="connsiteY620" fmla="*/ 84002 h 1289104"/>
                <a:gd name="connsiteX621" fmla="*/ 1015905 w 1873369"/>
                <a:gd name="connsiteY621" fmla="*/ 86328 h 1289104"/>
                <a:gd name="connsiteX622" fmla="*/ 1013966 w 1873369"/>
                <a:gd name="connsiteY622" fmla="*/ 90593 h 1289104"/>
                <a:gd name="connsiteX623" fmla="*/ 1012545 w 1873369"/>
                <a:gd name="connsiteY623" fmla="*/ 92531 h 1289104"/>
                <a:gd name="connsiteX624" fmla="*/ 1010735 w 1873369"/>
                <a:gd name="connsiteY624" fmla="*/ 93307 h 1289104"/>
                <a:gd name="connsiteX625" fmla="*/ 1008668 w 1873369"/>
                <a:gd name="connsiteY625" fmla="*/ 92273 h 1289104"/>
                <a:gd name="connsiteX626" fmla="*/ 1008151 w 1873369"/>
                <a:gd name="connsiteY626" fmla="*/ 89817 h 1289104"/>
                <a:gd name="connsiteX627" fmla="*/ 1008539 w 1873369"/>
                <a:gd name="connsiteY627" fmla="*/ 87103 h 1289104"/>
                <a:gd name="connsiteX628" fmla="*/ 1009185 w 1873369"/>
                <a:gd name="connsiteY628" fmla="*/ 85036 h 1289104"/>
                <a:gd name="connsiteX629" fmla="*/ 1011382 w 1873369"/>
                <a:gd name="connsiteY629" fmla="*/ 80771 h 1289104"/>
                <a:gd name="connsiteX630" fmla="*/ 1011382 w 1873369"/>
                <a:gd name="connsiteY630" fmla="*/ 78574 h 1289104"/>
                <a:gd name="connsiteX631" fmla="*/ 1009055 w 1873369"/>
                <a:gd name="connsiteY631" fmla="*/ 77282 h 1289104"/>
                <a:gd name="connsiteX632" fmla="*/ 1006600 w 1873369"/>
                <a:gd name="connsiteY632" fmla="*/ 77540 h 1289104"/>
                <a:gd name="connsiteX633" fmla="*/ 1004015 w 1873369"/>
                <a:gd name="connsiteY633" fmla="*/ 78962 h 1289104"/>
                <a:gd name="connsiteX634" fmla="*/ 999492 w 1873369"/>
                <a:gd name="connsiteY634" fmla="*/ 82192 h 1289104"/>
                <a:gd name="connsiteX635" fmla="*/ 993806 w 1873369"/>
                <a:gd name="connsiteY635" fmla="*/ 85165 h 1289104"/>
                <a:gd name="connsiteX636" fmla="*/ 991350 w 1873369"/>
                <a:gd name="connsiteY636" fmla="*/ 86845 h 1289104"/>
                <a:gd name="connsiteX637" fmla="*/ 989283 w 1873369"/>
                <a:gd name="connsiteY637" fmla="*/ 89430 h 1289104"/>
                <a:gd name="connsiteX638" fmla="*/ 987086 w 1873369"/>
                <a:gd name="connsiteY638" fmla="*/ 94211 h 1289104"/>
                <a:gd name="connsiteX639" fmla="*/ 985664 w 1873369"/>
                <a:gd name="connsiteY639" fmla="*/ 96279 h 1289104"/>
                <a:gd name="connsiteX640" fmla="*/ 972095 w 1873369"/>
                <a:gd name="connsiteY640" fmla="*/ 105196 h 1289104"/>
                <a:gd name="connsiteX641" fmla="*/ 970027 w 1873369"/>
                <a:gd name="connsiteY641" fmla="*/ 105584 h 1289104"/>
                <a:gd name="connsiteX642" fmla="*/ 967830 w 1873369"/>
                <a:gd name="connsiteY642" fmla="*/ 105196 h 1289104"/>
                <a:gd name="connsiteX643" fmla="*/ 962402 w 1873369"/>
                <a:gd name="connsiteY643" fmla="*/ 102741 h 1289104"/>
                <a:gd name="connsiteX644" fmla="*/ 960593 w 1873369"/>
                <a:gd name="connsiteY644" fmla="*/ 102741 h 1289104"/>
                <a:gd name="connsiteX645" fmla="*/ 958784 w 1873369"/>
                <a:gd name="connsiteY645" fmla="*/ 104033 h 1289104"/>
                <a:gd name="connsiteX646" fmla="*/ 956457 w 1873369"/>
                <a:gd name="connsiteY646" fmla="*/ 106488 h 1289104"/>
                <a:gd name="connsiteX647" fmla="*/ 954260 w 1873369"/>
                <a:gd name="connsiteY647" fmla="*/ 108168 h 1289104"/>
                <a:gd name="connsiteX648" fmla="*/ 952451 w 1873369"/>
                <a:gd name="connsiteY648" fmla="*/ 108685 h 1289104"/>
                <a:gd name="connsiteX649" fmla="*/ 950513 w 1873369"/>
                <a:gd name="connsiteY649" fmla="*/ 108815 h 1289104"/>
                <a:gd name="connsiteX650" fmla="*/ 948057 w 1873369"/>
                <a:gd name="connsiteY650" fmla="*/ 109461 h 1289104"/>
                <a:gd name="connsiteX651" fmla="*/ 946894 w 1873369"/>
                <a:gd name="connsiteY651" fmla="*/ 110107 h 1289104"/>
                <a:gd name="connsiteX652" fmla="*/ 943405 w 1873369"/>
                <a:gd name="connsiteY652" fmla="*/ 113209 h 1289104"/>
                <a:gd name="connsiteX653" fmla="*/ 943017 w 1873369"/>
                <a:gd name="connsiteY653" fmla="*/ 113467 h 1289104"/>
                <a:gd name="connsiteX654" fmla="*/ 941983 w 1873369"/>
                <a:gd name="connsiteY654" fmla="*/ 113855 h 1289104"/>
                <a:gd name="connsiteX655" fmla="*/ 941466 w 1873369"/>
                <a:gd name="connsiteY655" fmla="*/ 114113 h 1289104"/>
                <a:gd name="connsiteX656" fmla="*/ 941208 w 1873369"/>
                <a:gd name="connsiteY656" fmla="*/ 114759 h 1289104"/>
                <a:gd name="connsiteX657" fmla="*/ 941079 w 1873369"/>
                <a:gd name="connsiteY657" fmla="*/ 116181 h 1289104"/>
                <a:gd name="connsiteX658" fmla="*/ 940949 w 1873369"/>
                <a:gd name="connsiteY658" fmla="*/ 116569 h 1289104"/>
                <a:gd name="connsiteX659" fmla="*/ 936943 w 1873369"/>
                <a:gd name="connsiteY659" fmla="*/ 117473 h 1289104"/>
                <a:gd name="connsiteX660" fmla="*/ 932549 w 1873369"/>
                <a:gd name="connsiteY660" fmla="*/ 117086 h 1289104"/>
                <a:gd name="connsiteX661" fmla="*/ 928672 w 1873369"/>
                <a:gd name="connsiteY661" fmla="*/ 117990 h 1289104"/>
                <a:gd name="connsiteX662" fmla="*/ 926217 w 1873369"/>
                <a:gd name="connsiteY662" fmla="*/ 123030 h 1289104"/>
                <a:gd name="connsiteX663" fmla="*/ 925312 w 1873369"/>
                <a:gd name="connsiteY663" fmla="*/ 131818 h 1289104"/>
                <a:gd name="connsiteX664" fmla="*/ 924149 w 1873369"/>
                <a:gd name="connsiteY664" fmla="*/ 136212 h 1289104"/>
                <a:gd name="connsiteX665" fmla="*/ 921564 w 1873369"/>
                <a:gd name="connsiteY665" fmla="*/ 139572 h 1289104"/>
                <a:gd name="connsiteX666" fmla="*/ 919497 w 1873369"/>
                <a:gd name="connsiteY666" fmla="*/ 140606 h 1289104"/>
                <a:gd name="connsiteX667" fmla="*/ 917300 w 1873369"/>
                <a:gd name="connsiteY667" fmla="*/ 140735 h 1289104"/>
                <a:gd name="connsiteX668" fmla="*/ 912906 w 1873369"/>
                <a:gd name="connsiteY668" fmla="*/ 140089 h 1289104"/>
                <a:gd name="connsiteX669" fmla="*/ 910063 w 1873369"/>
                <a:gd name="connsiteY669" fmla="*/ 140089 h 1289104"/>
                <a:gd name="connsiteX670" fmla="*/ 908253 w 1873369"/>
                <a:gd name="connsiteY670" fmla="*/ 140994 h 1289104"/>
                <a:gd name="connsiteX671" fmla="*/ 901662 w 1873369"/>
                <a:gd name="connsiteY671" fmla="*/ 149006 h 1289104"/>
                <a:gd name="connsiteX672" fmla="*/ 900499 w 1873369"/>
                <a:gd name="connsiteY672" fmla="*/ 150945 h 1289104"/>
                <a:gd name="connsiteX673" fmla="*/ 899465 w 1873369"/>
                <a:gd name="connsiteY673" fmla="*/ 153659 h 1289104"/>
                <a:gd name="connsiteX674" fmla="*/ 899336 w 1873369"/>
                <a:gd name="connsiteY674" fmla="*/ 154434 h 1289104"/>
                <a:gd name="connsiteX675" fmla="*/ 899465 w 1873369"/>
                <a:gd name="connsiteY675" fmla="*/ 157536 h 1289104"/>
                <a:gd name="connsiteX676" fmla="*/ 899078 w 1873369"/>
                <a:gd name="connsiteY676" fmla="*/ 158957 h 1289104"/>
                <a:gd name="connsiteX677" fmla="*/ 897010 w 1873369"/>
                <a:gd name="connsiteY677" fmla="*/ 161154 h 1289104"/>
                <a:gd name="connsiteX678" fmla="*/ 895071 w 1873369"/>
                <a:gd name="connsiteY678" fmla="*/ 164385 h 1289104"/>
                <a:gd name="connsiteX679" fmla="*/ 892745 w 1873369"/>
                <a:gd name="connsiteY679" fmla="*/ 166324 h 1289104"/>
                <a:gd name="connsiteX680" fmla="*/ 890031 w 1873369"/>
                <a:gd name="connsiteY680" fmla="*/ 167745 h 1289104"/>
                <a:gd name="connsiteX681" fmla="*/ 887705 w 1873369"/>
                <a:gd name="connsiteY681" fmla="*/ 168650 h 1289104"/>
                <a:gd name="connsiteX682" fmla="*/ 885250 w 1873369"/>
                <a:gd name="connsiteY682" fmla="*/ 168779 h 1289104"/>
                <a:gd name="connsiteX683" fmla="*/ 883311 w 1873369"/>
                <a:gd name="connsiteY683" fmla="*/ 168133 h 1289104"/>
                <a:gd name="connsiteX684" fmla="*/ 881890 w 1873369"/>
                <a:gd name="connsiteY684" fmla="*/ 166582 h 1289104"/>
                <a:gd name="connsiteX685" fmla="*/ 880727 w 1873369"/>
                <a:gd name="connsiteY685" fmla="*/ 164256 h 1289104"/>
                <a:gd name="connsiteX686" fmla="*/ 880468 w 1873369"/>
                <a:gd name="connsiteY686" fmla="*/ 159216 h 1289104"/>
                <a:gd name="connsiteX687" fmla="*/ 883053 w 1873369"/>
                <a:gd name="connsiteY687" fmla="*/ 155080 h 1289104"/>
                <a:gd name="connsiteX688" fmla="*/ 886284 w 1873369"/>
                <a:gd name="connsiteY688" fmla="*/ 151074 h 1289104"/>
                <a:gd name="connsiteX689" fmla="*/ 887964 w 1873369"/>
                <a:gd name="connsiteY689" fmla="*/ 146034 h 1289104"/>
                <a:gd name="connsiteX690" fmla="*/ 887834 w 1873369"/>
                <a:gd name="connsiteY690" fmla="*/ 143578 h 1289104"/>
                <a:gd name="connsiteX691" fmla="*/ 887188 w 1873369"/>
                <a:gd name="connsiteY691" fmla="*/ 141252 h 1289104"/>
                <a:gd name="connsiteX692" fmla="*/ 886025 w 1873369"/>
                <a:gd name="connsiteY692" fmla="*/ 139055 h 1289104"/>
                <a:gd name="connsiteX693" fmla="*/ 883440 w 1873369"/>
                <a:gd name="connsiteY693" fmla="*/ 135954 h 1289104"/>
                <a:gd name="connsiteX694" fmla="*/ 882277 w 1873369"/>
                <a:gd name="connsiteY694" fmla="*/ 134791 h 1289104"/>
                <a:gd name="connsiteX695" fmla="*/ 880985 w 1873369"/>
                <a:gd name="connsiteY695" fmla="*/ 133886 h 1289104"/>
                <a:gd name="connsiteX696" fmla="*/ 879563 w 1873369"/>
                <a:gd name="connsiteY696" fmla="*/ 133240 h 1289104"/>
                <a:gd name="connsiteX697" fmla="*/ 878271 w 1873369"/>
                <a:gd name="connsiteY697" fmla="*/ 133110 h 1289104"/>
                <a:gd name="connsiteX698" fmla="*/ 876074 w 1873369"/>
                <a:gd name="connsiteY698" fmla="*/ 133369 h 1289104"/>
                <a:gd name="connsiteX699" fmla="*/ 868320 w 1873369"/>
                <a:gd name="connsiteY699" fmla="*/ 133110 h 1289104"/>
                <a:gd name="connsiteX700" fmla="*/ 866123 w 1873369"/>
                <a:gd name="connsiteY700" fmla="*/ 133369 h 1289104"/>
                <a:gd name="connsiteX701" fmla="*/ 863538 w 1873369"/>
                <a:gd name="connsiteY701" fmla="*/ 134274 h 1289104"/>
                <a:gd name="connsiteX702" fmla="*/ 859274 w 1873369"/>
                <a:gd name="connsiteY702" fmla="*/ 136858 h 1289104"/>
                <a:gd name="connsiteX703" fmla="*/ 849969 w 1873369"/>
                <a:gd name="connsiteY703" fmla="*/ 141123 h 1289104"/>
                <a:gd name="connsiteX704" fmla="*/ 847901 w 1873369"/>
                <a:gd name="connsiteY704" fmla="*/ 142545 h 1289104"/>
                <a:gd name="connsiteX705" fmla="*/ 845446 w 1873369"/>
                <a:gd name="connsiteY705" fmla="*/ 144871 h 1289104"/>
                <a:gd name="connsiteX706" fmla="*/ 841310 w 1873369"/>
                <a:gd name="connsiteY706" fmla="*/ 149782 h 1289104"/>
                <a:gd name="connsiteX707" fmla="*/ 839113 w 1873369"/>
                <a:gd name="connsiteY707" fmla="*/ 151979 h 1289104"/>
                <a:gd name="connsiteX708" fmla="*/ 836916 w 1873369"/>
                <a:gd name="connsiteY708" fmla="*/ 153271 h 1289104"/>
                <a:gd name="connsiteX709" fmla="*/ 834849 w 1873369"/>
                <a:gd name="connsiteY709" fmla="*/ 153917 h 1289104"/>
                <a:gd name="connsiteX710" fmla="*/ 830196 w 1873369"/>
                <a:gd name="connsiteY710" fmla="*/ 154176 h 1289104"/>
                <a:gd name="connsiteX711" fmla="*/ 827870 w 1873369"/>
                <a:gd name="connsiteY711" fmla="*/ 155209 h 1289104"/>
                <a:gd name="connsiteX712" fmla="*/ 824381 w 1873369"/>
                <a:gd name="connsiteY712" fmla="*/ 158957 h 1289104"/>
                <a:gd name="connsiteX713" fmla="*/ 821925 w 1873369"/>
                <a:gd name="connsiteY713" fmla="*/ 160120 h 1289104"/>
                <a:gd name="connsiteX714" fmla="*/ 819599 w 1873369"/>
                <a:gd name="connsiteY714" fmla="*/ 159862 h 1289104"/>
                <a:gd name="connsiteX715" fmla="*/ 817790 w 1873369"/>
                <a:gd name="connsiteY715" fmla="*/ 158828 h 1289104"/>
                <a:gd name="connsiteX716" fmla="*/ 816110 w 1873369"/>
                <a:gd name="connsiteY716" fmla="*/ 157536 h 1289104"/>
                <a:gd name="connsiteX717" fmla="*/ 813913 w 1873369"/>
                <a:gd name="connsiteY717" fmla="*/ 156631 h 1289104"/>
                <a:gd name="connsiteX718" fmla="*/ 811845 w 1873369"/>
                <a:gd name="connsiteY718" fmla="*/ 156760 h 1289104"/>
                <a:gd name="connsiteX719" fmla="*/ 805771 w 1873369"/>
                <a:gd name="connsiteY719" fmla="*/ 158570 h 1289104"/>
                <a:gd name="connsiteX720" fmla="*/ 799180 w 1873369"/>
                <a:gd name="connsiteY720" fmla="*/ 157148 h 1289104"/>
                <a:gd name="connsiteX721" fmla="*/ 792718 w 1873369"/>
                <a:gd name="connsiteY721" fmla="*/ 152496 h 1289104"/>
                <a:gd name="connsiteX722" fmla="*/ 788195 w 1873369"/>
                <a:gd name="connsiteY722" fmla="*/ 148489 h 1289104"/>
                <a:gd name="connsiteX723" fmla="*/ 786257 w 1873369"/>
                <a:gd name="connsiteY723" fmla="*/ 146680 h 1289104"/>
                <a:gd name="connsiteX724" fmla="*/ 781087 w 1873369"/>
                <a:gd name="connsiteY724" fmla="*/ 142157 h 1289104"/>
                <a:gd name="connsiteX725" fmla="*/ 773721 w 1873369"/>
                <a:gd name="connsiteY725" fmla="*/ 135566 h 1289104"/>
                <a:gd name="connsiteX726" fmla="*/ 765450 w 1873369"/>
                <a:gd name="connsiteY726" fmla="*/ 128200 h 1289104"/>
                <a:gd name="connsiteX727" fmla="*/ 757050 w 1873369"/>
                <a:gd name="connsiteY727" fmla="*/ 120704 h 1289104"/>
                <a:gd name="connsiteX728" fmla="*/ 749684 w 1873369"/>
                <a:gd name="connsiteY728" fmla="*/ 114242 h 1289104"/>
                <a:gd name="connsiteX729" fmla="*/ 744644 w 1873369"/>
                <a:gd name="connsiteY729" fmla="*/ 109590 h 1289104"/>
                <a:gd name="connsiteX730" fmla="*/ 742576 w 1873369"/>
                <a:gd name="connsiteY730" fmla="*/ 107781 h 1289104"/>
                <a:gd name="connsiteX731" fmla="*/ 738570 w 1873369"/>
                <a:gd name="connsiteY731" fmla="*/ 108685 h 1289104"/>
                <a:gd name="connsiteX732" fmla="*/ 731591 w 1873369"/>
                <a:gd name="connsiteY732" fmla="*/ 110624 h 1289104"/>
                <a:gd name="connsiteX733" fmla="*/ 722286 w 1873369"/>
                <a:gd name="connsiteY733" fmla="*/ 113079 h 1289104"/>
                <a:gd name="connsiteX734" fmla="*/ 720089 w 1873369"/>
                <a:gd name="connsiteY734" fmla="*/ 112821 h 1289104"/>
                <a:gd name="connsiteX735" fmla="*/ 719185 w 1873369"/>
                <a:gd name="connsiteY735" fmla="*/ 110107 h 1289104"/>
                <a:gd name="connsiteX736" fmla="*/ 718797 w 1873369"/>
                <a:gd name="connsiteY736" fmla="*/ 104550 h 1289104"/>
                <a:gd name="connsiteX737" fmla="*/ 721382 w 1873369"/>
                <a:gd name="connsiteY737" fmla="*/ 73922 h 1289104"/>
                <a:gd name="connsiteX738" fmla="*/ 720348 w 1873369"/>
                <a:gd name="connsiteY738" fmla="*/ 67201 h 1289104"/>
                <a:gd name="connsiteX739" fmla="*/ 716729 w 1873369"/>
                <a:gd name="connsiteY739" fmla="*/ 55958 h 1289104"/>
                <a:gd name="connsiteX740" fmla="*/ 712594 w 1873369"/>
                <a:gd name="connsiteY740" fmla="*/ 47687 h 1289104"/>
                <a:gd name="connsiteX741" fmla="*/ 700963 w 1873369"/>
                <a:gd name="connsiteY741" fmla="*/ 32308 h 1289104"/>
                <a:gd name="connsiteX742" fmla="*/ 698378 w 1873369"/>
                <a:gd name="connsiteY742" fmla="*/ 27785 h 1289104"/>
                <a:gd name="connsiteX743" fmla="*/ 694889 w 1873369"/>
                <a:gd name="connsiteY743" fmla="*/ 19514 h 1289104"/>
                <a:gd name="connsiteX744" fmla="*/ 692821 w 1873369"/>
                <a:gd name="connsiteY744" fmla="*/ 15508 h 1289104"/>
                <a:gd name="connsiteX745" fmla="*/ 690107 w 1873369"/>
                <a:gd name="connsiteY745" fmla="*/ 12923 h 1289104"/>
                <a:gd name="connsiteX746" fmla="*/ 688427 w 1873369"/>
                <a:gd name="connsiteY746" fmla="*/ 12019 h 1289104"/>
                <a:gd name="connsiteX747" fmla="*/ 683775 w 1873369"/>
                <a:gd name="connsiteY747" fmla="*/ 10468 h 1289104"/>
                <a:gd name="connsiteX748" fmla="*/ 682224 w 1873369"/>
                <a:gd name="connsiteY748" fmla="*/ 10339 h 1289104"/>
                <a:gd name="connsiteX749" fmla="*/ 681190 w 1873369"/>
                <a:gd name="connsiteY749" fmla="*/ 10856 h 1289104"/>
                <a:gd name="connsiteX750" fmla="*/ 679381 w 1873369"/>
                <a:gd name="connsiteY750" fmla="*/ 12794 h 1289104"/>
                <a:gd name="connsiteX751" fmla="*/ 678347 w 1873369"/>
                <a:gd name="connsiteY751" fmla="*/ 13182 h 1289104"/>
                <a:gd name="connsiteX752" fmla="*/ 674599 w 1873369"/>
                <a:gd name="connsiteY752" fmla="*/ 13699 h 1289104"/>
                <a:gd name="connsiteX753" fmla="*/ 672790 w 1873369"/>
                <a:gd name="connsiteY753" fmla="*/ 14862 h 1289104"/>
                <a:gd name="connsiteX754" fmla="*/ 669947 w 1873369"/>
                <a:gd name="connsiteY754" fmla="*/ 17317 h 1289104"/>
                <a:gd name="connsiteX755" fmla="*/ 665811 w 1873369"/>
                <a:gd name="connsiteY755" fmla="*/ 19256 h 1289104"/>
                <a:gd name="connsiteX756" fmla="*/ 657540 w 1873369"/>
                <a:gd name="connsiteY756" fmla="*/ 27914 h 1289104"/>
                <a:gd name="connsiteX757" fmla="*/ 644617 w 1873369"/>
                <a:gd name="connsiteY757" fmla="*/ 45102 h 1289104"/>
                <a:gd name="connsiteX758" fmla="*/ 641386 w 1873369"/>
                <a:gd name="connsiteY758" fmla="*/ 48075 h 1289104"/>
                <a:gd name="connsiteX759" fmla="*/ 637121 w 1873369"/>
                <a:gd name="connsiteY759" fmla="*/ 50530 h 1289104"/>
                <a:gd name="connsiteX760" fmla="*/ 633632 w 1873369"/>
                <a:gd name="connsiteY760" fmla="*/ 51693 h 1289104"/>
                <a:gd name="connsiteX761" fmla="*/ 629755 w 1873369"/>
                <a:gd name="connsiteY761" fmla="*/ 52598 h 1289104"/>
                <a:gd name="connsiteX762" fmla="*/ 626007 w 1873369"/>
                <a:gd name="connsiteY762" fmla="*/ 52727 h 1289104"/>
                <a:gd name="connsiteX763" fmla="*/ 622389 w 1873369"/>
                <a:gd name="connsiteY763" fmla="*/ 51693 h 1289104"/>
                <a:gd name="connsiteX764" fmla="*/ 618770 w 1873369"/>
                <a:gd name="connsiteY764" fmla="*/ 48850 h 1289104"/>
                <a:gd name="connsiteX765" fmla="*/ 615927 w 1873369"/>
                <a:gd name="connsiteY765" fmla="*/ 44715 h 1289104"/>
                <a:gd name="connsiteX766" fmla="*/ 613730 w 1873369"/>
                <a:gd name="connsiteY766" fmla="*/ 40062 h 1289104"/>
                <a:gd name="connsiteX767" fmla="*/ 611404 w 1873369"/>
                <a:gd name="connsiteY767" fmla="*/ 33213 h 1289104"/>
                <a:gd name="connsiteX768" fmla="*/ 610370 w 1873369"/>
                <a:gd name="connsiteY768" fmla="*/ 31275 h 1289104"/>
                <a:gd name="connsiteX769" fmla="*/ 608690 w 1873369"/>
                <a:gd name="connsiteY769" fmla="*/ 29853 h 1289104"/>
                <a:gd name="connsiteX770" fmla="*/ 606235 w 1873369"/>
                <a:gd name="connsiteY770" fmla="*/ 28819 h 1289104"/>
                <a:gd name="connsiteX771" fmla="*/ 604038 w 1873369"/>
                <a:gd name="connsiteY771" fmla="*/ 28302 h 1289104"/>
                <a:gd name="connsiteX772" fmla="*/ 603262 w 1873369"/>
                <a:gd name="connsiteY772" fmla="*/ 28044 h 1289104"/>
                <a:gd name="connsiteX773" fmla="*/ 602357 w 1873369"/>
                <a:gd name="connsiteY773" fmla="*/ 27139 h 1289104"/>
                <a:gd name="connsiteX774" fmla="*/ 602099 w 1873369"/>
                <a:gd name="connsiteY774" fmla="*/ 26364 h 1289104"/>
                <a:gd name="connsiteX775" fmla="*/ 602099 w 1873369"/>
                <a:gd name="connsiteY775" fmla="*/ 24296 h 1289104"/>
                <a:gd name="connsiteX776" fmla="*/ 601582 w 1873369"/>
                <a:gd name="connsiteY776" fmla="*/ 23520 h 1289104"/>
                <a:gd name="connsiteX777" fmla="*/ 600677 w 1873369"/>
                <a:gd name="connsiteY777" fmla="*/ 24296 h 1289104"/>
                <a:gd name="connsiteX778" fmla="*/ 594345 w 1873369"/>
                <a:gd name="connsiteY778" fmla="*/ 40192 h 1289104"/>
                <a:gd name="connsiteX779" fmla="*/ 592148 w 1873369"/>
                <a:gd name="connsiteY779" fmla="*/ 43293 h 1289104"/>
                <a:gd name="connsiteX780" fmla="*/ 592923 w 1873369"/>
                <a:gd name="connsiteY780" fmla="*/ 43681 h 1289104"/>
                <a:gd name="connsiteX781" fmla="*/ 595637 w 1873369"/>
                <a:gd name="connsiteY781" fmla="*/ 44069 h 1289104"/>
                <a:gd name="connsiteX782" fmla="*/ 596671 w 1873369"/>
                <a:gd name="connsiteY782" fmla="*/ 45361 h 1289104"/>
                <a:gd name="connsiteX783" fmla="*/ 596413 w 1873369"/>
                <a:gd name="connsiteY783" fmla="*/ 47687 h 1289104"/>
                <a:gd name="connsiteX784" fmla="*/ 596671 w 1873369"/>
                <a:gd name="connsiteY784" fmla="*/ 49626 h 1289104"/>
                <a:gd name="connsiteX785" fmla="*/ 600677 w 1873369"/>
                <a:gd name="connsiteY785" fmla="*/ 49755 h 1289104"/>
                <a:gd name="connsiteX786" fmla="*/ 601453 w 1873369"/>
                <a:gd name="connsiteY786" fmla="*/ 50272 h 1289104"/>
                <a:gd name="connsiteX787" fmla="*/ 601841 w 1873369"/>
                <a:gd name="connsiteY787" fmla="*/ 51176 h 1289104"/>
                <a:gd name="connsiteX788" fmla="*/ 601711 w 1873369"/>
                <a:gd name="connsiteY788" fmla="*/ 52469 h 1289104"/>
                <a:gd name="connsiteX789" fmla="*/ 601970 w 1873369"/>
                <a:gd name="connsiteY789" fmla="*/ 53244 h 1289104"/>
                <a:gd name="connsiteX790" fmla="*/ 602874 w 1873369"/>
                <a:gd name="connsiteY790" fmla="*/ 53890 h 1289104"/>
                <a:gd name="connsiteX791" fmla="*/ 604684 w 1873369"/>
                <a:gd name="connsiteY791" fmla="*/ 54795 h 1289104"/>
                <a:gd name="connsiteX792" fmla="*/ 596671 w 1873369"/>
                <a:gd name="connsiteY792" fmla="*/ 54795 h 1289104"/>
                <a:gd name="connsiteX793" fmla="*/ 591502 w 1873369"/>
                <a:gd name="connsiteY793" fmla="*/ 54795 h 1289104"/>
                <a:gd name="connsiteX794" fmla="*/ 578062 w 1873369"/>
                <a:gd name="connsiteY794" fmla="*/ 54795 h 1289104"/>
                <a:gd name="connsiteX795" fmla="*/ 558935 w 1873369"/>
                <a:gd name="connsiteY795" fmla="*/ 54795 h 1289104"/>
                <a:gd name="connsiteX796" fmla="*/ 537095 w 1873369"/>
                <a:gd name="connsiteY796" fmla="*/ 54795 h 1289104"/>
                <a:gd name="connsiteX797" fmla="*/ 515125 w 1873369"/>
                <a:gd name="connsiteY797" fmla="*/ 54924 h 1289104"/>
                <a:gd name="connsiteX798" fmla="*/ 496128 w 1873369"/>
                <a:gd name="connsiteY798" fmla="*/ 54924 h 1289104"/>
                <a:gd name="connsiteX799" fmla="*/ 482558 w 1873369"/>
                <a:gd name="connsiteY799" fmla="*/ 54924 h 1289104"/>
                <a:gd name="connsiteX800" fmla="*/ 477389 w 1873369"/>
                <a:gd name="connsiteY800" fmla="*/ 54924 h 1289104"/>
                <a:gd name="connsiteX801" fmla="*/ 472995 w 1873369"/>
                <a:gd name="connsiteY801" fmla="*/ 54407 h 1289104"/>
                <a:gd name="connsiteX802" fmla="*/ 464982 w 1873369"/>
                <a:gd name="connsiteY802" fmla="*/ 50918 h 1289104"/>
                <a:gd name="connsiteX803" fmla="*/ 457099 w 1873369"/>
                <a:gd name="connsiteY803" fmla="*/ 49367 h 1289104"/>
                <a:gd name="connsiteX804" fmla="*/ 453093 w 1873369"/>
                <a:gd name="connsiteY804" fmla="*/ 49626 h 1289104"/>
                <a:gd name="connsiteX805" fmla="*/ 445726 w 1873369"/>
                <a:gd name="connsiteY805" fmla="*/ 52856 h 1289104"/>
                <a:gd name="connsiteX806" fmla="*/ 441333 w 1873369"/>
                <a:gd name="connsiteY806" fmla="*/ 53244 h 1289104"/>
                <a:gd name="connsiteX807" fmla="*/ 439006 w 1873369"/>
                <a:gd name="connsiteY807" fmla="*/ 52986 h 1289104"/>
                <a:gd name="connsiteX808" fmla="*/ 437068 w 1873369"/>
                <a:gd name="connsiteY808" fmla="*/ 52856 h 1289104"/>
                <a:gd name="connsiteX809" fmla="*/ 435259 w 1873369"/>
                <a:gd name="connsiteY809" fmla="*/ 53244 h 1289104"/>
                <a:gd name="connsiteX810" fmla="*/ 430735 w 1873369"/>
                <a:gd name="connsiteY810" fmla="*/ 55700 h 1289104"/>
                <a:gd name="connsiteX811" fmla="*/ 428668 w 1873369"/>
                <a:gd name="connsiteY811" fmla="*/ 56217 h 1289104"/>
                <a:gd name="connsiteX812" fmla="*/ 425178 w 1873369"/>
                <a:gd name="connsiteY812" fmla="*/ 56217 h 1289104"/>
                <a:gd name="connsiteX813" fmla="*/ 423498 w 1873369"/>
                <a:gd name="connsiteY813" fmla="*/ 56217 h 1289104"/>
                <a:gd name="connsiteX814" fmla="*/ 424274 w 1873369"/>
                <a:gd name="connsiteY814" fmla="*/ 60352 h 1289104"/>
                <a:gd name="connsiteX815" fmla="*/ 424274 w 1873369"/>
                <a:gd name="connsiteY815" fmla="*/ 67718 h 1289104"/>
                <a:gd name="connsiteX816" fmla="*/ 424274 w 1873369"/>
                <a:gd name="connsiteY816" fmla="*/ 74955 h 1289104"/>
                <a:gd name="connsiteX817" fmla="*/ 424144 w 1873369"/>
                <a:gd name="connsiteY817" fmla="*/ 82322 h 1289104"/>
                <a:gd name="connsiteX818" fmla="*/ 424144 w 1873369"/>
                <a:gd name="connsiteY818" fmla="*/ 89559 h 1289104"/>
                <a:gd name="connsiteX819" fmla="*/ 424144 w 1873369"/>
                <a:gd name="connsiteY819" fmla="*/ 96925 h 1289104"/>
                <a:gd name="connsiteX820" fmla="*/ 424015 w 1873369"/>
                <a:gd name="connsiteY820" fmla="*/ 104162 h 1289104"/>
                <a:gd name="connsiteX821" fmla="*/ 424015 w 1873369"/>
                <a:gd name="connsiteY821" fmla="*/ 111529 h 1289104"/>
                <a:gd name="connsiteX822" fmla="*/ 424015 w 1873369"/>
                <a:gd name="connsiteY822" fmla="*/ 118766 h 1289104"/>
                <a:gd name="connsiteX823" fmla="*/ 423886 w 1873369"/>
                <a:gd name="connsiteY823" fmla="*/ 125227 h 1289104"/>
                <a:gd name="connsiteX824" fmla="*/ 426341 w 1873369"/>
                <a:gd name="connsiteY824" fmla="*/ 125356 h 1289104"/>
                <a:gd name="connsiteX825" fmla="*/ 430865 w 1873369"/>
                <a:gd name="connsiteY825" fmla="*/ 122513 h 1289104"/>
                <a:gd name="connsiteX826" fmla="*/ 433579 w 1873369"/>
                <a:gd name="connsiteY826" fmla="*/ 121867 h 1289104"/>
                <a:gd name="connsiteX827" fmla="*/ 434871 w 1873369"/>
                <a:gd name="connsiteY827" fmla="*/ 121867 h 1289104"/>
                <a:gd name="connsiteX828" fmla="*/ 436292 w 1873369"/>
                <a:gd name="connsiteY828" fmla="*/ 122126 h 1289104"/>
                <a:gd name="connsiteX829" fmla="*/ 437197 w 1873369"/>
                <a:gd name="connsiteY829" fmla="*/ 122643 h 1289104"/>
                <a:gd name="connsiteX830" fmla="*/ 437456 w 1873369"/>
                <a:gd name="connsiteY830" fmla="*/ 124969 h 1289104"/>
                <a:gd name="connsiteX831" fmla="*/ 438489 w 1873369"/>
                <a:gd name="connsiteY831" fmla="*/ 125227 h 1289104"/>
                <a:gd name="connsiteX832" fmla="*/ 448828 w 1873369"/>
                <a:gd name="connsiteY832" fmla="*/ 123806 h 1289104"/>
                <a:gd name="connsiteX833" fmla="*/ 451283 w 1873369"/>
                <a:gd name="connsiteY833" fmla="*/ 123806 h 1289104"/>
                <a:gd name="connsiteX834" fmla="*/ 455936 w 1873369"/>
                <a:gd name="connsiteY834" fmla="*/ 125486 h 1289104"/>
                <a:gd name="connsiteX835" fmla="*/ 457099 w 1873369"/>
                <a:gd name="connsiteY835" fmla="*/ 125615 h 1289104"/>
                <a:gd name="connsiteX836" fmla="*/ 460588 w 1873369"/>
                <a:gd name="connsiteY836" fmla="*/ 125486 h 1289104"/>
                <a:gd name="connsiteX837" fmla="*/ 463948 w 1873369"/>
                <a:gd name="connsiteY837" fmla="*/ 125098 h 1289104"/>
                <a:gd name="connsiteX838" fmla="*/ 464982 w 1873369"/>
                <a:gd name="connsiteY838" fmla="*/ 125227 h 1289104"/>
                <a:gd name="connsiteX839" fmla="*/ 465887 w 1873369"/>
                <a:gd name="connsiteY839" fmla="*/ 125615 h 1289104"/>
                <a:gd name="connsiteX840" fmla="*/ 466404 w 1873369"/>
                <a:gd name="connsiteY840" fmla="*/ 126132 h 1289104"/>
                <a:gd name="connsiteX841" fmla="*/ 466792 w 1873369"/>
                <a:gd name="connsiteY841" fmla="*/ 126520 h 1289104"/>
                <a:gd name="connsiteX842" fmla="*/ 467308 w 1873369"/>
                <a:gd name="connsiteY842" fmla="*/ 127037 h 1289104"/>
                <a:gd name="connsiteX843" fmla="*/ 469247 w 1873369"/>
                <a:gd name="connsiteY843" fmla="*/ 128200 h 1289104"/>
                <a:gd name="connsiteX844" fmla="*/ 470410 w 1873369"/>
                <a:gd name="connsiteY844" fmla="*/ 128458 h 1289104"/>
                <a:gd name="connsiteX845" fmla="*/ 475450 w 1873369"/>
                <a:gd name="connsiteY845" fmla="*/ 124840 h 1289104"/>
                <a:gd name="connsiteX846" fmla="*/ 477130 w 1873369"/>
                <a:gd name="connsiteY846" fmla="*/ 124323 h 1289104"/>
                <a:gd name="connsiteX847" fmla="*/ 478939 w 1873369"/>
                <a:gd name="connsiteY847" fmla="*/ 124710 h 1289104"/>
                <a:gd name="connsiteX848" fmla="*/ 484238 w 1873369"/>
                <a:gd name="connsiteY848" fmla="*/ 127424 h 1289104"/>
                <a:gd name="connsiteX849" fmla="*/ 485789 w 1873369"/>
                <a:gd name="connsiteY849" fmla="*/ 128458 h 1289104"/>
                <a:gd name="connsiteX850" fmla="*/ 487598 w 1873369"/>
                <a:gd name="connsiteY850" fmla="*/ 130784 h 1289104"/>
                <a:gd name="connsiteX851" fmla="*/ 489407 w 1873369"/>
                <a:gd name="connsiteY851" fmla="*/ 131947 h 1289104"/>
                <a:gd name="connsiteX852" fmla="*/ 490183 w 1873369"/>
                <a:gd name="connsiteY852" fmla="*/ 132723 h 1289104"/>
                <a:gd name="connsiteX853" fmla="*/ 490571 w 1873369"/>
                <a:gd name="connsiteY853" fmla="*/ 133757 h 1289104"/>
                <a:gd name="connsiteX854" fmla="*/ 490571 w 1873369"/>
                <a:gd name="connsiteY854" fmla="*/ 134920 h 1289104"/>
                <a:gd name="connsiteX855" fmla="*/ 490958 w 1873369"/>
                <a:gd name="connsiteY855" fmla="*/ 136083 h 1289104"/>
                <a:gd name="connsiteX856" fmla="*/ 493284 w 1873369"/>
                <a:gd name="connsiteY856" fmla="*/ 137504 h 1289104"/>
                <a:gd name="connsiteX857" fmla="*/ 492638 w 1873369"/>
                <a:gd name="connsiteY857" fmla="*/ 141381 h 1289104"/>
                <a:gd name="connsiteX858" fmla="*/ 494448 w 1873369"/>
                <a:gd name="connsiteY858" fmla="*/ 142932 h 1289104"/>
                <a:gd name="connsiteX859" fmla="*/ 496903 w 1873369"/>
                <a:gd name="connsiteY859" fmla="*/ 143966 h 1289104"/>
                <a:gd name="connsiteX860" fmla="*/ 498195 w 1873369"/>
                <a:gd name="connsiteY860" fmla="*/ 144612 h 1289104"/>
                <a:gd name="connsiteX861" fmla="*/ 498841 w 1873369"/>
                <a:gd name="connsiteY861" fmla="*/ 145517 h 1289104"/>
                <a:gd name="connsiteX862" fmla="*/ 498841 w 1873369"/>
                <a:gd name="connsiteY862" fmla="*/ 146939 h 1289104"/>
                <a:gd name="connsiteX863" fmla="*/ 498066 w 1873369"/>
                <a:gd name="connsiteY863" fmla="*/ 147455 h 1289104"/>
                <a:gd name="connsiteX864" fmla="*/ 497032 w 1873369"/>
                <a:gd name="connsiteY864" fmla="*/ 147714 h 1289104"/>
                <a:gd name="connsiteX865" fmla="*/ 496386 w 1873369"/>
                <a:gd name="connsiteY865" fmla="*/ 148102 h 1289104"/>
                <a:gd name="connsiteX866" fmla="*/ 496128 w 1873369"/>
                <a:gd name="connsiteY866" fmla="*/ 150299 h 1289104"/>
                <a:gd name="connsiteX867" fmla="*/ 497161 w 1873369"/>
                <a:gd name="connsiteY867" fmla="*/ 154951 h 1289104"/>
                <a:gd name="connsiteX868" fmla="*/ 497161 w 1873369"/>
                <a:gd name="connsiteY868" fmla="*/ 157406 h 1289104"/>
                <a:gd name="connsiteX869" fmla="*/ 496515 w 1873369"/>
                <a:gd name="connsiteY869" fmla="*/ 158570 h 1289104"/>
                <a:gd name="connsiteX870" fmla="*/ 495352 w 1873369"/>
                <a:gd name="connsiteY870" fmla="*/ 159345 h 1289104"/>
                <a:gd name="connsiteX871" fmla="*/ 494577 w 1873369"/>
                <a:gd name="connsiteY871" fmla="*/ 160379 h 1289104"/>
                <a:gd name="connsiteX872" fmla="*/ 494964 w 1873369"/>
                <a:gd name="connsiteY872" fmla="*/ 161800 h 1289104"/>
                <a:gd name="connsiteX873" fmla="*/ 495740 w 1873369"/>
                <a:gd name="connsiteY873" fmla="*/ 162576 h 1289104"/>
                <a:gd name="connsiteX874" fmla="*/ 498066 w 1873369"/>
                <a:gd name="connsiteY874" fmla="*/ 163739 h 1289104"/>
                <a:gd name="connsiteX875" fmla="*/ 498841 w 1873369"/>
                <a:gd name="connsiteY875" fmla="*/ 164385 h 1289104"/>
                <a:gd name="connsiteX876" fmla="*/ 500005 w 1873369"/>
                <a:gd name="connsiteY876" fmla="*/ 166840 h 1289104"/>
                <a:gd name="connsiteX877" fmla="*/ 500392 w 1873369"/>
                <a:gd name="connsiteY877" fmla="*/ 168650 h 1289104"/>
                <a:gd name="connsiteX878" fmla="*/ 499746 w 1873369"/>
                <a:gd name="connsiteY878" fmla="*/ 170071 h 1289104"/>
                <a:gd name="connsiteX879" fmla="*/ 497808 w 1873369"/>
                <a:gd name="connsiteY879" fmla="*/ 170717 h 1289104"/>
                <a:gd name="connsiteX880" fmla="*/ 496774 w 1873369"/>
                <a:gd name="connsiteY880" fmla="*/ 170588 h 1289104"/>
                <a:gd name="connsiteX881" fmla="*/ 494835 w 1873369"/>
                <a:gd name="connsiteY881" fmla="*/ 169813 h 1289104"/>
                <a:gd name="connsiteX882" fmla="*/ 493672 w 1873369"/>
                <a:gd name="connsiteY882" fmla="*/ 169813 h 1289104"/>
                <a:gd name="connsiteX883" fmla="*/ 492897 w 1873369"/>
                <a:gd name="connsiteY883" fmla="*/ 170330 h 1289104"/>
                <a:gd name="connsiteX884" fmla="*/ 491734 w 1873369"/>
                <a:gd name="connsiteY884" fmla="*/ 172010 h 1289104"/>
                <a:gd name="connsiteX885" fmla="*/ 490958 w 1873369"/>
                <a:gd name="connsiteY885" fmla="*/ 172397 h 1289104"/>
                <a:gd name="connsiteX886" fmla="*/ 489278 w 1873369"/>
                <a:gd name="connsiteY886" fmla="*/ 172527 h 1289104"/>
                <a:gd name="connsiteX887" fmla="*/ 485272 w 1873369"/>
                <a:gd name="connsiteY887" fmla="*/ 172010 h 1289104"/>
                <a:gd name="connsiteX888" fmla="*/ 483333 w 1873369"/>
                <a:gd name="connsiteY888" fmla="*/ 172139 h 1289104"/>
                <a:gd name="connsiteX889" fmla="*/ 483850 w 1873369"/>
                <a:gd name="connsiteY889" fmla="*/ 169167 h 1289104"/>
                <a:gd name="connsiteX890" fmla="*/ 482816 w 1873369"/>
                <a:gd name="connsiteY890" fmla="*/ 168004 h 1289104"/>
                <a:gd name="connsiteX891" fmla="*/ 480878 w 1873369"/>
                <a:gd name="connsiteY891" fmla="*/ 168004 h 1289104"/>
                <a:gd name="connsiteX892" fmla="*/ 478552 w 1873369"/>
                <a:gd name="connsiteY892" fmla="*/ 168650 h 1289104"/>
                <a:gd name="connsiteX893" fmla="*/ 476355 w 1873369"/>
                <a:gd name="connsiteY893" fmla="*/ 169684 h 1289104"/>
                <a:gd name="connsiteX894" fmla="*/ 475709 w 1873369"/>
                <a:gd name="connsiteY894" fmla="*/ 169296 h 1289104"/>
                <a:gd name="connsiteX895" fmla="*/ 468084 w 1873369"/>
                <a:gd name="connsiteY895" fmla="*/ 161671 h 1289104"/>
                <a:gd name="connsiteX896" fmla="*/ 466145 w 1873369"/>
                <a:gd name="connsiteY896" fmla="*/ 160379 h 1289104"/>
                <a:gd name="connsiteX897" fmla="*/ 463948 w 1873369"/>
                <a:gd name="connsiteY897" fmla="*/ 159862 h 1289104"/>
                <a:gd name="connsiteX898" fmla="*/ 461234 w 1873369"/>
                <a:gd name="connsiteY898" fmla="*/ 160250 h 1289104"/>
                <a:gd name="connsiteX899" fmla="*/ 459167 w 1873369"/>
                <a:gd name="connsiteY899" fmla="*/ 161154 h 1289104"/>
                <a:gd name="connsiteX900" fmla="*/ 455677 w 1873369"/>
                <a:gd name="connsiteY900" fmla="*/ 163351 h 1289104"/>
                <a:gd name="connsiteX901" fmla="*/ 453739 w 1873369"/>
                <a:gd name="connsiteY901" fmla="*/ 163610 h 1289104"/>
                <a:gd name="connsiteX902" fmla="*/ 451542 w 1873369"/>
                <a:gd name="connsiteY902" fmla="*/ 164514 h 1289104"/>
                <a:gd name="connsiteX903" fmla="*/ 450379 w 1873369"/>
                <a:gd name="connsiteY903" fmla="*/ 166840 h 1289104"/>
                <a:gd name="connsiteX904" fmla="*/ 448828 w 1873369"/>
                <a:gd name="connsiteY904" fmla="*/ 168650 h 1289104"/>
                <a:gd name="connsiteX905" fmla="*/ 445468 w 1873369"/>
                <a:gd name="connsiteY905" fmla="*/ 167874 h 1289104"/>
                <a:gd name="connsiteX906" fmla="*/ 442366 w 1873369"/>
                <a:gd name="connsiteY906" fmla="*/ 166582 h 1289104"/>
                <a:gd name="connsiteX907" fmla="*/ 440816 w 1873369"/>
                <a:gd name="connsiteY907" fmla="*/ 166711 h 1289104"/>
                <a:gd name="connsiteX908" fmla="*/ 436680 w 1873369"/>
                <a:gd name="connsiteY908" fmla="*/ 169942 h 1289104"/>
                <a:gd name="connsiteX909" fmla="*/ 433062 w 1873369"/>
                <a:gd name="connsiteY909" fmla="*/ 171881 h 1289104"/>
                <a:gd name="connsiteX910" fmla="*/ 428926 w 1873369"/>
                <a:gd name="connsiteY910" fmla="*/ 173302 h 1289104"/>
                <a:gd name="connsiteX911" fmla="*/ 424661 w 1873369"/>
                <a:gd name="connsiteY911" fmla="*/ 174207 h 1289104"/>
                <a:gd name="connsiteX912" fmla="*/ 417295 w 1873369"/>
                <a:gd name="connsiteY912" fmla="*/ 174594 h 1289104"/>
                <a:gd name="connsiteX913" fmla="*/ 415227 w 1873369"/>
                <a:gd name="connsiteY913" fmla="*/ 175241 h 1289104"/>
                <a:gd name="connsiteX914" fmla="*/ 413160 w 1873369"/>
                <a:gd name="connsiteY914" fmla="*/ 175499 h 1289104"/>
                <a:gd name="connsiteX915" fmla="*/ 410575 w 1873369"/>
                <a:gd name="connsiteY915" fmla="*/ 175111 h 1289104"/>
                <a:gd name="connsiteX916" fmla="*/ 408249 w 1873369"/>
                <a:gd name="connsiteY916" fmla="*/ 175111 h 1289104"/>
                <a:gd name="connsiteX917" fmla="*/ 405923 w 1873369"/>
                <a:gd name="connsiteY917" fmla="*/ 176145 h 1289104"/>
                <a:gd name="connsiteX918" fmla="*/ 403855 w 1873369"/>
                <a:gd name="connsiteY918" fmla="*/ 176791 h 1289104"/>
                <a:gd name="connsiteX919" fmla="*/ 402304 w 1873369"/>
                <a:gd name="connsiteY919" fmla="*/ 175241 h 1289104"/>
                <a:gd name="connsiteX920" fmla="*/ 402175 w 1873369"/>
                <a:gd name="connsiteY920" fmla="*/ 182736 h 1289104"/>
                <a:gd name="connsiteX921" fmla="*/ 402046 w 1873369"/>
                <a:gd name="connsiteY921" fmla="*/ 185450 h 1289104"/>
                <a:gd name="connsiteX922" fmla="*/ 401787 w 1873369"/>
                <a:gd name="connsiteY922" fmla="*/ 192558 h 1289104"/>
                <a:gd name="connsiteX923" fmla="*/ 401529 w 1873369"/>
                <a:gd name="connsiteY923" fmla="*/ 202638 h 1289104"/>
                <a:gd name="connsiteX924" fmla="*/ 401270 w 1873369"/>
                <a:gd name="connsiteY924" fmla="*/ 214269 h 1289104"/>
                <a:gd name="connsiteX925" fmla="*/ 400882 w 1873369"/>
                <a:gd name="connsiteY925" fmla="*/ 225771 h 1289104"/>
                <a:gd name="connsiteX926" fmla="*/ 400624 w 1873369"/>
                <a:gd name="connsiteY926" fmla="*/ 235851 h 1289104"/>
                <a:gd name="connsiteX927" fmla="*/ 400366 w 1873369"/>
                <a:gd name="connsiteY927" fmla="*/ 243088 h 1289104"/>
                <a:gd name="connsiteX928" fmla="*/ 400366 w 1873369"/>
                <a:gd name="connsiteY928" fmla="*/ 245802 h 1289104"/>
                <a:gd name="connsiteX929" fmla="*/ 400236 w 1873369"/>
                <a:gd name="connsiteY929" fmla="*/ 251101 h 1289104"/>
                <a:gd name="connsiteX930" fmla="*/ 400882 w 1873369"/>
                <a:gd name="connsiteY930" fmla="*/ 254848 h 1289104"/>
                <a:gd name="connsiteX931" fmla="*/ 402046 w 1873369"/>
                <a:gd name="connsiteY931" fmla="*/ 257045 h 1289104"/>
                <a:gd name="connsiteX932" fmla="*/ 406181 w 1873369"/>
                <a:gd name="connsiteY932" fmla="*/ 261827 h 1289104"/>
                <a:gd name="connsiteX933" fmla="*/ 411738 w 1873369"/>
                <a:gd name="connsiteY933" fmla="*/ 266738 h 1289104"/>
                <a:gd name="connsiteX934" fmla="*/ 414064 w 1873369"/>
                <a:gd name="connsiteY934" fmla="*/ 270357 h 1289104"/>
                <a:gd name="connsiteX935" fmla="*/ 415227 w 1873369"/>
                <a:gd name="connsiteY935" fmla="*/ 271261 h 1289104"/>
                <a:gd name="connsiteX936" fmla="*/ 417166 w 1873369"/>
                <a:gd name="connsiteY936" fmla="*/ 272037 h 1289104"/>
                <a:gd name="connsiteX937" fmla="*/ 421431 w 1873369"/>
                <a:gd name="connsiteY937" fmla="*/ 272941 h 1289104"/>
                <a:gd name="connsiteX938" fmla="*/ 423369 w 1873369"/>
                <a:gd name="connsiteY938" fmla="*/ 274104 h 1289104"/>
                <a:gd name="connsiteX939" fmla="*/ 424015 w 1873369"/>
                <a:gd name="connsiteY939" fmla="*/ 275138 h 1289104"/>
                <a:gd name="connsiteX940" fmla="*/ 425049 w 1873369"/>
                <a:gd name="connsiteY940" fmla="*/ 277464 h 1289104"/>
                <a:gd name="connsiteX941" fmla="*/ 425824 w 1873369"/>
                <a:gd name="connsiteY941" fmla="*/ 278627 h 1289104"/>
                <a:gd name="connsiteX942" fmla="*/ 426858 w 1873369"/>
                <a:gd name="connsiteY942" fmla="*/ 279274 h 1289104"/>
                <a:gd name="connsiteX943" fmla="*/ 429314 w 1873369"/>
                <a:gd name="connsiteY943" fmla="*/ 280437 h 1289104"/>
                <a:gd name="connsiteX944" fmla="*/ 430477 w 1873369"/>
                <a:gd name="connsiteY944" fmla="*/ 281212 h 1289104"/>
                <a:gd name="connsiteX945" fmla="*/ 433579 w 1873369"/>
                <a:gd name="connsiteY945" fmla="*/ 284701 h 1289104"/>
                <a:gd name="connsiteX946" fmla="*/ 435259 w 1873369"/>
                <a:gd name="connsiteY946" fmla="*/ 285994 h 1289104"/>
                <a:gd name="connsiteX947" fmla="*/ 443788 w 1873369"/>
                <a:gd name="connsiteY947" fmla="*/ 289225 h 1289104"/>
                <a:gd name="connsiteX948" fmla="*/ 445597 w 1873369"/>
                <a:gd name="connsiteY948" fmla="*/ 290129 h 1289104"/>
                <a:gd name="connsiteX949" fmla="*/ 447536 w 1873369"/>
                <a:gd name="connsiteY949" fmla="*/ 291680 h 1289104"/>
                <a:gd name="connsiteX950" fmla="*/ 448828 w 1873369"/>
                <a:gd name="connsiteY950" fmla="*/ 293619 h 1289104"/>
                <a:gd name="connsiteX951" fmla="*/ 449733 w 1873369"/>
                <a:gd name="connsiteY951" fmla="*/ 295686 h 1289104"/>
                <a:gd name="connsiteX952" fmla="*/ 450120 w 1873369"/>
                <a:gd name="connsiteY952" fmla="*/ 298142 h 1289104"/>
                <a:gd name="connsiteX953" fmla="*/ 450250 w 1873369"/>
                <a:gd name="connsiteY953" fmla="*/ 301243 h 1289104"/>
                <a:gd name="connsiteX954" fmla="*/ 450508 w 1873369"/>
                <a:gd name="connsiteY954" fmla="*/ 302277 h 1289104"/>
                <a:gd name="connsiteX955" fmla="*/ 451025 w 1873369"/>
                <a:gd name="connsiteY955" fmla="*/ 303311 h 1289104"/>
                <a:gd name="connsiteX956" fmla="*/ 451671 w 1873369"/>
                <a:gd name="connsiteY956" fmla="*/ 304216 h 1289104"/>
                <a:gd name="connsiteX957" fmla="*/ 452317 w 1873369"/>
                <a:gd name="connsiteY957" fmla="*/ 305120 h 1289104"/>
                <a:gd name="connsiteX958" fmla="*/ 452576 w 1873369"/>
                <a:gd name="connsiteY958" fmla="*/ 306413 h 1289104"/>
                <a:gd name="connsiteX959" fmla="*/ 451930 w 1873369"/>
                <a:gd name="connsiteY959" fmla="*/ 308868 h 1289104"/>
                <a:gd name="connsiteX960" fmla="*/ 448570 w 1873369"/>
                <a:gd name="connsiteY960" fmla="*/ 313908 h 1289104"/>
                <a:gd name="connsiteX961" fmla="*/ 447923 w 1873369"/>
                <a:gd name="connsiteY961" fmla="*/ 315847 h 1289104"/>
                <a:gd name="connsiteX962" fmla="*/ 448957 w 1873369"/>
                <a:gd name="connsiteY962" fmla="*/ 318302 h 1289104"/>
                <a:gd name="connsiteX963" fmla="*/ 452964 w 1873369"/>
                <a:gd name="connsiteY963" fmla="*/ 322825 h 1289104"/>
                <a:gd name="connsiteX964" fmla="*/ 453868 w 1873369"/>
                <a:gd name="connsiteY964" fmla="*/ 324376 h 1289104"/>
                <a:gd name="connsiteX965" fmla="*/ 453480 w 1873369"/>
                <a:gd name="connsiteY965" fmla="*/ 327090 h 1289104"/>
                <a:gd name="connsiteX966" fmla="*/ 453739 w 1873369"/>
                <a:gd name="connsiteY966" fmla="*/ 328124 h 1289104"/>
                <a:gd name="connsiteX967" fmla="*/ 454773 w 1873369"/>
                <a:gd name="connsiteY967" fmla="*/ 329675 h 1289104"/>
                <a:gd name="connsiteX968" fmla="*/ 455548 w 1873369"/>
                <a:gd name="connsiteY968" fmla="*/ 330321 h 1289104"/>
                <a:gd name="connsiteX969" fmla="*/ 456324 w 1873369"/>
                <a:gd name="connsiteY969" fmla="*/ 330709 h 1289104"/>
                <a:gd name="connsiteX970" fmla="*/ 456970 w 1873369"/>
                <a:gd name="connsiteY970" fmla="*/ 331225 h 1289104"/>
                <a:gd name="connsiteX971" fmla="*/ 457616 w 1873369"/>
                <a:gd name="connsiteY971" fmla="*/ 332389 h 1289104"/>
                <a:gd name="connsiteX972" fmla="*/ 457745 w 1873369"/>
                <a:gd name="connsiteY972" fmla="*/ 333681 h 1289104"/>
                <a:gd name="connsiteX973" fmla="*/ 457487 w 1873369"/>
                <a:gd name="connsiteY973" fmla="*/ 334715 h 1289104"/>
                <a:gd name="connsiteX974" fmla="*/ 457487 w 1873369"/>
                <a:gd name="connsiteY974" fmla="*/ 335749 h 1289104"/>
                <a:gd name="connsiteX975" fmla="*/ 458133 w 1873369"/>
                <a:gd name="connsiteY975" fmla="*/ 337170 h 1289104"/>
                <a:gd name="connsiteX976" fmla="*/ 459037 w 1873369"/>
                <a:gd name="connsiteY976" fmla="*/ 337946 h 1289104"/>
                <a:gd name="connsiteX977" fmla="*/ 461364 w 1873369"/>
                <a:gd name="connsiteY977" fmla="*/ 338850 h 1289104"/>
                <a:gd name="connsiteX978" fmla="*/ 462398 w 1873369"/>
                <a:gd name="connsiteY978" fmla="*/ 339496 h 1289104"/>
                <a:gd name="connsiteX979" fmla="*/ 464724 w 1873369"/>
                <a:gd name="connsiteY979" fmla="*/ 342857 h 1289104"/>
                <a:gd name="connsiteX980" fmla="*/ 465370 w 1873369"/>
                <a:gd name="connsiteY980" fmla="*/ 343373 h 1289104"/>
                <a:gd name="connsiteX981" fmla="*/ 466404 w 1873369"/>
                <a:gd name="connsiteY981" fmla="*/ 343632 h 1289104"/>
                <a:gd name="connsiteX982" fmla="*/ 467050 w 1873369"/>
                <a:gd name="connsiteY982" fmla="*/ 343761 h 1289104"/>
                <a:gd name="connsiteX983" fmla="*/ 467308 w 1873369"/>
                <a:gd name="connsiteY983" fmla="*/ 344278 h 1289104"/>
                <a:gd name="connsiteX984" fmla="*/ 467696 w 1873369"/>
                <a:gd name="connsiteY984" fmla="*/ 345053 h 1289104"/>
                <a:gd name="connsiteX985" fmla="*/ 467567 w 1873369"/>
                <a:gd name="connsiteY985" fmla="*/ 345312 h 1289104"/>
                <a:gd name="connsiteX986" fmla="*/ 468084 w 1873369"/>
                <a:gd name="connsiteY986" fmla="*/ 349318 h 1289104"/>
                <a:gd name="connsiteX987" fmla="*/ 467825 w 1873369"/>
                <a:gd name="connsiteY987" fmla="*/ 350481 h 1289104"/>
                <a:gd name="connsiteX988" fmla="*/ 467179 w 1873369"/>
                <a:gd name="connsiteY988" fmla="*/ 352678 h 1289104"/>
                <a:gd name="connsiteX989" fmla="*/ 467179 w 1873369"/>
                <a:gd name="connsiteY989" fmla="*/ 353971 h 1289104"/>
                <a:gd name="connsiteX990" fmla="*/ 471185 w 1873369"/>
                <a:gd name="connsiteY990" fmla="*/ 360432 h 1289104"/>
                <a:gd name="connsiteX991" fmla="*/ 472349 w 1873369"/>
                <a:gd name="connsiteY991" fmla="*/ 363534 h 1289104"/>
                <a:gd name="connsiteX992" fmla="*/ 470022 w 1873369"/>
                <a:gd name="connsiteY992" fmla="*/ 369479 h 1289104"/>
                <a:gd name="connsiteX993" fmla="*/ 470152 w 1873369"/>
                <a:gd name="connsiteY993" fmla="*/ 369608 h 1289104"/>
                <a:gd name="connsiteX994" fmla="*/ 470410 w 1873369"/>
                <a:gd name="connsiteY994" fmla="*/ 374389 h 1289104"/>
                <a:gd name="connsiteX995" fmla="*/ 468601 w 1873369"/>
                <a:gd name="connsiteY995" fmla="*/ 384211 h 1289104"/>
                <a:gd name="connsiteX996" fmla="*/ 468730 w 1873369"/>
                <a:gd name="connsiteY996" fmla="*/ 389122 h 1289104"/>
                <a:gd name="connsiteX997" fmla="*/ 466792 w 1873369"/>
                <a:gd name="connsiteY997" fmla="*/ 396359 h 1289104"/>
                <a:gd name="connsiteX998" fmla="*/ 466792 w 1873369"/>
                <a:gd name="connsiteY998" fmla="*/ 398556 h 1289104"/>
                <a:gd name="connsiteX999" fmla="*/ 465241 w 1873369"/>
                <a:gd name="connsiteY999" fmla="*/ 403855 h 1289104"/>
                <a:gd name="connsiteX1000" fmla="*/ 464078 w 1873369"/>
                <a:gd name="connsiteY1000" fmla="*/ 410316 h 1289104"/>
                <a:gd name="connsiteX1001" fmla="*/ 460847 w 1873369"/>
                <a:gd name="connsiteY1001" fmla="*/ 427504 h 1289104"/>
                <a:gd name="connsiteX1002" fmla="*/ 457745 w 1873369"/>
                <a:gd name="connsiteY1002" fmla="*/ 444692 h 1289104"/>
                <a:gd name="connsiteX1003" fmla="*/ 454644 w 1873369"/>
                <a:gd name="connsiteY1003" fmla="*/ 461751 h 1289104"/>
                <a:gd name="connsiteX1004" fmla="*/ 451413 w 1873369"/>
                <a:gd name="connsiteY1004" fmla="*/ 478939 h 1289104"/>
                <a:gd name="connsiteX1005" fmla="*/ 448311 w 1873369"/>
                <a:gd name="connsiteY1005" fmla="*/ 496127 h 1289104"/>
                <a:gd name="connsiteX1006" fmla="*/ 445210 w 1873369"/>
                <a:gd name="connsiteY1006" fmla="*/ 513315 h 1289104"/>
                <a:gd name="connsiteX1007" fmla="*/ 441979 w 1873369"/>
                <a:gd name="connsiteY1007" fmla="*/ 530374 h 1289104"/>
                <a:gd name="connsiteX1008" fmla="*/ 438877 w 1873369"/>
                <a:gd name="connsiteY1008" fmla="*/ 547562 h 1289104"/>
                <a:gd name="connsiteX1009" fmla="*/ 435775 w 1873369"/>
                <a:gd name="connsiteY1009" fmla="*/ 564750 h 1289104"/>
                <a:gd name="connsiteX1010" fmla="*/ 432674 w 1873369"/>
                <a:gd name="connsiteY1010" fmla="*/ 581939 h 1289104"/>
                <a:gd name="connsiteX1011" fmla="*/ 429443 w 1873369"/>
                <a:gd name="connsiteY1011" fmla="*/ 598997 h 1289104"/>
                <a:gd name="connsiteX1012" fmla="*/ 426341 w 1873369"/>
                <a:gd name="connsiteY1012" fmla="*/ 616185 h 1289104"/>
                <a:gd name="connsiteX1013" fmla="*/ 423240 w 1873369"/>
                <a:gd name="connsiteY1013" fmla="*/ 633373 h 1289104"/>
                <a:gd name="connsiteX1014" fmla="*/ 420009 w 1873369"/>
                <a:gd name="connsiteY1014" fmla="*/ 650561 h 1289104"/>
                <a:gd name="connsiteX1015" fmla="*/ 416907 w 1873369"/>
                <a:gd name="connsiteY1015" fmla="*/ 667750 h 1289104"/>
                <a:gd name="connsiteX1016" fmla="*/ 413806 w 1873369"/>
                <a:gd name="connsiteY1016" fmla="*/ 684938 h 1289104"/>
                <a:gd name="connsiteX1017" fmla="*/ 413677 w 1873369"/>
                <a:gd name="connsiteY1017" fmla="*/ 685196 h 1289104"/>
                <a:gd name="connsiteX1018" fmla="*/ 413547 w 1873369"/>
                <a:gd name="connsiteY1018" fmla="*/ 685455 h 1289104"/>
                <a:gd name="connsiteX1019" fmla="*/ 413418 w 1873369"/>
                <a:gd name="connsiteY1019" fmla="*/ 685584 h 1289104"/>
                <a:gd name="connsiteX1020" fmla="*/ 413289 w 1873369"/>
                <a:gd name="connsiteY1020" fmla="*/ 685842 h 1289104"/>
                <a:gd name="connsiteX1021" fmla="*/ 413160 w 1873369"/>
                <a:gd name="connsiteY1021" fmla="*/ 686101 h 1289104"/>
                <a:gd name="connsiteX1022" fmla="*/ 413030 w 1873369"/>
                <a:gd name="connsiteY1022" fmla="*/ 686359 h 1289104"/>
                <a:gd name="connsiteX1023" fmla="*/ 412901 w 1873369"/>
                <a:gd name="connsiteY1023" fmla="*/ 686618 h 1289104"/>
                <a:gd name="connsiteX1024" fmla="*/ 412772 w 1873369"/>
                <a:gd name="connsiteY1024" fmla="*/ 686876 h 1289104"/>
                <a:gd name="connsiteX1025" fmla="*/ 412643 w 1873369"/>
                <a:gd name="connsiteY1025" fmla="*/ 687005 h 1289104"/>
                <a:gd name="connsiteX1026" fmla="*/ 412513 w 1873369"/>
                <a:gd name="connsiteY1026" fmla="*/ 687264 h 1289104"/>
                <a:gd name="connsiteX1027" fmla="*/ 412513 w 1873369"/>
                <a:gd name="connsiteY1027" fmla="*/ 687522 h 1289104"/>
                <a:gd name="connsiteX1028" fmla="*/ 412384 w 1873369"/>
                <a:gd name="connsiteY1028" fmla="*/ 687781 h 1289104"/>
                <a:gd name="connsiteX1029" fmla="*/ 412255 w 1873369"/>
                <a:gd name="connsiteY1029" fmla="*/ 688039 h 1289104"/>
                <a:gd name="connsiteX1030" fmla="*/ 412126 w 1873369"/>
                <a:gd name="connsiteY1030" fmla="*/ 688168 h 1289104"/>
                <a:gd name="connsiteX1031" fmla="*/ 411996 w 1873369"/>
                <a:gd name="connsiteY1031" fmla="*/ 688427 h 1289104"/>
                <a:gd name="connsiteX1032" fmla="*/ 411867 w 1873369"/>
                <a:gd name="connsiteY1032" fmla="*/ 688685 h 1289104"/>
                <a:gd name="connsiteX1033" fmla="*/ 412126 w 1873369"/>
                <a:gd name="connsiteY1033" fmla="*/ 691658 h 1289104"/>
                <a:gd name="connsiteX1034" fmla="*/ 411092 w 1873369"/>
                <a:gd name="connsiteY1034" fmla="*/ 694501 h 1289104"/>
                <a:gd name="connsiteX1035" fmla="*/ 409283 w 1873369"/>
                <a:gd name="connsiteY1035" fmla="*/ 697086 h 1289104"/>
                <a:gd name="connsiteX1036" fmla="*/ 405664 w 1873369"/>
                <a:gd name="connsiteY1036" fmla="*/ 699670 h 1289104"/>
                <a:gd name="connsiteX1037" fmla="*/ 404113 w 1873369"/>
                <a:gd name="connsiteY1037" fmla="*/ 699799 h 1289104"/>
                <a:gd name="connsiteX1038" fmla="*/ 402692 w 1873369"/>
                <a:gd name="connsiteY1038" fmla="*/ 699412 h 1289104"/>
                <a:gd name="connsiteX1039" fmla="*/ 401399 w 1873369"/>
                <a:gd name="connsiteY1039" fmla="*/ 698507 h 1289104"/>
                <a:gd name="connsiteX1040" fmla="*/ 399978 w 1873369"/>
                <a:gd name="connsiteY1040" fmla="*/ 697215 h 1289104"/>
                <a:gd name="connsiteX1041" fmla="*/ 399461 w 1873369"/>
                <a:gd name="connsiteY1041" fmla="*/ 696439 h 1289104"/>
                <a:gd name="connsiteX1042" fmla="*/ 398944 w 1873369"/>
                <a:gd name="connsiteY1042" fmla="*/ 693726 h 1289104"/>
                <a:gd name="connsiteX1043" fmla="*/ 397781 w 1873369"/>
                <a:gd name="connsiteY1043" fmla="*/ 691787 h 1289104"/>
                <a:gd name="connsiteX1044" fmla="*/ 395584 w 1873369"/>
                <a:gd name="connsiteY1044" fmla="*/ 691012 h 1289104"/>
                <a:gd name="connsiteX1045" fmla="*/ 393258 w 1873369"/>
                <a:gd name="connsiteY1045" fmla="*/ 691270 h 1289104"/>
                <a:gd name="connsiteX1046" fmla="*/ 391319 w 1873369"/>
                <a:gd name="connsiteY1046" fmla="*/ 692304 h 1289104"/>
                <a:gd name="connsiteX1047" fmla="*/ 389898 w 1873369"/>
                <a:gd name="connsiteY1047" fmla="*/ 694242 h 1289104"/>
                <a:gd name="connsiteX1048" fmla="*/ 388088 w 1873369"/>
                <a:gd name="connsiteY1048" fmla="*/ 698249 h 1289104"/>
                <a:gd name="connsiteX1049" fmla="*/ 386150 w 1873369"/>
                <a:gd name="connsiteY1049" fmla="*/ 700058 h 1289104"/>
                <a:gd name="connsiteX1050" fmla="*/ 384857 w 1873369"/>
                <a:gd name="connsiteY1050" fmla="*/ 698507 h 1289104"/>
                <a:gd name="connsiteX1051" fmla="*/ 384082 w 1873369"/>
                <a:gd name="connsiteY1051" fmla="*/ 696827 h 1289104"/>
                <a:gd name="connsiteX1052" fmla="*/ 383307 w 1873369"/>
                <a:gd name="connsiteY1052" fmla="*/ 695922 h 1289104"/>
                <a:gd name="connsiteX1053" fmla="*/ 382531 w 1873369"/>
                <a:gd name="connsiteY1053" fmla="*/ 695664 h 1289104"/>
                <a:gd name="connsiteX1054" fmla="*/ 381627 w 1873369"/>
                <a:gd name="connsiteY1054" fmla="*/ 695664 h 1289104"/>
                <a:gd name="connsiteX1055" fmla="*/ 380593 w 1873369"/>
                <a:gd name="connsiteY1055" fmla="*/ 695406 h 1289104"/>
                <a:gd name="connsiteX1056" fmla="*/ 375294 w 1873369"/>
                <a:gd name="connsiteY1056" fmla="*/ 691270 h 1289104"/>
                <a:gd name="connsiteX1057" fmla="*/ 374260 w 1873369"/>
                <a:gd name="connsiteY1057" fmla="*/ 689848 h 1289104"/>
                <a:gd name="connsiteX1058" fmla="*/ 374002 w 1873369"/>
                <a:gd name="connsiteY1058" fmla="*/ 687910 h 1289104"/>
                <a:gd name="connsiteX1059" fmla="*/ 375036 w 1873369"/>
                <a:gd name="connsiteY1059" fmla="*/ 683904 h 1289104"/>
                <a:gd name="connsiteX1060" fmla="*/ 374777 w 1873369"/>
                <a:gd name="connsiteY1060" fmla="*/ 681707 h 1289104"/>
                <a:gd name="connsiteX1061" fmla="*/ 374002 w 1873369"/>
                <a:gd name="connsiteY1061" fmla="*/ 680156 h 1289104"/>
                <a:gd name="connsiteX1062" fmla="*/ 372710 w 1873369"/>
                <a:gd name="connsiteY1062" fmla="*/ 678734 h 1289104"/>
                <a:gd name="connsiteX1063" fmla="*/ 371417 w 1873369"/>
                <a:gd name="connsiteY1063" fmla="*/ 678347 h 1289104"/>
                <a:gd name="connsiteX1064" fmla="*/ 369479 w 1873369"/>
                <a:gd name="connsiteY1064" fmla="*/ 681448 h 1289104"/>
                <a:gd name="connsiteX1065" fmla="*/ 368057 w 1873369"/>
                <a:gd name="connsiteY1065" fmla="*/ 681061 h 1289104"/>
                <a:gd name="connsiteX1066" fmla="*/ 365472 w 1873369"/>
                <a:gd name="connsiteY1066" fmla="*/ 678605 h 1289104"/>
                <a:gd name="connsiteX1067" fmla="*/ 363663 w 1873369"/>
                <a:gd name="connsiteY1067" fmla="*/ 677959 h 1289104"/>
                <a:gd name="connsiteX1068" fmla="*/ 362112 w 1873369"/>
                <a:gd name="connsiteY1068" fmla="*/ 677830 h 1289104"/>
                <a:gd name="connsiteX1069" fmla="*/ 360562 w 1873369"/>
                <a:gd name="connsiteY1069" fmla="*/ 678088 h 1289104"/>
                <a:gd name="connsiteX1070" fmla="*/ 358882 w 1873369"/>
                <a:gd name="connsiteY1070" fmla="*/ 678864 h 1289104"/>
                <a:gd name="connsiteX1071" fmla="*/ 354488 w 1873369"/>
                <a:gd name="connsiteY1071" fmla="*/ 682353 h 1289104"/>
                <a:gd name="connsiteX1072" fmla="*/ 352937 w 1873369"/>
                <a:gd name="connsiteY1072" fmla="*/ 682870 h 1289104"/>
                <a:gd name="connsiteX1073" fmla="*/ 351774 w 1873369"/>
                <a:gd name="connsiteY1073" fmla="*/ 682224 h 1289104"/>
                <a:gd name="connsiteX1074" fmla="*/ 351386 w 1873369"/>
                <a:gd name="connsiteY1074" fmla="*/ 680673 h 1289104"/>
                <a:gd name="connsiteX1075" fmla="*/ 350998 w 1873369"/>
                <a:gd name="connsiteY1075" fmla="*/ 679122 h 1289104"/>
                <a:gd name="connsiteX1076" fmla="*/ 349318 w 1873369"/>
                <a:gd name="connsiteY1076" fmla="*/ 678476 h 1289104"/>
                <a:gd name="connsiteX1077" fmla="*/ 347509 w 1873369"/>
                <a:gd name="connsiteY1077" fmla="*/ 679381 h 1289104"/>
                <a:gd name="connsiteX1078" fmla="*/ 346863 w 1873369"/>
                <a:gd name="connsiteY1078" fmla="*/ 681190 h 1289104"/>
                <a:gd name="connsiteX1079" fmla="*/ 346346 w 1873369"/>
                <a:gd name="connsiteY1079" fmla="*/ 683128 h 1289104"/>
                <a:gd name="connsiteX1080" fmla="*/ 345441 w 1873369"/>
                <a:gd name="connsiteY1080" fmla="*/ 684162 h 1289104"/>
                <a:gd name="connsiteX1081" fmla="*/ 340401 w 1873369"/>
                <a:gd name="connsiteY1081" fmla="*/ 681319 h 1289104"/>
                <a:gd name="connsiteX1082" fmla="*/ 340401 w 1873369"/>
                <a:gd name="connsiteY1082" fmla="*/ 679639 h 1289104"/>
                <a:gd name="connsiteX1083" fmla="*/ 340660 w 1873369"/>
                <a:gd name="connsiteY1083" fmla="*/ 677701 h 1289104"/>
                <a:gd name="connsiteX1084" fmla="*/ 340530 w 1873369"/>
                <a:gd name="connsiteY1084" fmla="*/ 676150 h 1289104"/>
                <a:gd name="connsiteX1085" fmla="*/ 338850 w 1873369"/>
                <a:gd name="connsiteY1085" fmla="*/ 675762 h 1289104"/>
                <a:gd name="connsiteX1086" fmla="*/ 337170 w 1873369"/>
                <a:gd name="connsiteY1086" fmla="*/ 676537 h 1289104"/>
                <a:gd name="connsiteX1087" fmla="*/ 336136 w 1873369"/>
                <a:gd name="connsiteY1087" fmla="*/ 677701 h 1289104"/>
                <a:gd name="connsiteX1088" fmla="*/ 334973 w 1873369"/>
                <a:gd name="connsiteY1088" fmla="*/ 680931 h 1289104"/>
                <a:gd name="connsiteX1089" fmla="*/ 333810 w 1873369"/>
                <a:gd name="connsiteY1089" fmla="*/ 681836 h 1289104"/>
                <a:gd name="connsiteX1090" fmla="*/ 331872 w 1873369"/>
                <a:gd name="connsiteY1090" fmla="*/ 681836 h 1289104"/>
                <a:gd name="connsiteX1091" fmla="*/ 325281 w 1873369"/>
                <a:gd name="connsiteY1091" fmla="*/ 680027 h 1289104"/>
                <a:gd name="connsiteX1092" fmla="*/ 324118 w 1873369"/>
                <a:gd name="connsiteY1092" fmla="*/ 680156 h 1289104"/>
                <a:gd name="connsiteX1093" fmla="*/ 319078 w 1873369"/>
                <a:gd name="connsiteY1093" fmla="*/ 682611 h 1289104"/>
                <a:gd name="connsiteX1094" fmla="*/ 317656 w 1873369"/>
                <a:gd name="connsiteY1094" fmla="*/ 683904 h 1289104"/>
                <a:gd name="connsiteX1095" fmla="*/ 317268 w 1873369"/>
                <a:gd name="connsiteY1095" fmla="*/ 685325 h 1289104"/>
                <a:gd name="connsiteX1096" fmla="*/ 318173 w 1873369"/>
                <a:gd name="connsiteY1096" fmla="*/ 687910 h 1289104"/>
                <a:gd name="connsiteX1097" fmla="*/ 317915 w 1873369"/>
                <a:gd name="connsiteY1097" fmla="*/ 688815 h 1289104"/>
                <a:gd name="connsiteX1098" fmla="*/ 316234 w 1873369"/>
                <a:gd name="connsiteY1098" fmla="*/ 689461 h 1289104"/>
                <a:gd name="connsiteX1099" fmla="*/ 314554 w 1873369"/>
                <a:gd name="connsiteY1099" fmla="*/ 690236 h 1289104"/>
                <a:gd name="connsiteX1100" fmla="*/ 313779 w 1873369"/>
                <a:gd name="connsiteY1100" fmla="*/ 691787 h 1289104"/>
                <a:gd name="connsiteX1101" fmla="*/ 313262 w 1873369"/>
                <a:gd name="connsiteY1101" fmla="*/ 693726 h 1289104"/>
                <a:gd name="connsiteX1102" fmla="*/ 312228 w 1873369"/>
                <a:gd name="connsiteY1102" fmla="*/ 695406 h 1289104"/>
                <a:gd name="connsiteX1103" fmla="*/ 308997 w 1873369"/>
                <a:gd name="connsiteY1103" fmla="*/ 698507 h 1289104"/>
                <a:gd name="connsiteX1104" fmla="*/ 307576 w 1873369"/>
                <a:gd name="connsiteY1104" fmla="*/ 700316 h 1289104"/>
                <a:gd name="connsiteX1105" fmla="*/ 306671 w 1873369"/>
                <a:gd name="connsiteY1105" fmla="*/ 702255 h 1289104"/>
                <a:gd name="connsiteX1106" fmla="*/ 304474 w 1873369"/>
                <a:gd name="connsiteY1106" fmla="*/ 704581 h 1289104"/>
                <a:gd name="connsiteX1107" fmla="*/ 302148 w 1873369"/>
                <a:gd name="connsiteY1107" fmla="*/ 702513 h 1289104"/>
                <a:gd name="connsiteX1108" fmla="*/ 300468 w 1873369"/>
                <a:gd name="connsiteY1108" fmla="*/ 700575 h 1289104"/>
                <a:gd name="connsiteX1109" fmla="*/ 299951 w 1873369"/>
                <a:gd name="connsiteY1109" fmla="*/ 702901 h 1289104"/>
                <a:gd name="connsiteX1110" fmla="*/ 297883 w 1873369"/>
                <a:gd name="connsiteY1110" fmla="*/ 704581 h 1289104"/>
                <a:gd name="connsiteX1111" fmla="*/ 292326 w 1873369"/>
                <a:gd name="connsiteY1111" fmla="*/ 702255 h 1289104"/>
                <a:gd name="connsiteX1112" fmla="*/ 289742 w 1873369"/>
                <a:gd name="connsiteY1112" fmla="*/ 703289 h 1289104"/>
                <a:gd name="connsiteX1113" fmla="*/ 288320 w 1873369"/>
                <a:gd name="connsiteY1113" fmla="*/ 705744 h 1289104"/>
                <a:gd name="connsiteX1114" fmla="*/ 287286 w 1873369"/>
                <a:gd name="connsiteY1114" fmla="*/ 706390 h 1289104"/>
                <a:gd name="connsiteX1115" fmla="*/ 285606 w 1873369"/>
                <a:gd name="connsiteY1115" fmla="*/ 706003 h 1289104"/>
                <a:gd name="connsiteX1116" fmla="*/ 284701 w 1873369"/>
                <a:gd name="connsiteY1116" fmla="*/ 705227 h 1289104"/>
                <a:gd name="connsiteX1117" fmla="*/ 283668 w 1873369"/>
                <a:gd name="connsiteY1117" fmla="*/ 702901 h 1289104"/>
                <a:gd name="connsiteX1118" fmla="*/ 282892 w 1873369"/>
                <a:gd name="connsiteY1118" fmla="*/ 702126 h 1289104"/>
                <a:gd name="connsiteX1119" fmla="*/ 281083 w 1873369"/>
                <a:gd name="connsiteY1119" fmla="*/ 703160 h 1289104"/>
                <a:gd name="connsiteX1120" fmla="*/ 279532 w 1873369"/>
                <a:gd name="connsiteY1120" fmla="*/ 705615 h 1289104"/>
                <a:gd name="connsiteX1121" fmla="*/ 278111 w 1873369"/>
                <a:gd name="connsiteY1121" fmla="*/ 707295 h 1289104"/>
                <a:gd name="connsiteX1122" fmla="*/ 275267 w 1873369"/>
                <a:gd name="connsiteY1122" fmla="*/ 704064 h 1289104"/>
                <a:gd name="connsiteX1123" fmla="*/ 272683 w 1873369"/>
                <a:gd name="connsiteY1123" fmla="*/ 703547 h 1289104"/>
                <a:gd name="connsiteX1124" fmla="*/ 270227 w 1873369"/>
                <a:gd name="connsiteY1124" fmla="*/ 704064 h 1289104"/>
                <a:gd name="connsiteX1125" fmla="*/ 268418 w 1873369"/>
                <a:gd name="connsiteY1125" fmla="*/ 705615 h 1289104"/>
                <a:gd name="connsiteX1126" fmla="*/ 268160 w 1873369"/>
                <a:gd name="connsiteY1126" fmla="*/ 706907 h 1289104"/>
                <a:gd name="connsiteX1127" fmla="*/ 268418 w 1873369"/>
                <a:gd name="connsiteY1127" fmla="*/ 707941 h 1289104"/>
                <a:gd name="connsiteX1128" fmla="*/ 268418 w 1873369"/>
                <a:gd name="connsiteY1128" fmla="*/ 708975 h 1289104"/>
                <a:gd name="connsiteX1129" fmla="*/ 267384 w 1873369"/>
                <a:gd name="connsiteY1129" fmla="*/ 710397 h 1289104"/>
                <a:gd name="connsiteX1130" fmla="*/ 266996 w 1873369"/>
                <a:gd name="connsiteY1130" fmla="*/ 710397 h 1289104"/>
                <a:gd name="connsiteX1131" fmla="*/ 266350 w 1873369"/>
                <a:gd name="connsiteY1131" fmla="*/ 710009 h 1289104"/>
                <a:gd name="connsiteX1132" fmla="*/ 265704 w 1873369"/>
                <a:gd name="connsiteY1132" fmla="*/ 709880 h 1289104"/>
                <a:gd name="connsiteX1133" fmla="*/ 265058 w 1873369"/>
                <a:gd name="connsiteY1133" fmla="*/ 710267 h 1289104"/>
                <a:gd name="connsiteX1134" fmla="*/ 264024 w 1873369"/>
                <a:gd name="connsiteY1134" fmla="*/ 711430 h 1289104"/>
                <a:gd name="connsiteX1135" fmla="*/ 263636 w 1873369"/>
                <a:gd name="connsiteY1135" fmla="*/ 711818 h 1289104"/>
                <a:gd name="connsiteX1136" fmla="*/ 262215 w 1873369"/>
                <a:gd name="connsiteY1136" fmla="*/ 712464 h 1289104"/>
                <a:gd name="connsiteX1137" fmla="*/ 261310 w 1873369"/>
                <a:gd name="connsiteY1137" fmla="*/ 711818 h 1289104"/>
                <a:gd name="connsiteX1138" fmla="*/ 260664 w 1873369"/>
                <a:gd name="connsiteY1138" fmla="*/ 710655 h 1289104"/>
                <a:gd name="connsiteX1139" fmla="*/ 259630 w 1873369"/>
                <a:gd name="connsiteY1139" fmla="*/ 709880 h 1289104"/>
                <a:gd name="connsiteX1140" fmla="*/ 258209 w 1873369"/>
                <a:gd name="connsiteY1140" fmla="*/ 709750 h 1289104"/>
                <a:gd name="connsiteX1141" fmla="*/ 253168 w 1873369"/>
                <a:gd name="connsiteY1141" fmla="*/ 710397 h 1289104"/>
                <a:gd name="connsiteX1142" fmla="*/ 249938 w 1873369"/>
                <a:gd name="connsiteY1142" fmla="*/ 710526 h 1289104"/>
                <a:gd name="connsiteX1143" fmla="*/ 248387 w 1873369"/>
                <a:gd name="connsiteY1143" fmla="*/ 710655 h 1289104"/>
                <a:gd name="connsiteX1144" fmla="*/ 246836 w 1873369"/>
                <a:gd name="connsiteY1144" fmla="*/ 711301 h 1289104"/>
                <a:gd name="connsiteX1145" fmla="*/ 246190 w 1873369"/>
                <a:gd name="connsiteY1145" fmla="*/ 712206 h 1289104"/>
                <a:gd name="connsiteX1146" fmla="*/ 245544 w 1873369"/>
                <a:gd name="connsiteY1146" fmla="*/ 714532 h 1289104"/>
                <a:gd name="connsiteX1147" fmla="*/ 244898 w 1873369"/>
                <a:gd name="connsiteY1147" fmla="*/ 715178 h 1289104"/>
                <a:gd name="connsiteX1148" fmla="*/ 244122 w 1873369"/>
                <a:gd name="connsiteY1148" fmla="*/ 715178 h 1289104"/>
                <a:gd name="connsiteX1149" fmla="*/ 241408 w 1873369"/>
                <a:gd name="connsiteY1149" fmla="*/ 714661 h 1289104"/>
                <a:gd name="connsiteX1150" fmla="*/ 239857 w 1873369"/>
                <a:gd name="connsiteY1150" fmla="*/ 714791 h 1289104"/>
                <a:gd name="connsiteX1151" fmla="*/ 235076 w 1873369"/>
                <a:gd name="connsiteY1151" fmla="*/ 716858 h 1289104"/>
                <a:gd name="connsiteX1152" fmla="*/ 235463 w 1873369"/>
                <a:gd name="connsiteY1152" fmla="*/ 714532 h 1289104"/>
                <a:gd name="connsiteX1153" fmla="*/ 234300 w 1873369"/>
                <a:gd name="connsiteY1153" fmla="*/ 714920 h 1289104"/>
                <a:gd name="connsiteX1154" fmla="*/ 232103 w 1873369"/>
                <a:gd name="connsiteY1154" fmla="*/ 716988 h 1289104"/>
                <a:gd name="connsiteX1155" fmla="*/ 230811 w 1873369"/>
                <a:gd name="connsiteY1155" fmla="*/ 717504 h 1289104"/>
                <a:gd name="connsiteX1156" fmla="*/ 229906 w 1873369"/>
                <a:gd name="connsiteY1156" fmla="*/ 717634 h 1289104"/>
                <a:gd name="connsiteX1157" fmla="*/ 229002 w 1873369"/>
                <a:gd name="connsiteY1157" fmla="*/ 717246 h 1289104"/>
                <a:gd name="connsiteX1158" fmla="*/ 227968 w 1873369"/>
                <a:gd name="connsiteY1158" fmla="*/ 716083 h 1289104"/>
                <a:gd name="connsiteX1159" fmla="*/ 226159 w 1873369"/>
                <a:gd name="connsiteY1159" fmla="*/ 714791 h 1289104"/>
                <a:gd name="connsiteX1160" fmla="*/ 225125 w 1873369"/>
                <a:gd name="connsiteY1160" fmla="*/ 715178 h 1289104"/>
                <a:gd name="connsiteX1161" fmla="*/ 223832 w 1873369"/>
                <a:gd name="connsiteY1161" fmla="*/ 716083 h 1289104"/>
                <a:gd name="connsiteX1162" fmla="*/ 221894 w 1873369"/>
                <a:gd name="connsiteY1162" fmla="*/ 716341 h 1289104"/>
                <a:gd name="connsiteX1163" fmla="*/ 220602 w 1873369"/>
                <a:gd name="connsiteY1163" fmla="*/ 715954 h 1289104"/>
                <a:gd name="connsiteX1164" fmla="*/ 218146 w 1873369"/>
                <a:gd name="connsiteY1164" fmla="*/ 714791 h 1289104"/>
                <a:gd name="connsiteX1165" fmla="*/ 217112 w 1873369"/>
                <a:gd name="connsiteY1165" fmla="*/ 714661 h 1289104"/>
                <a:gd name="connsiteX1166" fmla="*/ 216208 w 1873369"/>
                <a:gd name="connsiteY1166" fmla="*/ 715178 h 1289104"/>
                <a:gd name="connsiteX1167" fmla="*/ 215949 w 1873369"/>
                <a:gd name="connsiteY1167" fmla="*/ 715824 h 1289104"/>
                <a:gd name="connsiteX1168" fmla="*/ 215820 w 1873369"/>
                <a:gd name="connsiteY1168" fmla="*/ 716600 h 1289104"/>
                <a:gd name="connsiteX1169" fmla="*/ 215432 w 1873369"/>
                <a:gd name="connsiteY1169" fmla="*/ 717117 h 1289104"/>
                <a:gd name="connsiteX1170" fmla="*/ 214657 w 1873369"/>
                <a:gd name="connsiteY1170" fmla="*/ 717246 h 1289104"/>
                <a:gd name="connsiteX1171" fmla="*/ 205740 w 1873369"/>
                <a:gd name="connsiteY1171" fmla="*/ 718280 h 1289104"/>
                <a:gd name="connsiteX1172" fmla="*/ 203931 w 1873369"/>
                <a:gd name="connsiteY1172" fmla="*/ 718797 h 1289104"/>
                <a:gd name="connsiteX1173" fmla="*/ 201217 w 1873369"/>
                <a:gd name="connsiteY1173" fmla="*/ 720735 h 1289104"/>
                <a:gd name="connsiteX1174" fmla="*/ 196177 w 1873369"/>
                <a:gd name="connsiteY1174" fmla="*/ 725517 h 1289104"/>
                <a:gd name="connsiteX1175" fmla="*/ 192946 w 1873369"/>
                <a:gd name="connsiteY1175" fmla="*/ 726551 h 1289104"/>
                <a:gd name="connsiteX1176" fmla="*/ 191266 w 1873369"/>
                <a:gd name="connsiteY1176" fmla="*/ 728102 h 1289104"/>
                <a:gd name="connsiteX1177" fmla="*/ 190232 w 1873369"/>
                <a:gd name="connsiteY1177" fmla="*/ 728748 h 1289104"/>
                <a:gd name="connsiteX1178" fmla="*/ 189327 w 1873369"/>
                <a:gd name="connsiteY1178" fmla="*/ 729006 h 1289104"/>
                <a:gd name="connsiteX1179" fmla="*/ 188293 w 1873369"/>
                <a:gd name="connsiteY1179" fmla="*/ 728619 h 1289104"/>
                <a:gd name="connsiteX1180" fmla="*/ 187259 w 1873369"/>
                <a:gd name="connsiteY1180" fmla="*/ 728102 h 1289104"/>
                <a:gd name="connsiteX1181" fmla="*/ 186355 w 1873369"/>
                <a:gd name="connsiteY1181" fmla="*/ 727972 h 1289104"/>
                <a:gd name="connsiteX1182" fmla="*/ 185579 w 1873369"/>
                <a:gd name="connsiteY1182" fmla="*/ 728877 h 1289104"/>
                <a:gd name="connsiteX1183" fmla="*/ 183641 w 1873369"/>
                <a:gd name="connsiteY1183" fmla="*/ 732754 h 1289104"/>
                <a:gd name="connsiteX1184" fmla="*/ 182478 w 1873369"/>
                <a:gd name="connsiteY1184" fmla="*/ 734305 h 1289104"/>
                <a:gd name="connsiteX1185" fmla="*/ 180410 w 1873369"/>
                <a:gd name="connsiteY1185" fmla="*/ 735985 h 1289104"/>
                <a:gd name="connsiteX1186" fmla="*/ 174465 w 1873369"/>
                <a:gd name="connsiteY1186" fmla="*/ 739216 h 1289104"/>
                <a:gd name="connsiteX1187" fmla="*/ 169037 w 1873369"/>
                <a:gd name="connsiteY1187" fmla="*/ 743351 h 1289104"/>
                <a:gd name="connsiteX1188" fmla="*/ 167099 w 1873369"/>
                <a:gd name="connsiteY1188" fmla="*/ 744385 h 1289104"/>
                <a:gd name="connsiteX1189" fmla="*/ 165160 w 1873369"/>
                <a:gd name="connsiteY1189" fmla="*/ 745031 h 1289104"/>
                <a:gd name="connsiteX1190" fmla="*/ 163739 w 1873369"/>
                <a:gd name="connsiteY1190" fmla="*/ 745160 h 1289104"/>
                <a:gd name="connsiteX1191" fmla="*/ 159862 w 1873369"/>
                <a:gd name="connsiteY1191" fmla="*/ 744514 h 1289104"/>
                <a:gd name="connsiteX1192" fmla="*/ 158440 w 1873369"/>
                <a:gd name="connsiteY1192" fmla="*/ 744902 h 1289104"/>
                <a:gd name="connsiteX1193" fmla="*/ 157923 w 1873369"/>
                <a:gd name="connsiteY1193" fmla="*/ 745548 h 1289104"/>
                <a:gd name="connsiteX1194" fmla="*/ 157665 w 1873369"/>
                <a:gd name="connsiteY1194" fmla="*/ 746324 h 1289104"/>
                <a:gd name="connsiteX1195" fmla="*/ 157148 w 1873369"/>
                <a:gd name="connsiteY1195" fmla="*/ 746970 h 1289104"/>
                <a:gd name="connsiteX1196" fmla="*/ 152754 w 1873369"/>
                <a:gd name="connsiteY1196" fmla="*/ 748133 h 1289104"/>
                <a:gd name="connsiteX1197" fmla="*/ 151591 w 1873369"/>
                <a:gd name="connsiteY1197" fmla="*/ 749425 h 1289104"/>
                <a:gd name="connsiteX1198" fmla="*/ 150816 w 1873369"/>
                <a:gd name="connsiteY1198" fmla="*/ 755241 h 1289104"/>
                <a:gd name="connsiteX1199" fmla="*/ 149652 w 1873369"/>
                <a:gd name="connsiteY1199" fmla="*/ 756921 h 1289104"/>
                <a:gd name="connsiteX1200" fmla="*/ 147843 w 1873369"/>
                <a:gd name="connsiteY1200" fmla="*/ 758213 h 1289104"/>
                <a:gd name="connsiteX1201" fmla="*/ 145517 w 1873369"/>
                <a:gd name="connsiteY1201" fmla="*/ 759376 h 1289104"/>
                <a:gd name="connsiteX1202" fmla="*/ 145000 w 1873369"/>
                <a:gd name="connsiteY1202" fmla="*/ 759505 h 1289104"/>
                <a:gd name="connsiteX1203" fmla="*/ 143578 w 1873369"/>
                <a:gd name="connsiteY1203" fmla="*/ 759505 h 1289104"/>
                <a:gd name="connsiteX1204" fmla="*/ 143062 w 1873369"/>
                <a:gd name="connsiteY1204" fmla="*/ 759764 h 1289104"/>
                <a:gd name="connsiteX1205" fmla="*/ 142674 w 1873369"/>
                <a:gd name="connsiteY1205" fmla="*/ 760281 h 1289104"/>
                <a:gd name="connsiteX1206" fmla="*/ 142674 w 1873369"/>
                <a:gd name="connsiteY1206" fmla="*/ 760927 h 1289104"/>
                <a:gd name="connsiteX1207" fmla="*/ 142674 w 1873369"/>
                <a:gd name="connsiteY1207" fmla="*/ 761573 h 1289104"/>
                <a:gd name="connsiteX1208" fmla="*/ 142545 w 1873369"/>
                <a:gd name="connsiteY1208" fmla="*/ 761961 h 1289104"/>
                <a:gd name="connsiteX1209" fmla="*/ 142028 w 1873369"/>
                <a:gd name="connsiteY1209" fmla="*/ 762995 h 1289104"/>
                <a:gd name="connsiteX1210" fmla="*/ 141640 w 1873369"/>
                <a:gd name="connsiteY1210" fmla="*/ 763899 h 1289104"/>
                <a:gd name="connsiteX1211" fmla="*/ 140994 w 1873369"/>
                <a:gd name="connsiteY1211" fmla="*/ 764545 h 1289104"/>
                <a:gd name="connsiteX1212" fmla="*/ 139443 w 1873369"/>
                <a:gd name="connsiteY1212" fmla="*/ 764545 h 1289104"/>
                <a:gd name="connsiteX1213" fmla="*/ 137504 w 1873369"/>
                <a:gd name="connsiteY1213" fmla="*/ 764804 h 1289104"/>
                <a:gd name="connsiteX1214" fmla="*/ 135566 w 1873369"/>
                <a:gd name="connsiteY1214" fmla="*/ 765709 h 1289104"/>
                <a:gd name="connsiteX1215" fmla="*/ 133886 w 1873369"/>
                <a:gd name="connsiteY1215" fmla="*/ 767001 h 1289104"/>
                <a:gd name="connsiteX1216" fmla="*/ 131301 w 1873369"/>
                <a:gd name="connsiteY1216" fmla="*/ 769844 h 1289104"/>
                <a:gd name="connsiteX1217" fmla="*/ 128329 w 1873369"/>
                <a:gd name="connsiteY1217" fmla="*/ 771136 h 1289104"/>
                <a:gd name="connsiteX1218" fmla="*/ 126907 w 1873369"/>
                <a:gd name="connsiteY1218" fmla="*/ 772558 h 1289104"/>
                <a:gd name="connsiteX1219" fmla="*/ 126390 w 1873369"/>
                <a:gd name="connsiteY1219" fmla="*/ 773721 h 1289104"/>
                <a:gd name="connsiteX1220" fmla="*/ 126390 w 1873369"/>
                <a:gd name="connsiteY1220" fmla="*/ 774755 h 1289104"/>
                <a:gd name="connsiteX1221" fmla="*/ 126003 w 1873369"/>
                <a:gd name="connsiteY1221" fmla="*/ 775660 h 1289104"/>
                <a:gd name="connsiteX1222" fmla="*/ 124969 w 1873369"/>
                <a:gd name="connsiteY1222" fmla="*/ 776564 h 1289104"/>
                <a:gd name="connsiteX1223" fmla="*/ 124064 w 1873369"/>
                <a:gd name="connsiteY1223" fmla="*/ 776952 h 1289104"/>
                <a:gd name="connsiteX1224" fmla="*/ 118249 w 1873369"/>
                <a:gd name="connsiteY1224" fmla="*/ 776952 h 1289104"/>
                <a:gd name="connsiteX1225" fmla="*/ 116052 w 1873369"/>
                <a:gd name="connsiteY1225" fmla="*/ 776306 h 1289104"/>
                <a:gd name="connsiteX1226" fmla="*/ 113984 w 1873369"/>
                <a:gd name="connsiteY1226" fmla="*/ 776047 h 1289104"/>
                <a:gd name="connsiteX1227" fmla="*/ 112692 w 1873369"/>
                <a:gd name="connsiteY1227" fmla="*/ 777081 h 1289104"/>
                <a:gd name="connsiteX1228" fmla="*/ 111270 w 1873369"/>
                <a:gd name="connsiteY1228" fmla="*/ 778761 h 1289104"/>
                <a:gd name="connsiteX1229" fmla="*/ 109461 w 1873369"/>
                <a:gd name="connsiteY1229" fmla="*/ 779666 h 1289104"/>
                <a:gd name="connsiteX1230" fmla="*/ 105067 w 1873369"/>
                <a:gd name="connsiteY1230" fmla="*/ 780441 h 1289104"/>
                <a:gd name="connsiteX1231" fmla="*/ 104550 w 1873369"/>
                <a:gd name="connsiteY1231" fmla="*/ 780441 h 1289104"/>
                <a:gd name="connsiteX1232" fmla="*/ 103128 w 1873369"/>
                <a:gd name="connsiteY1232" fmla="*/ 779924 h 1289104"/>
                <a:gd name="connsiteX1233" fmla="*/ 102611 w 1873369"/>
                <a:gd name="connsiteY1233" fmla="*/ 780054 h 1289104"/>
                <a:gd name="connsiteX1234" fmla="*/ 102353 w 1873369"/>
                <a:gd name="connsiteY1234" fmla="*/ 780570 h 1289104"/>
                <a:gd name="connsiteX1235" fmla="*/ 102224 w 1873369"/>
                <a:gd name="connsiteY1235" fmla="*/ 782121 h 1289104"/>
                <a:gd name="connsiteX1236" fmla="*/ 102094 w 1873369"/>
                <a:gd name="connsiteY1236" fmla="*/ 782509 h 1289104"/>
                <a:gd name="connsiteX1237" fmla="*/ 100544 w 1873369"/>
                <a:gd name="connsiteY1237" fmla="*/ 783284 h 1289104"/>
                <a:gd name="connsiteX1238" fmla="*/ 99768 w 1873369"/>
                <a:gd name="connsiteY1238" fmla="*/ 783543 h 1289104"/>
                <a:gd name="connsiteX1239" fmla="*/ 98347 w 1873369"/>
                <a:gd name="connsiteY1239" fmla="*/ 783543 h 1289104"/>
                <a:gd name="connsiteX1240" fmla="*/ 95762 w 1873369"/>
                <a:gd name="connsiteY1240" fmla="*/ 784189 h 1289104"/>
                <a:gd name="connsiteX1241" fmla="*/ 95374 w 1873369"/>
                <a:gd name="connsiteY1241" fmla="*/ 785869 h 1289104"/>
                <a:gd name="connsiteX1242" fmla="*/ 96150 w 1873369"/>
                <a:gd name="connsiteY1242" fmla="*/ 787678 h 1289104"/>
                <a:gd name="connsiteX1243" fmla="*/ 97054 w 1873369"/>
                <a:gd name="connsiteY1243" fmla="*/ 789229 h 1289104"/>
                <a:gd name="connsiteX1244" fmla="*/ 97701 w 1873369"/>
                <a:gd name="connsiteY1244" fmla="*/ 790909 h 1289104"/>
                <a:gd name="connsiteX1245" fmla="*/ 98217 w 1873369"/>
                <a:gd name="connsiteY1245" fmla="*/ 797500 h 1289104"/>
                <a:gd name="connsiteX1246" fmla="*/ 98088 w 1873369"/>
                <a:gd name="connsiteY1246" fmla="*/ 799180 h 1289104"/>
                <a:gd name="connsiteX1247" fmla="*/ 97054 w 1873369"/>
                <a:gd name="connsiteY1247" fmla="*/ 800602 h 1289104"/>
                <a:gd name="connsiteX1248" fmla="*/ 95891 w 1873369"/>
                <a:gd name="connsiteY1248" fmla="*/ 802023 h 1289104"/>
                <a:gd name="connsiteX1249" fmla="*/ 95116 w 1873369"/>
                <a:gd name="connsiteY1249" fmla="*/ 803574 h 1289104"/>
                <a:gd name="connsiteX1250" fmla="*/ 94470 w 1873369"/>
                <a:gd name="connsiteY1250" fmla="*/ 808226 h 1289104"/>
                <a:gd name="connsiteX1251" fmla="*/ 93953 w 1873369"/>
                <a:gd name="connsiteY1251" fmla="*/ 809906 h 1289104"/>
                <a:gd name="connsiteX1252" fmla="*/ 90851 w 1873369"/>
                <a:gd name="connsiteY1252" fmla="*/ 816497 h 1289104"/>
                <a:gd name="connsiteX1253" fmla="*/ 89817 w 1873369"/>
                <a:gd name="connsiteY1253" fmla="*/ 819857 h 1289104"/>
                <a:gd name="connsiteX1254" fmla="*/ 90334 w 1873369"/>
                <a:gd name="connsiteY1254" fmla="*/ 823476 h 1289104"/>
                <a:gd name="connsiteX1255" fmla="*/ 91239 w 1873369"/>
                <a:gd name="connsiteY1255" fmla="*/ 826836 h 1289104"/>
                <a:gd name="connsiteX1256" fmla="*/ 91239 w 1873369"/>
                <a:gd name="connsiteY1256" fmla="*/ 829808 h 1289104"/>
                <a:gd name="connsiteX1257" fmla="*/ 89430 w 1873369"/>
                <a:gd name="connsiteY1257" fmla="*/ 839759 h 1289104"/>
                <a:gd name="connsiteX1258" fmla="*/ 88396 w 1873369"/>
                <a:gd name="connsiteY1258" fmla="*/ 842861 h 1289104"/>
                <a:gd name="connsiteX1259" fmla="*/ 86845 w 1873369"/>
                <a:gd name="connsiteY1259" fmla="*/ 845833 h 1289104"/>
                <a:gd name="connsiteX1260" fmla="*/ 75731 w 1873369"/>
                <a:gd name="connsiteY1260" fmla="*/ 860566 h 1289104"/>
                <a:gd name="connsiteX1261" fmla="*/ 71983 w 1873369"/>
                <a:gd name="connsiteY1261" fmla="*/ 863926 h 1289104"/>
                <a:gd name="connsiteX1262" fmla="*/ 65909 w 1873369"/>
                <a:gd name="connsiteY1262" fmla="*/ 877496 h 1289104"/>
                <a:gd name="connsiteX1263" fmla="*/ 63583 w 1873369"/>
                <a:gd name="connsiteY1263" fmla="*/ 881243 h 1289104"/>
                <a:gd name="connsiteX1264" fmla="*/ 61903 w 1873369"/>
                <a:gd name="connsiteY1264" fmla="*/ 885250 h 1289104"/>
                <a:gd name="connsiteX1265" fmla="*/ 61774 w 1873369"/>
                <a:gd name="connsiteY1265" fmla="*/ 890160 h 1289104"/>
                <a:gd name="connsiteX1266" fmla="*/ 62807 w 1873369"/>
                <a:gd name="connsiteY1266" fmla="*/ 892745 h 1289104"/>
                <a:gd name="connsiteX1267" fmla="*/ 67977 w 1873369"/>
                <a:gd name="connsiteY1267" fmla="*/ 898561 h 1289104"/>
                <a:gd name="connsiteX1268" fmla="*/ 68623 w 1873369"/>
                <a:gd name="connsiteY1268" fmla="*/ 900499 h 1289104"/>
                <a:gd name="connsiteX1269" fmla="*/ 69657 w 1873369"/>
                <a:gd name="connsiteY1269" fmla="*/ 909029 h 1289104"/>
                <a:gd name="connsiteX1270" fmla="*/ 70303 w 1873369"/>
                <a:gd name="connsiteY1270" fmla="*/ 911484 h 1289104"/>
                <a:gd name="connsiteX1271" fmla="*/ 72629 w 1873369"/>
                <a:gd name="connsiteY1271" fmla="*/ 916395 h 1289104"/>
                <a:gd name="connsiteX1272" fmla="*/ 73405 w 1873369"/>
                <a:gd name="connsiteY1272" fmla="*/ 918850 h 1289104"/>
                <a:gd name="connsiteX1273" fmla="*/ 73405 w 1873369"/>
                <a:gd name="connsiteY1273" fmla="*/ 921177 h 1289104"/>
                <a:gd name="connsiteX1274" fmla="*/ 72888 w 1873369"/>
                <a:gd name="connsiteY1274" fmla="*/ 923503 h 1289104"/>
                <a:gd name="connsiteX1275" fmla="*/ 71208 w 1873369"/>
                <a:gd name="connsiteY1275" fmla="*/ 927897 h 1289104"/>
                <a:gd name="connsiteX1276" fmla="*/ 68623 w 1873369"/>
                <a:gd name="connsiteY1276" fmla="*/ 932291 h 1289104"/>
                <a:gd name="connsiteX1277" fmla="*/ 65651 w 1873369"/>
                <a:gd name="connsiteY1277" fmla="*/ 935392 h 1289104"/>
                <a:gd name="connsiteX1278" fmla="*/ 62032 w 1873369"/>
                <a:gd name="connsiteY1278" fmla="*/ 937331 h 1289104"/>
                <a:gd name="connsiteX1279" fmla="*/ 57121 w 1873369"/>
                <a:gd name="connsiteY1279" fmla="*/ 938623 h 1289104"/>
                <a:gd name="connsiteX1280" fmla="*/ 49626 w 1873369"/>
                <a:gd name="connsiteY1280" fmla="*/ 938623 h 1289104"/>
                <a:gd name="connsiteX1281" fmla="*/ 47299 w 1873369"/>
                <a:gd name="connsiteY1281" fmla="*/ 939398 h 1289104"/>
                <a:gd name="connsiteX1282" fmla="*/ 43552 w 1873369"/>
                <a:gd name="connsiteY1282" fmla="*/ 942888 h 1289104"/>
                <a:gd name="connsiteX1283" fmla="*/ 39287 w 1873369"/>
                <a:gd name="connsiteY1283" fmla="*/ 945343 h 1289104"/>
                <a:gd name="connsiteX1284" fmla="*/ 32050 w 1873369"/>
                <a:gd name="connsiteY1284" fmla="*/ 951676 h 1289104"/>
                <a:gd name="connsiteX1285" fmla="*/ 23391 w 1873369"/>
                <a:gd name="connsiteY1285" fmla="*/ 956586 h 1289104"/>
                <a:gd name="connsiteX1286" fmla="*/ 18093 w 1873369"/>
                <a:gd name="connsiteY1286" fmla="*/ 960851 h 1289104"/>
                <a:gd name="connsiteX1287" fmla="*/ 15120 w 1873369"/>
                <a:gd name="connsiteY1287" fmla="*/ 962660 h 1289104"/>
                <a:gd name="connsiteX1288" fmla="*/ 13699 w 1873369"/>
                <a:gd name="connsiteY1288" fmla="*/ 963824 h 1289104"/>
                <a:gd name="connsiteX1289" fmla="*/ 12406 w 1873369"/>
                <a:gd name="connsiteY1289" fmla="*/ 966537 h 1289104"/>
                <a:gd name="connsiteX1290" fmla="*/ 11373 w 1873369"/>
                <a:gd name="connsiteY1290" fmla="*/ 967830 h 1289104"/>
                <a:gd name="connsiteX1291" fmla="*/ 6849 w 1873369"/>
                <a:gd name="connsiteY1291" fmla="*/ 970673 h 1289104"/>
                <a:gd name="connsiteX1292" fmla="*/ 5686 w 1873369"/>
                <a:gd name="connsiteY1292" fmla="*/ 971965 h 1289104"/>
                <a:gd name="connsiteX1293" fmla="*/ 5040 w 1873369"/>
                <a:gd name="connsiteY1293" fmla="*/ 973775 h 1289104"/>
                <a:gd name="connsiteX1294" fmla="*/ 4782 w 1873369"/>
                <a:gd name="connsiteY1294" fmla="*/ 979590 h 1289104"/>
                <a:gd name="connsiteX1295" fmla="*/ 2197 w 1873369"/>
                <a:gd name="connsiteY1295" fmla="*/ 989412 h 1289104"/>
                <a:gd name="connsiteX1296" fmla="*/ 646 w 1873369"/>
                <a:gd name="connsiteY1296" fmla="*/ 992384 h 1289104"/>
                <a:gd name="connsiteX1297" fmla="*/ 0 w 1873369"/>
                <a:gd name="connsiteY1297" fmla="*/ 994969 h 1289104"/>
                <a:gd name="connsiteX1298" fmla="*/ 646 w 1873369"/>
                <a:gd name="connsiteY1298" fmla="*/ 996649 h 1289104"/>
                <a:gd name="connsiteX1299" fmla="*/ 1939 w 1873369"/>
                <a:gd name="connsiteY1299" fmla="*/ 997166 h 1289104"/>
                <a:gd name="connsiteX1300" fmla="*/ 123030 w 1873369"/>
                <a:gd name="connsiteY1300" fmla="*/ 1047438 h 1289104"/>
                <a:gd name="connsiteX1301" fmla="*/ 368316 w 1873369"/>
                <a:gd name="connsiteY1301" fmla="*/ 1108177 h 1289104"/>
                <a:gd name="connsiteX1302" fmla="*/ 428797 w 1873369"/>
                <a:gd name="connsiteY1302" fmla="*/ 1140098 h 1289104"/>
                <a:gd name="connsiteX1303" fmla="*/ 747358 w 1873369"/>
                <a:gd name="connsiteY1303" fmla="*/ 1289104 h 1289104"/>
                <a:gd name="connsiteX1304" fmla="*/ 753173 w 1873369"/>
                <a:gd name="connsiteY1304" fmla="*/ 1284452 h 1289104"/>
                <a:gd name="connsiteX1305" fmla="*/ 754207 w 1873369"/>
                <a:gd name="connsiteY1305" fmla="*/ 1283418 h 1289104"/>
                <a:gd name="connsiteX1306" fmla="*/ 755370 w 1873369"/>
                <a:gd name="connsiteY1306" fmla="*/ 1281738 h 1289104"/>
                <a:gd name="connsiteX1307" fmla="*/ 755887 w 1873369"/>
                <a:gd name="connsiteY1307" fmla="*/ 1280704 h 1289104"/>
                <a:gd name="connsiteX1308" fmla="*/ 756662 w 1873369"/>
                <a:gd name="connsiteY1308" fmla="*/ 1279541 h 1289104"/>
                <a:gd name="connsiteX1309" fmla="*/ 757696 w 1873369"/>
                <a:gd name="connsiteY1309" fmla="*/ 1279283 h 1289104"/>
                <a:gd name="connsiteX1310" fmla="*/ 760281 w 1873369"/>
                <a:gd name="connsiteY1310" fmla="*/ 1279541 h 1289104"/>
                <a:gd name="connsiteX1311" fmla="*/ 761832 w 1873369"/>
                <a:gd name="connsiteY1311" fmla="*/ 1279541 h 1289104"/>
                <a:gd name="connsiteX1312" fmla="*/ 768552 w 1873369"/>
                <a:gd name="connsiteY1312" fmla="*/ 1273079 h 1289104"/>
                <a:gd name="connsiteX1313" fmla="*/ 772300 w 1873369"/>
                <a:gd name="connsiteY1313" fmla="*/ 1270365 h 1289104"/>
                <a:gd name="connsiteX1314" fmla="*/ 773463 w 1873369"/>
                <a:gd name="connsiteY1314" fmla="*/ 1269978 h 1289104"/>
                <a:gd name="connsiteX1315" fmla="*/ 779537 w 1873369"/>
                <a:gd name="connsiteY1315" fmla="*/ 1268298 h 1289104"/>
                <a:gd name="connsiteX1316" fmla="*/ 782380 w 1873369"/>
                <a:gd name="connsiteY1316" fmla="*/ 1267264 h 1289104"/>
                <a:gd name="connsiteX1317" fmla="*/ 783672 w 1873369"/>
                <a:gd name="connsiteY1317" fmla="*/ 1266101 h 1289104"/>
                <a:gd name="connsiteX1318" fmla="*/ 785481 w 1873369"/>
                <a:gd name="connsiteY1318" fmla="*/ 1263258 h 1289104"/>
                <a:gd name="connsiteX1319" fmla="*/ 793106 w 1873369"/>
                <a:gd name="connsiteY1319" fmla="*/ 1255245 h 1289104"/>
                <a:gd name="connsiteX1320" fmla="*/ 794140 w 1873369"/>
                <a:gd name="connsiteY1320" fmla="*/ 1253824 h 1289104"/>
                <a:gd name="connsiteX1321" fmla="*/ 794399 w 1873369"/>
                <a:gd name="connsiteY1321" fmla="*/ 1252531 h 1289104"/>
                <a:gd name="connsiteX1322" fmla="*/ 794657 w 1873369"/>
                <a:gd name="connsiteY1322" fmla="*/ 1250334 h 1289104"/>
                <a:gd name="connsiteX1323" fmla="*/ 794528 w 1873369"/>
                <a:gd name="connsiteY1323" fmla="*/ 1249171 h 1289104"/>
                <a:gd name="connsiteX1324" fmla="*/ 793365 w 1873369"/>
                <a:gd name="connsiteY1324" fmla="*/ 1245165 h 1289104"/>
                <a:gd name="connsiteX1325" fmla="*/ 793365 w 1873369"/>
                <a:gd name="connsiteY1325" fmla="*/ 1243873 h 1289104"/>
                <a:gd name="connsiteX1326" fmla="*/ 793882 w 1873369"/>
                <a:gd name="connsiteY1326" fmla="*/ 1242451 h 1289104"/>
                <a:gd name="connsiteX1327" fmla="*/ 794786 w 1873369"/>
                <a:gd name="connsiteY1327" fmla="*/ 1241934 h 1289104"/>
                <a:gd name="connsiteX1328" fmla="*/ 795820 w 1873369"/>
                <a:gd name="connsiteY1328" fmla="*/ 1241934 h 1289104"/>
                <a:gd name="connsiteX1329" fmla="*/ 798017 w 1873369"/>
                <a:gd name="connsiteY1329" fmla="*/ 1242580 h 1289104"/>
                <a:gd name="connsiteX1330" fmla="*/ 799051 w 1873369"/>
                <a:gd name="connsiteY1330" fmla="*/ 1242839 h 1289104"/>
                <a:gd name="connsiteX1331" fmla="*/ 801248 w 1873369"/>
                <a:gd name="connsiteY1331" fmla="*/ 1242839 h 1289104"/>
                <a:gd name="connsiteX1332" fmla="*/ 804350 w 1873369"/>
                <a:gd name="connsiteY1332" fmla="*/ 1243356 h 1289104"/>
                <a:gd name="connsiteX1333" fmla="*/ 806805 w 1873369"/>
                <a:gd name="connsiteY1333" fmla="*/ 1242709 h 1289104"/>
                <a:gd name="connsiteX1334" fmla="*/ 808485 w 1873369"/>
                <a:gd name="connsiteY1334" fmla="*/ 1242451 h 1289104"/>
                <a:gd name="connsiteX1335" fmla="*/ 809777 w 1873369"/>
                <a:gd name="connsiteY1335" fmla="*/ 1242451 h 1289104"/>
                <a:gd name="connsiteX1336" fmla="*/ 812104 w 1873369"/>
                <a:gd name="connsiteY1336" fmla="*/ 1243226 h 1289104"/>
                <a:gd name="connsiteX1337" fmla="*/ 814947 w 1873369"/>
                <a:gd name="connsiteY1337" fmla="*/ 1243743 h 1289104"/>
                <a:gd name="connsiteX1338" fmla="*/ 820116 w 1873369"/>
                <a:gd name="connsiteY1338" fmla="*/ 1244260 h 1289104"/>
                <a:gd name="connsiteX1339" fmla="*/ 825156 w 1873369"/>
                <a:gd name="connsiteY1339" fmla="*/ 1243873 h 1289104"/>
                <a:gd name="connsiteX1340" fmla="*/ 836270 w 1873369"/>
                <a:gd name="connsiteY1340" fmla="*/ 1241934 h 1289104"/>
                <a:gd name="connsiteX1341" fmla="*/ 838209 w 1873369"/>
                <a:gd name="connsiteY1341" fmla="*/ 1241805 h 1289104"/>
                <a:gd name="connsiteX1342" fmla="*/ 841310 w 1873369"/>
                <a:gd name="connsiteY1342" fmla="*/ 1242322 h 1289104"/>
                <a:gd name="connsiteX1343" fmla="*/ 842473 w 1873369"/>
                <a:gd name="connsiteY1343" fmla="*/ 1242709 h 1289104"/>
                <a:gd name="connsiteX1344" fmla="*/ 843766 w 1873369"/>
                <a:gd name="connsiteY1344" fmla="*/ 1243356 h 1289104"/>
                <a:gd name="connsiteX1345" fmla="*/ 845058 w 1873369"/>
                <a:gd name="connsiteY1345" fmla="*/ 1244519 h 1289104"/>
                <a:gd name="connsiteX1346" fmla="*/ 847255 w 1873369"/>
                <a:gd name="connsiteY1346" fmla="*/ 1246845 h 1289104"/>
                <a:gd name="connsiteX1347" fmla="*/ 849581 w 1873369"/>
                <a:gd name="connsiteY1347" fmla="*/ 1250076 h 1289104"/>
                <a:gd name="connsiteX1348" fmla="*/ 850615 w 1873369"/>
                <a:gd name="connsiteY1348" fmla="*/ 1250980 h 1289104"/>
                <a:gd name="connsiteX1349" fmla="*/ 853846 w 1873369"/>
                <a:gd name="connsiteY1349" fmla="*/ 1252144 h 1289104"/>
                <a:gd name="connsiteX1350" fmla="*/ 854234 w 1873369"/>
                <a:gd name="connsiteY1350" fmla="*/ 1252531 h 1289104"/>
                <a:gd name="connsiteX1351" fmla="*/ 854363 w 1873369"/>
                <a:gd name="connsiteY1351" fmla="*/ 1252919 h 1289104"/>
                <a:gd name="connsiteX1352" fmla="*/ 854621 w 1873369"/>
                <a:gd name="connsiteY1352" fmla="*/ 1253436 h 1289104"/>
                <a:gd name="connsiteX1353" fmla="*/ 855138 w 1873369"/>
                <a:gd name="connsiteY1353" fmla="*/ 1254211 h 1289104"/>
                <a:gd name="connsiteX1354" fmla="*/ 856043 w 1873369"/>
                <a:gd name="connsiteY1354" fmla="*/ 1254857 h 1289104"/>
                <a:gd name="connsiteX1355" fmla="*/ 858240 w 1873369"/>
                <a:gd name="connsiteY1355" fmla="*/ 1256021 h 1289104"/>
                <a:gd name="connsiteX1356" fmla="*/ 859015 w 1873369"/>
                <a:gd name="connsiteY1356" fmla="*/ 1256796 h 1289104"/>
                <a:gd name="connsiteX1357" fmla="*/ 860178 w 1873369"/>
                <a:gd name="connsiteY1357" fmla="*/ 1258864 h 1289104"/>
                <a:gd name="connsiteX1358" fmla="*/ 861083 w 1873369"/>
                <a:gd name="connsiteY1358" fmla="*/ 1259768 h 1289104"/>
                <a:gd name="connsiteX1359" fmla="*/ 862763 w 1873369"/>
                <a:gd name="connsiteY1359" fmla="*/ 1260156 h 1289104"/>
                <a:gd name="connsiteX1360" fmla="*/ 864055 w 1873369"/>
                <a:gd name="connsiteY1360" fmla="*/ 1259898 h 1289104"/>
                <a:gd name="connsiteX1361" fmla="*/ 865477 w 1873369"/>
                <a:gd name="connsiteY1361" fmla="*/ 1259251 h 1289104"/>
                <a:gd name="connsiteX1362" fmla="*/ 867028 w 1873369"/>
                <a:gd name="connsiteY1362" fmla="*/ 1258218 h 1289104"/>
                <a:gd name="connsiteX1363" fmla="*/ 869483 w 1873369"/>
                <a:gd name="connsiteY1363" fmla="*/ 1257054 h 1289104"/>
                <a:gd name="connsiteX1364" fmla="*/ 870905 w 1873369"/>
                <a:gd name="connsiteY1364" fmla="*/ 1256150 h 1289104"/>
                <a:gd name="connsiteX1365" fmla="*/ 871809 w 1873369"/>
                <a:gd name="connsiteY1365" fmla="*/ 1255116 h 1289104"/>
                <a:gd name="connsiteX1366" fmla="*/ 872197 w 1873369"/>
                <a:gd name="connsiteY1366" fmla="*/ 1254211 h 1289104"/>
                <a:gd name="connsiteX1367" fmla="*/ 872843 w 1873369"/>
                <a:gd name="connsiteY1367" fmla="*/ 1250593 h 1289104"/>
                <a:gd name="connsiteX1368" fmla="*/ 873231 w 1873369"/>
                <a:gd name="connsiteY1368" fmla="*/ 1249559 h 1289104"/>
                <a:gd name="connsiteX1369" fmla="*/ 874136 w 1873369"/>
                <a:gd name="connsiteY1369" fmla="*/ 1248396 h 1289104"/>
                <a:gd name="connsiteX1370" fmla="*/ 875557 w 1873369"/>
                <a:gd name="connsiteY1370" fmla="*/ 1247103 h 1289104"/>
                <a:gd name="connsiteX1371" fmla="*/ 883053 w 1873369"/>
                <a:gd name="connsiteY1371" fmla="*/ 1243356 h 1289104"/>
                <a:gd name="connsiteX1372" fmla="*/ 884604 w 1873369"/>
                <a:gd name="connsiteY1372" fmla="*/ 1242968 h 1289104"/>
                <a:gd name="connsiteX1373" fmla="*/ 885896 w 1873369"/>
                <a:gd name="connsiteY1373" fmla="*/ 1242968 h 1289104"/>
                <a:gd name="connsiteX1374" fmla="*/ 887059 w 1873369"/>
                <a:gd name="connsiteY1374" fmla="*/ 1243226 h 1289104"/>
                <a:gd name="connsiteX1375" fmla="*/ 888093 w 1873369"/>
                <a:gd name="connsiteY1375" fmla="*/ 1243743 h 1289104"/>
                <a:gd name="connsiteX1376" fmla="*/ 888998 w 1873369"/>
                <a:gd name="connsiteY1376" fmla="*/ 1244390 h 1289104"/>
                <a:gd name="connsiteX1377" fmla="*/ 889644 w 1873369"/>
                <a:gd name="connsiteY1377" fmla="*/ 1245165 h 1289104"/>
                <a:gd name="connsiteX1378" fmla="*/ 890031 w 1873369"/>
                <a:gd name="connsiteY1378" fmla="*/ 1245811 h 1289104"/>
                <a:gd name="connsiteX1379" fmla="*/ 890807 w 1873369"/>
                <a:gd name="connsiteY1379" fmla="*/ 1246716 h 1289104"/>
                <a:gd name="connsiteX1380" fmla="*/ 891711 w 1873369"/>
                <a:gd name="connsiteY1380" fmla="*/ 1247620 h 1289104"/>
                <a:gd name="connsiteX1381" fmla="*/ 893779 w 1873369"/>
                <a:gd name="connsiteY1381" fmla="*/ 1248008 h 1289104"/>
                <a:gd name="connsiteX1382" fmla="*/ 895071 w 1873369"/>
                <a:gd name="connsiteY1382" fmla="*/ 1247750 h 1289104"/>
                <a:gd name="connsiteX1383" fmla="*/ 895976 w 1873369"/>
                <a:gd name="connsiteY1383" fmla="*/ 1246974 h 1289104"/>
                <a:gd name="connsiteX1384" fmla="*/ 896364 w 1873369"/>
                <a:gd name="connsiteY1384" fmla="*/ 1245940 h 1289104"/>
                <a:gd name="connsiteX1385" fmla="*/ 896493 w 1873369"/>
                <a:gd name="connsiteY1385" fmla="*/ 1243743 h 1289104"/>
                <a:gd name="connsiteX1386" fmla="*/ 896881 w 1873369"/>
                <a:gd name="connsiteY1386" fmla="*/ 1242709 h 1289104"/>
                <a:gd name="connsiteX1387" fmla="*/ 897527 w 1873369"/>
                <a:gd name="connsiteY1387" fmla="*/ 1241805 h 1289104"/>
                <a:gd name="connsiteX1388" fmla="*/ 898432 w 1873369"/>
                <a:gd name="connsiteY1388" fmla="*/ 1240771 h 1289104"/>
                <a:gd name="connsiteX1389" fmla="*/ 901792 w 1873369"/>
                <a:gd name="connsiteY1389" fmla="*/ 1238703 h 1289104"/>
                <a:gd name="connsiteX1390" fmla="*/ 902696 w 1873369"/>
                <a:gd name="connsiteY1390" fmla="*/ 1237928 h 1289104"/>
                <a:gd name="connsiteX1391" fmla="*/ 903601 w 1873369"/>
                <a:gd name="connsiteY1391" fmla="*/ 1236894 h 1289104"/>
                <a:gd name="connsiteX1392" fmla="*/ 905152 w 1873369"/>
                <a:gd name="connsiteY1392" fmla="*/ 1235472 h 1289104"/>
                <a:gd name="connsiteX1393" fmla="*/ 907349 w 1873369"/>
                <a:gd name="connsiteY1393" fmla="*/ 1233792 h 1289104"/>
                <a:gd name="connsiteX1394" fmla="*/ 914327 w 1873369"/>
                <a:gd name="connsiteY1394" fmla="*/ 1230174 h 1289104"/>
                <a:gd name="connsiteX1395" fmla="*/ 916266 w 1873369"/>
                <a:gd name="connsiteY1395" fmla="*/ 1228881 h 1289104"/>
                <a:gd name="connsiteX1396" fmla="*/ 917558 w 1873369"/>
                <a:gd name="connsiteY1396" fmla="*/ 1227718 h 1289104"/>
                <a:gd name="connsiteX1397" fmla="*/ 919367 w 1873369"/>
                <a:gd name="connsiteY1397" fmla="*/ 1226426 h 1289104"/>
                <a:gd name="connsiteX1398" fmla="*/ 920660 w 1873369"/>
                <a:gd name="connsiteY1398" fmla="*/ 1226038 h 1289104"/>
                <a:gd name="connsiteX1399" fmla="*/ 921694 w 1873369"/>
                <a:gd name="connsiteY1399" fmla="*/ 1226426 h 1289104"/>
                <a:gd name="connsiteX1400" fmla="*/ 922081 w 1873369"/>
                <a:gd name="connsiteY1400" fmla="*/ 1227331 h 1289104"/>
                <a:gd name="connsiteX1401" fmla="*/ 922081 w 1873369"/>
                <a:gd name="connsiteY1401" fmla="*/ 1229528 h 1289104"/>
                <a:gd name="connsiteX1402" fmla="*/ 922340 w 1873369"/>
                <a:gd name="connsiteY1402" fmla="*/ 1230691 h 1289104"/>
                <a:gd name="connsiteX1403" fmla="*/ 922986 w 1873369"/>
                <a:gd name="connsiteY1403" fmla="*/ 1231725 h 1289104"/>
                <a:gd name="connsiteX1404" fmla="*/ 923891 w 1873369"/>
                <a:gd name="connsiteY1404" fmla="*/ 1232629 h 1289104"/>
                <a:gd name="connsiteX1405" fmla="*/ 924666 w 1873369"/>
                <a:gd name="connsiteY1405" fmla="*/ 1233534 h 1289104"/>
                <a:gd name="connsiteX1406" fmla="*/ 924795 w 1873369"/>
                <a:gd name="connsiteY1406" fmla="*/ 1234568 h 1289104"/>
                <a:gd name="connsiteX1407" fmla="*/ 924666 w 1873369"/>
                <a:gd name="connsiteY1407" fmla="*/ 1236765 h 1289104"/>
                <a:gd name="connsiteX1408" fmla="*/ 924666 w 1873369"/>
                <a:gd name="connsiteY1408" fmla="*/ 1237928 h 1289104"/>
                <a:gd name="connsiteX1409" fmla="*/ 924924 w 1873369"/>
                <a:gd name="connsiteY1409" fmla="*/ 1239091 h 1289104"/>
                <a:gd name="connsiteX1410" fmla="*/ 925312 w 1873369"/>
                <a:gd name="connsiteY1410" fmla="*/ 1240125 h 1289104"/>
                <a:gd name="connsiteX1411" fmla="*/ 925958 w 1873369"/>
                <a:gd name="connsiteY1411" fmla="*/ 1241417 h 1289104"/>
                <a:gd name="connsiteX1412" fmla="*/ 926863 w 1873369"/>
                <a:gd name="connsiteY1412" fmla="*/ 1242580 h 1289104"/>
                <a:gd name="connsiteX1413" fmla="*/ 928026 w 1873369"/>
                <a:gd name="connsiteY1413" fmla="*/ 1243614 h 1289104"/>
                <a:gd name="connsiteX1414" fmla="*/ 929189 w 1873369"/>
                <a:gd name="connsiteY1414" fmla="*/ 1244648 h 1289104"/>
                <a:gd name="connsiteX1415" fmla="*/ 930481 w 1873369"/>
                <a:gd name="connsiteY1415" fmla="*/ 1245294 h 1289104"/>
                <a:gd name="connsiteX1416" fmla="*/ 931903 w 1873369"/>
                <a:gd name="connsiteY1416" fmla="*/ 1245682 h 1289104"/>
                <a:gd name="connsiteX1417" fmla="*/ 933712 w 1873369"/>
                <a:gd name="connsiteY1417" fmla="*/ 1245682 h 1289104"/>
                <a:gd name="connsiteX1418" fmla="*/ 935005 w 1873369"/>
                <a:gd name="connsiteY1418" fmla="*/ 1245294 h 1289104"/>
                <a:gd name="connsiteX1419" fmla="*/ 936168 w 1873369"/>
                <a:gd name="connsiteY1419" fmla="*/ 1244648 h 1289104"/>
                <a:gd name="connsiteX1420" fmla="*/ 938365 w 1873369"/>
                <a:gd name="connsiteY1420" fmla="*/ 1242839 h 1289104"/>
                <a:gd name="connsiteX1421" fmla="*/ 939399 w 1873369"/>
                <a:gd name="connsiteY1421" fmla="*/ 1241805 h 1289104"/>
                <a:gd name="connsiteX1422" fmla="*/ 940174 w 1873369"/>
                <a:gd name="connsiteY1422" fmla="*/ 1240771 h 1289104"/>
                <a:gd name="connsiteX1423" fmla="*/ 940949 w 1873369"/>
                <a:gd name="connsiteY1423" fmla="*/ 1239608 h 1289104"/>
                <a:gd name="connsiteX1424" fmla="*/ 942500 w 1873369"/>
                <a:gd name="connsiteY1424" fmla="*/ 1236377 h 1289104"/>
                <a:gd name="connsiteX1425" fmla="*/ 943146 w 1873369"/>
                <a:gd name="connsiteY1425" fmla="*/ 1235602 h 1289104"/>
                <a:gd name="connsiteX1426" fmla="*/ 943793 w 1873369"/>
                <a:gd name="connsiteY1426" fmla="*/ 1235214 h 1289104"/>
                <a:gd name="connsiteX1427" fmla="*/ 945602 w 1873369"/>
                <a:gd name="connsiteY1427" fmla="*/ 1234051 h 1289104"/>
                <a:gd name="connsiteX1428" fmla="*/ 946377 w 1873369"/>
                <a:gd name="connsiteY1428" fmla="*/ 1233275 h 1289104"/>
                <a:gd name="connsiteX1429" fmla="*/ 946765 w 1873369"/>
                <a:gd name="connsiteY1429" fmla="*/ 1232242 h 1289104"/>
                <a:gd name="connsiteX1430" fmla="*/ 947023 w 1873369"/>
                <a:gd name="connsiteY1430" fmla="*/ 1229915 h 1289104"/>
                <a:gd name="connsiteX1431" fmla="*/ 947670 w 1873369"/>
                <a:gd name="connsiteY1431" fmla="*/ 1228752 h 1289104"/>
                <a:gd name="connsiteX1432" fmla="*/ 948445 w 1873369"/>
                <a:gd name="connsiteY1432" fmla="*/ 1227848 h 1289104"/>
                <a:gd name="connsiteX1433" fmla="*/ 951805 w 1873369"/>
                <a:gd name="connsiteY1433" fmla="*/ 1225134 h 1289104"/>
                <a:gd name="connsiteX1434" fmla="*/ 952580 w 1873369"/>
                <a:gd name="connsiteY1434" fmla="*/ 1224100 h 1289104"/>
                <a:gd name="connsiteX1435" fmla="*/ 953226 w 1873369"/>
                <a:gd name="connsiteY1435" fmla="*/ 1222937 h 1289104"/>
                <a:gd name="connsiteX1436" fmla="*/ 953614 w 1873369"/>
                <a:gd name="connsiteY1436" fmla="*/ 1221903 h 1289104"/>
                <a:gd name="connsiteX1437" fmla="*/ 953614 w 1873369"/>
                <a:gd name="connsiteY1437" fmla="*/ 1220740 h 1289104"/>
                <a:gd name="connsiteX1438" fmla="*/ 953356 w 1873369"/>
                <a:gd name="connsiteY1438" fmla="*/ 1219577 h 1289104"/>
                <a:gd name="connsiteX1439" fmla="*/ 951417 w 1873369"/>
                <a:gd name="connsiteY1439" fmla="*/ 1214149 h 1289104"/>
                <a:gd name="connsiteX1440" fmla="*/ 951159 w 1873369"/>
                <a:gd name="connsiteY1440" fmla="*/ 1212986 h 1289104"/>
                <a:gd name="connsiteX1441" fmla="*/ 951288 w 1873369"/>
                <a:gd name="connsiteY1441" fmla="*/ 1211693 h 1289104"/>
                <a:gd name="connsiteX1442" fmla="*/ 951805 w 1873369"/>
                <a:gd name="connsiteY1442" fmla="*/ 1210530 h 1289104"/>
                <a:gd name="connsiteX1443" fmla="*/ 953614 w 1873369"/>
                <a:gd name="connsiteY1443" fmla="*/ 1208333 h 1289104"/>
                <a:gd name="connsiteX1444" fmla="*/ 954260 w 1873369"/>
                <a:gd name="connsiteY1444" fmla="*/ 1207300 h 1289104"/>
                <a:gd name="connsiteX1445" fmla="*/ 954777 w 1873369"/>
                <a:gd name="connsiteY1445" fmla="*/ 1206136 h 1289104"/>
                <a:gd name="connsiteX1446" fmla="*/ 955553 w 1873369"/>
                <a:gd name="connsiteY1446" fmla="*/ 1205103 h 1289104"/>
                <a:gd name="connsiteX1447" fmla="*/ 957620 w 1873369"/>
                <a:gd name="connsiteY1447" fmla="*/ 1203164 h 1289104"/>
                <a:gd name="connsiteX1448" fmla="*/ 960205 w 1873369"/>
                <a:gd name="connsiteY1448" fmla="*/ 1201226 h 1289104"/>
                <a:gd name="connsiteX1449" fmla="*/ 967055 w 1873369"/>
                <a:gd name="connsiteY1449" fmla="*/ 1197348 h 1289104"/>
                <a:gd name="connsiteX1450" fmla="*/ 968476 w 1873369"/>
                <a:gd name="connsiteY1450" fmla="*/ 1197090 h 1289104"/>
                <a:gd name="connsiteX1451" fmla="*/ 969768 w 1873369"/>
                <a:gd name="connsiteY1451" fmla="*/ 1197219 h 1289104"/>
                <a:gd name="connsiteX1452" fmla="*/ 970932 w 1873369"/>
                <a:gd name="connsiteY1452" fmla="*/ 1197607 h 1289104"/>
                <a:gd name="connsiteX1453" fmla="*/ 971707 w 1873369"/>
                <a:gd name="connsiteY1453" fmla="*/ 1198253 h 1289104"/>
                <a:gd name="connsiteX1454" fmla="*/ 973258 w 1873369"/>
                <a:gd name="connsiteY1454" fmla="*/ 1199675 h 1289104"/>
                <a:gd name="connsiteX1455" fmla="*/ 974292 w 1873369"/>
                <a:gd name="connsiteY1455" fmla="*/ 1200321 h 1289104"/>
                <a:gd name="connsiteX1456" fmla="*/ 975326 w 1873369"/>
                <a:gd name="connsiteY1456" fmla="*/ 1200709 h 1289104"/>
                <a:gd name="connsiteX1457" fmla="*/ 976489 w 1873369"/>
                <a:gd name="connsiteY1457" fmla="*/ 1200967 h 1289104"/>
                <a:gd name="connsiteX1458" fmla="*/ 986440 w 1873369"/>
                <a:gd name="connsiteY1458" fmla="*/ 1201613 h 1289104"/>
                <a:gd name="connsiteX1459" fmla="*/ 988378 w 1873369"/>
                <a:gd name="connsiteY1459" fmla="*/ 1201355 h 1289104"/>
                <a:gd name="connsiteX1460" fmla="*/ 989800 w 1873369"/>
                <a:gd name="connsiteY1460" fmla="*/ 1200709 h 1289104"/>
                <a:gd name="connsiteX1461" fmla="*/ 990704 w 1873369"/>
                <a:gd name="connsiteY1461" fmla="*/ 1199933 h 1289104"/>
                <a:gd name="connsiteX1462" fmla="*/ 992384 w 1873369"/>
                <a:gd name="connsiteY1462" fmla="*/ 1197478 h 1289104"/>
                <a:gd name="connsiteX1463" fmla="*/ 993806 w 1873369"/>
                <a:gd name="connsiteY1463" fmla="*/ 1196315 h 1289104"/>
                <a:gd name="connsiteX1464" fmla="*/ 996003 w 1873369"/>
                <a:gd name="connsiteY1464" fmla="*/ 1194764 h 1289104"/>
                <a:gd name="connsiteX1465" fmla="*/ 998071 w 1873369"/>
                <a:gd name="connsiteY1465" fmla="*/ 1193859 h 1289104"/>
                <a:gd name="connsiteX1466" fmla="*/ 999492 w 1873369"/>
                <a:gd name="connsiteY1466" fmla="*/ 1193601 h 1289104"/>
                <a:gd name="connsiteX1467" fmla="*/ 1000784 w 1873369"/>
                <a:gd name="connsiteY1467" fmla="*/ 1193730 h 1289104"/>
                <a:gd name="connsiteX1468" fmla="*/ 1003111 w 1873369"/>
                <a:gd name="connsiteY1468" fmla="*/ 1195281 h 1289104"/>
                <a:gd name="connsiteX1469" fmla="*/ 1004274 w 1873369"/>
                <a:gd name="connsiteY1469" fmla="*/ 1195668 h 1289104"/>
                <a:gd name="connsiteX1470" fmla="*/ 1005437 w 1873369"/>
                <a:gd name="connsiteY1470" fmla="*/ 1195668 h 1289104"/>
                <a:gd name="connsiteX1471" fmla="*/ 1006471 w 1873369"/>
                <a:gd name="connsiteY1471" fmla="*/ 1195022 h 1289104"/>
                <a:gd name="connsiteX1472" fmla="*/ 1008280 w 1873369"/>
                <a:gd name="connsiteY1472" fmla="*/ 1193084 h 1289104"/>
                <a:gd name="connsiteX1473" fmla="*/ 1009443 w 1873369"/>
                <a:gd name="connsiteY1473" fmla="*/ 1192308 h 1289104"/>
                <a:gd name="connsiteX1474" fmla="*/ 1010477 w 1873369"/>
                <a:gd name="connsiteY1474" fmla="*/ 1191921 h 1289104"/>
                <a:gd name="connsiteX1475" fmla="*/ 1011640 w 1873369"/>
                <a:gd name="connsiteY1475" fmla="*/ 1191662 h 1289104"/>
                <a:gd name="connsiteX1476" fmla="*/ 1017843 w 1873369"/>
                <a:gd name="connsiteY1476" fmla="*/ 1192308 h 1289104"/>
                <a:gd name="connsiteX1477" fmla="*/ 1021333 w 1873369"/>
                <a:gd name="connsiteY1477" fmla="*/ 1191921 h 1289104"/>
                <a:gd name="connsiteX1478" fmla="*/ 1023271 w 1873369"/>
                <a:gd name="connsiteY1478" fmla="*/ 1192308 h 1289104"/>
                <a:gd name="connsiteX1479" fmla="*/ 1025985 w 1873369"/>
                <a:gd name="connsiteY1479" fmla="*/ 1193472 h 1289104"/>
                <a:gd name="connsiteX1480" fmla="*/ 1027277 w 1873369"/>
                <a:gd name="connsiteY1480" fmla="*/ 1193472 h 1289104"/>
                <a:gd name="connsiteX1481" fmla="*/ 1030250 w 1873369"/>
                <a:gd name="connsiteY1481" fmla="*/ 1191921 h 1289104"/>
                <a:gd name="connsiteX1482" fmla="*/ 1031542 w 1873369"/>
                <a:gd name="connsiteY1482" fmla="*/ 1191662 h 1289104"/>
                <a:gd name="connsiteX1483" fmla="*/ 1032834 w 1873369"/>
                <a:gd name="connsiteY1483" fmla="*/ 1192179 h 1289104"/>
                <a:gd name="connsiteX1484" fmla="*/ 1035161 w 1873369"/>
                <a:gd name="connsiteY1484" fmla="*/ 1193859 h 1289104"/>
                <a:gd name="connsiteX1485" fmla="*/ 1036582 w 1873369"/>
                <a:gd name="connsiteY1485" fmla="*/ 1194505 h 1289104"/>
                <a:gd name="connsiteX1486" fmla="*/ 1037616 w 1873369"/>
                <a:gd name="connsiteY1486" fmla="*/ 1194118 h 1289104"/>
                <a:gd name="connsiteX1487" fmla="*/ 1037874 w 1873369"/>
                <a:gd name="connsiteY1487" fmla="*/ 1193213 h 1289104"/>
                <a:gd name="connsiteX1488" fmla="*/ 1037874 w 1873369"/>
                <a:gd name="connsiteY1488" fmla="*/ 1192050 h 1289104"/>
                <a:gd name="connsiteX1489" fmla="*/ 1036065 w 1873369"/>
                <a:gd name="connsiteY1489" fmla="*/ 1185459 h 1289104"/>
                <a:gd name="connsiteX1490" fmla="*/ 1035936 w 1873369"/>
                <a:gd name="connsiteY1490" fmla="*/ 1184296 h 1289104"/>
                <a:gd name="connsiteX1491" fmla="*/ 1036065 w 1873369"/>
                <a:gd name="connsiteY1491" fmla="*/ 1183133 h 1289104"/>
                <a:gd name="connsiteX1492" fmla="*/ 1036453 w 1873369"/>
                <a:gd name="connsiteY1492" fmla="*/ 1182099 h 1289104"/>
                <a:gd name="connsiteX1493" fmla="*/ 1037358 w 1873369"/>
                <a:gd name="connsiteY1493" fmla="*/ 1179902 h 1289104"/>
                <a:gd name="connsiteX1494" fmla="*/ 1037487 w 1873369"/>
                <a:gd name="connsiteY1494" fmla="*/ 1178868 h 1289104"/>
                <a:gd name="connsiteX1495" fmla="*/ 1037099 w 1873369"/>
                <a:gd name="connsiteY1495" fmla="*/ 1177705 h 1289104"/>
                <a:gd name="connsiteX1496" fmla="*/ 1036453 w 1873369"/>
                <a:gd name="connsiteY1496" fmla="*/ 1176671 h 1289104"/>
                <a:gd name="connsiteX1497" fmla="*/ 1036065 w 1873369"/>
                <a:gd name="connsiteY1497" fmla="*/ 1175508 h 1289104"/>
                <a:gd name="connsiteX1498" fmla="*/ 1036065 w 1873369"/>
                <a:gd name="connsiteY1498" fmla="*/ 1174474 h 1289104"/>
                <a:gd name="connsiteX1499" fmla="*/ 1036453 w 1873369"/>
                <a:gd name="connsiteY1499" fmla="*/ 1172406 h 1289104"/>
                <a:gd name="connsiteX1500" fmla="*/ 1036324 w 1873369"/>
                <a:gd name="connsiteY1500" fmla="*/ 1171243 h 1289104"/>
                <a:gd name="connsiteX1501" fmla="*/ 1035548 w 1873369"/>
                <a:gd name="connsiteY1501" fmla="*/ 1167883 h 1289104"/>
                <a:gd name="connsiteX1502" fmla="*/ 1035678 w 1873369"/>
                <a:gd name="connsiteY1502" fmla="*/ 1166849 h 1289104"/>
                <a:gd name="connsiteX1503" fmla="*/ 1035936 w 1873369"/>
                <a:gd name="connsiteY1503" fmla="*/ 1165816 h 1289104"/>
                <a:gd name="connsiteX1504" fmla="*/ 1036841 w 1873369"/>
                <a:gd name="connsiteY1504" fmla="*/ 1165040 h 1289104"/>
                <a:gd name="connsiteX1505" fmla="*/ 1037745 w 1873369"/>
                <a:gd name="connsiteY1505" fmla="*/ 1164652 h 1289104"/>
                <a:gd name="connsiteX1506" fmla="*/ 1038779 w 1873369"/>
                <a:gd name="connsiteY1506" fmla="*/ 1165040 h 1289104"/>
                <a:gd name="connsiteX1507" fmla="*/ 1039425 w 1873369"/>
                <a:gd name="connsiteY1507" fmla="*/ 1165816 h 1289104"/>
                <a:gd name="connsiteX1508" fmla="*/ 1039942 w 1873369"/>
                <a:gd name="connsiteY1508" fmla="*/ 1166720 h 1289104"/>
                <a:gd name="connsiteX1509" fmla="*/ 1040718 w 1873369"/>
                <a:gd name="connsiteY1509" fmla="*/ 1167625 h 1289104"/>
                <a:gd name="connsiteX1510" fmla="*/ 1042527 w 1873369"/>
                <a:gd name="connsiteY1510" fmla="*/ 1167883 h 1289104"/>
                <a:gd name="connsiteX1511" fmla="*/ 1044207 w 1873369"/>
                <a:gd name="connsiteY1511" fmla="*/ 1167366 h 1289104"/>
                <a:gd name="connsiteX1512" fmla="*/ 1046404 w 1873369"/>
                <a:gd name="connsiteY1512" fmla="*/ 1166462 h 1289104"/>
                <a:gd name="connsiteX1513" fmla="*/ 1048601 w 1873369"/>
                <a:gd name="connsiteY1513" fmla="*/ 1165686 h 1289104"/>
                <a:gd name="connsiteX1514" fmla="*/ 1049893 w 1873369"/>
                <a:gd name="connsiteY1514" fmla="*/ 1164911 h 1289104"/>
                <a:gd name="connsiteX1515" fmla="*/ 1050539 w 1873369"/>
                <a:gd name="connsiteY1515" fmla="*/ 1164265 h 1289104"/>
                <a:gd name="connsiteX1516" fmla="*/ 1051056 w 1873369"/>
                <a:gd name="connsiteY1516" fmla="*/ 1163360 h 1289104"/>
                <a:gd name="connsiteX1517" fmla="*/ 1053253 w 1873369"/>
                <a:gd name="connsiteY1517" fmla="*/ 1159225 h 1289104"/>
                <a:gd name="connsiteX1518" fmla="*/ 1054158 w 1873369"/>
                <a:gd name="connsiteY1518" fmla="*/ 1158191 h 1289104"/>
                <a:gd name="connsiteX1519" fmla="*/ 1055192 w 1873369"/>
                <a:gd name="connsiteY1519" fmla="*/ 1157286 h 1289104"/>
                <a:gd name="connsiteX1520" fmla="*/ 1055967 w 1873369"/>
                <a:gd name="connsiteY1520" fmla="*/ 1156252 h 1289104"/>
                <a:gd name="connsiteX1521" fmla="*/ 1056484 w 1873369"/>
                <a:gd name="connsiteY1521" fmla="*/ 1155218 h 1289104"/>
                <a:gd name="connsiteX1522" fmla="*/ 1057130 w 1873369"/>
                <a:gd name="connsiteY1522" fmla="*/ 1153021 h 1289104"/>
                <a:gd name="connsiteX1523" fmla="*/ 1058423 w 1873369"/>
                <a:gd name="connsiteY1523" fmla="*/ 1150824 h 1289104"/>
                <a:gd name="connsiteX1524" fmla="*/ 1058810 w 1873369"/>
                <a:gd name="connsiteY1524" fmla="*/ 1149791 h 1289104"/>
                <a:gd name="connsiteX1525" fmla="*/ 1058810 w 1873369"/>
                <a:gd name="connsiteY1525" fmla="*/ 1148757 h 1289104"/>
                <a:gd name="connsiteX1526" fmla="*/ 1058423 w 1873369"/>
                <a:gd name="connsiteY1526" fmla="*/ 1147723 h 1289104"/>
                <a:gd name="connsiteX1527" fmla="*/ 1057906 w 1873369"/>
                <a:gd name="connsiteY1527" fmla="*/ 1146689 h 1289104"/>
                <a:gd name="connsiteX1528" fmla="*/ 1057130 w 1873369"/>
                <a:gd name="connsiteY1528" fmla="*/ 1145914 h 1289104"/>
                <a:gd name="connsiteX1529" fmla="*/ 1056097 w 1873369"/>
                <a:gd name="connsiteY1529" fmla="*/ 1145009 h 1289104"/>
                <a:gd name="connsiteX1530" fmla="*/ 1053770 w 1873369"/>
                <a:gd name="connsiteY1530" fmla="*/ 1143587 h 1289104"/>
                <a:gd name="connsiteX1531" fmla="*/ 1052736 w 1873369"/>
                <a:gd name="connsiteY1531" fmla="*/ 1142812 h 1289104"/>
                <a:gd name="connsiteX1532" fmla="*/ 1051961 w 1873369"/>
                <a:gd name="connsiteY1532" fmla="*/ 1141778 h 1289104"/>
                <a:gd name="connsiteX1533" fmla="*/ 1051315 w 1873369"/>
                <a:gd name="connsiteY1533" fmla="*/ 1140744 h 1289104"/>
                <a:gd name="connsiteX1534" fmla="*/ 1051056 w 1873369"/>
                <a:gd name="connsiteY1534" fmla="*/ 1139581 h 1289104"/>
                <a:gd name="connsiteX1535" fmla="*/ 1051186 w 1873369"/>
                <a:gd name="connsiteY1535" fmla="*/ 1138547 h 1289104"/>
                <a:gd name="connsiteX1536" fmla="*/ 1051573 w 1873369"/>
                <a:gd name="connsiteY1536" fmla="*/ 1137384 h 1289104"/>
                <a:gd name="connsiteX1537" fmla="*/ 1052349 w 1873369"/>
                <a:gd name="connsiteY1537" fmla="*/ 1136221 h 1289104"/>
                <a:gd name="connsiteX1538" fmla="*/ 1056355 w 1873369"/>
                <a:gd name="connsiteY1538" fmla="*/ 1132086 h 1289104"/>
                <a:gd name="connsiteX1539" fmla="*/ 1057130 w 1873369"/>
                <a:gd name="connsiteY1539" fmla="*/ 1130922 h 1289104"/>
                <a:gd name="connsiteX1540" fmla="*/ 1059198 w 1873369"/>
                <a:gd name="connsiteY1540" fmla="*/ 1127175 h 1289104"/>
                <a:gd name="connsiteX1541" fmla="*/ 1059973 w 1873369"/>
                <a:gd name="connsiteY1541" fmla="*/ 1126141 h 1289104"/>
                <a:gd name="connsiteX1542" fmla="*/ 1061137 w 1873369"/>
                <a:gd name="connsiteY1542" fmla="*/ 1125365 h 1289104"/>
                <a:gd name="connsiteX1543" fmla="*/ 1062170 w 1873369"/>
                <a:gd name="connsiteY1543" fmla="*/ 1124978 h 1289104"/>
                <a:gd name="connsiteX1544" fmla="*/ 1063334 w 1873369"/>
                <a:gd name="connsiteY1544" fmla="*/ 1124719 h 1289104"/>
                <a:gd name="connsiteX1545" fmla="*/ 1068761 w 1873369"/>
                <a:gd name="connsiteY1545" fmla="*/ 1124202 h 1289104"/>
                <a:gd name="connsiteX1546" fmla="*/ 1073026 w 1873369"/>
                <a:gd name="connsiteY1546" fmla="*/ 1122781 h 1289104"/>
                <a:gd name="connsiteX1547" fmla="*/ 1077032 w 1873369"/>
                <a:gd name="connsiteY1547" fmla="*/ 1121876 h 1289104"/>
                <a:gd name="connsiteX1548" fmla="*/ 1078066 w 1873369"/>
                <a:gd name="connsiteY1548" fmla="*/ 1121101 h 1289104"/>
                <a:gd name="connsiteX1549" fmla="*/ 1078583 w 1873369"/>
                <a:gd name="connsiteY1549" fmla="*/ 1120196 h 1289104"/>
                <a:gd name="connsiteX1550" fmla="*/ 1078454 w 1873369"/>
                <a:gd name="connsiteY1550" fmla="*/ 1119033 h 1289104"/>
                <a:gd name="connsiteX1551" fmla="*/ 1077420 w 1873369"/>
                <a:gd name="connsiteY1551" fmla="*/ 1115931 h 1289104"/>
                <a:gd name="connsiteX1552" fmla="*/ 1077420 w 1873369"/>
                <a:gd name="connsiteY1552" fmla="*/ 1114768 h 1289104"/>
                <a:gd name="connsiteX1553" fmla="*/ 1077678 w 1873369"/>
                <a:gd name="connsiteY1553" fmla="*/ 1113734 h 1289104"/>
                <a:gd name="connsiteX1554" fmla="*/ 1078712 w 1873369"/>
                <a:gd name="connsiteY1554" fmla="*/ 1112571 h 1289104"/>
                <a:gd name="connsiteX1555" fmla="*/ 1079746 w 1873369"/>
                <a:gd name="connsiteY1555" fmla="*/ 1111925 h 1289104"/>
                <a:gd name="connsiteX1556" fmla="*/ 1080909 w 1873369"/>
                <a:gd name="connsiteY1556" fmla="*/ 1111408 h 1289104"/>
                <a:gd name="connsiteX1557" fmla="*/ 1081943 w 1873369"/>
                <a:gd name="connsiteY1557" fmla="*/ 1111150 h 1289104"/>
                <a:gd name="connsiteX1558" fmla="*/ 1086208 w 1873369"/>
                <a:gd name="connsiteY1558" fmla="*/ 1110762 h 1289104"/>
                <a:gd name="connsiteX1559" fmla="*/ 1089310 w 1873369"/>
                <a:gd name="connsiteY1559" fmla="*/ 1109470 h 1289104"/>
                <a:gd name="connsiteX1560" fmla="*/ 1090602 w 1873369"/>
                <a:gd name="connsiteY1560" fmla="*/ 1109340 h 1289104"/>
                <a:gd name="connsiteX1561" fmla="*/ 1092023 w 1873369"/>
                <a:gd name="connsiteY1561" fmla="*/ 1109340 h 1289104"/>
                <a:gd name="connsiteX1562" fmla="*/ 1093962 w 1873369"/>
                <a:gd name="connsiteY1562" fmla="*/ 1109082 h 1289104"/>
                <a:gd name="connsiteX1563" fmla="*/ 1094867 w 1873369"/>
                <a:gd name="connsiteY1563" fmla="*/ 1108307 h 1289104"/>
                <a:gd name="connsiteX1564" fmla="*/ 1095383 w 1873369"/>
                <a:gd name="connsiteY1564" fmla="*/ 1107273 h 1289104"/>
                <a:gd name="connsiteX1565" fmla="*/ 1095383 w 1873369"/>
                <a:gd name="connsiteY1565" fmla="*/ 1106239 h 1289104"/>
                <a:gd name="connsiteX1566" fmla="*/ 1094220 w 1873369"/>
                <a:gd name="connsiteY1566" fmla="*/ 1101974 h 1289104"/>
                <a:gd name="connsiteX1567" fmla="*/ 1094091 w 1873369"/>
                <a:gd name="connsiteY1567" fmla="*/ 1100940 h 1289104"/>
                <a:gd name="connsiteX1568" fmla="*/ 1094350 w 1873369"/>
                <a:gd name="connsiteY1568" fmla="*/ 1099777 h 1289104"/>
                <a:gd name="connsiteX1569" fmla="*/ 1094737 w 1873369"/>
                <a:gd name="connsiteY1569" fmla="*/ 1098743 h 1289104"/>
                <a:gd name="connsiteX1570" fmla="*/ 1097451 w 1873369"/>
                <a:gd name="connsiteY1570" fmla="*/ 1094220 h 1289104"/>
                <a:gd name="connsiteX1571" fmla="*/ 1099777 w 1873369"/>
                <a:gd name="connsiteY1571" fmla="*/ 1091248 h 1289104"/>
                <a:gd name="connsiteX1572" fmla="*/ 1167625 w 1873369"/>
                <a:gd name="connsiteY1572" fmla="*/ 1092152 h 1289104"/>
                <a:gd name="connsiteX1573" fmla="*/ 1175638 w 1873369"/>
                <a:gd name="connsiteY1573" fmla="*/ 1092928 h 1289104"/>
                <a:gd name="connsiteX1574" fmla="*/ 1176801 w 1873369"/>
                <a:gd name="connsiteY1574" fmla="*/ 1093703 h 1289104"/>
                <a:gd name="connsiteX1575" fmla="*/ 1178093 w 1873369"/>
                <a:gd name="connsiteY1575" fmla="*/ 1094349 h 1289104"/>
                <a:gd name="connsiteX1576" fmla="*/ 1183392 w 1873369"/>
                <a:gd name="connsiteY1576" fmla="*/ 1095900 h 1289104"/>
                <a:gd name="connsiteX1577" fmla="*/ 1184813 w 1873369"/>
                <a:gd name="connsiteY1577" fmla="*/ 1096546 h 1289104"/>
                <a:gd name="connsiteX1578" fmla="*/ 1185976 w 1873369"/>
                <a:gd name="connsiteY1578" fmla="*/ 1097193 h 1289104"/>
                <a:gd name="connsiteX1579" fmla="*/ 1187010 w 1873369"/>
                <a:gd name="connsiteY1579" fmla="*/ 1097968 h 1289104"/>
                <a:gd name="connsiteX1580" fmla="*/ 1192179 w 1873369"/>
                <a:gd name="connsiteY1580" fmla="*/ 1103525 h 1289104"/>
                <a:gd name="connsiteX1581" fmla="*/ 1192826 w 1873369"/>
                <a:gd name="connsiteY1581" fmla="*/ 1104559 h 1289104"/>
                <a:gd name="connsiteX1582" fmla="*/ 1193084 w 1873369"/>
                <a:gd name="connsiteY1582" fmla="*/ 1105593 h 1289104"/>
                <a:gd name="connsiteX1583" fmla="*/ 1193084 w 1873369"/>
                <a:gd name="connsiteY1583" fmla="*/ 1107790 h 1289104"/>
                <a:gd name="connsiteX1584" fmla="*/ 1193342 w 1873369"/>
                <a:gd name="connsiteY1584" fmla="*/ 1108824 h 1289104"/>
                <a:gd name="connsiteX1585" fmla="*/ 1196315 w 1873369"/>
                <a:gd name="connsiteY1585" fmla="*/ 1114898 h 1289104"/>
                <a:gd name="connsiteX1586" fmla="*/ 1197478 w 1873369"/>
                <a:gd name="connsiteY1586" fmla="*/ 1116190 h 1289104"/>
                <a:gd name="connsiteX1587" fmla="*/ 1199158 w 1873369"/>
                <a:gd name="connsiteY1587" fmla="*/ 1117482 h 1289104"/>
                <a:gd name="connsiteX1588" fmla="*/ 1202260 w 1873369"/>
                <a:gd name="connsiteY1588" fmla="*/ 1119421 h 1289104"/>
                <a:gd name="connsiteX1589" fmla="*/ 1203940 w 1873369"/>
                <a:gd name="connsiteY1589" fmla="*/ 1120842 h 1289104"/>
                <a:gd name="connsiteX1590" fmla="*/ 1205103 w 1873369"/>
                <a:gd name="connsiteY1590" fmla="*/ 1122135 h 1289104"/>
                <a:gd name="connsiteX1591" fmla="*/ 1205490 w 1873369"/>
                <a:gd name="connsiteY1591" fmla="*/ 1123168 h 1289104"/>
                <a:gd name="connsiteX1592" fmla="*/ 1205749 w 1873369"/>
                <a:gd name="connsiteY1592" fmla="*/ 1124202 h 1289104"/>
                <a:gd name="connsiteX1593" fmla="*/ 1206007 w 1873369"/>
                <a:gd name="connsiteY1593" fmla="*/ 1128596 h 1289104"/>
                <a:gd name="connsiteX1594" fmla="*/ 1206137 w 1873369"/>
                <a:gd name="connsiteY1594" fmla="*/ 1129501 h 1289104"/>
                <a:gd name="connsiteX1595" fmla="*/ 1206653 w 1873369"/>
                <a:gd name="connsiteY1595" fmla="*/ 1130276 h 1289104"/>
                <a:gd name="connsiteX1596" fmla="*/ 1207558 w 1873369"/>
                <a:gd name="connsiteY1596" fmla="*/ 1130406 h 1289104"/>
                <a:gd name="connsiteX1597" fmla="*/ 1208721 w 1873369"/>
                <a:gd name="connsiteY1597" fmla="*/ 1130276 h 1289104"/>
                <a:gd name="connsiteX1598" fmla="*/ 1209626 w 1873369"/>
                <a:gd name="connsiteY1598" fmla="*/ 1130018 h 1289104"/>
                <a:gd name="connsiteX1599" fmla="*/ 1210531 w 1873369"/>
                <a:gd name="connsiteY1599" fmla="*/ 1129759 h 1289104"/>
                <a:gd name="connsiteX1600" fmla="*/ 1211177 w 1873369"/>
                <a:gd name="connsiteY1600" fmla="*/ 1129501 h 1289104"/>
                <a:gd name="connsiteX1601" fmla="*/ 1212081 w 1873369"/>
                <a:gd name="connsiteY1601" fmla="*/ 1129113 h 1289104"/>
                <a:gd name="connsiteX1602" fmla="*/ 1213632 w 1873369"/>
                <a:gd name="connsiteY1602" fmla="*/ 1128726 h 1289104"/>
                <a:gd name="connsiteX1603" fmla="*/ 1215829 w 1873369"/>
                <a:gd name="connsiteY1603" fmla="*/ 1128726 h 1289104"/>
                <a:gd name="connsiteX1604" fmla="*/ 1219965 w 1873369"/>
                <a:gd name="connsiteY1604" fmla="*/ 1129630 h 1289104"/>
                <a:gd name="connsiteX1605" fmla="*/ 1222032 w 1873369"/>
                <a:gd name="connsiteY1605" fmla="*/ 1130406 h 1289104"/>
                <a:gd name="connsiteX1606" fmla="*/ 1223712 w 1873369"/>
                <a:gd name="connsiteY1606" fmla="*/ 1131439 h 1289104"/>
                <a:gd name="connsiteX1607" fmla="*/ 1224488 w 1873369"/>
                <a:gd name="connsiteY1607" fmla="*/ 1132473 h 1289104"/>
                <a:gd name="connsiteX1608" fmla="*/ 1225005 w 1873369"/>
                <a:gd name="connsiteY1608" fmla="*/ 1133507 h 1289104"/>
                <a:gd name="connsiteX1609" fmla="*/ 1225263 w 1873369"/>
                <a:gd name="connsiteY1609" fmla="*/ 1134541 h 1289104"/>
                <a:gd name="connsiteX1610" fmla="*/ 1225392 w 1873369"/>
                <a:gd name="connsiteY1610" fmla="*/ 1135575 h 1289104"/>
                <a:gd name="connsiteX1611" fmla="*/ 1225522 w 1873369"/>
                <a:gd name="connsiteY1611" fmla="*/ 1136609 h 1289104"/>
                <a:gd name="connsiteX1612" fmla="*/ 1226039 w 1873369"/>
                <a:gd name="connsiteY1612" fmla="*/ 1137772 h 1289104"/>
                <a:gd name="connsiteX1613" fmla="*/ 1227331 w 1873369"/>
                <a:gd name="connsiteY1613" fmla="*/ 1139969 h 1289104"/>
                <a:gd name="connsiteX1614" fmla="*/ 1227848 w 1873369"/>
                <a:gd name="connsiteY1614" fmla="*/ 1141003 h 1289104"/>
                <a:gd name="connsiteX1615" fmla="*/ 1229011 w 1873369"/>
                <a:gd name="connsiteY1615" fmla="*/ 1145267 h 1289104"/>
                <a:gd name="connsiteX1616" fmla="*/ 1230562 w 1873369"/>
                <a:gd name="connsiteY1616" fmla="*/ 1149403 h 1289104"/>
                <a:gd name="connsiteX1617" fmla="*/ 1231208 w 1873369"/>
                <a:gd name="connsiteY1617" fmla="*/ 1151600 h 1289104"/>
                <a:gd name="connsiteX1618" fmla="*/ 1231596 w 1873369"/>
                <a:gd name="connsiteY1618" fmla="*/ 1152634 h 1289104"/>
                <a:gd name="connsiteX1619" fmla="*/ 1232371 w 1873369"/>
                <a:gd name="connsiteY1619" fmla="*/ 1153668 h 1289104"/>
                <a:gd name="connsiteX1620" fmla="*/ 1233276 w 1873369"/>
                <a:gd name="connsiteY1620" fmla="*/ 1154314 h 1289104"/>
                <a:gd name="connsiteX1621" fmla="*/ 1234439 w 1873369"/>
                <a:gd name="connsiteY1621" fmla="*/ 1154701 h 1289104"/>
                <a:gd name="connsiteX1622" fmla="*/ 1235473 w 1873369"/>
                <a:gd name="connsiteY1622" fmla="*/ 1154831 h 1289104"/>
                <a:gd name="connsiteX1623" fmla="*/ 1236636 w 1873369"/>
                <a:gd name="connsiteY1623" fmla="*/ 1154831 h 1289104"/>
                <a:gd name="connsiteX1624" fmla="*/ 1240254 w 1873369"/>
                <a:gd name="connsiteY1624" fmla="*/ 1154314 h 1289104"/>
                <a:gd name="connsiteX1625" fmla="*/ 1241934 w 1873369"/>
                <a:gd name="connsiteY1625" fmla="*/ 1154314 h 1289104"/>
                <a:gd name="connsiteX1626" fmla="*/ 1244519 w 1873369"/>
                <a:gd name="connsiteY1626" fmla="*/ 1154960 h 1289104"/>
                <a:gd name="connsiteX1627" fmla="*/ 1245682 w 1873369"/>
                <a:gd name="connsiteY1627" fmla="*/ 1155865 h 1289104"/>
                <a:gd name="connsiteX1628" fmla="*/ 1246199 w 1873369"/>
                <a:gd name="connsiteY1628" fmla="*/ 1156898 h 1289104"/>
                <a:gd name="connsiteX1629" fmla="*/ 1245811 w 1873369"/>
                <a:gd name="connsiteY1629" fmla="*/ 1159095 h 1289104"/>
                <a:gd name="connsiteX1630" fmla="*/ 1245811 w 1873369"/>
                <a:gd name="connsiteY1630" fmla="*/ 1160129 h 1289104"/>
                <a:gd name="connsiteX1631" fmla="*/ 1246328 w 1873369"/>
                <a:gd name="connsiteY1631" fmla="*/ 1161292 h 1289104"/>
                <a:gd name="connsiteX1632" fmla="*/ 1248008 w 1873369"/>
                <a:gd name="connsiteY1632" fmla="*/ 1164652 h 1289104"/>
                <a:gd name="connsiteX1633" fmla="*/ 1248654 w 1873369"/>
                <a:gd name="connsiteY1633" fmla="*/ 1166849 h 1289104"/>
                <a:gd name="connsiteX1634" fmla="*/ 1249301 w 1873369"/>
                <a:gd name="connsiteY1634" fmla="*/ 1171502 h 1289104"/>
                <a:gd name="connsiteX1635" fmla="*/ 1249688 w 1873369"/>
                <a:gd name="connsiteY1635" fmla="*/ 1172665 h 1289104"/>
                <a:gd name="connsiteX1636" fmla="*/ 1250205 w 1873369"/>
                <a:gd name="connsiteY1636" fmla="*/ 1173828 h 1289104"/>
                <a:gd name="connsiteX1637" fmla="*/ 1251239 w 1873369"/>
                <a:gd name="connsiteY1637" fmla="*/ 1175120 h 1289104"/>
                <a:gd name="connsiteX1638" fmla="*/ 1252273 w 1873369"/>
                <a:gd name="connsiteY1638" fmla="*/ 1175508 h 1289104"/>
                <a:gd name="connsiteX1639" fmla="*/ 1253436 w 1873369"/>
                <a:gd name="connsiteY1639" fmla="*/ 1175637 h 1289104"/>
                <a:gd name="connsiteX1640" fmla="*/ 1254599 w 1873369"/>
                <a:gd name="connsiteY1640" fmla="*/ 1175508 h 1289104"/>
                <a:gd name="connsiteX1641" fmla="*/ 1255892 w 1873369"/>
                <a:gd name="connsiteY1641" fmla="*/ 1175637 h 1289104"/>
                <a:gd name="connsiteX1642" fmla="*/ 1262741 w 1873369"/>
                <a:gd name="connsiteY1642" fmla="*/ 1177447 h 1289104"/>
                <a:gd name="connsiteX1643" fmla="*/ 1263904 w 1873369"/>
                <a:gd name="connsiteY1643" fmla="*/ 1178093 h 1289104"/>
                <a:gd name="connsiteX1644" fmla="*/ 1264679 w 1873369"/>
                <a:gd name="connsiteY1644" fmla="*/ 1178610 h 1289104"/>
                <a:gd name="connsiteX1645" fmla="*/ 1265196 w 1873369"/>
                <a:gd name="connsiteY1645" fmla="*/ 1179514 h 1289104"/>
                <a:gd name="connsiteX1646" fmla="*/ 1265713 w 1873369"/>
                <a:gd name="connsiteY1646" fmla="*/ 1180548 h 1289104"/>
                <a:gd name="connsiteX1647" fmla="*/ 1266618 w 1873369"/>
                <a:gd name="connsiteY1647" fmla="*/ 1181840 h 1289104"/>
                <a:gd name="connsiteX1648" fmla="*/ 1268427 w 1873369"/>
                <a:gd name="connsiteY1648" fmla="*/ 1183391 h 1289104"/>
                <a:gd name="connsiteX1649" fmla="*/ 1271270 w 1873369"/>
                <a:gd name="connsiteY1649" fmla="*/ 1184554 h 1289104"/>
                <a:gd name="connsiteX1650" fmla="*/ 1273080 w 1873369"/>
                <a:gd name="connsiteY1650" fmla="*/ 1185071 h 1289104"/>
                <a:gd name="connsiteX1651" fmla="*/ 1274630 w 1873369"/>
                <a:gd name="connsiteY1651" fmla="*/ 1185071 h 1289104"/>
                <a:gd name="connsiteX1652" fmla="*/ 1275794 w 1873369"/>
                <a:gd name="connsiteY1652" fmla="*/ 1184813 h 1289104"/>
                <a:gd name="connsiteX1653" fmla="*/ 1276827 w 1873369"/>
                <a:gd name="connsiteY1653" fmla="*/ 1184167 h 1289104"/>
                <a:gd name="connsiteX1654" fmla="*/ 1277732 w 1873369"/>
                <a:gd name="connsiteY1654" fmla="*/ 1183391 h 1289104"/>
                <a:gd name="connsiteX1655" fmla="*/ 1278507 w 1873369"/>
                <a:gd name="connsiteY1655" fmla="*/ 1182487 h 1289104"/>
                <a:gd name="connsiteX1656" fmla="*/ 1278895 w 1873369"/>
                <a:gd name="connsiteY1656" fmla="*/ 1181453 h 1289104"/>
                <a:gd name="connsiteX1657" fmla="*/ 1279024 w 1873369"/>
                <a:gd name="connsiteY1657" fmla="*/ 1180290 h 1289104"/>
                <a:gd name="connsiteX1658" fmla="*/ 1279154 w 1873369"/>
                <a:gd name="connsiteY1658" fmla="*/ 1178093 h 1289104"/>
                <a:gd name="connsiteX1659" fmla="*/ 1279541 w 1873369"/>
                <a:gd name="connsiteY1659" fmla="*/ 1175637 h 1289104"/>
                <a:gd name="connsiteX1660" fmla="*/ 1279929 w 1873369"/>
                <a:gd name="connsiteY1660" fmla="*/ 1174474 h 1289104"/>
                <a:gd name="connsiteX1661" fmla="*/ 1280446 w 1873369"/>
                <a:gd name="connsiteY1661" fmla="*/ 1173311 h 1289104"/>
                <a:gd name="connsiteX1662" fmla="*/ 1281092 w 1873369"/>
                <a:gd name="connsiteY1662" fmla="*/ 1172277 h 1289104"/>
                <a:gd name="connsiteX1663" fmla="*/ 1281867 w 1873369"/>
                <a:gd name="connsiteY1663" fmla="*/ 1171243 h 1289104"/>
                <a:gd name="connsiteX1664" fmla="*/ 1282772 w 1873369"/>
                <a:gd name="connsiteY1664" fmla="*/ 1170726 h 1289104"/>
                <a:gd name="connsiteX1665" fmla="*/ 1283806 w 1873369"/>
                <a:gd name="connsiteY1665" fmla="*/ 1170339 h 1289104"/>
                <a:gd name="connsiteX1666" fmla="*/ 1287424 w 1873369"/>
                <a:gd name="connsiteY1666" fmla="*/ 1170468 h 1289104"/>
                <a:gd name="connsiteX1667" fmla="*/ 1288588 w 1873369"/>
                <a:gd name="connsiteY1667" fmla="*/ 1170209 h 1289104"/>
                <a:gd name="connsiteX1668" fmla="*/ 1289751 w 1873369"/>
                <a:gd name="connsiteY1668" fmla="*/ 1169563 h 1289104"/>
                <a:gd name="connsiteX1669" fmla="*/ 1290785 w 1873369"/>
                <a:gd name="connsiteY1669" fmla="*/ 1168529 h 1289104"/>
                <a:gd name="connsiteX1670" fmla="*/ 1292206 w 1873369"/>
                <a:gd name="connsiteY1670" fmla="*/ 1166462 h 1289104"/>
                <a:gd name="connsiteX1671" fmla="*/ 1293111 w 1873369"/>
                <a:gd name="connsiteY1671" fmla="*/ 1165557 h 1289104"/>
                <a:gd name="connsiteX1672" fmla="*/ 1294791 w 1873369"/>
                <a:gd name="connsiteY1672" fmla="*/ 1165169 h 1289104"/>
                <a:gd name="connsiteX1673" fmla="*/ 1296212 w 1873369"/>
                <a:gd name="connsiteY1673" fmla="*/ 1165428 h 1289104"/>
                <a:gd name="connsiteX1674" fmla="*/ 1298022 w 1873369"/>
                <a:gd name="connsiteY1674" fmla="*/ 1166074 h 1289104"/>
                <a:gd name="connsiteX1675" fmla="*/ 1303837 w 1873369"/>
                <a:gd name="connsiteY1675" fmla="*/ 1166979 h 1289104"/>
                <a:gd name="connsiteX1676" fmla="*/ 1305259 w 1873369"/>
                <a:gd name="connsiteY1676" fmla="*/ 1167754 h 1289104"/>
                <a:gd name="connsiteX1677" fmla="*/ 1306163 w 1873369"/>
                <a:gd name="connsiteY1677" fmla="*/ 1168788 h 1289104"/>
                <a:gd name="connsiteX1678" fmla="*/ 1306422 w 1873369"/>
                <a:gd name="connsiteY1678" fmla="*/ 1169951 h 1289104"/>
                <a:gd name="connsiteX1679" fmla="*/ 1306034 w 1873369"/>
                <a:gd name="connsiteY1679" fmla="*/ 1173828 h 1289104"/>
                <a:gd name="connsiteX1680" fmla="*/ 1634287 w 1873369"/>
                <a:gd name="connsiteY1680" fmla="*/ 1171631 h 1289104"/>
                <a:gd name="connsiteX1681" fmla="*/ 1639198 w 1873369"/>
                <a:gd name="connsiteY1681" fmla="*/ 1168529 h 1289104"/>
                <a:gd name="connsiteX1682" fmla="*/ 1641137 w 1873369"/>
                <a:gd name="connsiteY1682" fmla="*/ 1166979 h 1289104"/>
                <a:gd name="connsiteX1683" fmla="*/ 1642041 w 1873369"/>
                <a:gd name="connsiteY1683" fmla="*/ 1165428 h 1289104"/>
                <a:gd name="connsiteX1684" fmla="*/ 1643980 w 1873369"/>
                <a:gd name="connsiteY1684" fmla="*/ 1158062 h 1289104"/>
                <a:gd name="connsiteX1685" fmla="*/ 1645143 w 1873369"/>
                <a:gd name="connsiteY1685" fmla="*/ 1155218 h 1289104"/>
                <a:gd name="connsiteX1686" fmla="*/ 1647340 w 1873369"/>
                <a:gd name="connsiteY1686" fmla="*/ 1151471 h 1289104"/>
                <a:gd name="connsiteX1687" fmla="*/ 1647728 w 1873369"/>
                <a:gd name="connsiteY1687" fmla="*/ 1150437 h 1289104"/>
                <a:gd name="connsiteX1688" fmla="*/ 1647857 w 1873369"/>
                <a:gd name="connsiteY1688" fmla="*/ 1149403 h 1289104"/>
                <a:gd name="connsiteX1689" fmla="*/ 1647728 w 1873369"/>
                <a:gd name="connsiteY1689" fmla="*/ 1148498 h 1289104"/>
                <a:gd name="connsiteX1690" fmla="*/ 1646952 w 1873369"/>
                <a:gd name="connsiteY1690" fmla="*/ 1146431 h 1289104"/>
                <a:gd name="connsiteX1691" fmla="*/ 1646565 w 1873369"/>
                <a:gd name="connsiteY1691" fmla="*/ 1145138 h 1289104"/>
                <a:gd name="connsiteX1692" fmla="*/ 1645531 w 1873369"/>
                <a:gd name="connsiteY1692" fmla="*/ 1137643 h 1289104"/>
                <a:gd name="connsiteX1693" fmla="*/ 1645531 w 1873369"/>
                <a:gd name="connsiteY1693" fmla="*/ 1136609 h 1289104"/>
                <a:gd name="connsiteX1694" fmla="*/ 1645789 w 1873369"/>
                <a:gd name="connsiteY1694" fmla="*/ 1135575 h 1289104"/>
                <a:gd name="connsiteX1695" fmla="*/ 1646565 w 1873369"/>
                <a:gd name="connsiteY1695" fmla="*/ 1134670 h 1289104"/>
                <a:gd name="connsiteX1696" fmla="*/ 1649408 w 1873369"/>
                <a:gd name="connsiteY1696" fmla="*/ 1132344 h 1289104"/>
                <a:gd name="connsiteX1697" fmla="*/ 1650183 w 1873369"/>
                <a:gd name="connsiteY1697" fmla="*/ 1131439 h 1289104"/>
                <a:gd name="connsiteX1698" fmla="*/ 1650829 w 1873369"/>
                <a:gd name="connsiteY1698" fmla="*/ 1130276 h 1289104"/>
                <a:gd name="connsiteX1699" fmla="*/ 1651605 w 1873369"/>
                <a:gd name="connsiteY1699" fmla="*/ 1128209 h 1289104"/>
                <a:gd name="connsiteX1700" fmla="*/ 1652897 w 1873369"/>
                <a:gd name="connsiteY1700" fmla="*/ 1124073 h 1289104"/>
                <a:gd name="connsiteX1701" fmla="*/ 1653285 w 1873369"/>
                <a:gd name="connsiteY1701" fmla="*/ 1123039 h 1289104"/>
                <a:gd name="connsiteX1702" fmla="*/ 1654577 w 1873369"/>
                <a:gd name="connsiteY1702" fmla="*/ 1120842 h 1289104"/>
                <a:gd name="connsiteX1703" fmla="*/ 1656128 w 1873369"/>
                <a:gd name="connsiteY1703" fmla="*/ 1118775 h 1289104"/>
                <a:gd name="connsiteX1704" fmla="*/ 1656645 w 1873369"/>
                <a:gd name="connsiteY1704" fmla="*/ 1117741 h 1289104"/>
                <a:gd name="connsiteX1705" fmla="*/ 1656645 w 1873369"/>
                <a:gd name="connsiteY1705" fmla="*/ 1116707 h 1289104"/>
                <a:gd name="connsiteX1706" fmla="*/ 1656257 w 1873369"/>
                <a:gd name="connsiteY1706" fmla="*/ 1115673 h 1289104"/>
                <a:gd name="connsiteX1707" fmla="*/ 1656128 w 1873369"/>
                <a:gd name="connsiteY1707" fmla="*/ 1114510 h 1289104"/>
                <a:gd name="connsiteX1708" fmla="*/ 1656257 w 1873369"/>
                <a:gd name="connsiteY1708" fmla="*/ 1113347 h 1289104"/>
                <a:gd name="connsiteX1709" fmla="*/ 1659617 w 1873369"/>
                <a:gd name="connsiteY1709" fmla="*/ 1103783 h 1289104"/>
                <a:gd name="connsiteX1710" fmla="*/ 1659876 w 1873369"/>
                <a:gd name="connsiteY1710" fmla="*/ 1102491 h 1289104"/>
                <a:gd name="connsiteX1711" fmla="*/ 1660005 w 1873369"/>
                <a:gd name="connsiteY1711" fmla="*/ 1101328 h 1289104"/>
                <a:gd name="connsiteX1712" fmla="*/ 1659876 w 1873369"/>
                <a:gd name="connsiteY1712" fmla="*/ 1100165 h 1289104"/>
                <a:gd name="connsiteX1713" fmla="*/ 1657808 w 1873369"/>
                <a:gd name="connsiteY1713" fmla="*/ 1091635 h 1289104"/>
                <a:gd name="connsiteX1714" fmla="*/ 1655999 w 1873369"/>
                <a:gd name="connsiteY1714" fmla="*/ 1086337 h 1289104"/>
                <a:gd name="connsiteX1715" fmla="*/ 1653285 w 1873369"/>
                <a:gd name="connsiteY1715" fmla="*/ 1081426 h 1289104"/>
                <a:gd name="connsiteX1716" fmla="*/ 1652768 w 1873369"/>
                <a:gd name="connsiteY1716" fmla="*/ 1080263 h 1289104"/>
                <a:gd name="connsiteX1717" fmla="*/ 1652251 w 1873369"/>
                <a:gd name="connsiteY1717" fmla="*/ 1078195 h 1289104"/>
                <a:gd name="connsiteX1718" fmla="*/ 1651863 w 1873369"/>
                <a:gd name="connsiteY1718" fmla="*/ 1076127 h 1289104"/>
                <a:gd name="connsiteX1719" fmla="*/ 1651734 w 1873369"/>
                <a:gd name="connsiteY1719" fmla="*/ 1073931 h 1289104"/>
                <a:gd name="connsiteX1720" fmla="*/ 1651863 w 1873369"/>
                <a:gd name="connsiteY1720" fmla="*/ 1072897 h 1289104"/>
                <a:gd name="connsiteX1721" fmla="*/ 1652121 w 1873369"/>
                <a:gd name="connsiteY1721" fmla="*/ 1071734 h 1289104"/>
                <a:gd name="connsiteX1722" fmla="*/ 1652509 w 1873369"/>
                <a:gd name="connsiteY1722" fmla="*/ 1070570 h 1289104"/>
                <a:gd name="connsiteX1723" fmla="*/ 1653155 w 1873369"/>
                <a:gd name="connsiteY1723" fmla="*/ 1069537 h 1289104"/>
                <a:gd name="connsiteX1724" fmla="*/ 1654706 w 1873369"/>
                <a:gd name="connsiteY1724" fmla="*/ 1067598 h 1289104"/>
                <a:gd name="connsiteX1725" fmla="*/ 1656774 w 1873369"/>
                <a:gd name="connsiteY1725" fmla="*/ 1065789 h 1289104"/>
                <a:gd name="connsiteX1726" fmla="*/ 1659876 w 1873369"/>
                <a:gd name="connsiteY1726" fmla="*/ 1063592 h 1289104"/>
                <a:gd name="connsiteX1727" fmla="*/ 1660780 w 1873369"/>
                <a:gd name="connsiteY1727" fmla="*/ 1062558 h 1289104"/>
                <a:gd name="connsiteX1728" fmla="*/ 1663623 w 1873369"/>
                <a:gd name="connsiteY1728" fmla="*/ 1056872 h 1289104"/>
                <a:gd name="connsiteX1729" fmla="*/ 1664399 w 1873369"/>
                <a:gd name="connsiteY1729" fmla="*/ 1055838 h 1289104"/>
                <a:gd name="connsiteX1730" fmla="*/ 1667242 w 1873369"/>
                <a:gd name="connsiteY1730" fmla="*/ 1052865 h 1289104"/>
                <a:gd name="connsiteX1731" fmla="*/ 1668017 w 1873369"/>
                <a:gd name="connsiteY1731" fmla="*/ 1051702 h 1289104"/>
                <a:gd name="connsiteX1732" fmla="*/ 1668663 w 1873369"/>
                <a:gd name="connsiteY1732" fmla="*/ 1050668 h 1289104"/>
                <a:gd name="connsiteX1733" fmla="*/ 1670214 w 1873369"/>
                <a:gd name="connsiteY1733" fmla="*/ 1047308 h 1289104"/>
                <a:gd name="connsiteX1734" fmla="*/ 1670473 w 1873369"/>
                <a:gd name="connsiteY1734" fmla="*/ 1046275 h 1289104"/>
                <a:gd name="connsiteX1735" fmla="*/ 1670602 w 1873369"/>
                <a:gd name="connsiteY1735" fmla="*/ 1045111 h 1289104"/>
                <a:gd name="connsiteX1736" fmla="*/ 1670602 w 1873369"/>
                <a:gd name="connsiteY1736" fmla="*/ 1043948 h 1289104"/>
                <a:gd name="connsiteX1737" fmla="*/ 1670343 w 1873369"/>
                <a:gd name="connsiteY1737" fmla="*/ 1042914 h 1289104"/>
                <a:gd name="connsiteX1738" fmla="*/ 1669180 w 1873369"/>
                <a:gd name="connsiteY1738" fmla="*/ 1040717 h 1289104"/>
                <a:gd name="connsiteX1739" fmla="*/ 1668405 w 1873369"/>
                <a:gd name="connsiteY1739" fmla="*/ 1038650 h 1289104"/>
                <a:gd name="connsiteX1740" fmla="*/ 1668276 w 1873369"/>
                <a:gd name="connsiteY1740" fmla="*/ 1037874 h 1289104"/>
                <a:gd name="connsiteX1741" fmla="*/ 1668276 w 1873369"/>
                <a:gd name="connsiteY1741" fmla="*/ 1037487 h 1289104"/>
                <a:gd name="connsiteX1742" fmla="*/ 1668663 w 1873369"/>
                <a:gd name="connsiteY1742" fmla="*/ 1035290 h 1289104"/>
                <a:gd name="connsiteX1743" fmla="*/ 1668663 w 1873369"/>
                <a:gd name="connsiteY1743" fmla="*/ 1033222 h 1289104"/>
                <a:gd name="connsiteX1744" fmla="*/ 1668922 w 1873369"/>
                <a:gd name="connsiteY1744" fmla="*/ 1032188 h 1289104"/>
                <a:gd name="connsiteX1745" fmla="*/ 1669439 w 1873369"/>
                <a:gd name="connsiteY1745" fmla="*/ 1030250 h 1289104"/>
                <a:gd name="connsiteX1746" fmla="*/ 1669826 w 1873369"/>
                <a:gd name="connsiteY1746" fmla="*/ 1029603 h 1289104"/>
                <a:gd name="connsiteX1747" fmla="*/ 1670343 w 1873369"/>
                <a:gd name="connsiteY1747" fmla="*/ 1028828 h 1289104"/>
                <a:gd name="connsiteX1748" fmla="*/ 1673187 w 1873369"/>
                <a:gd name="connsiteY1748" fmla="*/ 1026502 h 1289104"/>
                <a:gd name="connsiteX1749" fmla="*/ 1674091 w 1873369"/>
                <a:gd name="connsiteY1749" fmla="*/ 1025468 h 1289104"/>
                <a:gd name="connsiteX1750" fmla="*/ 1676417 w 1873369"/>
                <a:gd name="connsiteY1750" fmla="*/ 1022366 h 1289104"/>
                <a:gd name="connsiteX1751" fmla="*/ 1678097 w 1873369"/>
                <a:gd name="connsiteY1751" fmla="*/ 1020299 h 1289104"/>
                <a:gd name="connsiteX1752" fmla="*/ 1676030 w 1873369"/>
                <a:gd name="connsiteY1752" fmla="*/ 1018489 h 1289104"/>
                <a:gd name="connsiteX1753" fmla="*/ 1674350 w 1873369"/>
                <a:gd name="connsiteY1753" fmla="*/ 1016163 h 1289104"/>
                <a:gd name="connsiteX1754" fmla="*/ 1673833 w 1873369"/>
                <a:gd name="connsiteY1754" fmla="*/ 1014354 h 1289104"/>
                <a:gd name="connsiteX1755" fmla="*/ 1673574 w 1873369"/>
                <a:gd name="connsiteY1755" fmla="*/ 1013062 h 1289104"/>
                <a:gd name="connsiteX1756" fmla="*/ 1673574 w 1873369"/>
                <a:gd name="connsiteY1756" fmla="*/ 1011898 h 1289104"/>
                <a:gd name="connsiteX1757" fmla="*/ 1673962 w 1873369"/>
                <a:gd name="connsiteY1757" fmla="*/ 1009831 h 1289104"/>
                <a:gd name="connsiteX1758" fmla="*/ 1673962 w 1873369"/>
                <a:gd name="connsiteY1758" fmla="*/ 1007634 h 1289104"/>
                <a:gd name="connsiteX1759" fmla="*/ 1672799 w 1873369"/>
                <a:gd name="connsiteY1759" fmla="*/ 1001818 h 1289104"/>
                <a:gd name="connsiteX1760" fmla="*/ 1672153 w 1873369"/>
                <a:gd name="connsiteY1760" fmla="*/ 1000397 h 1289104"/>
                <a:gd name="connsiteX1761" fmla="*/ 1669439 w 1873369"/>
                <a:gd name="connsiteY1761" fmla="*/ 995744 h 1289104"/>
                <a:gd name="connsiteX1762" fmla="*/ 1667629 w 1873369"/>
                <a:gd name="connsiteY1762" fmla="*/ 994064 h 1289104"/>
                <a:gd name="connsiteX1763" fmla="*/ 1664528 w 1873369"/>
                <a:gd name="connsiteY1763" fmla="*/ 991479 h 1289104"/>
                <a:gd name="connsiteX1764" fmla="*/ 1658583 w 1873369"/>
                <a:gd name="connsiteY1764" fmla="*/ 985276 h 1289104"/>
                <a:gd name="connsiteX1765" fmla="*/ 1656386 w 1873369"/>
                <a:gd name="connsiteY1765" fmla="*/ 983338 h 1289104"/>
                <a:gd name="connsiteX1766" fmla="*/ 1652380 w 1873369"/>
                <a:gd name="connsiteY1766" fmla="*/ 980753 h 1289104"/>
                <a:gd name="connsiteX1767" fmla="*/ 1650700 w 1873369"/>
                <a:gd name="connsiteY1767" fmla="*/ 979332 h 1289104"/>
                <a:gd name="connsiteX1768" fmla="*/ 1648761 w 1873369"/>
                <a:gd name="connsiteY1768" fmla="*/ 976618 h 1289104"/>
                <a:gd name="connsiteX1769" fmla="*/ 1647598 w 1873369"/>
                <a:gd name="connsiteY1769" fmla="*/ 974679 h 1289104"/>
                <a:gd name="connsiteX1770" fmla="*/ 1646435 w 1873369"/>
                <a:gd name="connsiteY1770" fmla="*/ 972094 h 1289104"/>
                <a:gd name="connsiteX1771" fmla="*/ 1642687 w 1873369"/>
                <a:gd name="connsiteY1771" fmla="*/ 960851 h 1289104"/>
                <a:gd name="connsiteX1772" fmla="*/ 1642300 w 1873369"/>
                <a:gd name="connsiteY1772" fmla="*/ 958654 h 1289104"/>
                <a:gd name="connsiteX1773" fmla="*/ 1642041 w 1873369"/>
                <a:gd name="connsiteY1773" fmla="*/ 956457 h 1289104"/>
                <a:gd name="connsiteX1774" fmla="*/ 1642170 w 1873369"/>
                <a:gd name="connsiteY1774" fmla="*/ 954260 h 1289104"/>
                <a:gd name="connsiteX1775" fmla="*/ 1642687 w 1873369"/>
                <a:gd name="connsiteY1775" fmla="*/ 952063 h 1289104"/>
                <a:gd name="connsiteX1776" fmla="*/ 1644368 w 1873369"/>
                <a:gd name="connsiteY1776" fmla="*/ 948962 h 1289104"/>
                <a:gd name="connsiteX1777" fmla="*/ 1646177 w 1873369"/>
                <a:gd name="connsiteY1777" fmla="*/ 946377 h 1289104"/>
                <a:gd name="connsiteX1778" fmla="*/ 1647728 w 1873369"/>
                <a:gd name="connsiteY1778" fmla="*/ 944826 h 1289104"/>
                <a:gd name="connsiteX1779" fmla="*/ 1655999 w 1873369"/>
                <a:gd name="connsiteY1779" fmla="*/ 938106 h 1289104"/>
                <a:gd name="connsiteX1780" fmla="*/ 1657032 w 1873369"/>
                <a:gd name="connsiteY1780" fmla="*/ 936814 h 1289104"/>
                <a:gd name="connsiteX1781" fmla="*/ 1661168 w 1873369"/>
                <a:gd name="connsiteY1781" fmla="*/ 930094 h 1289104"/>
                <a:gd name="connsiteX1782" fmla="*/ 1825682 w 1873369"/>
                <a:gd name="connsiteY1782" fmla="*/ 576769 h 1289104"/>
                <a:gd name="connsiteX1783" fmla="*/ 1864969 w 1873369"/>
                <a:gd name="connsiteY1783" fmla="*/ 492121 h 1289104"/>
                <a:gd name="connsiteX1784" fmla="*/ 1865874 w 1873369"/>
                <a:gd name="connsiteY1784" fmla="*/ 488890 h 1289104"/>
                <a:gd name="connsiteX1785" fmla="*/ 1866003 w 1873369"/>
                <a:gd name="connsiteY1785" fmla="*/ 486564 h 1289104"/>
                <a:gd name="connsiteX1786" fmla="*/ 1864711 w 1873369"/>
                <a:gd name="connsiteY1786" fmla="*/ 485272 h 1289104"/>
                <a:gd name="connsiteX1787" fmla="*/ 1864065 w 1873369"/>
                <a:gd name="connsiteY1787" fmla="*/ 484238 h 1289104"/>
                <a:gd name="connsiteX1788" fmla="*/ 1863806 w 1873369"/>
                <a:gd name="connsiteY1788" fmla="*/ 483463 h 1289104"/>
                <a:gd name="connsiteX1789" fmla="*/ 1864065 w 1873369"/>
                <a:gd name="connsiteY1789" fmla="*/ 482816 h 1289104"/>
                <a:gd name="connsiteX1790" fmla="*/ 1864323 w 1873369"/>
                <a:gd name="connsiteY1790" fmla="*/ 482429 h 1289104"/>
                <a:gd name="connsiteX1791" fmla="*/ 1864581 w 1873369"/>
                <a:gd name="connsiteY1791" fmla="*/ 481912 h 1289104"/>
                <a:gd name="connsiteX1792" fmla="*/ 1865228 w 1873369"/>
                <a:gd name="connsiteY1792" fmla="*/ 481136 h 1289104"/>
                <a:gd name="connsiteX1793" fmla="*/ 1866132 w 1873369"/>
                <a:gd name="connsiteY1793" fmla="*/ 480619 h 1289104"/>
                <a:gd name="connsiteX1794" fmla="*/ 1870009 w 1873369"/>
                <a:gd name="connsiteY1794" fmla="*/ 478552 h 1289104"/>
                <a:gd name="connsiteX1795" fmla="*/ 1872206 w 1873369"/>
                <a:gd name="connsiteY1795" fmla="*/ 477001 h 1289104"/>
                <a:gd name="connsiteX1796" fmla="*/ 1872982 w 1873369"/>
                <a:gd name="connsiteY1796" fmla="*/ 476355 h 1289104"/>
                <a:gd name="connsiteX1797" fmla="*/ 1873240 w 1873369"/>
                <a:gd name="connsiteY1797" fmla="*/ 475967 h 1289104"/>
                <a:gd name="connsiteX1798" fmla="*/ 1873369 w 1873369"/>
                <a:gd name="connsiteY1798" fmla="*/ 475579 h 128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Lst>
              <a:rect l="l" t="t" r="r" b="b"/>
              <a:pathLst>
                <a:path w="1873369" h="1289104">
                  <a:moveTo>
                    <a:pt x="1867166" y="477389"/>
                  </a:moveTo>
                  <a:lnTo>
                    <a:pt x="1866132" y="478035"/>
                  </a:lnTo>
                  <a:lnTo>
                    <a:pt x="1865357" y="478552"/>
                  </a:lnTo>
                  <a:lnTo>
                    <a:pt x="1864581" y="479327"/>
                  </a:lnTo>
                  <a:lnTo>
                    <a:pt x="1864194" y="479456"/>
                  </a:lnTo>
                  <a:lnTo>
                    <a:pt x="1863935" y="479456"/>
                  </a:lnTo>
                  <a:lnTo>
                    <a:pt x="1863418" y="479327"/>
                  </a:lnTo>
                  <a:lnTo>
                    <a:pt x="1861092" y="478810"/>
                  </a:lnTo>
                  <a:lnTo>
                    <a:pt x="1859154" y="478681"/>
                  </a:lnTo>
                  <a:lnTo>
                    <a:pt x="1856698" y="478164"/>
                  </a:lnTo>
                  <a:lnTo>
                    <a:pt x="1855664" y="477776"/>
                  </a:lnTo>
                  <a:lnTo>
                    <a:pt x="1855147" y="477518"/>
                  </a:lnTo>
                  <a:lnTo>
                    <a:pt x="1854760" y="477001"/>
                  </a:lnTo>
                  <a:lnTo>
                    <a:pt x="1854630" y="476226"/>
                  </a:lnTo>
                  <a:lnTo>
                    <a:pt x="1854630" y="475579"/>
                  </a:lnTo>
                  <a:lnTo>
                    <a:pt x="1854630" y="474933"/>
                  </a:lnTo>
                  <a:lnTo>
                    <a:pt x="1855406" y="471961"/>
                  </a:lnTo>
                  <a:lnTo>
                    <a:pt x="1855406" y="471315"/>
                  </a:lnTo>
                  <a:lnTo>
                    <a:pt x="1855406" y="470668"/>
                  </a:lnTo>
                  <a:lnTo>
                    <a:pt x="1855277" y="470022"/>
                  </a:lnTo>
                  <a:lnTo>
                    <a:pt x="1854889" y="468859"/>
                  </a:lnTo>
                  <a:lnTo>
                    <a:pt x="1854630" y="468342"/>
                  </a:lnTo>
                  <a:lnTo>
                    <a:pt x="1854114" y="467955"/>
                  </a:lnTo>
                  <a:lnTo>
                    <a:pt x="1853338" y="467696"/>
                  </a:lnTo>
                  <a:lnTo>
                    <a:pt x="1852692" y="467696"/>
                  </a:lnTo>
                  <a:lnTo>
                    <a:pt x="1852046" y="467825"/>
                  </a:lnTo>
                  <a:lnTo>
                    <a:pt x="1850883" y="468084"/>
                  </a:lnTo>
                  <a:lnTo>
                    <a:pt x="1845326" y="470022"/>
                  </a:lnTo>
                  <a:lnTo>
                    <a:pt x="1844938" y="470281"/>
                  </a:lnTo>
                  <a:lnTo>
                    <a:pt x="1840156" y="473641"/>
                  </a:lnTo>
                  <a:lnTo>
                    <a:pt x="1839510" y="473899"/>
                  </a:lnTo>
                  <a:lnTo>
                    <a:pt x="1838735" y="474158"/>
                  </a:lnTo>
                  <a:lnTo>
                    <a:pt x="1837830" y="474029"/>
                  </a:lnTo>
                  <a:lnTo>
                    <a:pt x="1835762" y="473253"/>
                  </a:lnTo>
                  <a:lnTo>
                    <a:pt x="1833436" y="472607"/>
                  </a:lnTo>
                  <a:lnTo>
                    <a:pt x="1832402" y="472219"/>
                  </a:lnTo>
                  <a:lnTo>
                    <a:pt x="1831368" y="471832"/>
                  </a:lnTo>
                  <a:lnTo>
                    <a:pt x="1829559" y="470668"/>
                  </a:lnTo>
                  <a:lnTo>
                    <a:pt x="1828655" y="470152"/>
                  </a:lnTo>
                  <a:lnTo>
                    <a:pt x="1827621" y="469764"/>
                  </a:lnTo>
                  <a:lnTo>
                    <a:pt x="1826587" y="469247"/>
                  </a:lnTo>
                  <a:lnTo>
                    <a:pt x="1825682" y="468342"/>
                  </a:lnTo>
                  <a:lnTo>
                    <a:pt x="1825295" y="466791"/>
                  </a:lnTo>
                  <a:lnTo>
                    <a:pt x="1825165" y="465499"/>
                  </a:lnTo>
                  <a:lnTo>
                    <a:pt x="1825424" y="464207"/>
                  </a:lnTo>
                  <a:lnTo>
                    <a:pt x="1826974" y="458650"/>
                  </a:lnTo>
                  <a:lnTo>
                    <a:pt x="1827233" y="457487"/>
                  </a:lnTo>
                  <a:lnTo>
                    <a:pt x="1827233" y="456324"/>
                  </a:lnTo>
                  <a:lnTo>
                    <a:pt x="1826845" y="455160"/>
                  </a:lnTo>
                  <a:lnTo>
                    <a:pt x="1826070" y="454385"/>
                  </a:lnTo>
                  <a:lnTo>
                    <a:pt x="1824777" y="453868"/>
                  </a:lnTo>
                  <a:lnTo>
                    <a:pt x="1823485" y="453997"/>
                  </a:lnTo>
                  <a:lnTo>
                    <a:pt x="1821030" y="454385"/>
                  </a:lnTo>
                  <a:lnTo>
                    <a:pt x="1819737" y="454385"/>
                  </a:lnTo>
                  <a:lnTo>
                    <a:pt x="1818574" y="454256"/>
                  </a:lnTo>
                  <a:lnTo>
                    <a:pt x="1817411" y="453868"/>
                  </a:lnTo>
                  <a:lnTo>
                    <a:pt x="1816377" y="453480"/>
                  </a:lnTo>
                  <a:lnTo>
                    <a:pt x="1815473" y="452963"/>
                  </a:lnTo>
                  <a:lnTo>
                    <a:pt x="1808623" y="448053"/>
                  </a:lnTo>
                  <a:lnTo>
                    <a:pt x="1806685" y="447148"/>
                  </a:lnTo>
                  <a:lnTo>
                    <a:pt x="1802420" y="445597"/>
                  </a:lnTo>
                  <a:lnTo>
                    <a:pt x="1800482" y="444692"/>
                  </a:lnTo>
                  <a:lnTo>
                    <a:pt x="1799189" y="443659"/>
                  </a:lnTo>
                  <a:lnTo>
                    <a:pt x="1794149" y="438360"/>
                  </a:lnTo>
                  <a:lnTo>
                    <a:pt x="1791952" y="435000"/>
                  </a:lnTo>
                  <a:lnTo>
                    <a:pt x="1790789" y="431511"/>
                  </a:lnTo>
                  <a:lnTo>
                    <a:pt x="1790272" y="430477"/>
                  </a:lnTo>
                  <a:lnTo>
                    <a:pt x="1788980" y="429701"/>
                  </a:lnTo>
                  <a:lnTo>
                    <a:pt x="1786395" y="429055"/>
                  </a:lnTo>
                  <a:lnTo>
                    <a:pt x="1785232" y="428409"/>
                  </a:lnTo>
                  <a:lnTo>
                    <a:pt x="1781872" y="426083"/>
                  </a:lnTo>
                  <a:lnTo>
                    <a:pt x="1780192" y="425566"/>
                  </a:lnTo>
                  <a:lnTo>
                    <a:pt x="1778641" y="425437"/>
                  </a:lnTo>
                  <a:lnTo>
                    <a:pt x="1774893" y="425824"/>
                  </a:lnTo>
                  <a:lnTo>
                    <a:pt x="1773730" y="425566"/>
                  </a:lnTo>
                  <a:lnTo>
                    <a:pt x="1772955" y="424920"/>
                  </a:lnTo>
                  <a:lnTo>
                    <a:pt x="1772826" y="423498"/>
                  </a:lnTo>
                  <a:lnTo>
                    <a:pt x="1772826" y="421172"/>
                  </a:lnTo>
                  <a:lnTo>
                    <a:pt x="1772438" y="420397"/>
                  </a:lnTo>
                  <a:lnTo>
                    <a:pt x="1771533" y="420009"/>
                  </a:lnTo>
                  <a:lnTo>
                    <a:pt x="1770499" y="420138"/>
                  </a:lnTo>
                  <a:lnTo>
                    <a:pt x="1768432" y="421043"/>
                  </a:lnTo>
                  <a:lnTo>
                    <a:pt x="1766106" y="421560"/>
                  </a:lnTo>
                  <a:lnTo>
                    <a:pt x="1764813" y="421818"/>
                  </a:lnTo>
                  <a:lnTo>
                    <a:pt x="1763521" y="421689"/>
                  </a:lnTo>
                  <a:lnTo>
                    <a:pt x="1762487" y="421430"/>
                  </a:lnTo>
                  <a:lnTo>
                    <a:pt x="1760548" y="420397"/>
                  </a:lnTo>
                  <a:lnTo>
                    <a:pt x="1759515" y="420138"/>
                  </a:lnTo>
                  <a:lnTo>
                    <a:pt x="1757318" y="419880"/>
                  </a:lnTo>
                  <a:lnTo>
                    <a:pt x="1756284" y="419492"/>
                  </a:lnTo>
                  <a:lnTo>
                    <a:pt x="1751761" y="417553"/>
                  </a:lnTo>
                  <a:lnTo>
                    <a:pt x="1750468" y="416907"/>
                  </a:lnTo>
                  <a:lnTo>
                    <a:pt x="1747754" y="415098"/>
                  </a:lnTo>
                  <a:lnTo>
                    <a:pt x="1744911" y="413676"/>
                  </a:lnTo>
                  <a:lnTo>
                    <a:pt x="1741680" y="411609"/>
                  </a:lnTo>
                  <a:lnTo>
                    <a:pt x="1739354" y="410316"/>
                  </a:lnTo>
                  <a:lnTo>
                    <a:pt x="1729532" y="406956"/>
                  </a:lnTo>
                  <a:lnTo>
                    <a:pt x="1728240" y="406181"/>
                  </a:lnTo>
                  <a:lnTo>
                    <a:pt x="1727077" y="405147"/>
                  </a:lnTo>
                  <a:lnTo>
                    <a:pt x="1726043" y="403209"/>
                  </a:lnTo>
                  <a:lnTo>
                    <a:pt x="1725139" y="401916"/>
                  </a:lnTo>
                  <a:lnTo>
                    <a:pt x="1724105" y="401141"/>
                  </a:lnTo>
                  <a:lnTo>
                    <a:pt x="1723071" y="400882"/>
                  </a:lnTo>
                  <a:lnTo>
                    <a:pt x="1721003" y="400624"/>
                  </a:lnTo>
                  <a:lnTo>
                    <a:pt x="1719581" y="399590"/>
                  </a:lnTo>
                  <a:lnTo>
                    <a:pt x="1717772" y="397781"/>
                  </a:lnTo>
                  <a:lnTo>
                    <a:pt x="1714670" y="394033"/>
                  </a:lnTo>
                  <a:lnTo>
                    <a:pt x="1712732" y="392353"/>
                  </a:lnTo>
                  <a:lnTo>
                    <a:pt x="1711181" y="391319"/>
                  </a:lnTo>
                  <a:lnTo>
                    <a:pt x="1703169" y="389122"/>
                  </a:lnTo>
                  <a:lnTo>
                    <a:pt x="1701747" y="388217"/>
                  </a:lnTo>
                  <a:lnTo>
                    <a:pt x="1700067" y="386667"/>
                  </a:lnTo>
                  <a:lnTo>
                    <a:pt x="1697612" y="383824"/>
                  </a:lnTo>
                  <a:lnTo>
                    <a:pt x="1696061" y="382143"/>
                  </a:lnTo>
                  <a:lnTo>
                    <a:pt x="1694769" y="381239"/>
                  </a:lnTo>
                  <a:lnTo>
                    <a:pt x="1692055" y="380205"/>
                  </a:lnTo>
                  <a:lnTo>
                    <a:pt x="1683913" y="375940"/>
                  </a:lnTo>
                  <a:lnTo>
                    <a:pt x="1682621" y="374906"/>
                  </a:lnTo>
                  <a:lnTo>
                    <a:pt x="1681458" y="373614"/>
                  </a:lnTo>
                  <a:lnTo>
                    <a:pt x="1680424" y="371417"/>
                  </a:lnTo>
                  <a:lnTo>
                    <a:pt x="1679648" y="370125"/>
                  </a:lnTo>
                  <a:lnTo>
                    <a:pt x="1678614" y="369349"/>
                  </a:lnTo>
                  <a:lnTo>
                    <a:pt x="1676547" y="369479"/>
                  </a:lnTo>
                  <a:lnTo>
                    <a:pt x="1675384" y="369220"/>
                  </a:lnTo>
                  <a:lnTo>
                    <a:pt x="1674220" y="368703"/>
                  </a:lnTo>
                  <a:lnTo>
                    <a:pt x="1672928" y="367540"/>
                  </a:lnTo>
                  <a:lnTo>
                    <a:pt x="1671377" y="365860"/>
                  </a:lnTo>
                  <a:lnTo>
                    <a:pt x="1667500" y="359657"/>
                  </a:lnTo>
                  <a:lnTo>
                    <a:pt x="1666466" y="358623"/>
                  </a:lnTo>
                  <a:lnTo>
                    <a:pt x="1665433" y="357977"/>
                  </a:lnTo>
                  <a:lnTo>
                    <a:pt x="1664140" y="357848"/>
                  </a:lnTo>
                  <a:lnTo>
                    <a:pt x="1661814" y="357977"/>
                  </a:lnTo>
                  <a:lnTo>
                    <a:pt x="1660780" y="357848"/>
                  </a:lnTo>
                  <a:lnTo>
                    <a:pt x="1659746" y="357331"/>
                  </a:lnTo>
                  <a:lnTo>
                    <a:pt x="1658712" y="356685"/>
                  </a:lnTo>
                  <a:lnTo>
                    <a:pt x="1650958" y="349318"/>
                  </a:lnTo>
                  <a:lnTo>
                    <a:pt x="1650054" y="348284"/>
                  </a:lnTo>
                  <a:lnTo>
                    <a:pt x="1649278" y="346992"/>
                  </a:lnTo>
                  <a:lnTo>
                    <a:pt x="1648761" y="345570"/>
                  </a:lnTo>
                  <a:lnTo>
                    <a:pt x="1648503" y="343373"/>
                  </a:lnTo>
                  <a:lnTo>
                    <a:pt x="1648503" y="340530"/>
                  </a:lnTo>
                  <a:lnTo>
                    <a:pt x="1648244" y="339238"/>
                  </a:lnTo>
                  <a:lnTo>
                    <a:pt x="1647857" y="337687"/>
                  </a:lnTo>
                  <a:lnTo>
                    <a:pt x="1646952" y="335619"/>
                  </a:lnTo>
                  <a:lnTo>
                    <a:pt x="1646565" y="333422"/>
                  </a:lnTo>
                  <a:lnTo>
                    <a:pt x="1645401" y="329416"/>
                  </a:lnTo>
                  <a:lnTo>
                    <a:pt x="1644626" y="327995"/>
                  </a:lnTo>
                  <a:lnTo>
                    <a:pt x="1643204" y="326573"/>
                  </a:lnTo>
                  <a:lnTo>
                    <a:pt x="1641912" y="325927"/>
                  </a:lnTo>
                  <a:lnTo>
                    <a:pt x="1639715" y="325152"/>
                  </a:lnTo>
                  <a:lnTo>
                    <a:pt x="1639069" y="324764"/>
                  </a:lnTo>
                  <a:lnTo>
                    <a:pt x="1634029" y="320111"/>
                  </a:lnTo>
                  <a:lnTo>
                    <a:pt x="1632736" y="319465"/>
                  </a:lnTo>
                  <a:lnTo>
                    <a:pt x="1631573" y="319078"/>
                  </a:lnTo>
                  <a:lnTo>
                    <a:pt x="1630410" y="319336"/>
                  </a:lnTo>
                  <a:lnTo>
                    <a:pt x="1627955" y="319982"/>
                  </a:lnTo>
                  <a:lnTo>
                    <a:pt x="1626662" y="319853"/>
                  </a:lnTo>
                  <a:lnTo>
                    <a:pt x="1625499" y="319207"/>
                  </a:lnTo>
                  <a:lnTo>
                    <a:pt x="1617358" y="311711"/>
                  </a:lnTo>
                  <a:lnTo>
                    <a:pt x="1613610" y="307188"/>
                  </a:lnTo>
                  <a:lnTo>
                    <a:pt x="1612834" y="305766"/>
                  </a:lnTo>
                  <a:lnTo>
                    <a:pt x="1612318" y="303957"/>
                  </a:lnTo>
                  <a:lnTo>
                    <a:pt x="1612318" y="300985"/>
                  </a:lnTo>
                  <a:lnTo>
                    <a:pt x="1613093" y="296074"/>
                  </a:lnTo>
                  <a:lnTo>
                    <a:pt x="1613093" y="291422"/>
                  </a:lnTo>
                  <a:lnTo>
                    <a:pt x="1613481" y="289612"/>
                  </a:lnTo>
                  <a:lnTo>
                    <a:pt x="1614127" y="288061"/>
                  </a:lnTo>
                  <a:lnTo>
                    <a:pt x="1614515" y="286769"/>
                  </a:lnTo>
                  <a:lnTo>
                    <a:pt x="1614515" y="285348"/>
                  </a:lnTo>
                  <a:lnTo>
                    <a:pt x="1613351" y="283668"/>
                  </a:lnTo>
                  <a:lnTo>
                    <a:pt x="1612188" y="282634"/>
                  </a:lnTo>
                  <a:lnTo>
                    <a:pt x="1610896" y="281988"/>
                  </a:lnTo>
                  <a:lnTo>
                    <a:pt x="1605468" y="279661"/>
                  </a:lnTo>
                  <a:lnTo>
                    <a:pt x="1604305" y="279015"/>
                  </a:lnTo>
                  <a:lnTo>
                    <a:pt x="1603271" y="278240"/>
                  </a:lnTo>
                  <a:lnTo>
                    <a:pt x="1602367" y="277335"/>
                  </a:lnTo>
                  <a:lnTo>
                    <a:pt x="1601720" y="276301"/>
                  </a:lnTo>
                  <a:lnTo>
                    <a:pt x="1601204" y="275267"/>
                  </a:lnTo>
                  <a:lnTo>
                    <a:pt x="1600428" y="272037"/>
                  </a:lnTo>
                  <a:lnTo>
                    <a:pt x="1600170" y="268418"/>
                  </a:lnTo>
                  <a:lnTo>
                    <a:pt x="1600170" y="256270"/>
                  </a:lnTo>
                  <a:lnTo>
                    <a:pt x="1600945" y="250325"/>
                  </a:lnTo>
                  <a:lnTo>
                    <a:pt x="1601462" y="249162"/>
                  </a:lnTo>
                  <a:lnTo>
                    <a:pt x="1601720" y="246578"/>
                  </a:lnTo>
                  <a:lnTo>
                    <a:pt x="1599394" y="213881"/>
                  </a:lnTo>
                  <a:lnTo>
                    <a:pt x="1503244" y="213365"/>
                  </a:lnTo>
                  <a:lnTo>
                    <a:pt x="1475976" y="214011"/>
                  </a:lnTo>
                  <a:lnTo>
                    <a:pt x="1473391" y="215303"/>
                  </a:lnTo>
                  <a:lnTo>
                    <a:pt x="1472875" y="216078"/>
                  </a:lnTo>
                  <a:lnTo>
                    <a:pt x="1472745" y="217112"/>
                  </a:lnTo>
                  <a:lnTo>
                    <a:pt x="1472616" y="218146"/>
                  </a:lnTo>
                  <a:lnTo>
                    <a:pt x="1471970" y="219180"/>
                  </a:lnTo>
                  <a:lnTo>
                    <a:pt x="1471324" y="220214"/>
                  </a:lnTo>
                  <a:lnTo>
                    <a:pt x="1470290" y="220989"/>
                  </a:lnTo>
                  <a:lnTo>
                    <a:pt x="1468093" y="222282"/>
                  </a:lnTo>
                  <a:lnTo>
                    <a:pt x="1467059" y="222669"/>
                  </a:lnTo>
                  <a:lnTo>
                    <a:pt x="1465896" y="223316"/>
                  </a:lnTo>
                  <a:lnTo>
                    <a:pt x="1464991" y="223962"/>
                  </a:lnTo>
                  <a:lnTo>
                    <a:pt x="1464216" y="224996"/>
                  </a:lnTo>
                  <a:lnTo>
                    <a:pt x="1463957" y="226159"/>
                  </a:lnTo>
                  <a:lnTo>
                    <a:pt x="1463957" y="227193"/>
                  </a:lnTo>
                  <a:lnTo>
                    <a:pt x="1464216" y="228356"/>
                  </a:lnTo>
                  <a:lnTo>
                    <a:pt x="1464087" y="229519"/>
                  </a:lnTo>
                  <a:lnTo>
                    <a:pt x="1463699" y="230682"/>
                  </a:lnTo>
                  <a:lnTo>
                    <a:pt x="1460339" y="237144"/>
                  </a:lnTo>
                  <a:lnTo>
                    <a:pt x="1455945" y="241537"/>
                  </a:lnTo>
                  <a:lnTo>
                    <a:pt x="1455170" y="242571"/>
                  </a:lnTo>
                  <a:lnTo>
                    <a:pt x="1454653" y="243605"/>
                  </a:lnTo>
                  <a:lnTo>
                    <a:pt x="1454265" y="244639"/>
                  </a:lnTo>
                  <a:lnTo>
                    <a:pt x="1453102" y="246965"/>
                  </a:lnTo>
                  <a:lnTo>
                    <a:pt x="1452714" y="248128"/>
                  </a:lnTo>
                  <a:lnTo>
                    <a:pt x="1452197" y="251488"/>
                  </a:lnTo>
                  <a:lnTo>
                    <a:pt x="1451939" y="252522"/>
                  </a:lnTo>
                  <a:lnTo>
                    <a:pt x="1451422" y="253685"/>
                  </a:lnTo>
                  <a:lnTo>
                    <a:pt x="1447803" y="258855"/>
                  </a:lnTo>
                  <a:lnTo>
                    <a:pt x="1445994" y="260793"/>
                  </a:lnTo>
                  <a:lnTo>
                    <a:pt x="1445477" y="261827"/>
                  </a:lnTo>
                  <a:lnTo>
                    <a:pt x="1445348" y="262861"/>
                  </a:lnTo>
                  <a:lnTo>
                    <a:pt x="1445089" y="268160"/>
                  </a:lnTo>
                  <a:lnTo>
                    <a:pt x="1444960" y="269193"/>
                  </a:lnTo>
                  <a:lnTo>
                    <a:pt x="1444572" y="270357"/>
                  </a:lnTo>
                  <a:lnTo>
                    <a:pt x="1442892" y="273587"/>
                  </a:lnTo>
                  <a:lnTo>
                    <a:pt x="1442246" y="275526"/>
                  </a:lnTo>
                  <a:lnTo>
                    <a:pt x="1440566" y="278757"/>
                  </a:lnTo>
                  <a:lnTo>
                    <a:pt x="1440178" y="279791"/>
                  </a:lnTo>
                  <a:lnTo>
                    <a:pt x="1439532" y="281988"/>
                  </a:lnTo>
                  <a:lnTo>
                    <a:pt x="1439145" y="283151"/>
                  </a:lnTo>
                  <a:lnTo>
                    <a:pt x="1437982" y="284960"/>
                  </a:lnTo>
                  <a:lnTo>
                    <a:pt x="1437594" y="285994"/>
                  </a:lnTo>
                  <a:lnTo>
                    <a:pt x="1437206" y="287157"/>
                  </a:lnTo>
                  <a:lnTo>
                    <a:pt x="1436431" y="291292"/>
                  </a:lnTo>
                  <a:lnTo>
                    <a:pt x="1436431" y="292068"/>
                  </a:lnTo>
                  <a:lnTo>
                    <a:pt x="1436560" y="292972"/>
                  </a:lnTo>
                  <a:lnTo>
                    <a:pt x="1437206" y="295040"/>
                  </a:lnTo>
                  <a:lnTo>
                    <a:pt x="1437723" y="296074"/>
                  </a:lnTo>
                  <a:lnTo>
                    <a:pt x="1438369" y="296979"/>
                  </a:lnTo>
                  <a:lnTo>
                    <a:pt x="1444572" y="303828"/>
                  </a:lnTo>
                  <a:lnTo>
                    <a:pt x="1445089" y="304733"/>
                  </a:lnTo>
                  <a:lnTo>
                    <a:pt x="1445606" y="305766"/>
                  </a:lnTo>
                  <a:lnTo>
                    <a:pt x="1445865" y="306930"/>
                  </a:lnTo>
                  <a:lnTo>
                    <a:pt x="1445865" y="308222"/>
                  </a:lnTo>
                  <a:lnTo>
                    <a:pt x="1445865" y="309127"/>
                  </a:lnTo>
                  <a:lnTo>
                    <a:pt x="1445477" y="310160"/>
                  </a:lnTo>
                  <a:lnTo>
                    <a:pt x="1444960" y="311065"/>
                  </a:lnTo>
                  <a:lnTo>
                    <a:pt x="1444185" y="311711"/>
                  </a:lnTo>
                  <a:lnTo>
                    <a:pt x="1443280" y="312228"/>
                  </a:lnTo>
                  <a:lnTo>
                    <a:pt x="1442117" y="312745"/>
                  </a:lnTo>
                  <a:lnTo>
                    <a:pt x="1438369" y="313391"/>
                  </a:lnTo>
                  <a:lnTo>
                    <a:pt x="1435397" y="314813"/>
                  </a:lnTo>
                  <a:lnTo>
                    <a:pt x="1428418" y="316622"/>
                  </a:lnTo>
                  <a:lnTo>
                    <a:pt x="1427514" y="317139"/>
                  </a:lnTo>
                  <a:lnTo>
                    <a:pt x="1426867" y="318044"/>
                  </a:lnTo>
                  <a:lnTo>
                    <a:pt x="1426609" y="319078"/>
                  </a:lnTo>
                  <a:lnTo>
                    <a:pt x="1426221" y="319982"/>
                  </a:lnTo>
                  <a:lnTo>
                    <a:pt x="1425575" y="320628"/>
                  </a:lnTo>
                  <a:lnTo>
                    <a:pt x="1425187" y="321145"/>
                  </a:lnTo>
                  <a:lnTo>
                    <a:pt x="1424800" y="321791"/>
                  </a:lnTo>
                  <a:lnTo>
                    <a:pt x="1424541" y="324118"/>
                  </a:lnTo>
                  <a:lnTo>
                    <a:pt x="1424154" y="325152"/>
                  </a:lnTo>
                  <a:lnTo>
                    <a:pt x="1423378" y="325927"/>
                  </a:lnTo>
                  <a:lnTo>
                    <a:pt x="1422474" y="326444"/>
                  </a:lnTo>
                  <a:lnTo>
                    <a:pt x="1421181" y="326573"/>
                  </a:lnTo>
                  <a:lnTo>
                    <a:pt x="1418338" y="326185"/>
                  </a:lnTo>
                  <a:lnTo>
                    <a:pt x="1416141" y="326573"/>
                  </a:lnTo>
                  <a:lnTo>
                    <a:pt x="1414332" y="326444"/>
                  </a:lnTo>
                  <a:lnTo>
                    <a:pt x="1413556" y="326832"/>
                  </a:lnTo>
                  <a:lnTo>
                    <a:pt x="1413169" y="327219"/>
                  </a:lnTo>
                  <a:lnTo>
                    <a:pt x="1412652" y="327736"/>
                  </a:lnTo>
                  <a:lnTo>
                    <a:pt x="1411876" y="328382"/>
                  </a:lnTo>
                  <a:lnTo>
                    <a:pt x="1410972" y="328899"/>
                  </a:lnTo>
                  <a:lnTo>
                    <a:pt x="1410067" y="329158"/>
                  </a:lnTo>
                  <a:lnTo>
                    <a:pt x="1409033" y="329158"/>
                  </a:lnTo>
                  <a:lnTo>
                    <a:pt x="1406319" y="328641"/>
                  </a:lnTo>
                  <a:lnTo>
                    <a:pt x="1399728" y="328124"/>
                  </a:lnTo>
                  <a:lnTo>
                    <a:pt x="1398565" y="327736"/>
                  </a:lnTo>
                  <a:lnTo>
                    <a:pt x="1397661" y="326961"/>
                  </a:lnTo>
                  <a:lnTo>
                    <a:pt x="1397015" y="325539"/>
                  </a:lnTo>
                  <a:lnTo>
                    <a:pt x="1396885" y="324247"/>
                  </a:lnTo>
                  <a:lnTo>
                    <a:pt x="1397144" y="322050"/>
                  </a:lnTo>
                  <a:lnTo>
                    <a:pt x="1396756" y="321275"/>
                  </a:lnTo>
                  <a:lnTo>
                    <a:pt x="1396110" y="320499"/>
                  </a:lnTo>
                  <a:lnTo>
                    <a:pt x="1395593" y="319724"/>
                  </a:lnTo>
                  <a:lnTo>
                    <a:pt x="1395076" y="317398"/>
                  </a:lnTo>
                  <a:lnTo>
                    <a:pt x="1392362" y="312228"/>
                  </a:lnTo>
                  <a:lnTo>
                    <a:pt x="1391328" y="310807"/>
                  </a:lnTo>
                  <a:lnTo>
                    <a:pt x="1388356" y="308480"/>
                  </a:lnTo>
                  <a:lnTo>
                    <a:pt x="1385900" y="305637"/>
                  </a:lnTo>
                  <a:lnTo>
                    <a:pt x="1384220" y="304345"/>
                  </a:lnTo>
                  <a:lnTo>
                    <a:pt x="1382928" y="303570"/>
                  </a:lnTo>
                  <a:lnTo>
                    <a:pt x="1381894" y="302794"/>
                  </a:lnTo>
                  <a:lnTo>
                    <a:pt x="1381119" y="301889"/>
                  </a:lnTo>
                  <a:lnTo>
                    <a:pt x="1380343" y="300468"/>
                  </a:lnTo>
                  <a:lnTo>
                    <a:pt x="1379568" y="297883"/>
                  </a:lnTo>
                  <a:lnTo>
                    <a:pt x="1378922" y="296849"/>
                  </a:lnTo>
                  <a:lnTo>
                    <a:pt x="1377500" y="296074"/>
                  </a:lnTo>
                  <a:lnTo>
                    <a:pt x="1376208" y="295815"/>
                  </a:lnTo>
                  <a:lnTo>
                    <a:pt x="1371943" y="295686"/>
                  </a:lnTo>
                  <a:lnTo>
                    <a:pt x="1370522" y="295557"/>
                  </a:lnTo>
                  <a:lnTo>
                    <a:pt x="1365094" y="294006"/>
                  </a:lnTo>
                  <a:lnTo>
                    <a:pt x="1364060" y="293489"/>
                  </a:lnTo>
                  <a:lnTo>
                    <a:pt x="1363285" y="292843"/>
                  </a:lnTo>
                  <a:lnTo>
                    <a:pt x="1361346" y="290905"/>
                  </a:lnTo>
                  <a:lnTo>
                    <a:pt x="1360829" y="290646"/>
                  </a:lnTo>
                  <a:lnTo>
                    <a:pt x="1360054" y="290258"/>
                  </a:lnTo>
                  <a:lnTo>
                    <a:pt x="1359020" y="289871"/>
                  </a:lnTo>
                  <a:lnTo>
                    <a:pt x="1357728" y="289742"/>
                  </a:lnTo>
                  <a:lnTo>
                    <a:pt x="1356435" y="289742"/>
                  </a:lnTo>
                  <a:lnTo>
                    <a:pt x="1352946" y="290517"/>
                  </a:lnTo>
                  <a:lnTo>
                    <a:pt x="1351783" y="290517"/>
                  </a:lnTo>
                  <a:lnTo>
                    <a:pt x="1349715" y="290258"/>
                  </a:lnTo>
                  <a:lnTo>
                    <a:pt x="1349198" y="290258"/>
                  </a:lnTo>
                  <a:lnTo>
                    <a:pt x="1348294" y="290388"/>
                  </a:lnTo>
                  <a:lnTo>
                    <a:pt x="1347906" y="290775"/>
                  </a:lnTo>
                  <a:lnTo>
                    <a:pt x="1347518" y="291034"/>
                  </a:lnTo>
                  <a:lnTo>
                    <a:pt x="1347389" y="291551"/>
                  </a:lnTo>
                  <a:lnTo>
                    <a:pt x="1346872" y="293360"/>
                  </a:lnTo>
                  <a:lnTo>
                    <a:pt x="1346484" y="294523"/>
                  </a:lnTo>
                  <a:lnTo>
                    <a:pt x="1345838" y="295428"/>
                  </a:lnTo>
                  <a:lnTo>
                    <a:pt x="1345192" y="296203"/>
                  </a:lnTo>
                  <a:lnTo>
                    <a:pt x="1344416" y="296849"/>
                  </a:lnTo>
                  <a:lnTo>
                    <a:pt x="1343512" y="297366"/>
                  </a:lnTo>
                  <a:lnTo>
                    <a:pt x="1334982" y="300468"/>
                  </a:lnTo>
                  <a:lnTo>
                    <a:pt x="1331105" y="301243"/>
                  </a:lnTo>
                  <a:lnTo>
                    <a:pt x="1330072" y="301631"/>
                  </a:lnTo>
                  <a:lnTo>
                    <a:pt x="1322447" y="305766"/>
                  </a:lnTo>
                  <a:lnTo>
                    <a:pt x="1321542" y="306283"/>
                  </a:lnTo>
                  <a:lnTo>
                    <a:pt x="1320896" y="307059"/>
                  </a:lnTo>
                  <a:lnTo>
                    <a:pt x="1320250" y="307963"/>
                  </a:lnTo>
                  <a:lnTo>
                    <a:pt x="1319474" y="310031"/>
                  </a:lnTo>
                  <a:lnTo>
                    <a:pt x="1318957" y="310807"/>
                  </a:lnTo>
                  <a:lnTo>
                    <a:pt x="1318441" y="311582"/>
                  </a:lnTo>
                  <a:lnTo>
                    <a:pt x="1315856" y="313650"/>
                  </a:lnTo>
                  <a:lnTo>
                    <a:pt x="1315080" y="314425"/>
                  </a:lnTo>
                  <a:lnTo>
                    <a:pt x="1314564" y="315330"/>
                  </a:lnTo>
                  <a:lnTo>
                    <a:pt x="1314047" y="316364"/>
                  </a:lnTo>
                  <a:lnTo>
                    <a:pt x="1313142" y="319724"/>
                  </a:lnTo>
                  <a:lnTo>
                    <a:pt x="1312496" y="326185"/>
                  </a:lnTo>
                  <a:lnTo>
                    <a:pt x="1312108" y="327090"/>
                  </a:lnTo>
                  <a:lnTo>
                    <a:pt x="1309782" y="332259"/>
                  </a:lnTo>
                  <a:lnTo>
                    <a:pt x="1309265" y="334456"/>
                  </a:lnTo>
                  <a:lnTo>
                    <a:pt x="1309136" y="335749"/>
                  </a:lnTo>
                  <a:lnTo>
                    <a:pt x="1309394" y="338333"/>
                  </a:lnTo>
                  <a:lnTo>
                    <a:pt x="1311462" y="346475"/>
                  </a:lnTo>
                  <a:lnTo>
                    <a:pt x="1311591" y="347767"/>
                  </a:lnTo>
                  <a:lnTo>
                    <a:pt x="1311462" y="348930"/>
                  </a:lnTo>
                  <a:lnTo>
                    <a:pt x="1310945" y="349964"/>
                  </a:lnTo>
                  <a:lnTo>
                    <a:pt x="1310428" y="350869"/>
                  </a:lnTo>
                  <a:lnTo>
                    <a:pt x="1309911" y="351774"/>
                  </a:lnTo>
                  <a:lnTo>
                    <a:pt x="1309653" y="352937"/>
                  </a:lnTo>
                  <a:lnTo>
                    <a:pt x="1309653" y="354229"/>
                  </a:lnTo>
                  <a:lnTo>
                    <a:pt x="1309911" y="358106"/>
                  </a:lnTo>
                  <a:lnTo>
                    <a:pt x="1309782" y="359269"/>
                  </a:lnTo>
                  <a:lnTo>
                    <a:pt x="1307973" y="366119"/>
                  </a:lnTo>
                  <a:lnTo>
                    <a:pt x="1305129" y="373356"/>
                  </a:lnTo>
                  <a:lnTo>
                    <a:pt x="1304871" y="374519"/>
                  </a:lnTo>
                  <a:lnTo>
                    <a:pt x="1305000" y="375682"/>
                  </a:lnTo>
                  <a:lnTo>
                    <a:pt x="1307068" y="386667"/>
                  </a:lnTo>
                  <a:lnTo>
                    <a:pt x="1307068" y="388605"/>
                  </a:lnTo>
                  <a:lnTo>
                    <a:pt x="1305646" y="388217"/>
                  </a:lnTo>
                  <a:lnTo>
                    <a:pt x="1305129" y="387959"/>
                  </a:lnTo>
                  <a:lnTo>
                    <a:pt x="1302933" y="387184"/>
                  </a:lnTo>
                  <a:lnTo>
                    <a:pt x="1298539" y="386537"/>
                  </a:lnTo>
                  <a:lnTo>
                    <a:pt x="1295825" y="386408"/>
                  </a:lnTo>
                  <a:lnTo>
                    <a:pt x="1295179" y="386408"/>
                  </a:lnTo>
                  <a:lnTo>
                    <a:pt x="1294403" y="385891"/>
                  </a:lnTo>
                  <a:lnTo>
                    <a:pt x="1293498" y="385116"/>
                  </a:lnTo>
                  <a:lnTo>
                    <a:pt x="1291818" y="383307"/>
                  </a:lnTo>
                  <a:lnTo>
                    <a:pt x="1290914" y="382660"/>
                  </a:lnTo>
                  <a:lnTo>
                    <a:pt x="1290009" y="382402"/>
                  </a:lnTo>
                  <a:lnTo>
                    <a:pt x="1287812" y="382919"/>
                  </a:lnTo>
                  <a:lnTo>
                    <a:pt x="1283289" y="385116"/>
                  </a:lnTo>
                  <a:lnTo>
                    <a:pt x="1282643" y="385245"/>
                  </a:lnTo>
                  <a:lnTo>
                    <a:pt x="1281480" y="385374"/>
                  </a:lnTo>
                  <a:lnTo>
                    <a:pt x="1280834" y="385374"/>
                  </a:lnTo>
                  <a:lnTo>
                    <a:pt x="1280187" y="385374"/>
                  </a:lnTo>
                  <a:lnTo>
                    <a:pt x="1279541" y="385245"/>
                  </a:lnTo>
                  <a:lnTo>
                    <a:pt x="1278895" y="384987"/>
                  </a:lnTo>
                  <a:lnTo>
                    <a:pt x="1278249" y="384470"/>
                  </a:lnTo>
                  <a:lnTo>
                    <a:pt x="1277861" y="384082"/>
                  </a:lnTo>
                  <a:lnTo>
                    <a:pt x="1277344" y="383436"/>
                  </a:lnTo>
                  <a:lnTo>
                    <a:pt x="1271141" y="370254"/>
                  </a:lnTo>
                  <a:lnTo>
                    <a:pt x="1270753" y="369866"/>
                  </a:lnTo>
                  <a:lnTo>
                    <a:pt x="1269978" y="369091"/>
                  </a:lnTo>
                  <a:lnTo>
                    <a:pt x="1269203" y="368574"/>
                  </a:lnTo>
                  <a:lnTo>
                    <a:pt x="1268686" y="368315"/>
                  </a:lnTo>
                  <a:lnTo>
                    <a:pt x="1268039" y="368057"/>
                  </a:lnTo>
                  <a:lnTo>
                    <a:pt x="1267135" y="367799"/>
                  </a:lnTo>
                  <a:lnTo>
                    <a:pt x="1266230" y="367152"/>
                  </a:lnTo>
                  <a:lnTo>
                    <a:pt x="1265326" y="365860"/>
                  </a:lnTo>
                  <a:lnTo>
                    <a:pt x="1263646" y="362371"/>
                  </a:lnTo>
                  <a:lnTo>
                    <a:pt x="1262482" y="360691"/>
                  </a:lnTo>
                  <a:lnTo>
                    <a:pt x="1261449" y="359528"/>
                  </a:lnTo>
                  <a:lnTo>
                    <a:pt x="1260673" y="358881"/>
                  </a:lnTo>
                  <a:lnTo>
                    <a:pt x="1255892" y="356297"/>
                  </a:lnTo>
                  <a:lnTo>
                    <a:pt x="1249430" y="351257"/>
                  </a:lnTo>
                  <a:lnTo>
                    <a:pt x="1248396" y="350869"/>
                  </a:lnTo>
                  <a:lnTo>
                    <a:pt x="1247362" y="350481"/>
                  </a:lnTo>
                  <a:lnTo>
                    <a:pt x="1245294" y="350352"/>
                  </a:lnTo>
                  <a:lnTo>
                    <a:pt x="1244131" y="350094"/>
                  </a:lnTo>
                  <a:lnTo>
                    <a:pt x="1243227" y="349577"/>
                  </a:lnTo>
                  <a:lnTo>
                    <a:pt x="1242580" y="348930"/>
                  </a:lnTo>
                  <a:lnTo>
                    <a:pt x="1238445" y="342210"/>
                  </a:lnTo>
                  <a:lnTo>
                    <a:pt x="1236894" y="341176"/>
                  </a:lnTo>
                  <a:lnTo>
                    <a:pt x="1235473" y="340401"/>
                  </a:lnTo>
                  <a:lnTo>
                    <a:pt x="1234309" y="340143"/>
                  </a:lnTo>
                  <a:lnTo>
                    <a:pt x="1232371" y="339238"/>
                  </a:lnTo>
                  <a:lnTo>
                    <a:pt x="1230562" y="338075"/>
                  </a:lnTo>
                  <a:lnTo>
                    <a:pt x="1223325" y="330838"/>
                  </a:lnTo>
                  <a:lnTo>
                    <a:pt x="1220869" y="327348"/>
                  </a:lnTo>
                  <a:lnTo>
                    <a:pt x="1219577" y="325798"/>
                  </a:lnTo>
                  <a:lnTo>
                    <a:pt x="1218672" y="325152"/>
                  </a:lnTo>
                  <a:lnTo>
                    <a:pt x="1217768" y="324635"/>
                  </a:lnTo>
                  <a:lnTo>
                    <a:pt x="1212469" y="322825"/>
                  </a:lnTo>
                  <a:lnTo>
                    <a:pt x="1211564" y="322308"/>
                  </a:lnTo>
                  <a:lnTo>
                    <a:pt x="1211047" y="321921"/>
                  </a:lnTo>
                  <a:lnTo>
                    <a:pt x="1210660" y="321145"/>
                  </a:lnTo>
                  <a:lnTo>
                    <a:pt x="1210272" y="319982"/>
                  </a:lnTo>
                  <a:lnTo>
                    <a:pt x="1210143" y="318173"/>
                  </a:lnTo>
                  <a:lnTo>
                    <a:pt x="1210272" y="316622"/>
                  </a:lnTo>
                  <a:lnTo>
                    <a:pt x="1210660" y="312874"/>
                  </a:lnTo>
                  <a:lnTo>
                    <a:pt x="1211047" y="312099"/>
                  </a:lnTo>
                  <a:lnTo>
                    <a:pt x="1211435" y="311711"/>
                  </a:lnTo>
                  <a:lnTo>
                    <a:pt x="1212211" y="311453"/>
                  </a:lnTo>
                  <a:lnTo>
                    <a:pt x="1213374" y="311582"/>
                  </a:lnTo>
                  <a:lnTo>
                    <a:pt x="1217897" y="312745"/>
                  </a:lnTo>
                  <a:lnTo>
                    <a:pt x="1218931" y="313133"/>
                  </a:lnTo>
                  <a:lnTo>
                    <a:pt x="1220740" y="314296"/>
                  </a:lnTo>
                  <a:lnTo>
                    <a:pt x="1221903" y="314425"/>
                  </a:lnTo>
                  <a:lnTo>
                    <a:pt x="1223066" y="314425"/>
                  </a:lnTo>
                  <a:lnTo>
                    <a:pt x="1223971" y="313908"/>
                  </a:lnTo>
                  <a:lnTo>
                    <a:pt x="1224617" y="313133"/>
                  </a:lnTo>
                  <a:lnTo>
                    <a:pt x="1225651" y="311194"/>
                  </a:lnTo>
                  <a:lnTo>
                    <a:pt x="1226297" y="310548"/>
                  </a:lnTo>
                  <a:lnTo>
                    <a:pt x="1228236" y="309385"/>
                  </a:lnTo>
                  <a:lnTo>
                    <a:pt x="1229011" y="308610"/>
                  </a:lnTo>
                  <a:lnTo>
                    <a:pt x="1231079" y="306025"/>
                  </a:lnTo>
                  <a:lnTo>
                    <a:pt x="1231596" y="304991"/>
                  </a:lnTo>
                  <a:lnTo>
                    <a:pt x="1231854" y="303828"/>
                  </a:lnTo>
                  <a:lnTo>
                    <a:pt x="1231983" y="302665"/>
                  </a:lnTo>
                  <a:lnTo>
                    <a:pt x="1230303" y="293102"/>
                  </a:lnTo>
                  <a:lnTo>
                    <a:pt x="1229528" y="291680"/>
                  </a:lnTo>
                  <a:lnTo>
                    <a:pt x="1229140" y="291163"/>
                  </a:lnTo>
                  <a:lnTo>
                    <a:pt x="1228623" y="290646"/>
                  </a:lnTo>
                  <a:lnTo>
                    <a:pt x="1226297" y="289095"/>
                  </a:lnTo>
                  <a:lnTo>
                    <a:pt x="1225392" y="288449"/>
                  </a:lnTo>
                  <a:lnTo>
                    <a:pt x="1224746" y="287545"/>
                  </a:lnTo>
                  <a:lnTo>
                    <a:pt x="1224359" y="286381"/>
                  </a:lnTo>
                  <a:lnTo>
                    <a:pt x="1224229" y="284701"/>
                  </a:lnTo>
                  <a:lnTo>
                    <a:pt x="1225005" y="279532"/>
                  </a:lnTo>
                  <a:lnTo>
                    <a:pt x="1224875" y="276818"/>
                  </a:lnTo>
                  <a:lnTo>
                    <a:pt x="1224617" y="274104"/>
                  </a:lnTo>
                  <a:lnTo>
                    <a:pt x="1224229" y="272553"/>
                  </a:lnTo>
                  <a:lnTo>
                    <a:pt x="1223583" y="270744"/>
                  </a:lnTo>
                  <a:lnTo>
                    <a:pt x="1220998" y="266480"/>
                  </a:lnTo>
                  <a:lnTo>
                    <a:pt x="1219965" y="265187"/>
                  </a:lnTo>
                  <a:lnTo>
                    <a:pt x="1218931" y="264541"/>
                  </a:lnTo>
                  <a:lnTo>
                    <a:pt x="1215571" y="263249"/>
                  </a:lnTo>
                  <a:lnTo>
                    <a:pt x="1214408" y="262473"/>
                  </a:lnTo>
                  <a:lnTo>
                    <a:pt x="1213374" y="261569"/>
                  </a:lnTo>
                  <a:lnTo>
                    <a:pt x="1212340" y="260018"/>
                  </a:lnTo>
                  <a:lnTo>
                    <a:pt x="1211435" y="257950"/>
                  </a:lnTo>
                  <a:lnTo>
                    <a:pt x="1209755" y="250971"/>
                  </a:lnTo>
                  <a:lnTo>
                    <a:pt x="1208980" y="249291"/>
                  </a:lnTo>
                  <a:lnTo>
                    <a:pt x="1207300" y="246965"/>
                  </a:lnTo>
                  <a:lnTo>
                    <a:pt x="1206007" y="245285"/>
                  </a:lnTo>
                  <a:lnTo>
                    <a:pt x="1203552" y="242959"/>
                  </a:lnTo>
                  <a:lnTo>
                    <a:pt x="1202518" y="241408"/>
                  </a:lnTo>
                  <a:lnTo>
                    <a:pt x="1201743" y="238953"/>
                  </a:lnTo>
                  <a:lnTo>
                    <a:pt x="1201872" y="237144"/>
                  </a:lnTo>
                  <a:lnTo>
                    <a:pt x="1202518" y="235980"/>
                  </a:lnTo>
                  <a:lnTo>
                    <a:pt x="1203552" y="235463"/>
                  </a:lnTo>
                  <a:lnTo>
                    <a:pt x="1204586" y="235076"/>
                  </a:lnTo>
                  <a:lnTo>
                    <a:pt x="1205490" y="234300"/>
                  </a:lnTo>
                  <a:lnTo>
                    <a:pt x="1206137" y="233266"/>
                  </a:lnTo>
                  <a:lnTo>
                    <a:pt x="1208204" y="227709"/>
                  </a:lnTo>
                  <a:lnTo>
                    <a:pt x="1208075" y="226417"/>
                  </a:lnTo>
                  <a:lnTo>
                    <a:pt x="1207558" y="224996"/>
                  </a:lnTo>
                  <a:lnTo>
                    <a:pt x="1205103" y="221765"/>
                  </a:lnTo>
                  <a:lnTo>
                    <a:pt x="1204198" y="220472"/>
                  </a:lnTo>
                  <a:lnTo>
                    <a:pt x="1203810" y="219180"/>
                  </a:lnTo>
                  <a:lnTo>
                    <a:pt x="1203681" y="211555"/>
                  </a:lnTo>
                  <a:lnTo>
                    <a:pt x="1203940" y="210392"/>
                  </a:lnTo>
                  <a:lnTo>
                    <a:pt x="1204586" y="209229"/>
                  </a:lnTo>
                  <a:lnTo>
                    <a:pt x="1207300" y="204577"/>
                  </a:lnTo>
                  <a:lnTo>
                    <a:pt x="1207817" y="203543"/>
                  </a:lnTo>
                  <a:lnTo>
                    <a:pt x="1207946" y="202380"/>
                  </a:lnTo>
                  <a:lnTo>
                    <a:pt x="1207946" y="201087"/>
                  </a:lnTo>
                  <a:lnTo>
                    <a:pt x="1206783" y="195530"/>
                  </a:lnTo>
                  <a:lnTo>
                    <a:pt x="1206912" y="194367"/>
                  </a:lnTo>
                  <a:lnTo>
                    <a:pt x="1207170" y="193333"/>
                  </a:lnTo>
                  <a:lnTo>
                    <a:pt x="1207687" y="192299"/>
                  </a:lnTo>
                  <a:lnTo>
                    <a:pt x="1208592" y="191266"/>
                  </a:lnTo>
                  <a:lnTo>
                    <a:pt x="1210531" y="189715"/>
                  </a:lnTo>
                  <a:lnTo>
                    <a:pt x="1211047" y="189069"/>
                  </a:lnTo>
                  <a:lnTo>
                    <a:pt x="1211564" y="188164"/>
                  </a:lnTo>
                  <a:lnTo>
                    <a:pt x="1212340" y="185967"/>
                  </a:lnTo>
                  <a:lnTo>
                    <a:pt x="1212857" y="183512"/>
                  </a:lnTo>
                  <a:lnTo>
                    <a:pt x="1212986" y="182607"/>
                  </a:lnTo>
                  <a:lnTo>
                    <a:pt x="1212469" y="180410"/>
                  </a:lnTo>
                  <a:lnTo>
                    <a:pt x="1206783" y="165807"/>
                  </a:lnTo>
                  <a:lnTo>
                    <a:pt x="1206266" y="163351"/>
                  </a:lnTo>
                  <a:lnTo>
                    <a:pt x="1206137" y="162188"/>
                  </a:lnTo>
                  <a:lnTo>
                    <a:pt x="1206395" y="161025"/>
                  </a:lnTo>
                  <a:lnTo>
                    <a:pt x="1207041" y="159991"/>
                  </a:lnTo>
                  <a:lnTo>
                    <a:pt x="1208075" y="159086"/>
                  </a:lnTo>
                  <a:lnTo>
                    <a:pt x="1209109" y="158440"/>
                  </a:lnTo>
                  <a:lnTo>
                    <a:pt x="1210918" y="157536"/>
                  </a:lnTo>
                  <a:lnTo>
                    <a:pt x="1212598" y="156373"/>
                  </a:lnTo>
                  <a:lnTo>
                    <a:pt x="1214924" y="154434"/>
                  </a:lnTo>
                  <a:lnTo>
                    <a:pt x="1216734" y="152237"/>
                  </a:lnTo>
                  <a:lnTo>
                    <a:pt x="1216475" y="150169"/>
                  </a:lnTo>
                  <a:lnTo>
                    <a:pt x="1215441" y="147197"/>
                  </a:lnTo>
                  <a:lnTo>
                    <a:pt x="1210660" y="137892"/>
                  </a:lnTo>
                  <a:lnTo>
                    <a:pt x="1209884" y="135566"/>
                  </a:lnTo>
                  <a:lnTo>
                    <a:pt x="1209367" y="125227"/>
                  </a:lnTo>
                  <a:lnTo>
                    <a:pt x="1208721" y="122901"/>
                  </a:lnTo>
                  <a:lnTo>
                    <a:pt x="1205749" y="117344"/>
                  </a:lnTo>
                  <a:lnTo>
                    <a:pt x="1205232" y="116181"/>
                  </a:lnTo>
                  <a:lnTo>
                    <a:pt x="1204973" y="115147"/>
                  </a:lnTo>
                  <a:lnTo>
                    <a:pt x="1204844" y="111658"/>
                  </a:lnTo>
                  <a:lnTo>
                    <a:pt x="1198641" y="93048"/>
                  </a:lnTo>
                  <a:lnTo>
                    <a:pt x="1198512" y="91627"/>
                  </a:lnTo>
                  <a:lnTo>
                    <a:pt x="1198770" y="90334"/>
                  </a:lnTo>
                  <a:lnTo>
                    <a:pt x="1198641" y="88913"/>
                  </a:lnTo>
                  <a:lnTo>
                    <a:pt x="1197736" y="87233"/>
                  </a:lnTo>
                  <a:lnTo>
                    <a:pt x="1195152" y="84648"/>
                  </a:lnTo>
                  <a:lnTo>
                    <a:pt x="1193601" y="83485"/>
                  </a:lnTo>
                  <a:lnTo>
                    <a:pt x="1192050" y="82451"/>
                  </a:lnTo>
                  <a:lnTo>
                    <a:pt x="1191016" y="81934"/>
                  </a:lnTo>
                  <a:lnTo>
                    <a:pt x="1189982" y="81288"/>
                  </a:lnTo>
                  <a:lnTo>
                    <a:pt x="1188690" y="80125"/>
                  </a:lnTo>
                  <a:lnTo>
                    <a:pt x="1187398" y="78703"/>
                  </a:lnTo>
                  <a:lnTo>
                    <a:pt x="1185718" y="76377"/>
                  </a:lnTo>
                  <a:lnTo>
                    <a:pt x="1183779" y="72629"/>
                  </a:lnTo>
                  <a:lnTo>
                    <a:pt x="1180290" y="67331"/>
                  </a:lnTo>
                  <a:lnTo>
                    <a:pt x="1180031" y="65780"/>
                  </a:lnTo>
                  <a:lnTo>
                    <a:pt x="1180548" y="64488"/>
                  </a:lnTo>
                  <a:lnTo>
                    <a:pt x="1182358" y="62678"/>
                  </a:lnTo>
                  <a:lnTo>
                    <a:pt x="1182875" y="61515"/>
                  </a:lnTo>
                  <a:lnTo>
                    <a:pt x="1183908" y="57767"/>
                  </a:lnTo>
                  <a:lnTo>
                    <a:pt x="1184555" y="56863"/>
                  </a:lnTo>
                  <a:lnTo>
                    <a:pt x="1187398" y="55053"/>
                  </a:lnTo>
                  <a:lnTo>
                    <a:pt x="1188044" y="54149"/>
                  </a:lnTo>
                  <a:lnTo>
                    <a:pt x="1188173" y="53115"/>
                  </a:lnTo>
                  <a:lnTo>
                    <a:pt x="1187398" y="49626"/>
                  </a:lnTo>
                  <a:lnTo>
                    <a:pt x="1186105" y="45102"/>
                  </a:lnTo>
                  <a:lnTo>
                    <a:pt x="1185976" y="44069"/>
                  </a:lnTo>
                  <a:lnTo>
                    <a:pt x="1186105" y="42906"/>
                  </a:lnTo>
                  <a:lnTo>
                    <a:pt x="1186493" y="41613"/>
                  </a:lnTo>
                  <a:lnTo>
                    <a:pt x="1187268" y="40450"/>
                  </a:lnTo>
                  <a:lnTo>
                    <a:pt x="1189853" y="36832"/>
                  </a:lnTo>
                  <a:lnTo>
                    <a:pt x="1190370" y="35668"/>
                  </a:lnTo>
                  <a:lnTo>
                    <a:pt x="1190499" y="34505"/>
                  </a:lnTo>
                  <a:lnTo>
                    <a:pt x="1190241" y="33213"/>
                  </a:lnTo>
                  <a:lnTo>
                    <a:pt x="1189724" y="31921"/>
                  </a:lnTo>
                  <a:lnTo>
                    <a:pt x="1188819" y="30758"/>
                  </a:lnTo>
                  <a:lnTo>
                    <a:pt x="1187656" y="29853"/>
                  </a:lnTo>
                  <a:lnTo>
                    <a:pt x="1186364" y="29207"/>
                  </a:lnTo>
                  <a:lnTo>
                    <a:pt x="1182875" y="28044"/>
                  </a:lnTo>
                  <a:lnTo>
                    <a:pt x="1176542" y="24296"/>
                  </a:lnTo>
                  <a:lnTo>
                    <a:pt x="1173699" y="23133"/>
                  </a:lnTo>
                  <a:lnTo>
                    <a:pt x="1172277" y="23004"/>
                  </a:lnTo>
                  <a:lnTo>
                    <a:pt x="1168530" y="23133"/>
                  </a:lnTo>
                  <a:lnTo>
                    <a:pt x="1167108" y="23004"/>
                  </a:lnTo>
                  <a:lnTo>
                    <a:pt x="1165040" y="22487"/>
                  </a:lnTo>
                  <a:lnTo>
                    <a:pt x="1163619" y="22357"/>
                  </a:lnTo>
                  <a:lnTo>
                    <a:pt x="1162326" y="22487"/>
                  </a:lnTo>
                  <a:lnTo>
                    <a:pt x="1160129" y="23004"/>
                  </a:lnTo>
                  <a:lnTo>
                    <a:pt x="1158708" y="23133"/>
                  </a:lnTo>
                  <a:lnTo>
                    <a:pt x="1157028" y="22874"/>
                  </a:lnTo>
                  <a:lnTo>
                    <a:pt x="1154185" y="21711"/>
                  </a:lnTo>
                  <a:lnTo>
                    <a:pt x="1152117" y="20677"/>
                  </a:lnTo>
                  <a:lnTo>
                    <a:pt x="1149791" y="18868"/>
                  </a:lnTo>
                  <a:lnTo>
                    <a:pt x="1146172" y="14733"/>
                  </a:lnTo>
                  <a:lnTo>
                    <a:pt x="1144363" y="12923"/>
                  </a:lnTo>
                  <a:lnTo>
                    <a:pt x="1143588" y="11502"/>
                  </a:lnTo>
                  <a:lnTo>
                    <a:pt x="1143458" y="10209"/>
                  </a:lnTo>
                  <a:lnTo>
                    <a:pt x="1143458" y="8012"/>
                  </a:lnTo>
                  <a:lnTo>
                    <a:pt x="1142812" y="6979"/>
                  </a:lnTo>
                  <a:lnTo>
                    <a:pt x="1141520" y="6203"/>
                  </a:lnTo>
                  <a:lnTo>
                    <a:pt x="1139064" y="6074"/>
                  </a:lnTo>
                  <a:lnTo>
                    <a:pt x="1137384" y="6203"/>
                  </a:lnTo>
                  <a:lnTo>
                    <a:pt x="1136092" y="6591"/>
                  </a:lnTo>
                  <a:lnTo>
                    <a:pt x="1132732" y="7883"/>
                  </a:lnTo>
                  <a:lnTo>
                    <a:pt x="1131569" y="8271"/>
                  </a:lnTo>
                  <a:lnTo>
                    <a:pt x="1130406" y="8400"/>
                  </a:lnTo>
                  <a:lnTo>
                    <a:pt x="1129113" y="8529"/>
                  </a:lnTo>
                  <a:lnTo>
                    <a:pt x="1126529" y="8142"/>
                  </a:lnTo>
                  <a:lnTo>
                    <a:pt x="1124849" y="7625"/>
                  </a:lnTo>
                  <a:lnTo>
                    <a:pt x="1121747" y="5815"/>
                  </a:lnTo>
                  <a:lnTo>
                    <a:pt x="1116836" y="775"/>
                  </a:lnTo>
                  <a:lnTo>
                    <a:pt x="1116061" y="0"/>
                  </a:lnTo>
                  <a:lnTo>
                    <a:pt x="1114510" y="3360"/>
                  </a:lnTo>
                  <a:lnTo>
                    <a:pt x="1114122" y="5040"/>
                  </a:lnTo>
                  <a:lnTo>
                    <a:pt x="1114381" y="6979"/>
                  </a:lnTo>
                  <a:lnTo>
                    <a:pt x="1113347" y="9176"/>
                  </a:lnTo>
                  <a:lnTo>
                    <a:pt x="1109987" y="10597"/>
                  </a:lnTo>
                  <a:lnTo>
                    <a:pt x="1102750" y="11889"/>
                  </a:lnTo>
                  <a:lnTo>
                    <a:pt x="1101716" y="11889"/>
                  </a:lnTo>
                  <a:lnTo>
                    <a:pt x="1098614" y="11502"/>
                  </a:lnTo>
                  <a:lnTo>
                    <a:pt x="1097322" y="11631"/>
                  </a:lnTo>
                  <a:lnTo>
                    <a:pt x="1091377" y="14345"/>
                  </a:lnTo>
                  <a:lnTo>
                    <a:pt x="1075740" y="26622"/>
                  </a:lnTo>
                  <a:lnTo>
                    <a:pt x="1073543" y="27785"/>
                  </a:lnTo>
                  <a:lnTo>
                    <a:pt x="1071604" y="28044"/>
                  </a:lnTo>
                  <a:lnTo>
                    <a:pt x="1058810" y="27914"/>
                  </a:lnTo>
                  <a:lnTo>
                    <a:pt x="1054804" y="28302"/>
                  </a:lnTo>
                  <a:lnTo>
                    <a:pt x="1050927" y="29594"/>
                  </a:lnTo>
                  <a:lnTo>
                    <a:pt x="1046404" y="32825"/>
                  </a:lnTo>
                  <a:lnTo>
                    <a:pt x="1044595" y="36444"/>
                  </a:lnTo>
                  <a:lnTo>
                    <a:pt x="1043948" y="45619"/>
                  </a:lnTo>
                  <a:lnTo>
                    <a:pt x="1042268" y="52210"/>
                  </a:lnTo>
                  <a:lnTo>
                    <a:pt x="1042656" y="58672"/>
                  </a:lnTo>
                  <a:lnTo>
                    <a:pt x="1042268" y="60740"/>
                  </a:lnTo>
                  <a:lnTo>
                    <a:pt x="1041752" y="62678"/>
                  </a:lnTo>
                  <a:lnTo>
                    <a:pt x="1040459" y="65263"/>
                  </a:lnTo>
                  <a:lnTo>
                    <a:pt x="1038650" y="67848"/>
                  </a:lnTo>
                  <a:lnTo>
                    <a:pt x="1036453" y="70045"/>
                  </a:lnTo>
                  <a:lnTo>
                    <a:pt x="1031413" y="72888"/>
                  </a:lnTo>
                  <a:lnTo>
                    <a:pt x="1025468" y="78574"/>
                  </a:lnTo>
                  <a:lnTo>
                    <a:pt x="1018102" y="84002"/>
                  </a:lnTo>
                  <a:lnTo>
                    <a:pt x="1015905" y="86328"/>
                  </a:lnTo>
                  <a:lnTo>
                    <a:pt x="1013966" y="90593"/>
                  </a:lnTo>
                  <a:lnTo>
                    <a:pt x="1012545" y="92531"/>
                  </a:lnTo>
                  <a:lnTo>
                    <a:pt x="1010735" y="93307"/>
                  </a:lnTo>
                  <a:lnTo>
                    <a:pt x="1008668" y="92273"/>
                  </a:lnTo>
                  <a:lnTo>
                    <a:pt x="1008151" y="89817"/>
                  </a:lnTo>
                  <a:lnTo>
                    <a:pt x="1008539" y="87103"/>
                  </a:lnTo>
                  <a:lnTo>
                    <a:pt x="1009185" y="85036"/>
                  </a:lnTo>
                  <a:lnTo>
                    <a:pt x="1011382" y="80771"/>
                  </a:lnTo>
                  <a:lnTo>
                    <a:pt x="1011382" y="78574"/>
                  </a:lnTo>
                  <a:lnTo>
                    <a:pt x="1009055" y="77282"/>
                  </a:lnTo>
                  <a:lnTo>
                    <a:pt x="1006600" y="77540"/>
                  </a:lnTo>
                  <a:lnTo>
                    <a:pt x="1004015" y="78962"/>
                  </a:lnTo>
                  <a:lnTo>
                    <a:pt x="999492" y="82192"/>
                  </a:lnTo>
                  <a:lnTo>
                    <a:pt x="993806" y="85165"/>
                  </a:lnTo>
                  <a:lnTo>
                    <a:pt x="991350" y="86845"/>
                  </a:lnTo>
                  <a:lnTo>
                    <a:pt x="989283" y="89430"/>
                  </a:lnTo>
                  <a:lnTo>
                    <a:pt x="987086" y="94211"/>
                  </a:lnTo>
                  <a:lnTo>
                    <a:pt x="985664" y="96279"/>
                  </a:lnTo>
                  <a:lnTo>
                    <a:pt x="972095" y="105196"/>
                  </a:lnTo>
                  <a:lnTo>
                    <a:pt x="970027" y="105584"/>
                  </a:lnTo>
                  <a:lnTo>
                    <a:pt x="967830" y="105196"/>
                  </a:lnTo>
                  <a:lnTo>
                    <a:pt x="962402" y="102741"/>
                  </a:lnTo>
                  <a:lnTo>
                    <a:pt x="960593" y="102741"/>
                  </a:lnTo>
                  <a:lnTo>
                    <a:pt x="958784" y="104033"/>
                  </a:lnTo>
                  <a:lnTo>
                    <a:pt x="956457" y="106488"/>
                  </a:lnTo>
                  <a:lnTo>
                    <a:pt x="954260" y="108168"/>
                  </a:lnTo>
                  <a:lnTo>
                    <a:pt x="952451" y="108685"/>
                  </a:lnTo>
                  <a:lnTo>
                    <a:pt x="950513" y="108815"/>
                  </a:lnTo>
                  <a:lnTo>
                    <a:pt x="948057" y="109461"/>
                  </a:lnTo>
                  <a:lnTo>
                    <a:pt x="946894" y="110107"/>
                  </a:lnTo>
                  <a:lnTo>
                    <a:pt x="943405" y="113209"/>
                  </a:lnTo>
                  <a:lnTo>
                    <a:pt x="943017" y="113467"/>
                  </a:lnTo>
                  <a:lnTo>
                    <a:pt x="941983" y="113855"/>
                  </a:lnTo>
                  <a:lnTo>
                    <a:pt x="941466" y="114113"/>
                  </a:lnTo>
                  <a:lnTo>
                    <a:pt x="941208" y="114759"/>
                  </a:lnTo>
                  <a:lnTo>
                    <a:pt x="941079" y="116181"/>
                  </a:lnTo>
                  <a:lnTo>
                    <a:pt x="940949" y="116569"/>
                  </a:lnTo>
                  <a:lnTo>
                    <a:pt x="936943" y="117473"/>
                  </a:lnTo>
                  <a:lnTo>
                    <a:pt x="932549" y="117086"/>
                  </a:lnTo>
                  <a:lnTo>
                    <a:pt x="928672" y="117990"/>
                  </a:lnTo>
                  <a:lnTo>
                    <a:pt x="926217" y="123030"/>
                  </a:lnTo>
                  <a:lnTo>
                    <a:pt x="925312" y="131818"/>
                  </a:lnTo>
                  <a:lnTo>
                    <a:pt x="924149" y="136212"/>
                  </a:lnTo>
                  <a:lnTo>
                    <a:pt x="921564" y="139572"/>
                  </a:lnTo>
                  <a:lnTo>
                    <a:pt x="919497" y="140606"/>
                  </a:lnTo>
                  <a:lnTo>
                    <a:pt x="917300" y="140735"/>
                  </a:lnTo>
                  <a:lnTo>
                    <a:pt x="912906" y="140089"/>
                  </a:lnTo>
                  <a:lnTo>
                    <a:pt x="910063" y="140089"/>
                  </a:lnTo>
                  <a:lnTo>
                    <a:pt x="908253" y="140994"/>
                  </a:lnTo>
                  <a:lnTo>
                    <a:pt x="901662" y="149006"/>
                  </a:lnTo>
                  <a:lnTo>
                    <a:pt x="900499" y="150945"/>
                  </a:lnTo>
                  <a:lnTo>
                    <a:pt x="899465" y="153659"/>
                  </a:lnTo>
                  <a:lnTo>
                    <a:pt x="899336" y="154434"/>
                  </a:lnTo>
                  <a:lnTo>
                    <a:pt x="899465" y="157536"/>
                  </a:lnTo>
                  <a:lnTo>
                    <a:pt x="899078" y="158957"/>
                  </a:lnTo>
                  <a:lnTo>
                    <a:pt x="897010" y="161154"/>
                  </a:lnTo>
                  <a:lnTo>
                    <a:pt x="895071" y="164385"/>
                  </a:lnTo>
                  <a:lnTo>
                    <a:pt x="892745" y="166324"/>
                  </a:lnTo>
                  <a:lnTo>
                    <a:pt x="890031" y="167745"/>
                  </a:lnTo>
                  <a:lnTo>
                    <a:pt x="887705" y="168650"/>
                  </a:lnTo>
                  <a:lnTo>
                    <a:pt x="885250" y="168779"/>
                  </a:lnTo>
                  <a:lnTo>
                    <a:pt x="883311" y="168133"/>
                  </a:lnTo>
                  <a:lnTo>
                    <a:pt x="881890" y="166582"/>
                  </a:lnTo>
                  <a:lnTo>
                    <a:pt x="880727" y="164256"/>
                  </a:lnTo>
                  <a:lnTo>
                    <a:pt x="880468" y="159216"/>
                  </a:lnTo>
                  <a:lnTo>
                    <a:pt x="883053" y="155080"/>
                  </a:lnTo>
                  <a:lnTo>
                    <a:pt x="886284" y="151074"/>
                  </a:lnTo>
                  <a:lnTo>
                    <a:pt x="887964" y="146034"/>
                  </a:lnTo>
                  <a:lnTo>
                    <a:pt x="887834" y="143578"/>
                  </a:lnTo>
                  <a:lnTo>
                    <a:pt x="887188" y="141252"/>
                  </a:lnTo>
                  <a:lnTo>
                    <a:pt x="886025" y="139055"/>
                  </a:lnTo>
                  <a:lnTo>
                    <a:pt x="883440" y="135954"/>
                  </a:lnTo>
                  <a:lnTo>
                    <a:pt x="882277" y="134791"/>
                  </a:lnTo>
                  <a:lnTo>
                    <a:pt x="880985" y="133886"/>
                  </a:lnTo>
                  <a:lnTo>
                    <a:pt x="879563" y="133240"/>
                  </a:lnTo>
                  <a:lnTo>
                    <a:pt x="878271" y="133110"/>
                  </a:lnTo>
                  <a:lnTo>
                    <a:pt x="876074" y="133369"/>
                  </a:lnTo>
                  <a:lnTo>
                    <a:pt x="868320" y="133110"/>
                  </a:lnTo>
                  <a:lnTo>
                    <a:pt x="866123" y="133369"/>
                  </a:lnTo>
                  <a:lnTo>
                    <a:pt x="863538" y="134274"/>
                  </a:lnTo>
                  <a:lnTo>
                    <a:pt x="859274" y="136858"/>
                  </a:lnTo>
                  <a:lnTo>
                    <a:pt x="849969" y="141123"/>
                  </a:lnTo>
                  <a:lnTo>
                    <a:pt x="847901" y="142545"/>
                  </a:lnTo>
                  <a:lnTo>
                    <a:pt x="845446" y="144871"/>
                  </a:lnTo>
                  <a:lnTo>
                    <a:pt x="841310" y="149782"/>
                  </a:lnTo>
                  <a:lnTo>
                    <a:pt x="839113" y="151979"/>
                  </a:lnTo>
                  <a:lnTo>
                    <a:pt x="836916" y="153271"/>
                  </a:lnTo>
                  <a:lnTo>
                    <a:pt x="834849" y="153917"/>
                  </a:lnTo>
                  <a:lnTo>
                    <a:pt x="830196" y="154176"/>
                  </a:lnTo>
                  <a:lnTo>
                    <a:pt x="827870" y="155209"/>
                  </a:lnTo>
                  <a:lnTo>
                    <a:pt x="824381" y="158957"/>
                  </a:lnTo>
                  <a:lnTo>
                    <a:pt x="821925" y="160120"/>
                  </a:lnTo>
                  <a:lnTo>
                    <a:pt x="819599" y="159862"/>
                  </a:lnTo>
                  <a:lnTo>
                    <a:pt x="817790" y="158828"/>
                  </a:lnTo>
                  <a:lnTo>
                    <a:pt x="816110" y="157536"/>
                  </a:lnTo>
                  <a:lnTo>
                    <a:pt x="813913" y="156631"/>
                  </a:lnTo>
                  <a:lnTo>
                    <a:pt x="811845" y="156760"/>
                  </a:lnTo>
                  <a:lnTo>
                    <a:pt x="805771" y="158570"/>
                  </a:lnTo>
                  <a:lnTo>
                    <a:pt x="799180" y="157148"/>
                  </a:lnTo>
                  <a:lnTo>
                    <a:pt x="792718" y="152496"/>
                  </a:lnTo>
                  <a:lnTo>
                    <a:pt x="788195" y="148489"/>
                  </a:lnTo>
                  <a:lnTo>
                    <a:pt x="786257" y="146680"/>
                  </a:lnTo>
                  <a:lnTo>
                    <a:pt x="781087" y="142157"/>
                  </a:lnTo>
                  <a:lnTo>
                    <a:pt x="773721" y="135566"/>
                  </a:lnTo>
                  <a:lnTo>
                    <a:pt x="765450" y="128200"/>
                  </a:lnTo>
                  <a:lnTo>
                    <a:pt x="757050" y="120704"/>
                  </a:lnTo>
                  <a:lnTo>
                    <a:pt x="749684" y="114242"/>
                  </a:lnTo>
                  <a:lnTo>
                    <a:pt x="744644" y="109590"/>
                  </a:lnTo>
                  <a:lnTo>
                    <a:pt x="742576" y="107781"/>
                  </a:lnTo>
                  <a:lnTo>
                    <a:pt x="738570" y="108685"/>
                  </a:lnTo>
                  <a:lnTo>
                    <a:pt x="731591" y="110624"/>
                  </a:lnTo>
                  <a:lnTo>
                    <a:pt x="722286" y="113079"/>
                  </a:lnTo>
                  <a:lnTo>
                    <a:pt x="720089" y="112821"/>
                  </a:lnTo>
                  <a:lnTo>
                    <a:pt x="719185" y="110107"/>
                  </a:lnTo>
                  <a:lnTo>
                    <a:pt x="718797" y="104550"/>
                  </a:lnTo>
                  <a:lnTo>
                    <a:pt x="721382" y="73922"/>
                  </a:lnTo>
                  <a:lnTo>
                    <a:pt x="720348" y="67201"/>
                  </a:lnTo>
                  <a:lnTo>
                    <a:pt x="716729" y="55958"/>
                  </a:lnTo>
                  <a:lnTo>
                    <a:pt x="712594" y="47687"/>
                  </a:lnTo>
                  <a:lnTo>
                    <a:pt x="700963" y="32308"/>
                  </a:lnTo>
                  <a:lnTo>
                    <a:pt x="698378" y="27785"/>
                  </a:lnTo>
                  <a:lnTo>
                    <a:pt x="694889" y="19514"/>
                  </a:lnTo>
                  <a:lnTo>
                    <a:pt x="692821" y="15508"/>
                  </a:lnTo>
                  <a:lnTo>
                    <a:pt x="690107" y="12923"/>
                  </a:lnTo>
                  <a:lnTo>
                    <a:pt x="688427" y="12019"/>
                  </a:lnTo>
                  <a:lnTo>
                    <a:pt x="683775" y="10468"/>
                  </a:lnTo>
                  <a:lnTo>
                    <a:pt x="682224" y="10339"/>
                  </a:lnTo>
                  <a:lnTo>
                    <a:pt x="681190" y="10856"/>
                  </a:lnTo>
                  <a:lnTo>
                    <a:pt x="679381" y="12794"/>
                  </a:lnTo>
                  <a:lnTo>
                    <a:pt x="678347" y="13182"/>
                  </a:lnTo>
                  <a:lnTo>
                    <a:pt x="674599" y="13699"/>
                  </a:lnTo>
                  <a:lnTo>
                    <a:pt x="672790" y="14862"/>
                  </a:lnTo>
                  <a:lnTo>
                    <a:pt x="669947" y="17317"/>
                  </a:lnTo>
                  <a:lnTo>
                    <a:pt x="665811" y="19256"/>
                  </a:lnTo>
                  <a:lnTo>
                    <a:pt x="657540" y="27914"/>
                  </a:lnTo>
                  <a:lnTo>
                    <a:pt x="644617" y="45102"/>
                  </a:lnTo>
                  <a:lnTo>
                    <a:pt x="641386" y="48075"/>
                  </a:lnTo>
                  <a:lnTo>
                    <a:pt x="637121" y="50530"/>
                  </a:lnTo>
                  <a:lnTo>
                    <a:pt x="633632" y="51693"/>
                  </a:lnTo>
                  <a:lnTo>
                    <a:pt x="629755" y="52598"/>
                  </a:lnTo>
                  <a:lnTo>
                    <a:pt x="626007" y="52727"/>
                  </a:lnTo>
                  <a:lnTo>
                    <a:pt x="622389" y="51693"/>
                  </a:lnTo>
                  <a:lnTo>
                    <a:pt x="618770" y="48850"/>
                  </a:lnTo>
                  <a:lnTo>
                    <a:pt x="615927" y="44715"/>
                  </a:lnTo>
                  <a:lnTo>
                    <a:pt x="613730" y="40062"/>
                  </a:lnTo>
                  <a:lnTo>
                    <a:pt x="611404" y="33213"/>
                  </a:lnTo>
                  <a:lnTo>
                    <a:pt x="610370" y="31275"/>
                  </a:lnTo>
                  <a:lnTo>
                    <a:pt x="608690" y="29853"/>
                  </a:lnTo>
                  <a:lnTo>
                    <a:pt x="606235" y="28819"/>
                  </a:lnTo>
                  <a:lnTo>
                    <a:pt x="604038" y="28302"/>
                  </a:lnTo>
                  <a:lnTo>
                    <a:pt x="603262" y="28044"/>
                  </a:lnTo>
                  <a:lnTo>
                    <a:pt x="602357" y="27139"/>
                  </a:lnTo>
                  <a:lnTo>
                    <a:pt x="602099" y="26364"/>
                  </a:lnTo>
                  <a:lnTo>
                    <a:pt x="602099" y="24296"/>
                  </a:lnTo>
                  <a:lnTo>
                    <a:pt x="601582" y="23520"/>
                  </a:lnTo>
                  <a:lnTo>
                    <a:pt x="600677" y="24296"/>
                  </a:lnTo>
                  <a:lnTo>
                    <a:pt x="594345" y="40192"/>
                  </a:lnTo>
                  <a:lnTo>
                    <a:pt x="592148" y="43293"/>
                  </a:lnTo>
                  <a:lnTo>
                    <a:pt x="592923" y="43681"/>
                  </a:lnTo>
                  <a:lnTo>
                    <a:pt x="595637" y="44069"/>
                  </a:lnTo>
                  <a:lnTo>
                    <a:pt x="596671" y="45361"/>
                  </a:lnTo>
                  <a:lnTo>
                    <a:pt x="596413" y="47687"/>
                  </a:lnTo>
                  <a:lnTo>
                    <a:pt x="596671" y="49626"/>
                  </a:lnTo>
                  <a:lnTo>
                    <a:pt x="600677" y="49755"/>
                  </a:lnTo>
                  <a:lnTo>
                    <a:pt x="601453" y="50272"/>
                  </a:lnTo>
                  <a:lnTo>
                    <a:pt x="601841" y="51176"/>
                  </a:lnTo>
                  <a:lnTo>
                    <a:pt x="601711" y="52469"/>
                  </a:lnTo>
                  <a:lnTo>
                    <a:pt x="601970" y="53244"/>
                  </a:lnTo>
                  <a:lnTo>
                    <a:pt x="602874" y="53890"/>
                  </a:lnTo>
                  <a:lnTo>
                    <a:pt x="604684" y="54795"/>
                  </a:lnTo>
                  <a:lnTo>
                    <a:pt x="596671" y="54795"/>
                  </a:lnTo>
                  <a:lnTo>
                    <a:pt x="591502" y="54795"/>
                  </a:lnTo>
                  <a:lnTo>
                    <a:pt x="578062" y="54795"/>
                  </a:lnTo>
                  <a:lnTo>
                    <a:pt x="558935" y="54795"/>
                  </a:lnTo>
                  <a:lnTo>
                    <a:pt x="537095" y="54795"/>
                  </a:lnTo>
                  <a:lnTo>
                    <a:pt x="515125" y="54924"/>
                  </a:lnTo>
                  <a:lnTo>
                    <a:pt x="496128" y="54924"/>
                  </a:lnTo>
                  <a:lnTo>
                    <a:pt x="482558" y="54924"/>
                  </a:lnTo>
                  <a:lnTo>
                    <a:pt x="477389" y="54924"/>
                  </a:lnTo>
                  <a:lnTo>
                    <a:pt x="472995" y="54407"/>
                  </a:lnTo>
                  <a:lnTo>
                    <a:pt x="464982" y="50918"/>
                  </a:lnTo>
                  <a:lnTo>
                    <a:pt x="457099" y="49367"/>
                  </a:lnTo>
                  <a:lnTo>
                    <a:pt x="453093" y="49626"/>
                  </a:lnTo>
                  <a:lnTo>
                    <a:pt x="445726" y="52856"/>
                  </a:lnTo>
                  <a:lnTo>
                    <a:pt x="441333" y="53244"/>
                  </a:lnTo>
                  <a:lnTo>
                    <a:pt x="439006" y="52986"/>
                  </a:lnTo>
                  <a:lnTo>
                    <a:pt x="437068" y="52856"/>
                  </a:lnTo>
                  <a:lnTo>
                    <a:pt x="435259" y="53244"/>
                  </a:lnTo>
                  <a:lnTo>
                    <a:pt x="430735" y="55700"/>
                  </a:lnTo>
                  <a:lnTo>
                    <a:pt x="428668" y="56217"/>
                  </a:lnTo>
                  <a:lnTo>
                    <a:pt x="425178" y="56217"/>
                  </a:lnTo>
                  <a:lnTo>
                    <a:pt x="423498" y="56217"/>
                  </a:lnTo>
                  <a:lnTo>
                    <a:pt x="424274" y="60352"/>
                  </a:lnTo>
                  <a:lnTo>
                    <a:pt x="424274" y="67718"/>
                  </a:lnTo>
                  <a:lnTo>
                    <a:pt x="424274" y="74955"/>
                  </a:lnTo>
                  <a:lnTo>
                    <a:pt x="424144" y="82322"/>
                  </a:lnTo>
                  <a:lnTo>
                    <a:pt x="424144" y="89559"/>
                  </a:lnTo>
                  <a:lnTo>
                    <a:pt x="424144" y="96925"/>
                  </a:lnTo>
                  <a:lnTo>
                    <a:pt x="424015" y="104162"/>
                  </a:lnTo>
                  <a:lnTo>
                    <a:pt x="424015" y="111529"/>
                  </a:lnTo>
                  <a:lnTo>
                    <a:pt x="424015" y="118766"/>
                  </a:lnTo>
                  <a:lnTo>
                    <a:pt x="423886" y="125227"/>
                  </a:lnTo>
                  <a:lnTo>
                    <a:pt x="426341" y="125356"/>
                  </a:lnTo>
                  <a:lnTo>
                    <a:pt x="430865" y="122513"/>
                  </a:lnTo>
                  <a:lnTo>
                    <a:pt x="433579" y="121867"/>
                  </a:lnTo>
                  <a:lnTo>
                    <a:pt x="434871" y="121867"/>
                  </a:lnTo>
                  <a:lnTo>
                    <a:pt x="436292" y="122126"/>
                  </a:lnTo>
                  <a:lnTo>
                    <a:pt x="437197" y="122643"/>
                  </a:lnTo>
                  <a:lnTo>
                    <a:pt x="437456" y="124969"/>
                  </a:lnTo>
                  <a:lnTo>
                    <a:pt x="438489" y="125227"/>
                  </a:lnTo>
                  <a:lnTo>
                    <a:pt x="448828" y="123806"/>
                  </a:lnTo>
                  <a:lnTo>
                    <a:pt x="451283" y="123806"/>
                  </a:lnTo>
                  <a:lnTo>
                    <a:pt x="455936" y="125486"/>
                  </a:lnTo>
                  <a:lnTo>
                    <a:pt x="457099" y="125615"/>
                  </a:lnTo>
                  <a:lnTo>
                    <a:pt x="460588" y="125486"/>
                  </a:lnTo>
                  <a:lnTo>
                    <a:pt x="463948" y="125098"/>
                  </a:lnTo>
                  <a:lnTo>
                    <a:pt x="464982" y="125227"/>
                  </a:lnTo>
                  <a:lnTo>
                    <a:pt x="465887" y="125615"/>
                  </a:lnTo>
                  <a:lnTo>
                    <a:pt x="466404" y="126132"/>
                  </a:lnTo>
                  <a:lnTo>
                    <a:pt x="466792" y="126520"/>
                  </a:lnTo>
                  <a:lnTo>
                    <a:pt x="467308" y="127037"/>
                  </a:lnTo>
                  <a:lnTo>
                    <a:pt x="469247" y="128200"/>
                  </a:lnTo>
                  <a:lnTo>
                    <a:pt x="470410" y="128458"/>
                  </a:lnTo>
                  <a:lnTo>
                    <a:pt x="475450" y="124840"/>
                  </a:lnTo>
                  <a:lnTo>
                    <a:pt x="477130" y="124323"/>
                  </a:lnTo>
                  <a:lnTo>
                    <a:pt x="478939" y="124710"/>
                  </a:lnTo>
                  <a:lnTo>
                    <a:pt x="484238" y="127424"/>
                  </a:lnTo>
                  <a:lnTo>
                    <a:pt x="485789" y="128458"/>
                  </a:lnTo>
                  <a:lnTo>
                    <a:pt x="487598" y="130784"/>
                  </a:lnTo>
                  <a:lnTo>
                    <a:pt x="489407" y="131947"/>
                  </a:lnTo>
                  <a:lnTo>
                    <a:pt x="490183" y="132723"/>
                  </a:lnTo>
                  <a:lnTo>
                    <a:pt x="490571" y="133757"/>
                  </a:lnTo>
                  <a:lnTo>
                    <a:pt x="490571" y="134920"/>
                  </a:lnTo>
                  <a:lnTo>
                    <a:pt x="490958" y="136083"/>
                  </a:lnTo>
                  <a:lnTo>
                    <a:pt x="493284" y="137504"/>
                  </a:lnTo>
                  <a:lnTo>
                    <a:pt x="492638" y="141381"/>
                  </a:lnTo>
                  <a:lnTo>
                    <a:pt x="494448" y="142932"/>
                  </a:lnTo>
                  <a:lnTo>
                    <a:pt x="496903" y="143966"/>
                  </a:lnTo>
                  <a:lnTo>
                    <a:pt x="498195" y="144612"/>
                  </a:lnTo>
                  <a:lnTo>
                    <a:pt x="498841" y="145517"/>
                  </a:lnTo>
                  <a:lnTo>
                    <a:pt x="498841" y="146939"/>
                  </a:lnTo>
                  <a:lnTo>
                    <a:pt x="498066" y="147455"/>
                  </a:lnTo>
                  <a:lnTo>
                    <a:pt x="497032" y="147714"/>
                  </a:lnTo>
                  <a:lnTo>
                    <a:pt x="496386" y="148102"/>
                  </a:lnTo>
                  <a:lnTo>
                    <a:pt x="496128" y="150299"/>
                  </a:lnTo>
                  <a:lnTo>
                    <a:pt x="497161" y="154951"/>
                  </a:lnTo>
                  <a:lnTo>
                    <a:pt x="497161" y="157406"/>
                  </a:lnTo>
                  <a:lnTo>
                    <a:pt x="496515" y="158570"/>
                  </a:lnTo>
                  <a:lnTo>
                    <a:pt x="495352" y="159345"/>
                  </a:lnTo>
                  <a:lnTo>
                    <a:pt x="494577" y="160379"/>
                  </a:lnTo>
                  <a:lnTo>
                    <a:pt x="494964" y="161800"/>
                  </a:lnTo>
                  <a:lnTo>
                    <a:pt x="495740" y="162576"/>
                  </a:lnTo>
                  <a:lnTo>
                    <a:pt x="498066" y="163739"/>
                  </a:lnTo>
                  <a:lnTo>
                    <a:pt x="498841" y="164385"/>
                  </a:lnTo>
                  <a:lnTo>
                    <a:pt x="500005" y="166840"/>
                  </a:lnTo>
                  <a:lnTo>
                    <a:pt x="500392" y="168650"/>
                  </a:lnTo>
                  <a:lnTo>
                    <a:pt x="499746" y="170071"/>
                  </a:lnTo>
                  <a:lnTo>
                    <a:pt x="497808" y="170717"/>
                  </a:lnTo>
                  <a:lnTo>
                    <a:pt x="496774" y="170588"/>
                  </a:lnTo>
                  <a:lnTo>
                    <a:pt x="494835" y="169813"/>
                  </a:lnTo>
                  <a:lnTo>
                    <a:pt x="493672" y="169813"/>
                  </a:lnTo>
                  <a:lnTo>
                    <a:pt x="492897" y="170330"/>
                  </a:lnTo>
                  <a:lnTo>
                    <a:pt x="491734" y="172010"/>
                  </a:lnTo>
                  <a:lnTo>
                    <a:pt x="490958" y="172397"/>
                  </a:lnTo>
                  <a:lnTo>
                    <a:pt x="489278" y="172527"/>
                  </a:lnTo>
                  <a:lnTo>
                    <a:pt x="485272" y="172010"/>
                  </a:lnTo>
                  <a:lnTo>
                    <a:pt x="483333" y="172139"/>
                  </a:lnTo>
                  <a:lnTo>
                    <a:pt x="483850" y="169167"/>
                  </a:lnTo>
                  <a:lnTo>
                    <a:pt x="482816" y="168004"/>
                  </a:lnTo>
                  <a:lnTo>
                    <a:pt x="480878" y="168004"/>
                  </a:lnTo>
                  <a:lnTo>
                    <a:pt x="478552" y="168650"/>
                  </a:lnTo>
                  <a:lnTo>
                    <a:pt x="476355" y="169684"/>
                  </a:lnTo>
                  <a:lnTo>
                    <a:pt x="475709" y="169296"/>
                  </a:lnTo>
                  <a:lnTo>
                    <a:pt x="468084" y="161671"/>
                  </a:lnTo>
                  <a:lnTo>
                    <a:pt x="466145" y="160379"/>
                  </a:lnTo>
                  <a:lnTo>
                    <a:pt x="463948" y="159862"/>
                  </a:lnTo>
                  <a:lnTo>
                    <a:pt x="461234" y="160250"/>
                  </a:lnTo>
                  <a:lnTo>
                    <a:pt x="459167" y="161154"/>
                  </a:lnTo>
                  <a:lnTo>
                    <a:pt x="455677" y="163351"/>
                  </a:lnTo>
                  <a:lnTo>
                    <a:pt x="453739" y="163610"/>
                  </a:lnTo>
                  <a:lnTo>
                    <a:pt x="451542" y="164514"/>
                  </a:lnTo>
                  <a:lnTo>
                    <a:pt x="450379" y="166840"/>
                  </a:lnTo>
                  <a:lnTo>
                    <a:pt x="448828" y="168650"/>
                  </a:lnTo>
                  <a:lnTo>
                    <a:pt x="445468" y="167874"/>
                  </a:lnTo>
                  <a:lnTo>
                    <a:pt x="442366" y="166582"/>
                  </a:lnTo>
                  <a:lnTo>
                    <a:pt x="440816" y="166711"/>
                  </a:lnTo>
                  <a:lnTo>
                    <a:pt x="436680" y="169942"/>
                  </a:lnTo>
                  <a:lnTo>
                    <a:pt x="433062" y="171881"/>
                  </a:lnTo>
                  <a:lnTo>
                    <a:pt x="428926" y="173302"/>
                  </a:lnTo>
                  <a:lnTo>
                    <a:pt x="424661" y="174207"/>
                  </a:lnTo>
                  <a:lnTo>
                    <a:pt x="417295" y="174594"/>
                  </a:lnTo>
                  <a:lnTo>
                    <a:pt x="415227" y="175241"/>
                  </a:lnTo>
                  <a:lnTo>
                    <a:pt x="413160" y="175499"/>
                  </a:lnTo>
                  <a:lnTo>
                    <a:pt x="410575" y="175111"/>
                  </a:lnTo>
                  <a:lnTo>
                    <a:pt x="408249" y="175111"/>
                  </a:lnTo>
                  <a:lnTo>
                    <a:pt x="405923" y="176145"/>
                  </a:lnTo>
                  <a:lnTo>
                    <a:pt x="403855" y="176791"/>
                  </a:lnTo>
                  <a:lnTo>
                    <a:pt x="402304" y="175241"/>
                  </a:lnTo>
                  <a:lnTo>
                    <a:pt x="402175" y="182736"/>
                  </a:lnTo>
                  <a:lnTo>
                    <a:pt x="402046" y="185450"/>
                  </a:lnTo>
                  <a:lnTo>
                    <a:pt x="401787" y="192558"/>
                  </a:lnTo>
                  <a:lnTo>
                    <a:pt x="401529" y="202638"/>
                  </a:lnTo>
                  <a:lnTo>
                    <a:pt x="401270" y="214269"/>
                  </a:lnTo>
                  <a:lnTo>
                    <a:pt x="400882" y="225771"/>
                  </a:lnTo>
                  <a:lnTo>
                    <a:pt x="400624" y="235851"/>
                  </a:lnTo>
                  <a:lnTo>
                    <a:pt x="400366" y="243088"/>
                  </a:lnTo>
                  <a:lnTo>
                    <a:pt x="400366" y="245802"/>
                  </a:lnTo>
                  <a:lnTo>
                    <a:pt x="400236" y="251101"/>
                  </a:lnTo>
                  <a:lnTo>
                    <a:pt x="400882" y="254848"/>
                  </a:lnTo>
                  <a:lnTo>
                    <a:pt x="402046" y="257045"/>
                  </a:lnTo>
                  <a:lnTo>
                    <a:pt x="406181" y="261827"/>
                  </a:lnTo>
                  <a:lnTo>
                    <a:pt x="411738" y="266738"/>
                  </a:lnTo>
                  <a:lnTo>
                    <a:pt x="414064" y="270357"/>
                  </a:lnTo>
                  <a:lnTo>
                    <a:pt x="415227" y="271261"/>
                  </a:lnTo>
                  <a:lnTo>
                    <a:pt x="417166" y="272037"/>
                  </a:lnTo>
                  <a:lnTo>
                    <a:pt x="421431" y="272941"/>
                  </a:lnTo>
                  <a:lnTo>
                    <a:pt x="423369" y="274104"/>
                  </a:lnTo>
                  <a:lnTo>
                    <a:pt x="424015" y="275138"/>
                  </a:lnTo>
                  <a:lnTo>
                    <a:pt x="425049" y="277464"/>
                  </a:lnTo>
                  <a:lnTo>
                    <a:pt x="425824" y="278627"/>
                  </a:lnTo>
                  <a:lnTo>
                    <a:pt x="426858" y="279274"/>
                  </a:lnTo>
                  <a:lnTo>
                    <a:pt x="429314" y="280437"/>
                  </a:lnTo>
                  <a:lnTo>
                    <a:pt x="430477" y="281212"/>
                  </a:lnTo>
                  <a:lnTo>
                    <a:pt x="433579" y="284701"/>
                  </a:lnTo>
                  <a:lnTo>
                    <a:pt x="435259" y="285994"/>
                  </a:lnTo>
                  <a:lnTo>
                    <a:pt x="443788" y="289225"/>
                  </a:lnTo>
                  <a:lnTo>
                    <a:pt x="445597" y="290129"/>
                  </a:lnTo>
                  <a:lnTo>
                    <a:pt x="447536" y="291680"/>
                  </a:lnTo>
                  <a:lnTo>
                    <a:pt x="448828" y="293619"/>
                  </a:lnTo>
                  <a:lnTo>
                    <a:pt x="449733" y="295686"/>
                  </a:lnTo>
                  <a:lnTo>
                    <a:pt x="450120" y="298142"/>
                  </a:lnTo>
                  <a:lnTo>
                    <a:pt x="450250" y="301243"/>
                  </a:lnTo>
                  <a:lnTo>
                    <a:pt x="450508" y="302277"/>
                  </a:lnTo>
                  <a:lnTo>
                    <a:pt x="451025" y="303311"/>
                  </a:lnTo>
                  <a:lnTo>
                    <a:pt x="451671" y="304216"/>
                  </a:lnTo>
                  <a:lnTo>
                    <a:pt x="452317" y="305120"/>
                  </a:lnTo>
                  <a:lnTo>
                    <a:pt x="452576" y="306413"/>
                  </a:lnTo>
                  <a:lnTo>
                    <a:pt x="451930" y="308868"/>
                  </a:lnTo>
                  <a:lnTo>
                    <a:pt x="448570" y="313908"/>
                  </a:lnTo>
                  <a:lnTo>
                    <a:pt x="447923" y="315847"/>
                  </a:lnTo>
                  <a:lnTo>
                    <a:pt x="448957" y="318302"/>
                  </a:lnTo>
                  <a:lnTo>
                    <a:pt x="452964" y="322825"/>
                  </a:lnTo>
                  <a:lnTo>
                    <a:pt x="453868" y="324376"/>
                  </a:lnTo>
                  <a:lnTo>
                    <a:pt x="453480" y="327090"/>
                  </a:lnTo>
                  <a:lnTo>
                    <a:pt x="453739" y="328124"/>
                  </a:lnTo>
                  <a:lnTo>
                    <a:pt x="454773" y="329675"/>
                  </a:lnTo>
                  <a:lnTo>
                    <a:pt x="455548" y="330321"/>
                  </a:lnTo>
                  <a:lnTo>
                    <a:pt x="456324" y="330709"/>
                  </a:lnTo>
                  <a:lnTo>
                    <a:pt x="456970" y="331225"/>
                  </a:lnTo>
                  <a:lnTo>
                    <a:pt x="457616" y="332389"/>
                  </a:lnTo>
                  <a:lnTo>
                    <a:pt x="457745" y="333681"/>
                  </a:lnTo>
                  <a:lnTo>
                    <a:pt x="457487" y="334715"/>
                  </a:lnTo>
                  <a:lnTo>
                    <a:pt x="457487" y="335749"/>
                  </a:lnTo>
                  <a:lnTo>
                    <a:pt x="458133" y="337170"/>
                  </a:lnTo>
                  <a:lnTo>
                    <a:pt x="459037" y="337946"/>
                  </a:lnTo>
                  <a:lnTo>
                    <a:pt x="461364" y="338850"/>
                  </a:lnTo>
                  <a:lnTo>
                    <a:pt x="462398" y="339496"/>
                  </a:lnTo>
                  <a:lnTo>
                    <a:pt x="464724" y="342857"/>
                  </a:lnTo>
                  <a:lnTo>
                    <a:pt x="465370" y="343373"/>
                  </a:lnTo>
                  <a:lnTo>
                    <a:pt x="466404" y="343632"/>
                  </a:lnTo>
                  <a:lnTo>
                    <a:pt x="467050" y="343761"/>
                  </a:lnTo>
                  <a:lnTo>
                    <a:pt x="467308" y="344278"/>
                  </a:lnTo>
                  <a:lnTo>
                    <a:pt x="467696" y="345053"/>
                  </a:lnTo>
                  <a:lnTo>
                    <a:pt x="467567" y="345312"/>
                  </a:lnTo>
                  <a:lnTo>
                    <a:pt x="468084" y="349318"/>
                  </a:lnTo>
                  <a:lnTo>
                    <a:pt x="467825" y="350481"/>
                  </a:lnTo>
                  <a:lnTo>
                    <a:pt x="467179" y="352678"/>
                  </a:lnTo>
                  <a:lnTo>
                    <a:pt x="467179" y="353971"/>
                  </a:lnTo>
                  <a:lnTo>
                    <a:pt x="471185" y="360432"/>
                  </a:lnTo>
                  <a:lnTo>
                    <a:pt x="472349" y="363534"/>
                  </a:lnTo>
                  <a:lnTo>
                    <a:pt x="470022" y="369479"/>
                  </a:lnTo>
                  <a:lnTo>
                    <a:pt x="470152" y="369608"/>
                  </a:lnTo>
                  <a:lnTo>
                    <a:pt x="470410" y="374389"/>
                  </a:lnTo>
                  <a:lnTo>
                    <a:pt x="468601" y="384211"/>
                  </a:lnTo>
                  <a:lnTo>
                    <a:pt x="468730" y="389122"/>
                  </a:lnTo>
                  <a:lnTo>
                    <a:pt x="466792" y="396359"/>
                  </a:lnTo>
                  <a:lnTo>
                    <a:pt x="466792" y="398556"/>
                  </a:lnTo>
                  <a:lnTo>
                    <a:pt x="465241" y="403855"/>
                  </a:lnTo>
                  <a:lnTo>
                    <a:pt x="464078" y="410316"/>
                  </a:lnTo>
                  <a:lnTo>
                    <a:pt x="460847" y="427504"/>
                  </a:lnTo>
                  <a:lnTo>
                    <a:pt x="457745" y="444692"/>
                  </a:lnTo>
                  <a:lnTo>
                    <a:pt x="454644" y="461751"/>
                  </a:lnTo>
                  <a:lnTo>
                    <a:pt x="451413" y="478939"/>
                  </a:lnTo>
                  <a:lnTo>
                    <a:pt x="448311" y="496127"/>
                  </a:lnTo>
                  <a:lnTo>
                    <a:pt x="445210" y="513315"/>
                  </a:lnTo>
                  <a:lnTo>
                    <a:pt x="441979" y="530374"/>
                  </a:lnTo>
                  <a:lnTo>
                    <a:pt x="438877" y="547562"/>
                  </a:lnTo>
                  <a:lnTo>
                    <a:pt x="435775" y="564750"/>
                  </a:lnTo>
                  <a:lnTo>
                    <a:pt x="432674" y="581939"/>
                  </a:lnTo>
                  <a:lnTo>
                    <a:pt x="429443" y="598997"/>
                  </a:lnTo>
                  <a:lnTo>
                    <a:pt x="426341" y="616185"/>
                  </a:lnTo>
                  <a:lnTo>
                    <a:pt x="423240" y="633373"/>
                  </a:lnTo>
                  <a:lnTo>
                    <a:pt x="420009" y="650561"/>
                  </a:lnTo>
                  <a:lnTo>
                    <a:pt x="416907" y="667750"/>
                  </a:lnTo>
                  <a:lnTo>
                    <a:pt x="413806" y="684938"/>
                  </a:lnTo>
                  <a:lnTo>
                    <a:pt x="413677" y="685196"/>
                  </a:lnTo>
                  <a:lnTo>
                    <a:pt x="413547" y="685455"/>
                  </a:lnTo>
                  <a:lnTo>
                    <a:pt x="413418" y="685584"/>
                  </a:lnTo>
                  <a:lnTo>
                    <a:pt x="413289" y="685842"/>
                  </a:lnTo>
                  <a:lnTo>
                    <a:pt x="413160" y="686101"/>
                  </a:lnTo>
                  <a:lnTo>
                    <a:pt x="413030" y="686359"/>
                  </a:lnTo>
                  <a:lnTo>
                    <a:pt x="412901" y="686618"/>
                  </a:lnTo>
                  <a:lnTo>
                    <a:pt x="412772" y="686876"/>
                  </a:lnTo>
                  <a:lnTo>
                    <a:pt x="412643" y="687005"/>
                  </a:lnTo>
                  <a:lnTo>
                    <a:pt x="412513" y="687264"/>
                  </a:lnTo>
                  <a:lnTo>
                    <a:pt x="412513" y="687522"/>
                  </a:lnTo>
                  <a:lnTo>
                    <a:pt x="412384" y="687781"/>
                  </a:lnTo>
                  <a:lnTo>
                    <a:pt x="412255" y="688039"/>
                  </a:lnTo>
                  <a:lnTo>
                    <a:pt x="412126" y="688168"/>
                  </a:lnTo>
                  <a:lnTo>
                    <a:pt x="411996" y="688427"/>
                  </a:lnTo>
                  <a:lnTo>
                    <a:pt x="411867" y="688685"/>
                  </a:lnTo>
                  <a:lnTo>
                    <a:pt x="412126" y="691658"/>
                  </a:lnTo>
                  <a:lnTo>
                    <a:pt x="411092" y="694501"/>
                  </a:lnTo>
                  <a:lnTo>
                    <a:pt x="409283" y="697086"/>
                  </a:lnTo>
                  <a:lnTo>
                    <a:pt x="405664" y="699670"/>
                  </a:lnTo>
                  <a:lnTo>
                    <a:pt x="404113" y="699799"/>
                  </a:lnTo>
                  <a:lnTo>
                    <a:pt x="402692" y="699412"/>
                  </a:lnTo>
                  <a:lnTo>
                    <a:pt x="401399" y="698507"/>
                  </a:lnTo>
                  <a:lnTo>
                    <a:pt x="399978" y="697215"/>
                  </a:lnTo>
                  <a:lnTo>
                    <a:pt x="399461" y="696439"/>
                  </a:lnTo>
                  <a:lnTo>
                    <a:pt x="398944" y="693726"/>
                  </a:lnTo>
                  <a:lnTo>
                    <a:pt x="397781" y="691787"/>
                  </a:lnTo>
                  <a:lnTo>
                    <a:pt x="395584" y="691012"/>
                  </a:lnTo>
                  <a:lnTo>
                    <a:pt x="393258" y="691270"/>
                  </a:lnTo>
                  <a:lnTo>
                    <a:pt x="391319" y="692304"/>
                  </a:lnTo>
                  <a:lnTo>
                    <a:pt x="389898" y="694242"/>
                  </a:lnTo>
                  <a:lnTo>
                    <a:pt x="388088" y="698249"/>
                  </a:lnTo>
                  <a:lnTo>
                    <a:pt x="386150" y="700058"/>
                  </a:lnTo>
                  <a:lnTo>
                    <a:pt x="384857" y="698507"/>
                  </a:lnTo>
                  <a:lnTo>
                    <a:pt x="384082" y="696827"/>
                  </a:lnTo>
                  <a:lnTo>
                    <a:pt x="383307" y="695922"/>
                  </a:lnTo>
                  <a:lnTo>
                    <a:pt x="382531" y="695664"/>
                  </a:lnTo>
                  <a:lnTo>
                    <a:pt x="381627" y="695664"/>
                  </a:lnTo>
                  <a:lnTo>
                    <a:pt x="380593" y="695406"/>
                  </a:lnTo>
                  <a:lnTo>
                    <a:pt x="375294" y="691270"/>
                  </a:lnTo>
                  <a:lnTo>
                    <a:pt x="374260" y="689848"/>
                  </a:lnTo>
                  <a:lnTo>
                    <a:pt x="374002" y="687910"/>
                  </a:lnTo>
                  <a:lnTo>
                    <a:pt x="375036" y="683904"/>
                  </a:lnTo>
                  <a:lnTo>
                    <a:pt x="374777" y="681707"/>
                  </a:lnTo>
                  <a:lnTo>
                    <a:pt x="374002" y="680156"/>
                  </a:lnTo>
                  <a:lnTo>
                    <a:pt x="372710" y="678734"/>
                  </a:lnTo>
                  <a:lnTo>
                    <a:pt x="371417" y="678347"/>
                  </a:lnTo>
                  <a:lnTo>
                    <a:pt x="369479" y="681448"/>
                  </a:lnTo>
                  <a:lnTo>
                    <a:pt x="368057" y="681061"/>
                  </a:lnTo>
                  <a:lnTo>
                    <a:pt x="365472" y="678605"/>
                  </a:lnTo>
                  <a:lnTo>
                    <a:pt x="363663" y="677959"/>
                  </a:lnTo>
                  <a:lnTo>
                    <a:pt x="362112" y="677830"/>
                  </a:lnTo>
                  <a:lnTo>
                    <a:pt x="360562" y="678088"/>
                  </a:lnTo>
                  <a:lnTo>
                    <a:pt x="358882" y="678864"/>
                  </a:lnTo>
                  <a:lnTo>
                    <a:pt x="354488" y="682353"/>
                  </a:lnTo>
                  <a:lnTo>
                    <a:pt x="352937" y="682870"/>
                  </a:lnTo>
                  <a:lnTo>
                    <a:pt x="351774" y="682224"/>
                  </a:lnTo>
                  <a:lnTo>
                    <a:pt x="351386" y="680673"/>
                  </a:lnTo>
                  <a:lnTo>
                    <a:pt x="350998" y="679122"/>
                  </a:lnTo>
                  <a:lnTo>
                    <a:pt x="349318" y="678476"/>
                  </a:lnTo>
                  <a:lnTo>
                    <a:pt x="347509" y="679381"/>
                  </a:lnTo>
                  <a:lnTo>
                    <a:pt x="346863" y="681190"/>
                  </a:lnTo>
                  <a:lnTo>
                    <a:pt x="346346" y="683128"/>
                  </a:lnTo>
                  <a:lnTo>
                    <a:pt x="345441" y="684162"/>
                  </a:lnTo>
                  <a:lnTo>
                    <a:pt x="340401" y="681319"/>
                  </a:lnTo>
                  <a:lnTo>
                    <a:pt x="340401" y="679639"/>
                  </a:lnTo>
                  <a:lnTo>
                    <a:pt x="340660" y="677701"/>
                  </a:lnTo>
                  <a:lnTo>
                    <a:pt x="340530" y="676150"/>
                  </a:lnTo>
                  <a:lnTo>
                    <a:pt x="338850" y="675762"/>
                  </a:lnTo>
                  <a:lnTo>
                    <a:pt x="337170" y="676537"/>
                  </a:lnTo>
                  <a:lnTo>
                    <a:pt x="336136" y="677701"/>
                  </a:lnTo>
                  <a:lnTo>
                    <a:pt x="334973" y="680931"/>
                  </a:lnTo>
                  <a:lnTo>
                    <a:pt x="333810" y="681836"/>
                  </a:lnTo>
                  <a:lnTo>
                    <a:pt x="331872" y="681836"/>
                  </a:lnTo>
                  <a:lnTo>
                    <a:pt x="325281" y="680027"/>
                  </a:lnTo>
                  <a:lnTo>
                    <a:pt x="324118" y="680156"/>
                  </a:lnTo>
                  <a:lnTo>
                    <a:pt x="319078" y="682611"/>
                  </a:lnTo>
                  <a:lnTo>
                    <a:pt x="317656" y="683904"/>
                  </a:lnTo>
                  <a:lnTo>
                    <a:pt x="317268" y="685325"/>
                  </a:lnTo>
                  <a:lnTo>
                    <a:pt x="318173" y="687910"/>
                  </a:lnTo>
                  <a:lnTo>
                    <a:pt x="317915" y="688815"/>
                  </a:lnTo>
                  <a:lnTo>
                    <a:pt x="316234" y="689461"/>
                  </a:lnTo>
                  <a:lnTo>
                    <a:pt x="314554" y="690236"/>
                  </a:lnTo>
                  <a:lnTo>
                    <a:pt x="313779" y="691787"/>
                  </a:lnTo>
                  <a:lnTo>
                    <a:pt x="313262" y="693726"/>
                  </a:lnTo>
                  <a:lnTo>
                    <a:pt x="312228" y="695406"/>
                  </a:lnTo>
                  <a:lnTo>
                    <a:pt x="308997" y="698507"/>
                  </a:lnTo>
                  <a:lnTo>
                    <a:pt x="307576" y="700316"/>
                  </a:lnTo>
                  <a:lnTo>
                    <a:pt x="306671" y="702255"/>
                  </a:lnTo>
                  <a:lnTo>
                    <a:pt x="304474" y="704581"/>
                  </a:lnTo>
                  <a:lnTo>
                    <a:pt x="302148" y="702513"/>
                  </a:lnTo>
                  <a:lnTo>
                    <a:pt x="300468" y="700575"/>
                  </a:lnTo>
                  <a:lnTo>
                    <a:pt x="299951" y="702901"/>
                  </a:lnTo>
                  <a:lnTo>
                    <a:pt x="297883" y="704581"/>
                  </a:lnTo>
                  <a:lnTo>
                    <a:pt x="292326" y="702255"/>
                  </a:lnTo>
                  <a:lnTo>
                    <a:pt x="289742" y="703289"/>
                  </a:lnTo>
                  <a:lnTo>
                    <a:pt x="288320" y="705744"/>
                  </a:lnTo>
                  <a:lnTo>
                    <a:pt x="287286" y="706390"/>
                  </a:lnTo>
                  <a:lnTo>
                    <a:pt x="285606" y="706003"/>
                  </a:lnTo>
                  <a:lnTo>
                    <a:pt x="284701" y="705227"/>
                  </a:lnTo>
                  <a:lnTo>
                    <a:pt x="283668" y="702901"/>
                  </a:lnTo>
                  <a:lnTo>
                    <a:pt x="282892" y="702126"/>
                  </a:lnTo>
                  <a:lnTo>
                    <a:pt x="281083" y="703160"/>
                  </a:lnTo>
                  <a:lnTo>
                    <a:pt x="279532" y="705615"/>
                  </a:lnTo>
                  <a:lnTo>
                    <a:pt x="278111" y="707295"/>
                  </a:lnTo>
                  <a:lnTo>
                    <a:pt x="275267" y="704064"/>
                  </a:lnTo>
                  <a:lnTo>
                    <a:pt x="272683" y="703547"/>
                  </a:lnTo>
                  <a:lnTo>
                    <a:pt x="270227" y="704064"/>
                  </a:lnTo>
                  <a:lnTo>
                    <a:pt x="268418" y="705615"/>
                  </a:lnTo>
                  <a:lnTo>
                    <a:pt x="268160" y="706907"/>
                  </a:lnTo>
                  <a:lnTo>
                    <a:pt x="268418" y="707941"/>
                  </a:lnTo>
                  <a:lnTo>
                    <a:pt x="268418" y="708975"/>
                  </a:lnTo>
                  <a:lnTo>
                    <a:pt x="267384" y="710397"/>
                  </a:lnTo>
                  <a:lnTo>
                    <a:pt x="266996" y="710397"/>
                  </a:lnTo>
                  <a:lnTo>
                    <a:pt x="266350" y="710009"/>
                  </a:lnTo>
                  <a:lnTo>
                    <a:pt x="265704" y="709880"/>
                  </a:lnTo>
                  <a:lnTo>
                    <a:pt x="265058" y="710267"/>
                  </a:lnTo>
                  <a:lnTo>
                    <a:pt x="264024" y="711430"/>
                  </a:lnTo>
                  <a:lnTo>
                    <a:pt x="263636" y="711818"/>
                  </a:lnTo>
                  <a:lnTo>
                    <a:pt x="262215" y="712464"/>
                  </a:lnTo>
                  <a:lnTo>
                    <a:pt x="261310" y="711818"/>
                  </a:lnTo>
                  <a:lnTo>
                    <a:pt x="260664" y="710655"/>
                  </a:lnTo>
                  <a:lnTo>
                    <a:pt x="259630" y="709880"/>
                  </a:lnTo>
                  <a:lnTo>
                    <a:pt x="258209" y="709750"/>
                  </a:lnTo>
                  <a:lnTo>
                    <a:pt x="253168" y="710397"/>
                  </a:lnTo>
                  <a:lnTo>
                    <a:pt x="249938" y="710526"/>
                  </a:lnTo>
                  <a:lnTo>
                    <a:pt x="248387" y="710655"/>
                  </a:lnTo>
                  <a:lnTo>
                    <a:pt x="246836" y="711301"/>
                  </a:lnTo>
                  <a:lnTo>
                    <a:pt x="246190" y="712206"/>
                  </a:lnTo>
                  <a:lnTo>
                    <a:pt x="245544" y="714532"/>
                  </a:lnTo>
                  <a:lnTo>
                    <a:pt x="244898" y="715178"/>
                  </a:lnTo>
                  <a:lnTo>
                    <a:pt x="244122" y="715178"/>
                  </a:lnTo>
                  <a:lnTo>
                    <a:pt x="241408" y="714661"/>
                  </a:lnTo>
                  <a:lnTo>
                    <a:pt x="239857" y="714791"/>
                  </a:lnTo>
                  <a:lnTo>
                    <a:pt x="235076" y="716858"/>
                  </a:lnTo>
                  <a:lnTo>
                    <a:pt x="235463" y="714532"/>
                  </a:lnTo>
                  <a:lnTo>
                    <a:pt x="234300" y="714920"/>
                  </a:lnTo>
                  <a:lnTo>
                    <a:pt x="232103" y="716988"/>
                  </a:lnTo>
                  <a:lnTo>
                    <a:pt x="230811" y="717504"/>
                  </a:lnTo>
                  <a:lnTo>
                    <a:pt x="229906" y="717634"/>
                  </a:lnTo>
                  <a:lnTo>
                    <a:pt x="229002" y="717246"/>
                  </a:lnTo>
                  <a:lnTo>
                    <a:pt x="227968" y="716083"/>
                  </a:lnTo>
                  <a:lnTo>
                    <a:pt x="226159" y="714791"/>
                  </a:lnTo>
                  <a:lnTo>
                    <a:pt x="225125" y="715178"/>
                  </a:lnTo>
                  <a:lnTo>
                    <a:pt x="223832" y="716083"/>
                  </a:lnTo>
                  <a:lnTo>
                    <a:pt x="221894" y="716341"/>
                  </a:lnTo>
                  <a:lnTo>
                    <a:pt x="220602" y="715954"/>
                  </a:lnTo>
                  <a:lnTo>
                    <a:pt x="218146" y="714791"/>
                  </a:lnTo>
                  <a:lnTo>
                    <a:pt x="217112" y="714661"/>
                  </a:lnTo>
                  <a:lnTo>
                    <a:pt x="216208" y="715178"/>
                  </a:lnTo>
                  <a:lnTo>
                    <a:pt x="215949" y="715824"/>
                  </a:lnTo>
                  <a:lnTo>
                    <a:pt x="215820" y="716600"/>
                  </a:lnTo>
                  <a:lnTo>
                    <a:pt x="215432" y="717117"/>
                  </a:lnTo>
                  <a:lnTo>
                    <a:pt x="214657" y="717246"/>
                  </a:lnTo>
                  <a:lnTo>
                    <a:pt x="205740" y="718280"/>
                  </a:lnTo>
                  <a:lnTo>
                    <a:pt x="203931" y="718797"/>
                  </a:lnTo>
                  <a:lnTo>
                    <a:pt x="201217" y="720735"/>
                  </a:lnTo>
                  <a:lnTo>
                    <a:pt x="196177" y="725517"/>
                  </a:lnTo>
                  <a:lnTo>
                    <a:pt x="192946" y="726551"/>
                  </a:lnTo>
                  <a:lnTo>
                    <a:pt x="191266" y="728102"/>
                  </a:lnTo>
                  <a:lnTo>
                    <a:pt x="190232" y="728748"/>
                  </a:lnTo>
                  <a:lnTo>
                    <a:pt x="189327" y="729006"/>
                  </a:lnTo>
                  <a:lnTo>
                    <a:pt x="188293" y="728619"/>
                  </a:lnTo>
                  <a:lnTo>
                    <a:pt x="187259" y="728102"/>
                  </a:lnTo>
                  <a:lnTo>
                    <a:pt x="186355" y="727972"/>
                  </a:lnTo>
                  <a:lnTo>
                    <a:pt x="185579" y="728877"/>
                  </a:lnTo>
                  <a:lnTo>
                    <a:pt x="183641" y="732754"/>
                  </a:lnTo>
                  <a:lnTo>
                    <a:pt x="182478" y="734305"/>
                  </a:lnTo>
                  <a:lnTo>
                    <a:pt x="180410" y="735985"/>
                  </a:lnTo>
                  <a:lnTo>
                    <a:pt x="174465" y="739216"/>
                  </a:lnTo>
                  <a:lnTo>
                    <a:pt x="169037" y="743351"/>
                  </a:lnTo>
                  <a:lnTo>
                    <a:pt x="167099" y="744385"/>
                  </a:lnTo>
                  <a:lnTo>
                    <a:pt x="165160" y="745031"/>
                  </a:lnTo>
                  <a:lnTo>
                    <a:pt x="163739" y="745160"/>
                  </a:lnTo>
                  <a:lnTo>
                    <a:pt x="159862" y="744514"/>
                  </a:lnTo>
                  <a:lnTo>
                    <a:pt x="158440" y="744902"/>
                  </a:lnTo>
                  <a:lnTo>
                    <a:pt x="157923" y="745548"/>
                  </a:lnTo>
                  <a:lnTo>
                    <a:pt x="157665" y="746324"/>
                  </a:lnTo>
                  <a:lnTo>
                    <a:pt x="157148" y="746970"/>
                  </a:lnTo>
                  <a:lnTo>
                    <a:pt x="152754" y="748133"/>
                  </a:lnTo>
                  <a:lnTo>
                    <a:pt x="151591" y="749425"/>
                  </a:lnTo>
                  <a:lnTo>
                    <a:pt x="150816" y="755241"/>
                  </a:lnTo>
                  <a:lnTo>
                    <a:pt x="149652" y="756921"/>
                  </a:lnTo>
                  <a:lnTo>
                    <a:pt x="147843" y="758213"/>
                  </a:lnTo>
                  <a:lnTo>
                    <a:pt x="145517" y="759376"/>
                  </a:lnTo>
                  <a:lnTo>
                    <a:pt x="145000" y="759505"/>
                  </a:lnTo>
                  <a:lnTo>
                    <a:pt x="143578" y="759505"/>
                  </a:lnTo>
                  <a:lnTo>
                    <a:pt x="143062" y="759764"/>
                  </a:lnTo>
                  <a:lnTo>
                    <a:pt x="142674" y="760281"/>
                  </a:lnTo>
                  <a:lnTo>
                    <a:pt x="142674" y="760927"/>
                  </a:lnTo>
                  <a:lnTo>
                    <a:pt x="142674" y="761573"/>
                  </a:lnTo>
                  <a:lnTo>
                    <a:pt x="142545" y="761961"/>
                  </a:lnTo>
                  <a:lnTo>
                    <a:pt x="142028" y="762995"/>
                  </a:lnTo>
                  <a:lnTo>
                    <a:pt x="141640" y="763899"/>
                  </a:lnTo>
                  <a:lnTo>
                    <a:pt x="140994" y="764545"/>
                  </a:lnTo>
                  <a:lnTo>
                    <a:pt x="139443" y="764545"/>
                  </a:lnTo>
                  <a:lnTo>
                    <a:pt x="137504" y="764804"/>
                  </a:lnTo>
                  <a:lnTo>
                    <a:pt x="135566" y="765709"/>
                  </a:lnTo>
                  <a:lnTo>
                    <a:pt x="133886" y="767001"/>
                  </a:lnTo>
                  <a:lnTo>
                    <a:pt x="131301" y="769844"/>
                  </a:lnTo>
                  <a:lnTo>
                    <a:pt x="128329" y="771136"/>
                  </a:lnTo>
                  <a:lnTo>
                    <a:pt x="126907" y="772558"/>
                  </a:lnTo>
                  <a:lnTo>
                    <a:pt x="126390" y="773721"/>
                  </a:lnTo>
                  <a:lnTo>
                    <a:pt x="126390" y="774755"/>
                  </a:lnTo>
                  <a:lnTo>
                    <a:pt x="126003" y="775660"/>
                  </a:lnTo>
                  <a:lnTo>
                    <a:pt x="124969" y="776564"/>
                  </a:lnTo>
                  <a:lnTo>
                    <a:pt x="124064" y="776952"/>
                  </a:lnTo>
                  <a:lnTo>
                    <a:pt x="118249" y="776952"/>
                  </a:lnTo>
                  <a:lnTo>
                    <a:pt x="116052" y="776306"/>
                  </a:lnTo>
                  <a:lnTo>
                    <a:pt x="113984" y="776047"/>
                  </a:lnTo>
                  <a:lnTo>
                    <a:pt x="112692" y="777081"/>
                  </a:lnTo>
                  <a:lnTo>
                    <a:pt x="111270" y="778761"/>
                  </a:lnTo>
                  <a:lnTo>
                    <a:pt x="109461" y="779666"/>
                  </a:lnTo>
                  <a:lnTo>
                    <a:pt x="105067" y="780441"/>
                  </a:lnTo>
                  <a:lnTo>
                    <a:pt x="104550" y="780441"/>
                  </a:lnTo>
                  <a:lnTo>
                    <a:pt x="103128" y="779924"/>
                  </a:lnTo>
                  <a:lnTo>
                    <a:pt x="102611" y="780054"/>
                  </a:lnTo>
                  <a:lnTo>
                    <a:pt x="102353" y="780570"/>
                  </a:lnTo>
                  <a:lnTo>
                    <a:pt x="102224" y="782121"/>
                  </a:lnTo>
                  <a:lnTo>
                    <a:pt x="102094" y="782509"/>
                  </a:lnTo>
                  <a:lnTo>
                    <a:pt x="100544" y="783284"/>
                  </a:lnTo>
                  <a:lnTo>
                    <a:pt x="99768" y="783543"/>
                  </a:lnTo>
                  <a:lnTo>
                    <a:pt x="98347" y="783543"/>
                  </a:lnTo>
                  <a:lnTo>
                    <a:pt x="95762" y="784189"/>
                  </a:lnTo>
                  <a:lnTo>
                    <a:pt x="95374" y="785869"/>
                  </a:lnTo>
                  <a:lnTo>
                    <a:pt x="96150" y="787678"/>
                  </a:lnTo>
                  <a:lnTo>
                    <a:pt x="97054" y="789229"/>
                  </a:lnTo>
                  <a:lnTo>
                    <a:pt x="97701" y="790909"/>
                  </a:lnTo>
                  <a:lnTo>
                    <a:pt x="98217" y="797500"/>
                  </a:lnTo>
                  <a:lnTo>
                    <a:pt x="98088" y="799180"/>
                  </a:lnTo>
                  <a:lnTo>
                    <a:pt x="97054" y="800602"/>
                  </a:lnTo>
                  <a:lnTo>
                    <a:pt x="95891" y="802023"/>
                  </a:lnTo>
                  <a:lnTo>
                    <a:pt x="95116" y="803574"/>
                  </a:lnTo>
                  <a:lnTo>
                    <a:pt x="94470" y="808226"/>
                  </a:lnTo>
                  <a:lnTo>
                    <a:pt x="93953" y="809906"/>
                  </a:lnTo>
                  <a:lnTo>
                    <a:pt x="90851" y="816497"/>
                  </a:lnTo>
                  <a:lnTo>
                    <a:pt x="89817" y="819857"/>
                  </a:lnTo>
                  <a:lnTo>
                    <a:pt x="90334" y="823476"/>
                  </a:lnTo>
                  <a:lnTo>
                    <a:pt x="91239" y="826836"/>
                  </a:lnTo>
                  <a:lnTo>
                    <a:pt x="91239" y="829808"/>
                  </a:lnTo>
                  <a:lnTo>
                    <a:pt x="89430" y="839759"/>
                  </a:lnTo>
                  <a:lnTo>
                    <a:pt x="88396" y="842861"/>
                  </a:lnTo>
                  <a:lnTo>
                    <a:pt x="86845" y="845833"/>
                  </a:lnTo>
                  <a:lnTo>
                    <a:pt x="75731" y="860566"/>
                  </a:lnTo>
                  <a:lnTo>
                    <a:pt x="71983" y="863926"/>
                  </a:lnTo>
                  <a:lnTo>
                    <a:pt x="65909" y="877496"/>
                  </a:lnTo>
                  <a:lnTo>
                    <a:pt x="63583" y="881243"/>
                  </a:lnTo>
                  <a:lnTo>
                    <a:pt x="61903" y="885250"/>
                  </a:lnTo>
                  <a:lnTo>
                    <a:pt x="61774" y="890160"/>
                  </a:lnTo>
                  <a:lnTo>
                    <a:pt x="62807" y="892745"/>
                  </a:lnTo>
                  <a:lnTo>
                    <a:pt x="67977" y="898561"/>
                  </a:lnTo>
                  <a:lnTo>
                    <a:pt x="68623" y="900499"/>
                  </a:lnTo>
                  <a:lnTo>
                    <a:pt x="69657" y="909029"/>
                  </a:lnTo>
                  <a:lnTo>
                    <a:pt x="70303" y="911484"/>
                  </a:lnTo>
                  <a:lnTo>
                    <a:pt x="72629" y="916395"/>
                  </a:lnTo>
                  <a:lnTo>
                    <a:pt x="73405" y="918850"/>
                  </a:lnTo>
                  <a:lnTo>
                    <a:pt x="73405" y="921177"/>
                  </a:lnTo>
                  <a:lnTo>
                    <a:pt x="72888" y="923503"/>
                  </a:lnTo>
                  <a:lnTo>
                    <a:pt x="71208" y="927897"/>
                  </a:lnTo>
                  <a:lnTo>
                    <a:pt x="68623" y="932291"/>
                  </a:lnTo>
                  <a:lnTo>
                    <a:pt x="65651" y="935392"/>
                  </a:lnTo>
                  <a:lnTo>
                    <a:pt x="62032" y="937331"/>
                  </a:lnTo>
                  <a:lnTo>
                    <a:pt x="57121" y="938623"/>
                  </a:lnTo>
                  <a:lnTo>
                    <a:pt x="49626" y="938623"/>
                  </a:lnTo>
                  <a:lnTo>
                    <a:pt x="47299" y="939398"/>
                  </a:lnTo>
                  <a:lnTo>
                    <a:pt x="43552" y="942888"/>
                  </a:lnTo>
                  <a:lnTo>
                    <a:pt x="39287" y="945343"/>
                  </a:lnTo>
                  <a:lnTo>
                    <a:pt x="32050" y="951676"/>
                  </a:lnTo>
                  <a:lnTo>
                    <a:pt x="23391" y="956586"/>
                  </a:lnTo>
                  <a:lnTo>
                    <a:pt x="18093" y="960851"/>
                  </a:lnTo>
                  <a:lnTo>
                    <a:pt x="15120" y="962660"/>
                  </a:lnTo>
                  <a:lnTo>
                    <a:pt x="13699" y="963824"/>
                  </a:lnTo>
                  <a:lnTo>
                    <a:pt x="12406" y="966537"/>
                  </a:lnTo>
                  <a:lnTo>
                    <a:pt x="11373" y="967830"/>
                  </a:lnTo>
                  <a:lnTo>
                    <a:pt x="6849" y="970673"/>
                  </a:lnTo>
                  <a:lnTo>
                    <a:pt x="5686" y="971965"/>
                  </a:lnTo>
                  <a:lnTo>
                    <a:pt x="5040" y="973775"/>
                  </a:lnTo>
                  <a:lnTo>
                    <a:pt x="4782" y="979590"/>
                  </a:lnTo>
                  <a:lnTo>
                    <a:pt x="2197" y="989412"/>
                  </a:lnTo>
                  <a:lnTo>
                    <a:pt x="646" y="992384"/>
                  </a:lnTo>
                  <a:lnTo>
                    <a:pt x="0" y="994969"/>
                  </a:lnTo>
                  <a:lnTo>
                    <a:pt x="646" y="996649"/>
                  </a:lnTo>
                  <a:lnTo>
                    <a:pt x="1939" y="997166"/>
                  </a:lnTo>
                  <a:lnTo>
                    <a:pt x="123030" y="1047438"/>
                  </a:lnTo>
                  <a:lnTo>
                    <a:pt x="368316" y="1108177"/>
                  </a:lnTo>
                  <a:lnTo>
                    <a:pt x="428797" y="1140098"/>
                  </a:lnTo>
                  <a:lnTo>
                    <a:pt x="747358" y="1289104"/>
                  </a:lnTo>
                  <a:lnTo>
                    <a:pt x="753173" y="1284452"/>
                  </a:lnTo>
                  <a:lnTo>
                    <a:pt x="754207" y="1283418"/>
                  </a:lnTo>
                  <a:lnTo>
                    <a:pt x="755370" y="1281738"/>
                  </a:lnTo>
                  <a:lnTo>
                    <a:pt x="755887" y="1280704"/>
                  </a:lnTo>
                  <a:lnTo>
                    <a:pt x="756662" y="1279541"/>
                  </a:lnTo>
                  <a:lnTo>
                    <a:pt x="757696" y="1279283"/>
                  </a:lnTo>
                  <a:lnTo>
                    <a:pt x="760281" y="1279541"/>
                  </a:lnTo>
                  <a:lnTo>
                    <a:pt x="761832" y="1279541"/>
                  </a:lnTo>
                  <a:lnTo>
                    <a:pt x="768552" y="1273079"/>
                  </a:lnTo>
                  <a:lnTo>
                    <a:pt x="772300" y="1270365"/>
                  </a:lnTo>
                  <a:lnTo>
                    <a:pt x="773463" y="1269978"/>
                  </a:lnTo>
                  <a:lnTo>
                    <a:pt x="779537" y="1268298"/>
                  </a:lnTo>
                  <a:lnTo>
                    <a:pt x="782380" y="1267264"/>
                  </a:lnTo>
                  <a:lnTo>
                    <a:pt x="783672" y="1266101"/>
                  </a:lnTo>
                  <a:lnTo>
                    <a:pt x="785481" y="1263258"/>
                  </a:lnTo>
                  <a:lnTo>
                    <a:pt x="793106" y="1255245"/>
                  </a:lnTo>
                  <a:lnTo>
                    <a:pt x="794140" y="1253824"/>
                  </a:lnTo>
                  <a:lnTo>
                    <a:pt x="794399" y="1252531"/>
                  </a:lnTo>
                  <a:lnTo>
                    <a:pt x="794657" y="1250334"/>
                  </a:lnTo>
                  <a:lnTo>
                    <a:pt x="794528" y="1249171"/>
                  </a:lnTo>
                  <a:lnTo>
                    <a:pt x="793365" y="1245165"/>
                  </a:lnTo>
                  <a:lnTo>
                    <a:pt x="793365" y="1243873"/>
                  </a:lnTo>
                  <a:lnTo>
                    <a:pt x="793882" y="1242451"/>
                  </a:lnTo>
                  <a:lnTo>
                    <a:pt x="794786" y="1241934"/>
                  </a:lnTo>
                  <a:lnTo>
                    <a:pt x="795820" y="1241934"/>
                  </a:lnTo>
                  <a:lnTo>
                    <a:pt x="798017" y="1242580"/>
                  </a:lnTo>
                  <a:lnTo>
                    <a:pt x="799051" y="1242839"/>
                  </a:lnTo>
                  <a:lnTo>
                    <a:pt x="801248" y="1242839"/>
                  </a:lnTo>
                  <a:lnTo>
                    <a:pt x="804350" y="1243356"/>
                  </a:lnTo>
                  <a:lnTo>
                    <a:pt x="806805" y="1242709"/>
                  </a:lnTo>
                  <a:lnTo>
                    <a:pt x="808485" y="1242451"/>
                  </a:lnTo>
                  <a:lnTo>
                    <a:pt x="809777" y="1242451"/>
                  </a:lnTo>
                  <a:lnTo>
                    <a:pt x="812104" y="1243226"/>
                  </a:lnTo>
                  <a:lnTo>
                    <a:pt x="814947" y="1243743"/>
                  </a:lnTo>
                  <a:lnTo>
                    <a:pt x="820116" y="1244260"/>
                  </a:lnTo>
                  <a:lnTo>
                    <a:pt x="825156" y="1243873"/>
                  </a:lnTo>
                  <a:lnTo>
                    <a:pt x="836270" y="1241934"/>
                  </a:lnTo>
                  <a:lnTo>
                    <a:pt x="838209" y="1241805"/>
                  </a:lnTo>
                  <a:lnTo>
                    <a:pt x="841310" y="1242322"/>
                  </a:lnTo>
                  <a:lnTo>
                    <a:pt x="842473" y="1242709"/>
                  </a:lnTo>
                  <a:lnTo>
                    <a:pt x="843766" y="1243356"/>
                  </a:lnTo>
                  <a:lnTo>
                    <a:pt x="845058" y="1244519"/>
                  </a:lnTo>
                  <a:lnTo>
                    <a:pt x="847255" y="1246845"/>
                  </a:lnTo>
                  <a:lnTo>
                    <a:pt x="849581" y="1250076"/>
                  </a:lnTo>
                  <a:lnTo>
                    <a:pt x="850615" y="1250980"/>
                  </a:lnTo>
                  <a:lnTo>
                    <a:pt x="853846" y="1252144"/>
                  </a:lnTo>
                  <a:lnTo>
                    <a:pt x="854234" y="1252531"/>
                  </a:lnTo>
                  <a:lnTo>
                    <a:pt x="854363" y="1252919"/>
                  </a:lnTo>
                  <a:lnTo>
                    <a:pt x="854621" y="1253436"/>
                  </a:lnTo>
                  <a:lnTo>
                    <a:pt x="855138" y="1254211"/>
                  </a:lnTo>
                  <a:lnTo>
                    <a:pt x="856043" y="1254857"/>
                  </a:lnTo>
                  <a:lnTo>
                    <a:pt x="858240" y="1256021"/>
                  </a:lnTo>
                  <a:lnTo>
                    <a:pt x="859015" y="1256796"/>
                  </a:lnTo>
                  <a:lnTo>
                    <a:pt x="860178" y="1258864"/>
                  </a:lnTo>
                  <a:lnTo>
                    <a:pt x="861083" y="1259768"/>
                  </a:lnTo>
                  <a:lnTo>
                    <a:pt x="862763" y="1260156"/>
                  </a:lnTo>
                  <a:lnTo>
                    <a:pt x="864055" y="1259898"/>
                  </a:lnTo>
                  <a:lnTo>
                    <a:pt x="865477" y="1259251"/>
                  </a:lnTo>
                  <a:lnTo>
                    <a:pt x="867028" y="1258218"/>
                  </a:lnTo>
                  <a:lnTo>
                    <a:pt x="869483" y="1257054"/>
                  </a:lnTo>
                  <a:lnTo>
                    <a:pt x="870905" y="1256150"/>
                  </a:lnTo>
                  <a:lnTo>
                    <a:pt x="871809" y="1255116"/>
                  </a:lnTo>
                  <a:lnTo>
                    <a:pt x="872197" y="1254211"/>
                  </a:lnTo>
                  <a:lnTo>
                    <a:pt x="872843" y="1250593"/>
                  </a:lnTo>
                  <a:lnTo>
                    <a:pt x="873231" y="1249559"/>
                  </a:lnTo>
                  <a:lnTo>
                    <a:pt x="874136" y="1248396"/>
                  </a:lnTo>
                  <a:lnTo>
                    <a:pt x="875557" y="1247103"/>
                  </a:lnTo>
                  <a:lnTo>
                    <a:pt x="883053" y="1243356"/>
                  </a:lnTo>
                  <a:lnTo>
                    <a:pt x="884604" y="1242968"/>
                  </a:lnTo>
                  <a:lnTo>
                    <a:pt x="885896" y="1242968"/>
                  </a:lnTo>
                  <a:lnTo>
                    <a:pt x="887059" y="1243226"/>
                  </a:lnTo>
                  <a:lnTo>
                    <a:pt x="888093" y="1243743"/>
                  </a:lnTo>
                  <a:lnTo>
                    <a:pt x="888998" y="1244390"/>
                  </a:lnTo>
                  <a:lnTo>
                    <a:pt x="889644" y="1245165"/>
                  </a:lnTo>
                  <a:lnTo>
                    <a:pt x="890031" y="1245811"/>
                  </a:lnTo>
                  <a:lnTo>
                    <a:pt x="890807" y="1246716"/>
                  </a:lnTo>
                  <a:lnTo>
                    <a:pt x="891711" y="1247620"/>
                  </a:lnTo>
                  <a:lnTo>
                    <a:pt x="893779" y="1248008"/>
                  </a:lnTo>
                  <a:lnTo>
                    <a:pt x="895071" y="1247750"/>
                  </a:lnTo>
                  <a:lnTo>
                    <a:pt x="895976" y="1246974"/>
                  </a:lnTo>
                  <a:lnTo>
                    <a:pt x="896364" y="1245940"/>
                  </a:lnTo>
                  <a:lnTo>
                    <a:pt x="896493" y="1243743"/>
                  </a:lnTo>
                  <a:lnTo>
                    <a:pt x="896881" y="1242709"/>
                  </a:lnTo>
                  <a:lnTo>
                    <a:pt x="897527" y="1241805"/>
                  </a:lnTo>
                  <a:lnTo>
                    <a:pt x="898432" y="1240771"/>
                  </a:lnTo>
                  <a:lnTo>
                    <a:pt x="901792" y="1238703"/>
                  </a:lnTo>
                  <a:lnTo>
                    <a:pt x="902696" y="1237928"/>
                  </a:lnTo>
                  <a:lnTo>
                    <a:pt x="903601" y="1236894"/>
                  </a:lnTo>
                  <a:lnTo>
                    <a:pt x="905152" y="1235472"/>
                  </a:lnTo>
                  <a:lnTo>
                    <a:pt x="907349" y="1233792"/>
                  </a:lnTo>
                  <a:lnTo>
                    <a:pt x="914327" y="1230174"/>
                  </a:lnTo>
                  <a:lnTo>
                    <a:pt x="916266" y="1228881"/>
                  </a:lnTo>
                  <a:lnTo>
                    <a:pt x="917558" y="1227718"/>
                  </a:lnTo>
                  <a:lnTo>
                    <a:pt x="919367" y="1226426"/>
                  </a:lnTo>
                  <a:lnTo>
                    <a:pt x="920660" y="1226038"/>
                  </a:lnTo>
                  <a:lnTo>
                    <a:pt x="921694" y="1226426"/>
                  </a:lnTo>
                  <a:lnTo>
                    <a:pt x="922081" y="1227331"/>
                  </a:lnTo>
                  <a:lnTo>
                    <a:pt x="922081" y="1229528"/>
                  </a:lnTo>
                  <a:lnTo>
                    <a:pt x="922340" y="1230691"/>
                  </a:lnTo>
                  <a:lnTo>
                    <a:pt x="922986" y="1231725"/>
                  </a:lnTo>
                  <a:lnTo>
                    <a:pt x="923891" y="1232629"/>
                  </a:lnTo>
                  <a:lnTo>
                    <a:pt x="924666" y="1233534"/>
                  </a:lnTo>
                  <a:lnTo>
                    <a:pt x="924795" y="1234568"/>
                  </a:lnTo>
                  <a:lnTo>
                    <a:pt x="924666" y="1236765"/>
                  </a:lnTo>
                  <a:lnTo>
                    <a:pt x="924666" y="1237928"/>
                  </a:lnTo>
                  <a:lnTo>
                    <a:pt x="924924" y="1239091"/>
                  </a:lnTo>
                  <a:lnTo>
                    <a:pt x="925312" y="1240125"/>
                  </a:lnTo>
                  <a:lnTo>
                    <a:pt x="925958" y="1241417"/>
                  </a:lnTo>
                  <a:lnTo>
                    <a:pt x="926863" y="1242580"/>
                  </a:lnTo>
                  <a:lnTo>
                    <a:pt x="928026" y="1243614"/>
                  </a:lnTo>
                  <a:lnTo>
                    <a:pt x="929189" y="1244648"/>
                  </a:lnTo>
                  <a:lnTo>
                    <a:pt x="930481" y="1245294"/>
                  </a:lnTo>
                  <a:lnTo>
                    <a:pt x="931903" y="1245682"/>
                  </a:lnTo>
                  <a:lnTo>
                    <a:pt x="933712" y="1245682"/>
                  </a:lnTo>
                  <a:lnTo>
                    <a:pt x="935005" y="1245294"/>
                  </a:lnTo>
                  <a:lnTo>
                    <a:pt x="936168" y="1244648"/>
                  </a:lnTo>
                  <a:lnTo>
                    <a:pt x="938365" y="1242839"/>
                  </a:lnTo>
                  <a:lnTo>
                    <a:pt x="939399" y="1241805"/>
                  </a:lnTo>
                  <a:lnTo>
                    <a:pt x="940174" y="1240771"/>
                  </a:lnTo>
                  <a:lnTo>
                    <a:pt x="940949" y="1239608"/>
                  </a:lnTo>
                  <a:lnTo>
                    <a:pt x="942500" y="1236377"/>
                  </a:lnTo>
                  <a:lnTo>
                    <a:pt x="943146" y="1235602"/>
                  </a:lnTo>
                  <a:lnTo>
                    <a:pt x="943793" y="1235214"/>
                  </a:lnTo>
                  <a:lnTo>
                    <a:pt x="945602" y="1234051"/>
                  </a:lnTo>
                  <a:lnTo>
                    <a:pt x="946377" y="1233275"/>
                  </a:lnTo>
                  <a:lnTo>
                    <a:pt x="946765" y="1232242"/>
                  </a:lnTo>
                  <a:lnTo>
                    <a:pt x="947023" y="1229915"/>
                  </a:lnTo>
                  <a:lnTo>
                    <a:pt x="947670" y="1228752"/>
                  </a:lnTo>
                  <a:lnTo>
                    <a:pt x="948445" y="1227848"/>
                  </a:lnTo>
                  <a:lnTo>
                    <a:pt x="951805" y="1225134"/>
                  </a:lnTo>
                  <a:lnTo>
                    <a:pt x="952580" y="1224100"/>
                  </a:lnTo>
                  <a:lnTo>
                    <a:pt x="953226" y="1222937"/>
                  </a:lnTo>
                  <a:lnTo>
                    <a:pt x="953614" y="1221903"/>
                  </a:lnTo>
                  <a:lnTo>
                    <a:pt x="953614" y="1220740"/>
                  </a:lnTo>
                  <a:lnTo>
                    <a:pt x="953356" y="1219577"/>
                  </a:lnTo>
                  <a:lnTo>
                    <a:pt x="951417" y="1214149"/>
                  </a:lnTo>
                  <a:lnTo>
                    <a:pt x="951159" y="1212986"/>
                  </a:lnTo>
                  <a:lnTo>
                    <a:pt x="951288" y="1211693"/>
                  </a:lnTo>
                  <a:lnTo>
                    <a:pt x="951805" y="1210530"/>
                  </a:lnTo>
                  <a:lnTo>
                    <a:pt x="953614" y="1208333"/>
                  </a:lnTo>
                  <a:lnTo>
                    <a:pt x="954260" y="1207300"/>
                  </a:lnTo>
                  <a:lnTo>
                    <a:pt x="954777" y="1206136"/>
                  </a:lnTo>
                  <a:lnTo>
                    <a:pt x="955553" y="1205103"/>
                  </a:lnTo>
                  <a:lnTo>
                    <a:pt x="957620" y="1203164"/>
                  </a:lnTo>
                  <a:lnTo>
                    <a:pt x="960205" y="1201226"/>
                  </a:lnTo>
                  <a:lnTo>
                    <a:pt x="967055" y="1197348"/>
                  </a:lnTo>
                  <a:lnTo>
                    <a:pt x="968476" y="1197090"/>
                  </a:lnTo>
                  <a:lnTo>
                    <a:pt x="969768" y="1197219"/>
                  </a:lnTo>
                  <a:lnTo>
                    <a:pt x="970932" y="1197607"/>
                  </a:lnTo>
                  <a:lnTo>
                    <a:pt x="971707" y="1198253"/>
                  </a:lnTo>
                  <a:lnTo>
                    <a:pt x="973258" y="1199675"/>
                  </a:lnTo>
                  <a:lnTo>
                    <a:pt x="974292" y="1200321"/>
                  </a:lnTo>
                  <a:lnTo>
                    <a:pt x="975326" y="1200709"/>
                  </a:lnTo>
                  <a:lnTo>
                    <a:pt x="976489" y="1200967"/>
                  </a:lnTo>
                  <a:lnTo>
                    <a:pt x="986440" y="1201613"/>
                  </a:lnTo>
                  <a:lnTo>
                    <a:pt x="988378" y="1201355"/>
                  </a:lnTo>
                  <a:lnTo>
                    <a:pt x="989800" y="1200709"/>
                  </a:lnTo>
                  <a:lnTo>
                    <a:pt x="990704" y="1199933"/>
                  </a:lnTo>
                  <a:lnTo>
                    <a:pt x="992384" y="1197478"/>
                  </a:lnTo>
                  <a:lnTo>
                    <a:pt x="993806" y="1196315"/>
                  </a:lnTo>
                  <a:lnTo>
                    <a:pt x="996003" y="1194764"/>
                  </a:lnTo>
                  <a:lnTo>
                    <a:pt x="998071" y="1193859"/>
                  </a:lnTo>
                  <a:lnTo>
                    <a:pt x="999492" y="1193601"/>
                  </a:lnTo>
                  <a:lnTo>
                    <a:pt x="1000784" y="1193730"/>
                  </a:lnTo>
                  <a:lnTo>
                    <a:pt x="1003111" y="1195281"/>
                  </a:lnTo>
                  <a:lnTo>
                    <a:pt x="1004274" y="1195668"/>
                  </a:lnTo>
                  <a:lnTo>
                    <a:pt x="1005437" y="1195668"/>
                  </a:lnTo>
                  <a:lnTo>
                    <a:pt x="1006471" y="1195022"/>
                  </a:lnTo>
                  <a:lnTo>
                    <a:pt x="1008280" y="1193084"/>
                  </a:lnTo>
                  <a:lnTo>
                    <a:pt x="1009443" y="1192308"/>
                  </a:lnTo>
                  <a:lnTo>
                    <a:pt x="1010477" y="1191921"/>
                  </a:lnTo>
                  <a:lnTo>
                    <a:pt x="1011640" y="1191662"/>
                  </a:lnTo>
                  <a:lnTo>
                    <a:pt x="1017843" y="1192308"/>
                  </a:lnTo>
                  <a:lnTo>
                    <a:pt x="1021333" y="1191921"/>
                  </a:lnTo>
                  <a:lnTo>
                    <a:pt x="1023271" y="1192308"/>
                  </a:lnTo>
                  <a:lnTo>
                    <a:pt x="1025985" y="1193472"/>
                  </a:lnTo>
                  <a:lnTo>
                    <a:pt x="1027277" y="1193472"/>
                  </a:lnTo>
                  <a:lnTo>
                    <a:pt x="1030250" y="1191921"/>
                  </a:lnTo>
                  <a:lnTo>
                    <a:pt x="1031542" y="1191662"/>
                  </a:lnTo>
                  <a:lnTo>
                    <a:pt x="1032834" y="1192179"/>
                  </a:lnTo>
                  <a:lnTo>
                    <a:pt x="1035161" y="1193859"/>
                  </a:lnTo>
                  <a:lnTo>
                    <a:pt x="1036582" y="1194505"/>
                  </a:lnTo>
                  <a:lnTo>
                    <a:pt x="1037616" y="1194118"/>
                  </a:lnTo>
                  <a:lnTo>
                    <a:pt x="1037874" y="1193213"/>
                  </a:lnTo>
                  <a:lnTo>
                    <a:pt x="1037874" y="1192050"/>
                  </a:lnTo>
                  <a:lnTo>
                    <a:pt x="1036065" y="1185459"/>
                  </a:lnTo>
                  <a:lnTo>
                    <a:pt x="1035936" y="1184296"/>
                  </a:lnTo>
                  <a:lnTo>
                    <a:pt x="1036065" y="1183133"/>
                  </a:lnTo>
                  <a:lnTo>
                    <a:pt x="1036453" y="1182099"/>
                  </a:lnTo>
                  <a:lnTo>
                    <a:pt x="1037358" y="1179902"/>
                  </a:lnTo>
                  <a:lnTo>
                    <a:pt x="1037487" y="1178868"/>
                  </a:lnTo>
                  <a:lnTo>
                    <a:pt x="1037099" y="1177705"/>
                  </a:lnTo>
                  <a:lnTo>
                    <a:pt x="1036453" y="1176671"/>
                  </a:lnTo>
                  <a:lnTo>
                    <a:pt x="1036065" y="1175508"/>
                  </a:lnTo>
                  <a:lnTo>
                    <a:pt x="1036065" y="1174474"/>
                  </a:lnTo>
                  <a:lnTo>
                    <a:pt x="1036453" y="1172406"/>
                  </a:lnTo>
                  <a:lnTo>
                    <a:pt x="1036324" y="1171243"/>
                  </a:lnTo>
                  <a:lnTo>
                    <a:pt x="1035548" y="1167883"/>
                  </a:lnTo>
                  <a:lnTo>
                    <a:pt x="1035678" y="1166849"/>
                  </a:lnTo>
                  <a:lnTo>
                    <a:pt x="1035936" y="1165816"/>
                  </a:lnTo>
                  <a:lnTo>
                    <a:pt x="1036841" y="1165040"/>
                  </a:lnTo>
                  <a:lnTo>
                    <a:pt x="1037745" y="1164652"/>
                  </a:lnTo>
                  <a:lnTo>
                    <a:pt x="1038779" y="1165040"/>
                  </a:lnTo>
                  <a:lnTo>
                    <a:pt x="1039425" y="1165816"/>
                  </a:lnTo>
                  <a:lnTo>
                    <a:pt x="1039942" y="1166720"/>
                  </a:lnTo>
                  <a:lnTo>
                    <a:pt x="1040718" y="1167625"/>
                  </a:lnTo>
                  <a:lnTo>
                    <a:pt x="1042527" y="1167883"/>
                  </a:lnTo>
                  <a:lnTo>
                    <a:pt x="1044207" y="1167366"/>
                  </a:lnTo>
                  <a:lnTo>
                    <a:pt x="1046404" y="1166462"/>
                  </a:lnTo>
                  <a:lnTo>
                    <a:pt x="1048601" y="1165686"/>
                  </a:lnTo>
                  <a:lnTo>
                    <a:pt x="1049893" y="1164911"/>
                  </a:lnTo>
                  <a:lnTo>
                    <a:pt x="1050539" y="1164265"/>
                  </a:lnTo>
                  <a:lnTo>
                    <a:pt x="1051056" y="1163360"/>
                  </a:lnTo>
                  <a:lnTo>
                    <a:pt x="1053253" y="1159225"/>
                  </a:lnTo>
                  <a:lnTo>
                    <a:pt x="1054158" y="1158191"/>
                  </a:lnTo>
                  <a:lnTo>
                    <a:pt x="1055192" y="1157286"/>
                  </a:lnTo>
                  <a:lnTo>
                    <a:pt x="1055967" y="1156252"/>
                  </a:lnTo>
                  <a:lnTo>
                    <a:pt x="1056484" y="1155218"/>
                  </a:lnTo>
                  <a:lnTo>
                    <a:pt x="1057130" y="1153021"/>
                  </a:lnTo>
                  <a:lnTo>
                    <a:pt x="1058423" y="1150824"/>
                  </a:lnTo>
                  <a:lnTo>
                    <a:pt x="1058810" y="1149791"/>
                  </a:lnTo>
                  <a:lnTo>
                    <a:pt x="1058810" y="1148757"/>
                  </a:lnTo>
                  <a:lnTo>
                    <a:pt x="1058423" y="1147723"/>
                  </a:lnTo>
                  <a:lnTo>
                    <a:pt x="1057906" y="1146689"/>
                  </a:lnTo>
                  <a:lnTo>
                    <a:pt x="1057130" y="1145914"/>
                  </a:lnTo>
                  <a:lnTo>
                    <a:pt x="1056097" y="1145009"/>
                  </a:lnTo>
                  <a:lnTo>
                    <a:pt x="1053770" y="1143587"/>
                  </a:lnTo>
                  <a:lnTo>
                    <a:pt x="1052736" y="1142812"/>
                  </a:lnTo>
                  <a:lnTo>
                    <a:pt x="1051961" y="1141778"/>
                  </a:lnTo>
                  <a:lnTo>
                    <a:pt x="1051315" y="1140744"/>
                  </a:lnTo>
                  <a:lnTo>
                    <a:pt x="1051056" y="1139581"/>
                  </a:lnTo>
                  <a:lnTo>
                    <a:pt x="1051186" y="1138547"/>
                  </a:lnTo>
                  <a:lnTo>
                    <a:pt x="1051573" y="1137384"/>
                  </a:lnTo>
                  <a:lnTo>
                    <a:pt x="1052349" y="1136221"/>
                  </a:lnTo>
                  <a:lnTo>
                    <a:pt x="1056355" y="1132086"/>
                  </a:lnTo>
                  <a:lnTo>
                    <a:pt x="1057130" y="1130922"/>
                  </a:lnTo>
                  <a:lnTo>
                    <a:pt x="1059198" y="1127175"/>
                  </a:lnTo>
                  <a:lnTo>
                    <a:pt x="1059973" y="1126141"/>
                  </a:lnTo>
                  <a:lnTo>
                    <a:pt x="1061137" y="1125365"/>
                  </a:lnTo>
                  <a:lnTo>
                    <a:pt x="1062170" y="1124978"/>
                  </a:lnTo>
                  <a:lnTo>
                    <a:pt x="1063334" y="1124719"/>
                  </a:lnTo>
                  <a:lnTo>
                    <a:pt x="1068761" y="1124202"/>
                  </a:lnTo>
                  <a:lnTo>
                    <a:pt x="1073026" y="1122781"/>
                  </a:lnTo>
                  <a:lnTo>
                    <a:pt x="1077032" y="1121876"/>
                  </a:lnTo>
                  <a:lnTo>
                    <a:pt x="1078066" y="1121101"/>
                  </a:lnTo>
                  <a:lnTo>
                    <a:pt x="1078583" y="1120196"/>
                  </a:lnTo>
                  <a:lnTo>
                    <a:pt x="1078454" y="1119033"/>
                  </a:lnTo>
                  <a:lnTo>
                    <a:pt x="1077420" y="1115931"/>
                  </a:lnTo>
                  <a:lnTo>
                    <a:pt x="1077420" y="1114768"/>
                  </a:lnTo>
                  <a:lnTo>
                    <a:pt x="1077678" y="1113734"/>
                  </a:lnTo>
                  <a:lnTo>
                    <a:pt x="1078712" y="1112571"/>
                  </a:lnTo>
                  <a:lnTo>
                    <a:pt x="1079746" y="1111925"/>
                  </a:lnTo>
                  <a:lnTo>
                    <a:pt x="1080909" y="1111408"/>
                  </a:lnTo>
                  <a:lnTo>
                    <a:pt x="1081943" y="1111150"/>
                  </a:lnTo>
                  <a:lnTo>
                    <a:pt x="1086208" y="1110762"/>
                  </a:lnTo>
                  <a:lnTo>
                    <a:pt x="1089310" y="1109470"/>
                  </a:lnTo>
                  <a:lnTo>
                    <a:pt x="1090602" y="1109340"/>
                  </a:lnTo>
                  <a:lnTo>
                    <a:pt x="1092023" y="1109340"/>
                  </a:lnTo>
                  <a:lnTo>
                    <a:pt x="1093962" y="1109082"/>
                  </a:lnTo>
                  <a:lnTo>
                    <a:pt x="1094867" y="1108307"/>
                  </a:lnTo>
                  <a:lnTo>
                    <a:pt x="1095383" y="1107273"/>
                  </a:lnTo>
                  <a:lnTo>
                    <a:pt x="1095383" y="1106239"/>
                  </a:lnTo>
                  <a:lnTo>
                    <a:pt x="1094220" y="1101974"/>
                  </a:lnTo>
                  <a:lnTo>
                    <a:pt x="1094091" y="1100940"/>
                  </a:lnTo>
                  <a:lnTo>
                    <a:pt x="1094350" y="1099777"/>
                  </a:lnTo>
                  <a:lnTo>
                    <a:pt x="1094737" y="1098743"/>
                  </a:lnTo>
                  <a:lnTo>
                    <a:pt x="1097451" y="1094220"/>
                  </a:lnTo>
                  <a:lnTo>
                    <a:pt x="1099777" y="1091248"/>
                  </a:lnTo>
                  <a:lnTo>
                    <a:pt x="1167625" y="1092152"/>
                  </a:lnTo>
                  <a:lnTo>
                    <a:pt x="1175638" y="1092928"/>
                  </a:lnTo>
                  <a:lnTo>
                    <a:pt x="1176801" y="1093703"/>
                  </a:lnTo>
                  <a:lnTo>
                    <a:pt x="1178093" y="1094349"/>
                  </a:lnTo>
                  <a:lnTo>
                    <a:pt x="1183392" y="1095900"/>
                  </a:lnTo>
                  <a:lnTo>
                    <a:pt x="1184813" y="1096546"/>
                  </a:lnTo>
                  <a:lnTo>
                    <a:pt x="1185976" y="1097193"/>
                  </a:lnTo>
                  <a:lnTo>
                    <a:pt x="1187010" y="1097968"/>
                  </a:lnTo>
                  <a:lnTo>
                    <a:pt x="1192179" y="1103525"/>
                  </a:lnTo>
                  <a:lnTo>
                    <a:pt x="1192826" y="1104559"/>
                  </a:lnTo>
                  <a:lnTo>
                    <a:pt x="1193084" y="1105593"/>
                  </a:lnTo>
                  <a:lnTo>
                    <a:pt x="1193084" y="1107790"/>
                  </a:lnTo>
                  <a:lnTo>
                    <a:pt x="1193342" y="1108824"/>
                  </a:lnTo>
                  <a:lnTo>
                    <a:pt x="1196315" y="1114898"/>
                  </a:lnTo>
                  <a:lnTo>
                    <a:pt x="1197478" y="1116190"/>
                  </a:lnTo>
                  <a:lnTo>
                    <a:pt x="1199158" y="1117482"/>
                  </a:lnTo>
                  <a:lnTo>
                    <a:pt x="1202260" y="1119421"/>
                  </a:lnTo>
                  <a:lnTo>
                    <a:pt x="1203940" y="1120842"/>
                  </a:lnTo>
                  <a:lnTo>
                    <a:pt x="1205103" y="1122135"/>
                  </a:lnTo>
                  <a:lnTo>
                    <a:pt x="1205490" y="1123168"/>
                  </a:lnTo>
                  <a:lnTo>
                    <a:pt x="1205749" y="1124202"/>
                  </a:lnTo>
                  <a:lnTo>
                    <a:pt x="1206007" y="1128596"/>
                  </a:lnTo>
                  <a:lnTo>
                    <a:pt x="1206137" y="1129501"/>
                  </a:lnTo>
                  <a:lnTo>
                    <a:pt x="1206653" y="1130276"/>
                  </a:lnTo>
                  <a:lnTo>
                    <a:pt x="1207558" y="1130406"/>
                  </a:lnTo>
                  <a:lnTo>
                    <a:pt x="1208721" y="1130276"/>
                  </a:lnTo>
                  <a:lnTo>
                    <a:pt x="1209626" y="1130018"/>
                  </a:lnTo>
                  <a:lnTo>
                    <a:pt x="1210531" y="1129759"/>
                  </a:lnTo>
                  <a:lnTo>
                    <a:pt x="1211177" y="1129501"/>
                  </a:lnTo>
                  <a:lnTo>
                    <a:pt x="1212081" y="1129113"/>
                  </a:lnTo>
                  <a:lnTo>
                    <a:pt x="1213632" y="1128726"/>
                  </a:lnTo>
                  <a:lnTo>
                    <a:pt x="1215829" y="1128726"/>
                  </a:lnTo>
                  <a:lnTo>
                    <a:pt x="1219965" y="1129630"/>
                  </a:lnTo>
                  <a:lnTo>
                    <a:pt x="1222032" y="1130406"/>
                  </a:lnTo>
                  <a:lnTo>
                    <a:pt x="1223712" y="1131439"/>
                  </a:lnTo>
                  <a:lnTo>
                    <a:pt x="1224488" y="1132473"/>
                  </a:lnTo>
                  <a:lnTo>
                    <a:pt x="1225005" y="1133507"/>
                  </a:lnTo>
                  <a:lnTo>
                    <a:pt x="1225263" y="1134541"/>
                  </a:lnTo>
                  <a:lnTo>
                    <a:pt x="1225392" y="1135575"/>
                  </a:lnTo>
                  <a:lnTo>
                    <a:pt x="1225522" y="1136609"/>
                  </a:lnTo>
                  <a:lnTo>
                    <a:pt x="1226039" y="1137772"/>
                  </a:lnTo>
                  <a:lnTo>
                    <a:pt x="1227331" y="1139969"/>
                  </a:lnTo>
                  <a:lnTo>
                    <a:pt x="1227848" y="1141003"/>
                  </a:lnTo>
                  <a:lnTo>
                    <a:pt x="1229011" y="1145267"/>
                  </a:lnTo>
                  <a:lnTo>
                    <a:pt x="1230562" y="1149403"/>
                  </a:lnTo>
                  <a:lnTo>
                    <a:pt x="1231208" y="1151600"/>
                  </a:lnTo>
                  <a:lnTo>
                    <a:pt x="1231596" y="1152634"/>
                  </a:lnTo>
                  <a:lnTo>
                    <a:pt x="1232371" y="1153668"/>
                  </a:lnTo>
                  <a:lnTo>
                    <a:pt x="1233276" y="1154314"/>
                  </a:lnTo>
                  <a:lnTo>
                    <a:pt x="1234439" y="1154701"/>
                  </a:lnTo>
                  <a:lnTo>
                    <a:pt x="1235473" y="1154831"/>
                  </a:lnTo>
                  <a:lnTo>
                    <a:pt x="1236636" y="1154831"/>
                  </a:lnTo>
                  <a:lnTo>
                    <a:pt x="1240254" y="1154314"/>
                  </a:lnTo>
                  <a:lnTo>
                    <a:pt x="1241934" y="1154314"/>
                  </a:lnTo>
                  <a:lnTo>
                    <a:pt x="1244519" y="1154960"/>
                  </a:lnTo>
                  <a:lnTo>
                    <a:pt x="1245682" y="1155865"/>
                  </a:lnTo>
                  <a:lnTo>
                    <a:pt x="1246199" y="1156898"/>
                  </a:lnTo>
                  <a:lnTo>
                    <a:pt x="1245811" y="1159095"/>
                  </a:lnTo>
                  <a:lnTo>
                    <a:pt x="1245811" y="1160129"/>
                  </a:lnTo>
                  <a:lnTo>
                    <a:pt x="1246328" y="1161292"/>
                  </a:lnTo>
                  <a:lnTo>
                    <a:pt x="1248008" y="1164652"/>
                  </a:lnTo>
                  <a:lnTo>
                    <a:pt x="1248654" y="1166849"/>
                  </a:lnTo>
                  <a:lnTo>
                    <a:pt x="1249301" y="1171502"/>
                  </a:lnTo>
                  <a:lnTo>
                    <a:pt x="1249688" y="1172665"/>
                  </a:lnTo>
                  <a:lnTo>
                    <a:pt x="1250205" y="1173828"/>
                  </a:lnTo>
                  <a:lnTo>
                    <a:pt x="1251239" y="1175120"/>
                  </a:lnTo>
                  <a:lnTo>
                    <a:pt x="1252273" y="1175508"/>
                  </a:lnTo>
                  <a:lnTo>
                    <a:pt x="1253436" y="1175637"/>
                  </a:lnTo>
                  <a:lnTo>
                    <a:pt x="1254599" y="1175508"/>
                  </a:lnTo>
                  <a:lnTo>
                    <a:pt x="1255892" y="1175637"/>
                  </a:lnTo>
                  <a:lnTo>
                    <a:pt x="1262741" y="1177447"/>
                  </a:lnTo>
                  <a:lnTo>
                    <a:pt x="1263904" y="1178093"/>
                  </a:lnTo>
                  <a:lnTo>
                    <a:pt x="1264679" y="1178610"/>
                  </a:lnTo>
                  <a:lnTo>
                    <a:pt x="1265196" y="1179514"/>
                  </a:lnTo>
                  <a:lnTo>
                    <a:pt x="1265713" y="1180548"/>
                  </a:lnTo>
                  <a:lnTo>
                    <a:pt x="1266618" y="1181840"/>
                  </a:lnTo>
                  <a:lnTo>
                    <a:pt x="1268427" y="1183391"/>
                  </a:lnTo>
                  <a:lnTo>
                    <a:pt x="1271270" y="1184554"/>
                  </a:lnTo>
                  <a:lnTo>
                    <a:pt x="1273080" y="1185071"/>
                  </a:lnTo>
                  <a:lnTo>
                    <a:pt x="1274630" y="1185071"/>
                  </a:lnTo>
                  <a:lnTo>
                    <a:pt x="1275794" y="1184813"/>
                  </a:lnTo>
                  <a:lnTo>
                    <a:pt x="1276827" y="1184167"/>
                  </a:lnTo>
                  <a:lnTo>
                    <a:pt x="1277732" y="1183391"/>
                  </a:lnTo>
                  <a:lnTo>
                    <a:pt x="1278507" y="1182487"/>
                  </a:lnTo>
                  <a:lnTo>
                    <a:pt x="1278895" y="1181453"/>
                  </a:lnTo>
                  <a:lnTo>
                    <a:pt x="1279024" y="1180290"/>
                  </a:lnTo>
                  <a:lnTo>
                    <a:pt x="1279154" y="1178093"/>
                  </a:lnTo>
                  <a:lnTo>
                    <a:pt x="1279541" y="1175637"/>
                  </a:lnTo>
                  <a:lnTo>
                    <a:pt x="1279929" y="1174474"/>
                  </a:lnTo>
                  <a:lnTo>
                    <a:pt x="1280446" y="1173311"/>
                  </a:lnTo>
                  <a:lnTo>
                    <a:pt x="1281092" y="1172277"/>
                  </a:lnTo>
                  <a:lnTo>
                    <a:pt x="1281867" y="1171243"/>
                  </a:lnTo>
                  <a:lnTo>
                    <a:pt x="1282772" y="1170726"/>
                  </a:lnTo>
                  <a:lnTo>
                    <a:pt x="1283806" y="1170339"/>
                  </a:lnTo>
                  <a:lnTo>
                    <a:pt x="1287424" y="1170468"/>
                  </a:lnTo>
                  <a:lnTo>
                    <a:pt x="1288588" y="1170209"/>
                  </a:lnTo>
                  <a:lnTo>
                    <a:pt x="1289751" y="1169563"/>
                  </a:lnTo>
                  <a:lnTo>
                    <a:pt x="1290785" y="1168529"/>
                  </a:lnTo>
                  <a:lnTo>
                    <a:pt x="1292206" y="1166462"/>
                  </a:lnTo>
                  <a:lnTo>
                    <a:pt x="1293111" y="1165557"/>
                  </a:lnTo>
                  <a:lnTo>
                    <a:pt x="1294791" y="1165169"/>
                  </a:lnTo>
                  <a:lnTo>
                    <a:pt x="1296212" y="1165428"/>
                  </a:lnTo>
                  <a:lnTo>
                    <a:pt x="1298022" y="1166074"/>
                  </a:lnTo>
                  <a:lnTo>
                    <a:pt x="1303837" y="1166979"/>
                  </a:lnTo>
                  <a:lnTo>
                    <a:pt x="1305259" y="1167754"/>
                  </a:lnTo>
                  <a:lnTo>
                    <a:pt x="1306163" y="1168788"/>
                  </a:lnTo>
                  <a:lnTo>
                    <a:pt x="1306422" y="1169951"/>
                  </a:lnTo>
                  <a:lnTo>
                    <a:pt x="1306034" y="1173828"/>
                  </a:lnTo>
                  <a:lnTo>
                    <a:pt x="1634287" y="1171631"/>
                  </a:lnTo>
                  <a:lnTo>
                    <a:pt x="1639198" y="1168529"/>
                  </a:lnTo>
                  <a:lnTo>
                    <a:pt x="1641137" y="1166979"/>
                  </a:lnTo>
                  <a:lnTo>
                    <a:pt x="1642041" y="1165428"/>
                  </a:lnTo>
                  <a:lnTo>
                    <a:pt x="1643980" y="1158062"/>
                  </a:lnTo>
                  <a:lnTo>
                    <a:pt x="1645143" y="1155218"/>
                  </a:lnTo>
                  <a:lnTo>
                    <a:pt x="1647340" y="1151471"/>
                  </a:lnTo>
                  <a:lnTo>
                    <a:pt x="1647728" y="1150437"/>
                  </a:lnTo>
                  <a:lnTo>
                    <a:pt x="1647857" y="1149403"/>
                  </a:lnTo>
                  <a:lnTo>
                    <a:pt x="1647728" y="1148498"/>
                  </a:lnTo>
                  <a:lnTo>
                    <a:pt x="1646952" y="1146431"/>
                  </a:lnTo>
                  <a:lnTo>
                    <a:pt x="1646565" y="1145138"/>
                  </a:lnTo>
                  <a:lnTo>
                    <a:pt x="1645531" y="1137643"/>
                  </a:lnTo>
                  <a:lnTo>
                    <a:pt x="1645531" y="1136609"/>
                  </a:lnTo>
                  <a:lnTo>
                    <a:pt x="1645789" y="1135575"/>
                  </a:lnTo>
                  <a:lnTo>
                    <a:pt x="1646565" y="1134670"/>
                  </a:lnTo>
                  <a:lnTo>
                    <a:pt x="1649408" y="1132344"/>
                  </a:lnTo>
                  <a:lnTo>
                    <a:pt x="1650183" y="1131439"/>
                  </a:lnTo>
                  <a:lnTo>
                    <a:pt x="1650829" y="1130276"/>
                  </a:lnTo>
                  <a:lnTo>
                    <a:pt x="1651605" y="1128209"/>
                  </a:lnTo>
                  <a:lnTo>
                    <a:pt x="1652897" y="1124073"/>
                  </a:lnTo>
                  <a:lnTo>
                    <a:pt x="1653285" y="1123039"/>
                  </a:lnTo>
                  <a:lnTo>
                    <a:pt x="1654577" y="1120842"/>
                  </a:lnTo>
                  <a:lnTo>
                    <a:pt x="1656128" y="1118775"/>
                  </a:lnTo>
                  <a:lnTo>
                    <a:pt x="1656645" y="1117741"/>
                  </a:lnTo>
                  <a:lnTo>
                    <a:pt x="1656645" y="1116707"/>
                  </a:lnTo>
                  <a:lnTo>
                    <a:pt x="1656257" y="1115673"/>
                  </a:lnTo>
                  <a:lnTo>
                    <a:pt x="1656128" y="1114510"/>
                  </a:lnTo>
                  <a:lnTo>
                    <a:pt x="1656257" y="1113347"/>
                  </a:lnTo>
                  <a:lnTo>
                    <a:pt x="1659617" y="1103783"/>
                  </a:lnTo>
                  <a:lnTo>
                    <a:pt x="1659876" y="1102491"/>
                  </a:lnTo>
                  <a:lnTo>
                    <a:pt x="1660005" y="1101328"/>
                  </a:lnTo>
                  <a:lnTo>
                    <a:pt x="1659876" y="1100165"/>
                  </a:lnTo>
                  <a:lnTo>
                    <a:pt x="1657808" y="1091635"/>
                  </a:lnTo>
                  <a:lnTo>
                    <a:pt x="1655999" y="1086337"/>
                  </a:lnTo>
                  <a:lnTo>
                    <a:pt x="1653285" y="1081426"/>
                  </a:lnTo>
                  <a:lnTo>
                    <a:pt x="1652768" y="1080263"/>
                  </a:lnTo>
                  <a:lnTo>
                    <a:pt x="1652251" y="1078195"/>
                  </a:lnTo>
                  <a:lnTo>
                    <a:pt x="1651863" y="1076127"/>
                  </a:lnTo>
                  <a:lnTo>
                    <a:pt x="1651734" y="1073931"/>
                  </a:lnTo>
                  <a:lnTo>
                    <a:pt x="1651863" y="1072897"/>
                  </a:lnTo>
                  <a:lnTo>
                    <a:pt x="1652121" y="1071734"/>
                  </a:lnTo>
                  <a:lnTo>
                    <a:pt x="1652509" y="1070570"/>
                  </a:lnTo>
                  <a:lnTo>
                    <a:pt x="1653155" y="1069537"/>
                  </a:lnTo>
                  <a:lnTo>
                    <a:pt x="1654706" y="1067598"/>
                  </a:lnTo>
                  <a:lnTo>
                    <a:pt x="1656774" y="1065789"/>
                  </a:lnTo>
                  <a:lnTo>
                    <a:pt x="1659876" y="1063592"/>
                  </a:lnTo>
                  <a:lnTo>
                    <a:pt x="1660780" y="1062558"/>
                  </a:lnTo>
                  <a:lnTo>
                    <a:pt x="1663623" y="1056872"/>
                  </a:lnTo>
                  <a:lnTo>
                    <a:pt x="1664399" y="1055838"/>
                  </a:lnTo>
                  <a:lnTo>
                    <a:pt x="1667242" y="1052865"/>
                  </a:lnTo>
                  <a:lnTo>
                    <a:pt x="1668017" y="1051702"/>
                  </a:lnTo>
                  <a:lnTo>
                    <a:pt x="1668663" y="1050668"/>
                  </a:lnTo>
                  <a:lnTo>
                    <a:pt x="1670214" y="1047308"/>
                  </a:lnTo>
                  <a:lnTo>
                    <a:pt x="1670473" y="1046275"/>
                  </a:lnTo>
                  <a:lnTo>
                    <a:pt x="1670602" y="1045111"/>
                  </a:lnTo>
                  <a:lnTo>
                    <a:pt x="1670602" y="1043948"/>
                  </a:lnTo>
                  <a:lnTo>
                    <a:pt x="1670343" y="1042914"/>
                  </a:lnTo>
                  <a:lnTo>
                    <a:pt x="1669180" y="1040717"/>
                  </a:lnTo>
                  <a:lnTo>
                    <a:pt x="1668405" y="1038650"/>
                  </a:lnTo>
                  <a:lnTo>
                    <a:pt x="1668276" y="1037874"/>
                  </a:lnTo>
                  <a:lnTo>
                    <a:pt x="1668276" y="1037487"/>
                  </a:lnTo>
                  <a:lnTo>
                    <a:pt x="1668663" y="1035290"/>
                  </a:lnTo>
                  <a:lnTo>
                    <a:pt x="1668663" y="1033222"/>
                  </a:lnTo>
                  <a:lnTo>
                    <a:pt x="1668922" y="1032188"/>
                  </a:lnTo>
                  <a:lnTo>
                    <a:pt x="1669439" y="1030250"/>
                  </a:lnTo>
                  <a:lnTo>
                    <a:pt x="1669826" y="1029603"/>
                  </a:lnTo>
                  <a:lnTo>
                    <a:pt x="1670343" y="1028828"/>
                  </a:lnTo>
                  <a:lnTo>
                    <a:pt x="1673187" y="1026502"/>
                  </a:lnTo>
                  <a:lnTo>
                    <a:pt x="1674091" y="1025468"/>
                  </a:lnTo>
                  <a:lnTo>
                    <a:pt x="1676417" y="1022366"/>
                  </a:lnTo>
                  <a:lnTo>
                    <a:pt x="1678097" y="1020299"/>
                  </a:lnTo>
                  <a:lnTo>
                    <a:pt x="1676030" y="1018489"/>
                  </a:lnTo>
                  <a:lnTo>
                    <a:pt x="1674350" y="1016163"/>
                  </a:lnTo>
                  <a:lnTo>
                    <a:pt x="1673833" y="1014354"/>
                  </a:lnTo>
                  <a:lnTo>
                    <a:pt x="1673574" y="1013062"/>
                  </a:lnTo>
                  <a:lnTo>
                    <a:pt x="1673574" y="1011898"/>
                  </a:lnTo>
                  <a:lnTo>
                    <a:pt x="1673962" y="1009831"/>
                  </a:lnTo>
                  <a:lnTo>
                    <a:pt x="1673962" y="1007634"/>
                  </a:lnTo>
                  <a:lnTo>
                    <a:pt x="1672799" y="1001818"/>
                  </a:lnTo>
                  <a:lnTo>
                    <a:pt x="1672153" y="1000397"/>
                  </a:lnTo>
                  <a:lnTo>
                    <a:pt x="1669439" y="995744"/>
                  </a:lnTo>
                  <a:lnTo>
                    <a:pt x="1667629" y="994064"/>
                  </a:lnTo>
                  <a:lnTo>
                    <a:pt x="1664528" y="991479"/>
                  </a:lnTo>
                  <a:lnTo>
                    <a:pt x="1658583" y="985276"/>
                  </a:lnTo>
                  <a:lnTo>
                    <a:pt x="1656386" y="983338"/>
                  </a:lnTo>
                  <a:lnTo>
                    <a:pt x="1652380" y="980753"/>
                  </a:lnTo>
                  <a:lnTo>
                    <a:pt x="1650700" y="979332"/>
                  </a:lnTo>
                  <a:lnTo>
                    <a:pt x="1648761" y="976618"/>
                  </a:lnTo>
                  <a:lnTo>
                    <a:pt x="1647598" y="974679"/>
                  </a:lnTo>
                  <a:lnTo>
                    <a:pt x="1646435" y="972094"/>
                  </a:lnTo>
                  <a:lnTo>
                    <a:pt x="1642687" y="960851"/>
                  </a:lnTo>
                  <a:lnTo>
                    <a:pt x="1642300" y="958654"/>
                  </a:lnTo>
                  <a:lnTo>
                    <a:pt x="1642041" y="956457"/>
                  </a:lnTo>
                  <a:lnTo>
                    <a:pt x="1642170" y="954260"/>
                  </a:lnTo>
                  <a:lnTo>
                    <a:pt x="1642687" y="952063"/>
                  </a:lnTo>
                  <a:lnTo>
                    <a:pt x="1644368" y="948962"/>
                  </a:lnTo>
                  <a:lnTo>
                    <a:pt x="1646177" y="946377"/>
                  </a:lnTo>
                  <a:lnTo>
                    <a:pt x="1647728" y="944826"/>
                  </a:lnTo>
                  <a:lnTo>
                    <a:pt x="1655999" y="938106"/>
                  </a:lnTo>
                  <a:lnTo>
                    <a:pt x="1657032" y="936814"/>
                  </a:lnTo>
                  <a:lnTo>
                    <a:pt x="1661168" y="930094"/>
                  </a:lnTo>
                  <a:lnTo>
                    <a:pt x="1825682" y="576769"/>
                  </a:lnTo>
                  <a:lnTo>
                    <a:pt x="1864969" y="492121"/>
                  </a:lnTo>
                  <a:lnTo>
                    <a:pt x="1865874" y="488890"/>
                  </a:lnTo>
                  <a:lnTo>
                    <a:pt x="1866003" y="486564"/>
                  </a:lnTo>
                  <a:lnTo>
                    <a:pt x="1864711" y="485272"/>
                  </a:lnTo>
                  <a:lnTo>
                    <a:pt x="1864065" y="484238"/>
                  </a:lnTo>
                  <a:lnTo>
                    <a:pt x="1863806" y="483463"/>
                  </a:lnTo>
                  <a:lnTo>
                    <a:pt x="1864065" y="482816"/>
                  </a:lnTo>
                  <a:lnTo>
                    <a:pt x="1864323" y="482429"/>
                  </a:lnTo>
                  <a:lnTo>
                    <a:pt x="1864581" y="481912"/>
                  </a:lnTo>
                  <a:lnTo>
                    <a:pt x="1865228" y="481136"/>
                  </a:lnTo>
                  <a:lnTo>
                    <a:pt x="1866132" y="480619"/>
                  </a:lnTo>
                  <a:lnTo>
                    <a:pt x="1870009" y="478552"/>
                  </a:lnTo>
                  <a:lnTo>
                    <a:pt x="1872206" y="477001"/>
                  </a:lnTo>
                  <a:lnTo>
                    <a:pt x="1872982" y="476355"/>
                  </a:lnTo>
                  <a:lnTo>
                    <a:pt x="1873240" y="475967"/>
                  </a:lnTo>
                  <a:lnTo>
                    <a:pt x="1873369" y="475579"/>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7" name="Graphic 2">
              <a:extLst>
                <a:ext uri="{FF2B5EF4-FFF2-40B4-BE49-F238E27FC236}">
                  <a16:creationId xmlns:a16="http://schemas.microsoft.com/office/drawing/2014/main" id="{845FEA98-474E-4F4E-B81A-525D1D774B54}"/>
                </a:ext>
              </a:extLst>
            </p:cNvPr>
            <p:cNvSpPr/>
            <p:nvPr/>
          </p:nvSpPr>
          <p:spPr>
            <a:xfrm>
              <a:off x="5738540" y="1328438"/>
              <a:ext cx="527014" cy="601969"/>
            </a:xfrm>
            <a:custGeom>
              <a:avLst/>
              <a:gdLst>
                <a:gd name="connsiteX0" fmla="*/ 455290 w 527014"/>
                <a:gd name="connsiteY0" fmla="*/ 244251 h 601969"/>
                <a:gd name="connsiteX1" fmla="*/ 456065 w 527014"/>
                <a:gd name="connsiteY1" fmla="*/ 244381 h 601969"/>
                <a:gd name="connsiteX2" fmla="*/ 457099 w 527014"/>
                <a:gd name="connsiteY2" fmla="*/ 245156 h 601969"/>
                <a:gd name="connsiteX3" fmla="*/ 457745 w 527014"/>
                <a:gd name="connsiteY3" fmla="*/ 247482 h 601969"/>
                <a:gd name="connsiteX4" fmla="*/ 458908 w 527014"/>
                <a:gd name="connsiteY4" fmla="*/ 248128 h 601969"/>
                <a:gd name="connsiteX5" fmla="*/ 460201 w 527014"/>
                <a:gd name="connsiteY5" fmla="*/ 248387 h 601969"/>
                <a:gd name="connsiteX6" fmla="*/ 461493 w 527014"/>
                <a:gd name="connsiteY6" fmla="*/ 248128 h 601969"/>
                <a:gd name="connsiteX7" fmla="*/ 462915 w 527014"/>
                <a:gd name="connsiteY7" fmla="*/ 248387 h 601969"/>
                <a:gd name="connsiteX8" fmla="*/ 463690 w 527014"/>
                <a:gd name="connsiteY8" fmla="*/ 247482 h 601969"/>
                <a:gd name="connsiteX9" fmla="*/ 464595 w 527014"/>
                <a:gd name="connsiteY9" fmla="*/ 246965 h 601969"/>
                <a:gd name="connsiteX10" fmla="*/ 466275 w 527014"/>
                <a:gd name="connsiteY10" fmla="*/ 247224 h 601969"/>
                <a:gd name="connsiteX11" fmla="*/ 468084 w 527014"/>
                <a:gd name="connsiteY11" fmla="*/ 247094 h 601969"/>
                <a:gd name="connsiteX12" fmla="*/ 469118 w 527014"/>
                <a:gd name="connsiteY12" fmla="*/ 246319 h 601969"/>
                <a:gd name="connsiteX13" fmla="*/ 468859 w 527014"/>
                <a:gd name="connsiteY13" fmla="*/ 244381 h 601969"/>
                <a:gd name="connsiteX14" fmla="*/ 467438 w 527014"/>
                <a:gd name="connsiteY14" fmla="*/ 242184 h 601969"/>
                <a:gd name="connsiteX15" fmla="*/ 465499 w 527014"/>
                <a:gd name="connsiteY15" fmla="*/ 241021 h 601969"/>
                <a:gd name="connsiteX16" fmla="*/ 463949 w 527014"/>
                <a:gd name="connsiteY16" fmla="*/ 239857 h 601969"/>
                <a:gd name="connsiteX17" fmla="*/ 460847 w 527014"/>
                <a:gd name="connsiteY17" fmla="*/ 239857 h 601969"/>
                <a:gd name="connsiteX18" fmla="*/ 458521 w 527014"/>
                <a:gd name="connsiteY18" fmla="*/ 239728 h 601969"/>
                <a:gd name="connsiteX19" fmla="*/ 455548 w 527014"/>
                <a:gd name="connsiteY19" fmla="*/ 241796 h 601969"/>
                <a:gd name="connsiteX20" fmla="*/ 454256 w 527014"/>
                <a:gd name="connsiteY20" fmla="*/ 243088 h 601969"/>
                <a:gd name="connsiteX21" fmla="*/ 454256 w 527014"/>
                <a:gd name="connsiteY21" fmla="*/ 243605 h 601969"/>
                <a:gd name="connsiteX22" fmla="*/ 455290 w 527014"/>
                <a:gd name="connsiteY22" fmla="*/ 244251 h 601969"/>
                <a:gd name="connsiteX23" fmla="*/ 507112 w 527014"/>
                <a:gd name="connsiteY23" fmla="*/ 376586 h 601969"/>
                <a:gd name="connsiteX24" fmla="*/ 504140 w 527014"/>
                <a:gd name="connsiteY24" fmla="*/ 375036 h 601969"/>
                <a:gd name="connsiteX25" fmla="*/ 501426 w 527014"/>
                <a:gd name="connsiteY25" fmla="*/ 374777 h 601969"/>
                <a:gd name="connsiteX26" fmla="*/ 499229 w 527014"/>
                <a:gd name="connsiteY26" fmla="*/ 375294 h 601969"/>
                <a:gd name="connsiteX27" fmla="*/ 496386 w 527014"/>
                <a:gd name="connsiteY27" fmla="*/ 378266 h 601969"/>
                <a:gd name="connsiteX28" fmla="*/ 489278 w 527014"/>
                <a:gd name="connsiteY28" fmla="*/ 381239 h 601969"/>
                <a:gd name="connsiteX29" fmla="*/ 483980 w 527014"/>
                <a:gd name="connsiteY29" fmla="*/ 386537 h 601969"/>
                <a:gd name="connsiteX30" fmla="*/ 483075 w 527014"/>
                <a:gd name="connsiteY30" fmla="*/ 390802 h 601969"/>
                <a:gd name="connsiteX31" fmla="*/ 483980 w 527014"/>
                <a:gd name="connsiteY31" fmla="*/ 393258 h 601969"/>
                <a:gd name="connsiteX32" fmla="*/ 487598 w 527014"/>
                <a:gd name="connsiteY32" fmla="*/ 393387 h 601969"/>
                <a:gd name="connsiteX33" fmla="*/ 491734 w 527014"/>
                <a:gd name="connsiteY33" fmla="*/ 392870 h 601969"/>
                <a:gd name="connsiteX34" fmla="*/ 497161 w 527014"/>
                <a:gd name="connsiteY34" fmla="*/ 392870 h 601969"/>
                <a:gd name="connsiteX35" fmla="*/ 500263 w 527014"/>
                <a:gd name="connsiteY35" fmla="*/ 392741 h 601969"/>
                <a:gd name="connsiteX36" fmla="*/ 501297 w 527014"/>
                <a:gd name="connsiteY36" fmla="*/ 392611 h 601969"/>
                <a:gd name="connsiteX37" fmla="*/ 502202 w 527014"/>
                <a:gd name="connsiteY37" fmla="*/ 392224 h 601969"/>
                <a:gd name="connsiteX38" fmla="*/ 504269 w 527014"/>
                <a:gd name="connsiteY38" fmla="*/ 389768 h 601969"/>
                <a:gd name="connsiteX39" fmla="*/ 505045 w 527014"/>
                <a:gd name="connsiteY39" fmla="*/ 387701 h 601969"/>
                <a:gd name="connsiteX40" fmla="*/ 505949 w 527014"/>
                <a:gd name="connsiteY40" fmla="*/ 386667 h 601969"/>
                <a:gd name="connsiteX41" fmla="*/ 507888 w 527014"/>
                <a:gd name="connsiteY41" fmla="*/ 385245 h 601969"/>
                <a:gd name="connsiteX42" fmla="*/ 509309 w 527014"/>
                <a:gd name="connsiteY42" fmla="*/ 381885 h 601969"/>
                <a:gd name="connsiteX43" fmla="*/ 510731 w 527014"/>
                <a:gd name="connsiteY43" fmla="*/ 379688 h 601969"/>
                <a:gd name="connsiteX44" fmla="*/ 511506 w 527014"/>
                <a:gd name="connsiteY44" fmla="*/ 377620 h 601969"/>
                <a:gd name="connsiteX45" fmla="*/ 510343 w 527014"/>
                <a:gd name="connsiteY45" fmla="*/ 376457 h 601969"/>
                <a:gd name="connsiteX46" fmla="*/ 507112 w 527014"/>
                <a:gd name="connsiteY46" fmla="*/ 376586 h 601969"/>
                <a:gd name="connsiteX47" fmla="*/ 466145 w 527014"/>
                <a:gd name="connsiteY47" fmla="*/ 248387 h 601969"/>
                <a:gd name="connsiteX48" fmla="*/ 464724 w 527014"/>
                <a:gd name="connsiteY48" fmla="*/ 248128 h 601969"/>
                <a:gd name="connsiteX49" fmla="*/ 463044 w 527014"/>
                <a:gd name="connsiteY49" fmla="*/ 249550 h 601969"/>
                <a:gd name="connsiteX50" fmla="*/ 461105 w 527014"/>
                <a:gd name="connsiteY50" fmla="*/ 249421 h 601969"/>
                <a:gd name="connsiteX51" fmla="*/ 459425 w 527014"/>
                <a:gd name="connsiteY51" fmla="*/ 249808 h 601969"/>
                <a:gd name="connsiteX52" fmla="*/ 458650 w 527014"/>
                <a:gd name="connsiteY52" fmla="*/ 251488 h 601969"/>
                <a:gd name="connsiteX53" fmla="*/ 458650 w 527014"/>
                <a:gd name="connsiteY53" fmla="*/ 253944 h 601969"/>
                <a:gd name="connsiteX54" fmla="*/ 457616 w 527014"/>
                <a:gd name="connsiteY54" fmla="*/ 256529 h 601969"/>
                <a:gd name="connsiteX55" fmla="*/ 457357 w 527014"/>
                <a:gd name="connsiteY55" fmla="*/ 259759 h 601969"/>
                <a:gd name="connsiteX56" fmla="*/ 459038 w 527014"/>
                <a:gd name="connsiteY56" fmla="*/ 260406 h 601969"/>
                <a:gd name="connsiteX57" fmla="*/ 460201 w 527014"/>
                <a:gd name="connsiteY57" fmla="*/ 261569 h 601969"/>
                <a:gd name="connsiteX58" fmla="*/ 460459 w 527014"/>
                <a:gd name="connsiteY58" fmla="*/ 263378 h 601969"/>
                <a:gd name="connsiteX59" fmla="*/ 462527 w 527014"/>
                <a:gd name="connsiteY59" fmla="*/ 265963 h 601969"/>
                <a:gd name="connsiteX60" fmla="*/ 464465 w 527014"/>
                <a:gd name="connsiteY60" fmla="*/ 272553 h 601969"/>
                <a:gd name="connsiteX61" fmla="*/ 466404 w 527014"/>
                <a:gd name="connsiteY61" fmla="*/ 273717 h 601969"/>
                <a:gd name="connsiteX62" fmla="*/ 468730 w 527014"/>
                <a:gd name="connsiteY62" fmla="*/ 274492 h 601969"/>
                <a:gd name="connsiteX63" fmla="*/ 471315 w 527014"/>
                <a:gd name="connsiteY63" fmla="*/ 273717 h 601969"/>
                <a:gd name="connsiteX64" fmla="*/ 473253 w 527014"/>
                <a:gd name="connsiteY64" fmla="*/ 272941 h 601969"/>
                <a:gd name="connsiteX65" fmla="*/ 477260 w 527014"/>
                <a:gd name="connsiteY65" fmla="*/ 269323 h 601969"/>
                <a:gd name="connsiteX66" fmla="*/ 479198 w 527014"/>
                <a:gd name="connsiteY66" fmla="*/ 266867 h 601969"/>
                <a:gd name="connsiteX67" fmla="*/ 480103 w 527014"/>
                <a:gd name="connsiteY67" fmla="*/ 265575 h 601969"/>
                <a:gd name="connsiteX68" fmla="*/ 479973 w 527014"/>
                <a:gd name="connsiteY68" fmla="*/ 263378 h 601969"/>
                <a:gd name="connsiteX69" fmla="*/ 478810 w 527014"/>
                <a:gd name="connsiteY69" fmla="*/ 260922 h 601969"/>
                <a:gd name="connsiteX70" fmla="*/ 477389 w 527014"/>
                <a:gd name="connsiteY70" fmla="*/ 258984 h 601969"/>
                <a:gd name="connsiteX71" fmla="*/ 475838 w 527014"/>
                <a:gd name="connsiteY71" fmla="*/ 256399 h 601969"/>
                <a:gd name="connsiteX72" fmla="*/ 475450 w 527014"/>
                <a:gd name="connsiteY72" fmla="*/ 253685 h 601969"/>
                <a:gd name="connsiteX73" fmla="*/ 474416 w 527014"/>
                <a:gd name="connsiteY73" fmla="*/ 252652 h 601969"/>
                <a:gd name="connsiteX74" fmla="*/ 472219 w 527014"/>
                <a:gd name="connsiteY74" fmla="*/ 249679 h 601969"/>
                <a:gd name="connsiteX75" fmla="*/ 470798 w 527014"/>
                <a:gd name="connsiteY75" fmla="*/ 247741 h 601969"/>
                <a:gd name="connsiteX76" fmla="*/ 469764 w 527014"/>
                <a:gd name="connsiteY76" fmla="*/ 247999 h 601969"/>
                <a:gd name="connsiteX77" fmla="*/ 467955 w 527014"/>
                <a:gd name="connsiteY77" fmla="*/ 248258 h 601969"/>
                <a:gd name="connsiteX78" fmla="*/ 466145 w 527014"/>
                <a:gd name="connsiteY78" fmla="*/ 248387 h 601969"/>
                <a:gd name="connsiteX79" fmla="*/ 519131 w 527014"/>
                <a:gd name="connsiteY79" fmla="*/ 359528 h 601969"/>
                <a:gd name="connsiteX80" fmla="*/ 516934 w 527014"/>
                <a:gd name="connsiteY80" fmla="*/ 361595 h 601969"/>
                <a:gd name="connsiteX81" fmla="*/ 513574 w 527014"/>
                <a:gd name="connsiteY81" fmla="*/ 362629 h 601969"/>
                <a:gd name="connsiteX82" fmla="*/ 511636 w 527014"/>
                <a:gd name="connsiteY82" fmla="*/ 363534 h 601969"/>
                <a:gd name="connsiteX83" fmla="*/ 509956 w 527014"/>
                <a:gd name="connsiteY83" fmla="*/ 364568 h 601969"/>
                <a:gd name="connsiteX84" fmla="*/ 509309 w 527014"/>
                <a:gd name="connsiteY84" fmla="*/ 365472 h 601969"/>
                <a:gd name="connsiteX85" fmla="*/ 508146 w 527014"/>
                <a:gd name="connsiteY85" fmla="*/ 367669 h 601969"/>
                <a:gd name="connsiteX86" fmla="*/ 505562 w 527014"/>
                <a:gd name="connsiteY86" fmla="*/ 368574 h 601969"/>
                <a:gd name="connsiteX87" fmla="*/ 502719 w 527014"/>
                <a:gd name="connsiteY87" fmla="*/ 370513 h 601969"/>
                <a:gd name="connsiteX88" fmla="*/ 502848 w 527014"/>
                <a:gd name="connsiteY88" fmla="*/ 372709 h 601969"/>
                <a:gd name="connsiteX89" fmla="*/ 505820 w 527014"/>
                <a:gd name="connsiteY89" fmla="*/ 373485 h 601969"/>
                <a:gd name="connsiteX90" fmla="*/ 506854 w 527014"/>
                <a:gd name="connsiteY90" fmla="*/ 374389 h 601969"/>
                <a:gd name="connsiteX91" fmla="*/ 510214 w 527014"/>
                <a:gd name="connsiteY91" fmla="*/ 373226 h 601969"/>
                <a:gd name="connsiteX92" fmla="*/ 510860 w 527014"/>
                <a:gd name="connsiteY92" fmla="*/ 372968 h 601969"/>
                <a:gd name="connsiteX93" fmla="*/ 512669 w 527014"/>
                <a:gd name="connsiteY93" fmla="*/ 372580 h 601969"/>
                <a:gd name="connsiteX94" fmla="*/ 513057 w 527014"/>
                <a:gd name="connsiteY94" fmla="*/ 372193 h 601969"/>
                <a:gd name="connsiteX95" fmla="*/ 513833 w 527014"/>
                <a:gd name="connsiteY95" fmla="*/ 371417 h 601969"/>
                <a:gd name="connsiteX96" fmla="*/ 517451 w 527014"/>
                <a:gd name="connsiteY96" fmla="*/ 369091 h 601969"/>
                <a:gd name="connsiteX97" fmla="*/ 518227 w 527014"/>
                <a:gd name="connsiteY97" fmla="*/ 367799 h 601969"/>
                <a:gd name="connsiteX98" fmla="*/ 518614 w 527014"/>
                <a:gd name="connsiteY98" fmla="*/ 366765 h 601969"/>
                <a:gd name="connsiteX99" fmla="*/ 519519 w 527014"/>
                <a:gd name="connsiteY99" fmla="*/ 365472 h 601969"/>
                <a:gd name="connsiteX100" fmla="*/ 520294 w 527014"/>
                <a:gd name="connsiteY100" fmla="*/ 363922 h 601969"/>
                <a:gd name="connsiteX101" fmla="*/ 522491 w 527014"/>
                <a:gd name="connsiteY101" fmla="*/ 360432 h 601969"/>
                <a:gd name="connsiteX102" fmla="*/ 521457 w 527014"/>
                <a:gd name="connsiteY102" fmla="*/ 359011 h 601969"/>
                <a:gd name="connsiteX103" fmla="*/ 519131 w 527014"/>
                <a:gd name="connsiteY103" fmla="*/ 359528 h 601969"/>
                <a:gd name="connsiteX104" fmla="*/ 499488 w 527014"/>
                <a:gd name="connsiteY104" fmla="*/ 342727 h 601969"/>
                <a:gd name="connsiteX105" fmla="*/ 500780 w 527014"/>
                <a:gd name="connsiteY105" fmla="*/ 343244 h 601969"/>
                <a:gd name="connsiteX106" fmla="*/ 502460 w 527014"/>
                <a:gd name="connsiteY106" fmla="*/ 343373 h 601969"/>
                <a:gd name="connsiteX107" fmla="*/ 506208 w 527014"/>
                <a:gd name="connsiteY107" fmla="*/ 342210 h 601969"/>
                <a:gd name="connsiteX108" fmla="*/ 510731 w 527014"/>
                <a:gd name="connsiteY108" fmla="*/ 341693 h 601969"/>
                <a:gd name="connsiteX109" fmla="*/ 516030 w 527014"/>
                <a:gd name="connsiteY109" fmla="*/ 340143 h 601969"/>
                <a:gd name="connsiteX110" fmla="*/ 519777 w 527014"/>
                <a:gd name="connsiteY110" fmla="*/ 338721 h 601969"/>
                <a:gd name="connsiteX111" fmla="*/ 522750 w 527014"/>
                <a:gd name="connsiteY111" fmla="*/ 337299 h 601969"/>
                <a:gd name="connsiteX112" fmla="*/ 524688 w 527014"/>
                <a:gd name="connsiteY112" fmla="*/ 335490 h 601969"/>
                <a:gd name="connsiteX113" fmla="*/ 525980 w 527014"/>
                <a:gd name="connsiteY113" fmla="*/ 333552 h 601969"/>
                <a:gd name="connsiteX114" fmla="*/ 527014 w 527014"/>
                <a:gd name="connsiteY114" fmla="*/ 327995 h 601969"/>
                <a:gd name="connsiteX115" fmla="*/ 527014 w 527014"/>
                <a:gd name="connsiteY115" fmla="*/ 324505 h 601969"/>
                <a:gd name="connsiteX116" fmla="*/ 526756 w 527014"/>
                <a:gd name="connsiteY116" fmla="*/ 320111 h 601969"/>
                <a:gd name="connsiteX117" fmla="*/ 525464 w 527014"/>
                <a:gd name="connsiteY117" fmla="*/ 316234 h 601969"/>
                <a:gd name="connsiteX118" fmla="*/ 524688 w 527014"/>
                <a:gd name="connsiteY118" fmla="*/ 309644 h 601969"/>
                <a:gd name="connsiteX119" fmla="*/ 524301 w 527014"/>
                <a:gd name="connsiteY119" fmla="*/ 306800 h 601969"/>
                <a:gd name="connsiteX120" fmla="*/ 524171 w 527014"/>
                <a:gd name="connsiteY120" fmla="*/ 304733 h 601969"/>
                <a:gd name="connsiteX121" fmla="*/ 524042 w 527014"/>
                <a:gd name="connsiteY121" fmla="*/ 301114 h 601969"/>
                <a:gd name="connsiteX122" fmla="*/ 523008 w 527014"/>
                <a:gd name="connsiteY122" fmla="*/ 295557 h 601969"/>
                <a:gd name="connsiteX123" fmla="*/ 521587 w 527014"/>
                <a:gd name="connsiteY123" fmla="*/ 292843 h 601969"/>
                <a:gd name="connsiteX124" fmla="*/ 518614 w 527014"/>
                <a:gd name="connsiteY124" fmla="*/ 289483 h 601969"/>
                <a:gd name="connsiteX125" fmla="*/ 512928 w 527014"/>
                <a:gd name="connsiteY125" fmla="*/ 286252 h 601969"/>
                <a:gd name="connsiteX126" fmla="*/ 503623 w 527014"/>
                <a:gd name="connsiteY126" fmla="*/ 283021 h 601969"/>
                <a:gd name="connsiteX127" fmla="*/ 498712 w 527014"/>
                <a:gd name="connsiteY127" fmla="*/ 281212 h 601969"/>
                <a:gd name="connsiteX128" fmla="*/ 495869 w 527014"/>
                <a:gd name="connsiteY128" fmla="*/ 279403 h 601969"/>
                <a:gd name="connsiteX129" fmla="*/ 493931 w 527014"/>
                <a:gd name="connsiteY129" fmla="*/ 279015 h 601969"/>
                <a:gd name="connsiteX130" fmla="*/ 491346 w 527014"/>
                <a:gd name="connsiteY130" fmla="*/ 279532 h 601969"/>
                <a:gd name="connsiteX131" fmla="*/ 489666 w 527014"/>
                <a:gd name="connsiteY131" fmla="*/ 279532 h 601969"/>
                <a:gd name="connsiteX132" fmla="*/ 485918 w 527014"/>
                <a:gd name="connsiteY132" fmla="*/ 280178 h 601969"/>
                <a:gd name="connsiteX133" fmla="*/ 484755 w 527014"/>
                <a:gd name="connsiteY133" fmla="*/ 279791 h 601969"/>
                <a:gd name="connsiteX134" fmla="*/ 482300 w 527014"/>
                <a:gd name="connsiteY134" fmla="*/ 279791 h 601969"/>
                <a:gd name="connsiteX135" fmla="*/ 480749 w 527014"/>
                <a:gd name="connsiteY135" fmla="*/ 279661 h 601969"/>
                <a:gd name="connsiteX136" fmla="*/ 478035 w 527014"/>
                <a:gd name="connsiteY136" fmla="*/ 279144 h 601969"/>
                <a:gd name="connsiteX137" fmla="*/ 475579 w 527014"/>
                <a:gd name="connsiteY137" fmla="*/ 280566 h 601969"/>
                <a:gd name="connsiteX138" fmla="*/ 471315 w 527014"/>
                <a:gd name="connsiteY138" fmla="*/ 281341 h 601969"/>
                <a:gd name="connsiteX139" fmla="*/ 467179 w 527014"/>
                <a:gd name="connsiteY139" fmla="*/ 280824 h 601969"/>
                <a:gd name="connsiteX140" fmla="*/ 463561 w 527014"/>
                <a:gd name="connsiteY140" fmla="*/ 279403 h 601969"/>
                <a:gd name="connsiteX141" fmla="*/ 460976 w 527014"/>
                <a:gd name="connsiteY141" fmla="*/ 277594 h 601969"/>
                <a:gd name="connsiteX142" fmla="*/ 459942 w 527014"/>
                <a:gd name="connsiteY142" fmla="*/ 276430 h 601969"/>
                <a:gd name="connsiteX143" fmla="*/ 459038 w 527014"/>
                <a:gd name="connsiteY143" fmla="*/ 275009 h 601969"/>
                <a:gd name="connsiteX144" fmla="*/ 458391 w 527014"/>
                <a:gd name="connsiteY144" fmla="*/ 273329 h 601969"/>
                <a:gd name="connsiteX145" fmla="*/ 457616 w 527014"/>
                <a:gd name="connsiteY145" fmla="*/ 269064 h 601969"/>
                <a:gd name="connsiteX146" fmla="*/ 456453 w 527014"/>
                <a:gd name="connsiteY146" fmla="*/ 267126 h 601969"/>
                <a:gd name="connsiteX147" fmla="*/ 453610 w 527014"/>
                <a:gd name="connsiteY147" fmla="*/ 263636 h 601969"/>
                <a:gd name="connsiteX148" fmla="*/ 450379 w 527014"/>
                <a:gd name="connsiteY148" fmla="*/ 257950 h 601969"/>
                <a:gd name="connsiteX149" fmla="*/ 449991 w 527014"/>
                <a:gd name="connsiteY149" fmla="*/ 256658 h 601969"/>
                <a:gd name="connsiteX150" fmla="*/ 449345 w 527014"/>
                <a:gd name="connsiteY150" fmla="*/ 251747 h 601969"/>
                <a:gd name="connsiteX151" fmla="*/ 447277 w 527014"/>
                <a:gd name="connsiteY151" fmla="*/ 248516 h 601969"/>
                <a:gd name="connsiteX152" fmla="*/ 443013 w 527014"/>
                <a:gd name="connsiteY152" fmla="*/ 245802 h 601969"/>
                <a:gd name="connsiteX153" fmla="*/ 440945 w 527014"/>
                <a:gd name="connsiteY153" fmla="*/ 245414 h 601969"/>
                <a:gd name="connsiteX154" fmla="*/ 438489 w 527014"/>
                <a:gd name="connsiteY154" fmla="*/ 245802 h 601969"/>
                <a:gd name="connsiteX155" fmla="*/ 436551 w 527014"/>
                <a:gd name="connsiteY155" fmla="*/ 246965 h 601969"/>
                <a:gd name="connsiteX156" fmla="*/ 435000 w 527014"/>
                <a:gd name="connsiteY156" fmla="*/ 248645 h 601969"/>
                <a:gd name="connsiteX157" fmla="*/ 433966 w 527014"/>
                <a:gd name="connsiteY157" fmla="*/ 250584 h 601969"/>
                <a:gd name="connsiteX158" fmla="*/ 433837 w 527014"/>
                <a:gd name="connsiteY158" fmla="*/ 251618 h 601969"/>
                <a:gd name="connsiteX159" fmla="*/ 433837 w 527014"/>
                <a:gd name="connsiteY159" fmla="*/ 252910 h 601969"/>
                <a:gd name="connsiteX160" fmla="*/ 433708 w 527014"/>
                <a:gd name="connsiteY160" fmla="*/ 254073 h 601969"/>
                <a:gd name="connsiteX161" fmla="*/ 433062 w 527014"/>
                <a:gd name="connsiteY161" fmla="*/ 254978 h 601969"/>
                <a:gd name="connsiteX162" fmla="*/ 432028 w 527014"/>
                <a:gd name="connsiteY162" fmla="*/ 255107 h 601969"/>
                <a:gd name="connsiteX163" fmla="*/ 431382 w 527014"/>
                <a:gd name="connsiteY163" fmla="*/ 254332 h 601969"/>
                <a:gd name="connsiteX164" fmla="*/ 430994 w 527014"/>
                <a:gd name="connsiteY164" fmla="*/ 253298 h 601969"/>
                <a:gd name="connsiteX165" fmla="*/ 430219 w 527014"/>
                <a:gd name="connsiteY165" fmla="*/ 252264 h 601969"/>
                <a:gd name="connsiteX166" fmla="*/ 430348 w 527014"/>
                <a:gd name="connsiteY166" fmla="*/ 250971 h 601969"/>
                <a:gd name="connsiteX167" fmla="*/ 431123 w 527014"/>
                <a:gd name="connsiteY167" fmla="*/ 248258 h 601969"/>
                <a:gd name="connsiteX168" fmla="*/ 431640 w 527014"/>
                <a:gd name="connsiteY168" fmla="*/ 247224 h 601969"/>
                <a:gd name="connsiteX169" fmla="*/ 431769 w 527014"/>
                <a:gd name="connsiteY169" fmla="*/ 246578 h 601969"/>
                <a:gd name="connsiteX170" fmla="*/ 431511 w 527014"/>
                <a:gd name="connsiteY170" fmla="*/ 245802 h 601969"/>
                <a:gd name="connsiteX171" fmla="*/ 430865 w 527014"/>
                <a:gd name="connsiteY171" fmla="*/ 245414 h 601969"/>
                <a:gd name="connsiteX172" fmla="*/ 430089 w 527014"/>
                <a:gd name="connsiteY172" fmla="*/ 245156 h 601969"/>
                <a:gd name="connsiteX173" fmla="*/ 429572 w 527014"/>
                <a:gd name="connsiteY173" fmla="*/ 244639 h 601969"/>
                <a:gd name="connsiteX174" fmla="*/ 429055 w 527014"/>
                <a:gd name="connsiteY174" fmla="*/ 243605 h 601969"/>
                <a:gd name="connsiteX175" fmla="*/ 428926 w 527014"/>
                <a:gd name="connsiteY175" fmla="*/ 243088 h 601969"/>
                <a:gd name="connsiteX176" fmla="*/ 428926 w 527014"/>
                <a:gd name="connsiteY176" fmla="*/ 242313 h 601969"/>
                <a:gd name="connsiteX177" fmla="*/ 429702 w 527014"/>
                <a:gd name="connsiteY177" fmla="*/ 242313 h 601969"/>
                <a:gd name="connsiteX178" fmla="*/ 430477 w 527014"/>
                <a:gd name="connsiteY178" fmla="*/ 243605 h 601969"/>
                <a:gd name="connsiteX179" fmla="*/ 431769 w 527014"/>
                <a:gd name="connsiteY179" fmla="*/ 244381 h 601969"/>
                <a:gd name="connsiteX180" fmla="*/ 434871 w 527014"/>
                <a:gd name="connsiteY180" fmla="*/ 245285 h 601969"/>
                <a:gd name="connsiteX181" fmla="*/ 435646 w 527014"/>
                <a:gd name="connsiteY181" fmla="*/ 244768 h 601969"/>
                <a:gd name="connsiteX182" fmla="*/ 437456 w 527014"/>
                <a:gd name="connsiteY182" fmla="*/ 244898 h 601969"/>
                <a:gd name="connsiteX183" fmla="*/ 438489 w 527014"/>
                <a:gd name="connsiteY183" fmla="*/ 244639 h 601969"/>
                <a:gd name="connsiteX184" fmla="*/ 439265 w 527014"/>
                <a:gd name="connsiteY184" fmla="*/ 243993 h 601969"/>
                <a:gd name="connsiteX185" fmla="*/ 440945 w 527014"/>
                <a:gd name="connsiteY185" fmla="*/ 241408 h 601969"/>
                <a:gd name="connsiteX186" fmla="*/ 440169 w 527014"/>
                <a:gd name="connsiteY186" fmla="*/ 238565 h 601969"/>
                <a:gd name="connsiteX187" fmla="*/ 439006 w 527014"/>
                <a:gd name="connsiteY187" fmla="*/ 236756 h 601969"/>
                <a:gd name="connsiteX188" fmla="*/ 437326 w 527014"/>
                <a:gd name="connsiteY188" fmla="*/ 234559 h 601969"/>
                <a:gd name="connsiteX189" fmla="*/ 436809 w 527014"/>
                <a:gd name="connsiteY189" fmla="*/ 232233 h 601969"/>
                <a:gd name="connsiteX190" fmla="*/ 436551 w 527014"/>
                <a:gd name="connsiteY190" fmla="*/ 228614 h 601969"/>
                <a:gd name="connsiteX191" fmla="*/ 435129 w 527014"/>
                <a:gd name="connsiteY191" fmla="*/ 226417 h 601969"/>
                <a:gd name="connsiteX192" fmla="*/ 434483 w 527014"/>
                <a:gd name="connsiteY192" fmla="*/ 222411 h 601969"/>
                <a:gd name="connsiteX193" fmla="*/ 433966 w 527014"/>
                <a:gd name="connsiteY193" fmla="*/ 220731 h 601969"/>
                <a:gd name="connsiteX194" fmla="*/ 434095 w 527014"/>
                <a:gd name="connsiteY194" fmla="*/ 219568 h 601969"/>
                <a:gd name="connsiteX195" fmla="*/ 433062 w 527014"/>
                <a:gd name="connsiteY195" fmla="*/ 217629 h 601969"/>
                <a:gd name="connsiteX196" fmla="*/ 432028 w 527014"/>
                <a:gd name="connsiteY196" fmla="*/ 215303 h 601969"/>
                <a:gd name="connsiteX197" fmla="*/ 431769 w 527014"/>
                <a:gd name="connsiteY197" fmla="*/ 212718 h 601969"/>
                <a:gd name="connsiteX198" fmla="*/ 430606 w 527014"/>
                <a:gd name="connsiteY198" fmla="*/ 210392 h 601969"/>
                <a:gd name="connsiteX199" fmla="*/ 428797 w 527014"/>
                <a:gd name="connsiteY199" fmla="*/ 207291 h 601969"/>
                <a:gd name="connsiteX200" fmla="*/ 427246 w 527014"/>
                <a:gd name="connsiteY200" fmla="*/ 206257 h 601969"/>
                <a:gd name="connsiteX201" fmla="*/ 426471 w 527014"/>
                <a:gd name="connsiteY201" fmla="*/ 206515 h 601969"/>
                <a:gd name="connsiteX202" fmla="*/ 425954 w 527014"/>
                <a:gd name="connsiteY202" fmla="*/ 207291 h 601969"/>
                <a:gd name="connsiteX203" fmla="*/ 425308 w 527014"/>
                <a:gd name="connsiteY203" fmla="*/ 207937 h 601969"/>
                <a:gd name="connsiteX204" fmla="*/ 424274 w 527014"/>
                <a:gd name="connsiteY204" fmla="*/ 207808 h 601969"/>
                <a:gd name="connsiteX205" fmla="*/ 423628 w 527014"/>
                <a:gd name="connsiteY205" fmla="*/ 207032 h 601969"/>
                <a:gd name="connsiteX206" fmla="*/ 423498 w 527014"/>
                <a:gd name="connsiteY206" fmla="*/ 206127 h 601969"/>
                <a:gd name="connsiteX207" fmla="*/ 423886 w 527014"/>
                <a:gd name="connsiteY207" fmla="*/ 205223 h 601969"/>
                <a:gd name="connsiteX208" fmla="*/ 424661 w 527014"/>
                <a:gd name="connsiteY208" fmla="*/ 204835 h 601969"/>
                <a:gd name="connsiteX209" fmla="*/ 425566 w 527014"/>
                <a:gd name="connsiteY209" fmla="*/ 203672 h 601969"/>
                <a:gd name="connsiteX210" fmla="*/ 425824 w 527014"/>
                <a:gd name="connsiteY210" fmla="*/ 201087 h 601969"/>
                <a:gd name="connsiteX211" fmla="*/ 424145 w 527014"/>
                <a:gd name="connsiteY211" fmla="*/ 196693 h 601969"/>
                <a:gd name="connsiteX212" fmla="*/ 423111 w 527014"/>
                <a:gd name="connsiteY212" fmla="*/ 193075 h 601969"/>
                <a:gd name="connsiteX213" fmla="*/ 422852 w 527014"/>
                <a:gd name="connsiteY213" fmla="*/ 190878 h 601969"/>
                <a:gd name="connsiteX214" fmla="*/ 422206 w 527014"/>
                <a:gd name="connsiteY214" fmla="*/ 188810 h 601969"/>
                <a:gd name="connsiteX215" fmla="*/ 420784 w 527014"/>
                <a:gd name="connsiteY215" fmla="*/ 186872 h 601969"/>
                <a:gd name="connsiteX216" fmla="*/ 420009 w 527014"/>
                <a:gd name="connsiteY216" fmla="*/ 184804 h 601969"/>
                <a:gd name="connsiteX217" fmla="*/ 419880 w 527014"/>
                <a:gd name="connsiteY217" fmla="*/ 182219 h 601969"/>
                <a:gd name="connsiteX218" fmla="*/ 419104 w 527014"/>
                <a:gd name="connsiteY218" fmla="*/ 180152 h 601969"/>
                <a:gd name="connsiteX219" fmla="*/ 417941 w 527014"/>
                <a:gd name="connsiteY219" fmla="*/ 178601 h 601969"/>
                <a:gd name="connsiteX220" fmla="*/ 417424 w 527014"/>
                <a:gd name="connsiteY220" fmla="*/ 176921 h 601969"/>
                <a:gd name="connsiteX221" fmla="*/ 417037 w 527014"/>
                <a:gd name="connsiteY221" fmla="*/ 175370 h 601969"/>
                <a:gd name="connsiteX222" fmla="*/ 415486 w 527014"/>
                <a:gd name="connsiteY222" fmla="*/ 174594 h 601969"/>
                <a:gd name="connsiteX223" fmla="*/ 414840 w 527014"/>
                <a:gd name="connsiteY223" fmla="*/ 173690 h 601969"/>
                <a:gd name="connsiteX224" fmla="*/ 413677 w 527014"/>
                <a:gd name="connsiteY224" fmla="*/ 173044 h 601969"/>
                <a:gd name="connsiteX225" fmla="*/ 412643 w 527014"/>
                <a:gd name="connsiteY225" fmla="*/ 172268 h 601969"/>
                <a:gd name="connsiteX226" fmla="*/ 412255 w 527014"/>
                <a:gd name="connsiteY226" fmla="*/ 170717 h 601969"/>
                <a:gd name="connsiteX227" fmla="*/ 412126 w 527014"/>
                <a:gd name="connsiteY227" fmla="*/ 169554 h 601969"/>
                <a:gd name="connsiteX228" fmla="*/ 412513 w 527014"/>
                <a:gd name="connsiteY228" fmla="*/ 167874 h 601969"/>
                <a:gd name="connsiteX229" fmla="*/ 412643 w 527014"/>
                <a:gd name="connsiteY229" fmla="*/ 166582 h 601969"/>
                <a:gd name="connsiteX230" fmla="*/ 411867 w 527014"/>
                <a:gd name="connsiteY230" fmla="*/ 165031 h 601969"/>
                <a:gd name="connsiteX231" fmla="*/ 410575 w 527014"/>
                <a:gd name="connsiteY231" fmla="*/ 162188 h 601969"/>
                <a:gd name="connsiteX232" fmla="*/ 408895 w 527014"/>
                <a:gd name="connsiteY232" fmla="*/ 159862 h 601969"/>
                <a:gd name="connsiteX233" fmla="*/ 408120 w 527014"/>
                <a:gd name="connsiteY233" fmla="*/ 157794 h 601969"/>
                <a:gd name="connsiteX234" fmla="*/ 407861 w 527014"/>
                <a:gd name="connsiteY234" fmla="*/ 155468 h 601969"/>
                <a:gd name="connsiteX235" fmla="*/ 406956 w 527014"/>
                <a:gd name="connsiteY235" fmla="*/ 152883 h 601969"/>
                <a:gd name="connsiteX236" fmla="*/ 406181 w 527014"/>
                <a:gd name="connsiteY236" fmla="*/ 151074 h 601969"/>
                <a:gd name="connsiteX237" fmla="*/ 404760 w 527014"/>
                <a:gd name="connsiteY237" fmla="*/ 149652 h 601969"/>
                <a:gd name="connsiteX238" fmla="*/ 404501 w 527014"/>
                <a:gd name="connsiteY238" fmla="*/ 147326 h 601969"/>
                <a:gd name="connsiteX239" fmla="*/ 405018 w 527014"/>
                <a:gd name="connsiteY239" fmla="*/ 145646 h 601969"/>
                <a:gd name="connsiteX240" fmla="*/ 404501 w 527014"/>
                <a:gd name="connsiteY240" fmla="*/ 143578 h 601969"/>
                <a:gd name="connsiteX241" fmla="*/ 402821 w 527014"/>
                <a:gd name="connsiteY241" fmla="*/ 139831 h 601969"/>
                <a:gd name="connsiteX242" fmla="*/ 402046 w 527014"/>
                <a:gd name="connsiteY242" fmla="*/ 137246 h 601969"/>
                <a:gd name="connsiteX243" fmla="*/ 403467 w 527014"/>
                <a:gd name="connsiteY243" fmla="*/ 134015 h 601969"/>
                <a:gd name="connsiteX244" fmla="*/ 402563 w 527014"/>
                <a:gd name="connsiteY244" fmla="*/ 128975 h 601969"/>
                <a:gd name="connsiteX245" fmla="*/ 396489 w 527014"/>
                <a:gd name="connsiteY245" fmla="*/ 113338 h 601969"/>
                <a:gd name="connsiteX246" fmla="*/ 396101 w 527014"/>
                <a:gd name="connsiteY246" fmla="*/ 105584 h 601969"/>
                <a:gd name="connsiteX247" fmla="*/ 397910 w 527014"/>
                <a:gd name="connsiteY247" fmla="*/ 101061 h 601969"/>
                <a:gd name="connsiteX248" fmla="*/ 397393 w 527014"/>
                <a:gd name="connsiteY248" fmla="*/ 90463 h 601969"/>
                <a:gd name="connsiteX249" fmla="*/ 396747 w 527014"/>
                <a:gd name="connsiteY249" fmla="*/ 76248 h 601969"/>
                <a:gd name="connsiteX250" fmla="*/ 397781 w 527014"/>
                <a:gd name="connsiteY250" fmla="*/ 59447 h 601969"/>
                <a:gd name="connsiteX251" fmla="*/ 396359 w 527014"/>
                <a:gd name="connsiteY251" fmla="*/ 56734 h 601969"/>
                <a:gd name="connsiteX252" fmla="*/ 393904 w 527014"/>
                <a:gd name="connsiteY252" fmla="*/ 56863 h 601969"/>
                <a:gd name="connsiteX253" fmla="*/ 391707 w 527014"/>
                <a:gd name="connsiteY253" fmla="*/ 60998 h 601969"/>
                <a:gd name="connsiteX254" fmla="*/ 390415 w 527014"/>
                <a:gd name="connsiteY254" fmla="*/ 65392 h 601969"/>
                <a:gd name="connsiteX255" fmla="*/ 389639 w 527014"/>
                <a:gd name="connsiteY255" fmla="*/ 74955 h 601969"/>
                <a:gd name="connsiteX256" fmla="*/ 387701 w 527014"/>
                <a:gd name="connsiteY256" fmla="*/ 82063 h 601969"/>
                <a:gd name="connsiteX257" fmla="*/ 387442 w 527014"/>
                <a:gd name="connsiteY257" fmla="*/ 84519 h 601969"/>
                <a:gd name="connsiteX258" fmla="*/ 385116 w 527014"/>
                <a:gd name="connsiteY258" fmla="*/ 79091 h 601969"/>
                <a:gd name="connsiteX259" fmla="*/ 386925 w 527014"/>
                <a:gd name="connsiteY259" fmla="*/ 67848 h 601969"/>
                <a:gd name="connsiteX260" fmla="*/ 387054 w 527014"/>
                <a:gd name="connsiteY260" fmla="*/ 55053 h 601969"/>
                <a:gd name="connsiteX261" fmla="*/ 387054 w 527014"/>
                <a:gd name="connsiteY261" fmla="*/ 44327 h 601969"/>
                <a:gd name="connsiteX262" fmla="*/ 386279 w 527014"/>
                <a:gd name="connsiteY262" fmla="*/ 38641 h 601969"/>
                <a:gd name="connsiteX263" fmla="*/ 382273 w 527014"/>
                <a:gd name="connsiteY263" fmla="*/ 29465 h 601969"/>
                <a:gd name="connsiteX264" fmla="*/ 374390 w 527014"/>
                <a:gd name="connsiteY264" fmla="*/ 19514 h 601969"/>
                <a:gd name="connsiteX265" fmla="*/ 364697 w 527014"/>
                <a:gd name="connsiteY265" fmla="*/ 8788 h 601969"/>
                <a:gd name="connsiteX266" fmla="*/ 357848 w 527014"/>
                <a:gd name="connsiteY266" fmla="*/ 4135 h 601969"/>
                <a:gd name="connsiteX267" fmla="*/ 353841 w 527014"/>
                <a:gd name="connsiteY267" fmla="*/ 1422 h 601969"/>
                <a:gd name="connsiteX268" fmla="*/ 351127 w 527014"/>
                <a:gd name="connsiteY268" fmla="*/ 0 h 601969"/>
                <a:gd name="connsiteX269" fmla="*/ 348801 w 527014"/>
                <a:gd name="connsiteY269" fmla="*/ 905 h 601969"/>
                <a:gd name="connsiteX270" fmla="*/ 347767 w 527014"/>
                <a:gd name="connsiteY270" fmla="*/ 1939 h 601969"/>
                <a:gd name="connsiteX271" fmla="*/ 346475 w 527014"/>
                <a:gd name="connsiteY271" fmla="*/ 7496 h 601969"/>
                <a:gd name="connsiteX272" fmla="*/ 346346 w 527014"/>
                <a:gd name="connsiteY272" fmla="*/ 8788 h 601969"/>
                <a:gd name="connsiteX273" fmla="*/ 347897 w 527014"/>
                <a:gd name="connsiteY273" fmla="*/ 19643 h 601969"/>
                <a:gd name="connsiteX274" fmla="*/ 353066 w 527014"/>
                <a:gd name="connsiteY274" fmla="*/ 35539 h 601969"/>
                <a:gd name="connsiteX275" fmla="*/ 356814 w 527014"/>
                <a:gd name="connsiteY275" fmla="*/ 43422 h 601969"/>
                <a:gd name="connsiteX276" fmla="*/ 359786 w 527014"/>
                <a:gd name="connsiteY276" fmla="*/ 48333 h 601969"/>
                <a:gd name="connsiteX277" fmla="*/ 360562 w 527014"/>
                <a:gd name="connsiteY277" fmla="*/ 51306 h 601969"/>
                <a:gd name="connsiteX278" fmla="*/ 359657 w 527014"/>
                <a:gd name="connsiteY278" fmla="*/ 54278 h 601969"/>
                <a:gd name="connsiteX279" fmla="*/ 358106 w 527014"/>
                <a:gd name="connsiteY279" fmla="*/ 49884 h 601969"/>
                <a:gd name="connsiteX280" fmla="*/ 351645 w 527014"/>
                <a:gd name="connsiteY280" fmla="*/ 38124 h 601969"/>
                <a:gd name="connsiteX281" fmla="*/ 348672 w 527014"/>
                <a:gd name="connsiteY281" fmla="*/ 30758 h 601969"/>
                <a:gd name="connsiteX282" fmla="*/ 347251 w 527014"/>
                <a:gd name="connsiteY282" fmla="*/ 24554 h 601969"/>
                <a:gd name="connsiteX283" fmla="*/ 346475 w 527014"/>
                <a:gd name="connsiteY283" fmla="*/ 22745 h 601969"/>
                <a:gd name="connsiteX284" fmla="*/ 345183 w 527014"/>
                <a:gd name="connsiteY284" fmla="*/ 21453 h 601969"/>
                <a:gd name="connsiteX285" fmla="*/ 343761 w 527014"/>
                <a:gd name="connsiteY285" fmla="*/ 21582 h 601969"/>
                <a:gd name="connsiteX286" fmla="*/ 342469 w 527014"/>
                <a:gd name="connsiteY286" fmla="*/ 23520 h 601969"/>
                <a:gd name="connsiteX287" fmla="*/ 342598 w 527014"/>
                <a:gd name="connsiteY287" fmla="*/ 29724 h 601969"/>
                <a:gd name="connsiteX288" fmla="*/ 338721 w 527014"/>
                <a:gd name="connsiteY288" fmla="*/ 39287 h 601969"/>
                <a:gd name="connsiteX289" fmla="*/ 336653 w 527014"/>
                <a:gd name="connsiteY289" fmla="*/ 41484 h 601969"/>
                <a:gd name="connsiteX290" fmla="*/ 333293 w 527014"/>
                <a:gd name="connsiteY290" fmla="*/ 42389 h 601969"/>
                <a:gd name="connsiteX291" fmla="*/ 325281 w 527014"/>
                <a:gd name="connsiteY291" fmla="*/ 46266 h 601969"/>
                <a:gd name="connsiteX292" fmla="*/ 322567 w 527014"/>
                <a:gd name="connsiteY292" fmla="*/ 48592 h 601969"/>
                <a:gd name="connsiteX293" fmla="*/ 321016 w 527014"/>
                <a:gd name="connsiteY293" fmla="*/ 52210 h 601969"/>
                <a:gd name="connsiteX294" fmla="*/ 320112 w 527014"/>
                <a:gd name="connsiteY294" fmla="*/ 55700 h 601969"/>
                <a:gd name="connsiteX295" fmla="*/ 318819 w 527014"/>
                <a:gd name="connsiteY295" fmla="*/ 58543 h 601969"/>
                <a:gd name="connsiteX296" fmla="*/ 317010 w 527014"/>
                <a:gd name="connsiteY296" fmla="*/ 60998 h 601969"/>
                <a:gd name="connsiteX297" fmla="*/ 310160 w 527014"/>
                <a:gd name="connsiteY297" fmla="*/ 68494 h 601969"/>
                <a:gd name="connsiteX298" fmla="*/ 306800 w 527014"/>
                <a:gd name="connsiteY298" fmla="*/ 70174 h 601969"/>
                <a:gd name="connsiteX299" fmla="*/ 306025 w 527014"/>
                <a:gd name="connsiteY299" fmla="*/ 70949 h 601969"/>
                <a:gd name="connsiteX300" fmla="*/ 305767 w 527014"/>
                <a:gd name="connsiteY300" fmla="*/ 71983 h 601969"/>
                <a:gd name="connsiteX301" fmla="*/ 306025 w 527014"/>
                <a:gd name="connsiteY301" fmla="*/ 74180 h 601969"/>
                <a:gd name="connsiteX302" fmla="*/ 305767 w 527014"/>
                <a:gd name="connsiteY302" fmla="*/ 75214 h 601969"/>
                <a:gd name="connsiteX303" fmla="*/ 304862 w 527014"/>
                <a:gd name="connsiteY303" fmla="*/ 76119 h 601969"/>
                <a:gd name="connsiteX304" fmla="*/ 304086 w 527014"/>
                <a:gd name="connsiteY304" fmla="*/ 76248 h 601969"/>
                <a:gd name="connsiteX305" fmla="*/ 303311 w 527014"/>
                <a:gd name="connsiteY305" fmla="*/ 76119 h 601969"/>
                <a:gd name="connsiteX306" fmla="*/ 302277 w 527014"/>
                <a:gd name="connsiteY306" fmla="*/ 76506 h 601969"/>
                <a:gd name="connsiteX307" fmla="*/ 300597 w 527014"/>
                <a:gd name="connsiteY307" fmla="*/ 78316 h 601969"/>
                <a:gd name="connsiteX308" fmla="*/ 299822 w 527014"/>
                <a:gd name="connsiteY308" fmla="*/ 80383 h 601969"/>
                <a:gd name="connsiteX309" fmla="*/ 299046 w 527014"/>
                <a:gd name="connsiteY309" fmla="*/ 84906 h 601969"/>
                <a:gd name="connsiteX310" fmla="*/ 298013 w 527014"/>
                <a:gd name="connsiteY310" fmla="*/ 87362 h 601969"/>
                <a:gd name="connsiteX311" fmla="*/ 293489 w 527014"/>
                <a:gd name="connsiteY311" fmla="*/ 93953 h 601969"/>
                <a:gd name="connsiteX312" fmla="*/ 292197 w 527014"/>
                <a:gd name="connsiteY312" fmla="*/ 96925 h 601969"/>
                <a:gd name="connsiteX313" fmla="*/ 291293 w 527014"/>
                <a:gd name="connsiteY313" fmla="*/ 98217 h 601969"/>
                <a:gd name="connsiteX314" fmla="*/ 289225 w 527014"/>
                <a:gd name="connsiteY314" fmla="*/ 99251 h 601969"/>
                <a:gd name="connsiteX315" fmla="*/ 289225 w 527014"/>
                <a:gd name="connsiteY315" fmla="*/ 100027 h 601969"/>
                <a:gd name="connsiteX316" fmla="*/ 289354 w 527014"/>
                <a:gd name="connsiteY316" fmla="*/ 101061 h 601969"/>
                <a:gd name="connsiteX317" fmla="*/ 289225 w 527014"/>
                <a:gd name="connsiteY317" fmla="*/ 101965 h 601969"/>
                <a:gd name="connsiteX318" fmla="*/ 274751 w 527014"/>
                <a:gd name="connsiteY318" fmla="*/ 125486 h 601969"/>
                <a:gd name="connsiteX319" fmla="*/ 273717 w 527014"/>
                <a:gd name="connsiteY319" fmla="*/ 126649 h 601969"/>
                <a:gd name="connsiteX320" fmla="*/ 272295 w 527014"/>
                <a:gd name="connsiteY320" fmla="*/ 127424 h 601969"/>
                <a:gd name="connsiteX321" fmla="*/ 271390 w 527014"/>
                <a:gd name="connsiteY321" fmla="*/ 127424 h 601969"/>
                <a:gd name="connsiteX322" fmla="*/ 270615 w 527014"/>
                <a:gd name="connsiteY322" fmla="*/ 127295 h 601969"/>
                <a:gd name="connsiteX323" fmla="*/ 269323 w 527014"/>
                <a:gd name="connsiteY323" fmla="*/ 127553 h 601969"/>
                <a:gd name="connsiteX324" fmla="*/ 267255 w 527014"/>
                <a:gd name="connsiteY324" fmla="*/ 129363 h 601969"/>
                <a:gd name="connsiteX325" fmla="*/ 265058 w 527014"/>
                <a:gd name="connsiteY325" fmla="*/ 134403 h 601969"/>
                <a:gd name="connsiteX326" fmla="*/ 261181 w 527014"/>
                <a:gd name="connsiteY326" fmla="*/ 137117 h 601969"/>
                <a:gd name="connsiteX327" fmla="*/ 260535 w 527014"/>
                <a:gd name="connsiteY327" fmla="*/ 139184 h 601969"/>
                <a:gd name="connsiteX328" fmla="*/ 260664 w 527014"/>
                <a:gd name="connsiteY328" fmla="*/ 141640 h 601969"/>
                <a:gd name="connsiteX329" fmla="*/ 261698 w 527014"/>
                <a:gd name="connsiteY329" fmla="*/ 146292 h 601969"/>
                <a:gd name="connsiteX330" fmla="*/ 261569 w 527014"/>
                <a:gd name="connsiteY330" fmla="*/ 147068 h 601969"/>
                <a:gd name="connsiteX331" fmla="*/ 254849 w 527014"/>
                <a:gd name="connsiteY331" fmla="*/ 159345 h 601969"/>
                <a:gd name="connsiteX332" fmla="*/ 254202 w 527014"/>
                <a:gd name="connsiteY332" fmla="*/ 160896 h 601969"/>
                <a:gd name="connsiteX333" fmla="*/ 254719 w 527014"/>
                <a:gd name="connsiteY333" fmla="*/ 162188 h 601969"/>
                <a:gd name="connsiteX334" fmla="*/ 255495 w 527014"/>
                <a:gd name="connsiteY334" fmla="*/ 163222 h 601969"/>
                <a:gd name="connsiteX335" fmla="*/ 255624 w 527014"/>
                <a:gd name="connsiteY335" fmla="*/ 164127 h 601969"/>
                <a:gd name="connsiteX336" fmla="*/ 254073 w 527014"/>
                <a:gd name="connsiteY336" fmla="*/ 165031 h 601969"/>
                <a:gd name="connsiteX337" fmla="*/ 252910 w 527014"/>
                <a:gd name="connsiteY337" fmla="*/ 165419 h 601969"/>
                <a:gd name="connsiteX338" fmla="*/ 252005 w 527014"/>
                <a:gd name="connsiteY338" fmla="*/ 165936 h 601969"/>
                <a:gd name="connsiteX339" fmla="*/ 251230 w 527014"/>
                <a:gd name="connsiteY339" fmla="*/ 166711 h 601969"/>
                <a:gd name="connsiteX340" fmla="*/ 250455 w 527014"/>
                <a:gd name="connsiteY340" fmla="*/ 167745 h 601969"/>
                <a:gd name="connsiteX341" fmla="*/ 242055 w 527014"/>
                <a:gd name="connsiteY341" fmla="*/ 186355 h 601969"/>
                <a:gd name="connsiteX342" fmla="*/ 241408 w 527014"/>
                <a:gd name="connsiteY342" fmla="*/ 189586 h 601969"/>
                <a:gd name="connsiteX343" fmla="*/ 241021 w 527014"/>
                <a:gd name="connsiteY343" fmla="*/ 190490 h 601969"/>
                <a:gd name="connsiteX344" fmla="*/ 240116 w 527014"/>
                <a:gd name="connsiteY344" fmla="*/ 191136 h 601969"/>
                <a:gd name="connsiteX345" fmla="*/ 237919 w 527014"/>
                <a:gd name="connsiteY345" fmla="*/ 191912 h 601969"/>
                <a:gd name="connsiteX346" fmla="*/ 237531 w 527014"/>
                <a:gd name="connsiteY346" fmla="*/ 192429 h 601969"/>
                <a:gd name="connsiteX347" fmla="*/ 237919 w 527014"/>
                <a:gd name="connsiteY347" fmla="*/ 193592 h 601969"/>
                <a:gd name="connsiteX348" fmla="*/ 239599 w 527014"/>
                <a:gd name="connsiteY348" fmla="*/ 196176 h 601969"/>
                <a:gd name="connsiteX349" fmla="*/ 239987 w 527014"/>
                <a:gd name="connsiteY349" fmla="*/ 197469 h 601969"/>
                <a:gd name="connsiteX350" fmla="*/ 239857 w 527014"/>
                <a:gd name="connsiteY350" fmla="*/ 198890 h 601969"/>
                <a:gd name="connsiteX351" fmla="*/ 239341 w 527014"/>
                <a:gd name="connsiteY351" fmla="*/ 199666 h 601969"/>
                <a:gd name="connsiteX352" fmla="*/ 238694 w 527014"/>
                <a:gd name="connsiteY352" fmla="*/ 200312 h 601969"/>
                <a:gd name="connsiteX353" fmla="*/ 238178 w 527014"/>
                <a:gd name="connsiteY353" fmla="*/ 201217 h 601969"/>
                <a:gd name="connsiteX354" fmla="*/ 235851 w 527014"/>
                <a:gd name="connsiteY354" fmla="*/ 206127 h 601969"/>
                <a:gd name="connsiteX355" fmla="*/ 232750 w 527014"/>
                <a:gd name="connsiteY355" fmla="*/ 210521 h 601969"/>
                <a:gd name="connsiteX356" fmla="*/ 228743 w 527014"/>
                <a:gd name="connsiteY356" fmla="*/ 214011 h 601969"/>
                <a:gd name="connsiteX357" fmla="*/ 226417 w 527014"/>
                <a:gd name="connsiteY357" fmla="*/ 218275 h 601969"/>
                <a:gd name="connsiteX358" fmla="*/ 224996 w 527014"/>
                <a:gd name="connsiteY358" fmla="*/ 220085 h 601969"/>
                <a:gd name="connsiteX359" fmla="*/ 223186 w 527014"/>
                <a:gd name="connsiteY359" fmla="*/ 221635 h 601969"/>
                <a:gd name="connsiteX360" fmla="*/ 211168 w 527014"/>
                <a:gd name="connsiteY360" fmla="*/ 228743 h 601969"/>
                <a:gd name="connsiteX361" fmla="*/ 206515 w 527014"/>
                <a:gd name="connsiteY361" fmla="*/ 230553 h 601969"/>
                <a:gd name="connsiteX362" fmla="*/ 204706 w 527014"/>
                <a:gd name="connsiteY362" fmla="*/ 231974 h 601969"/>
                <a:gd name="connsiteX363" fmla="*/ 203414 w 527014"/>
                <a:gd name="connsiteY363" fmla="*/ 234430 h 601969"/>
                <a:gd name="connsiteX364" fmla="*/ 202509 w 527014"/>
                <a:gd name="connsiteY364" fmla="*/ 236885 h 601969"/>
                <a:gd name="connsiteX365" fmla="*/ 201863 w 527014"/>
                <a:gd name="connsiteY365" fmla="*/ 237919 h 601969"/>
                <a:gd name="connsiteX366" fmla="*/ 200700 w 527014"/>
                <a:gd name="connsiteY366" fmla="*/ 238953 h 601969"/>
                <a:gd name="connsiteX367" fmla="*/ 200054 w 527014"/>
                <a:gd name="connsiteY367" fmla="*/ 239211 h 601969"/>
                <a:gd name="connsiteX368" fmla="*/ 198890 w 527014"/>
                <a:gd name="connsiteY368" fmla="*/ 238953 h 601969"/>
                <a:gd name="connsiteX369" fmla="*/ 198374 w 527014"/>
                <a:gd name="connsiteY369" fmla="*/ 239082 h 601969"/>
                <a:gd name="connsiteX370" fmla="*/ 197857 w 527014"/>
                <a:gd name="connsiteY370" fmla="*/ 239599 h 601969"/>
                <a:gd name="connsiteX371" fmla="*/ 196952 w 527014"/>
                <a:gd name="connsiteY371" fmla="*/ 240891 h 601969"/>
                <a:gd name="connsiteX372" fmla="*/ 196306 w 527014"/>
                <a:gd name="connsiteY372" fmla="*/ 241279 h 601969"/>
                <a:gd name="connsiteX373" fmla="*/ 193980 w 527014"/>
                <a:gd name="connsiteY373" fmla="*/ 241537 h 601969"/>
                <a:gd name="connsiteX374" fmla="*/ 189844 w 527014"/>
                <a:gd name="connsiteY374" fmla="*/ 240633 h 601969"/>
                <a:gd name="connsiteX375" fmla="*/ 185321 w 527014"/>
                <a:gd name="connsiteY375" fmla="*/ 240116 h 601969"/>
                <a:gd name="connsiteX376" fmla="*/ 181961 w 527014"/>
                <a:gd name="connsiteY376" fmla="*/ 237402 h 601969"/>
                <a:gd name="connsiteX377" fmla="*/ 179635 w 527014"/>
                <a:gd name="connsiteY377" fmla="*/ 236627 h 601969"/>
                <a:gd name="connsiteX378" fmla="*/ 177567 w 527014"/>
                <a:gd name="connsiteY378" fmla="*/ 236627 h 601969"/>
                <a:gd name="connsiteX379" fmla="*/ 164644 w 527014"/>
                <a:gd name="connsiteY379" fmla="*/ 239082 h 601969"/>
                <a:gd name="connsiteX380" fmla="*/ 163610 w 527014"/>
                <a:gd name="connsiteY380" fmla="*/ 238953 h 601969"/>
                <a:gd name="connsiteX381" fmla="*/ 162447 w 527014"/>
                <a:gd name="connsiteY381" fmla="*/ 237919 h 601969"/>
                <a:gd name="connsiteX382" fmla="*/ 163222 w 527014"/>
                <a:gd name="connsiteY382" fmla="*/ 236368 h 601969"/>
                <a:gd name="connsiteX383" fmla="*/ 165160 w 527014"/>
                <a:gd name="connsiteY383" fmla="*/ 234817 h 601969"/>
                <a:gd name="connsiteX384" fmla="*/ 167228 w 527014"/>
                <a:gd name="connsiteY384" fmla="*/ 234042 h 601969"/>
                <a:gd name="connsiteX385" fmla="*/ 167228 w 527014"/>
                <a:gd name="connsiteY385" fmla="*/ 233008 h 601969"/>
                <a:gd name="connsiteX386" fmla="*/ 160508 w 527014"/>
                <a:gd name="connsiteY386" fmla="*/ 227451 h 601969"/>
                <a:gd name="connsiteX387" fmla="*/ 157794 w 527014"/>
                <a:gd name="connsiteY387" fmla="*/ 223703 h 601969"/>
                <a:gd name="connsiteX388" fmla="*/ 156890 w 527014"/>
                <a:gd name="connsiteY388" fmla="*/ 222928 h 601969"/>
                <a:gd name="connsiteX389" fmla="*/ 155468 w 527014"/>
                <a:gd name="connsiteY389" fmla="*/ 222540 h 601969"/>
                <a:gd name="connsiteX390" fmla="*/ 154951 w 527014"/>
                <a:gd name="connsiteY390" fmla="*/ 222799 h 601969"/>
                <a:gd name="connsiteX391" fmla="*/ 154693 w 527014"/>
                <a:gd name="connsiteY391" fmla="*/ 223445 h 601969"/>
                <a:gd name="connsiteX392" fmla="*/ 151720 w 527014"/>
                <a:gd name="connsiteY392" fmla="*/ 227063 h 601969"/>
                <a:gd name="connsiteX393" fmla="*/ 150428 w 527014"/>
                <a:gd name="connsiteY393" fmla="*/ 227968 h 601969"/>
                <a:gd name="connsiteX394" fmla="*/ 146680 w 527014"/>
                <a:gd name="connsiteY394" fmla="*/ 229389 h 601969"/>
                <a:gd name="connsiteX395" fmla="*/ 142803 w 527014"/>
                <a:gd name="connsiteY395" fmla="*/ 232233 h 601969"/>
                <a:gd name="connsiteX396" fmla="*/ 141640 w 527014"/>
                <a:gd name="connsiteY396" fmla="*/ 232750 h 601969"/>
                <a:gd name="connsiteX397" fmla="*/ 137504 w 527014"/>
                <a:gd name="connsiteY397" fmla="*/ 233008 h 601969"/>
                <a:gd name="connsiteX398" fmla="*/ 135308 w 527014"/>
                <a:gd name="connsiteY398" fmla="*/ 233525 h 601969"/>
                <a:gd name="connsiteX399" fmla="*/ 133627 w 527014"/>
                <a:gd name="connsiteY399" fmla="*/ 233008 h 601969"/>
                <a:gd name="connsiteX400" fmla="*/ 130267 w 527014"/>
                <a:gd name="connsiteY400" fmla="*/ 231070 h 601969"/>
                <a:gd name="connsiteX401" fmla="*/ 128587 w 527014"/>
                <a:gd name="connsiteY401" fmla="*/ 230682 h 601969"/>
                <a:gd name="connsiteX402" fmla="*/ 124969 w 527014"/>
                <a:gd name="connsiteY402" fmla="*/ 230553 h 601969"/>
                <a:gd name="connsiteX403" fmla="*/ 123160 w 527014"/>
                <a:gd name="connsiteY403" fmla="*/ 230165 h 601969"/>
                <a:gd name="connsiteX404" fmla="*/ 115922 w 527014"/>
                <a:gd name="connsiteY404" fmla="*/ 227063 h 601969"/>
                <a:gd name="connsiteX405" fmla="*/ 112821 w 527014"/>
                <a:gd name="connsiteY405" fmla="*/ 226934 h 601969"/>
                <a:gd name="connsiteX406" fmla="*/ 112175 w 527014"/>
                <a:gd name="connsiteY406" fmla="*/ 226546 h 601969"/>
                <a:gd name="connsiteX407" fmla="*/ 112175 w 527014"/>
                <a:gd name="connsiteY407" fmla="*/ 225900 h 601969"/>
                <a:gd name="connsiteX408" fmla="*/ 113209 w 527014"/>
                <a:gd name="connsiteY408" fmla="*/ 223832 h 601969"/>
                <a:gd name="connsiteX409" fmla="*/ 113338 w 527014"/>
                <a:gd name="connsiteY409" fmla="*/ 222799 h 601969"/>
                <a:gd name="connsiteX410" fmla="*/ 112175 w 527014"/>
                <a:gd name="connsiteY410" fmla="*/ 221119 h 601969"/>
                <a:gd name="connsiteX411" fmla="*/ 110366 w 527014"/>
                <a:gd name="connsiteY411" fmla="*/ 220731 h 601969"/>
                <a:gd name="connsiteX412" fmla="*/ 108427 w 527014"/>
                <a:gd name="connsiteY412" fmla="*/ 221248 h 601969"/>
                <a:gd name="connsiteX413" fmla="*/ 106489 w 527014"/>
                <a:gd name="connsiteY413" fmla="*/ 222282 h 601969"/>
                <a:gd name="connsiteX414" fmla="*/ 105325 w 527014"/>
                <a:gd name="connsiteY414" fmla="*/ 223703 h 601969"/>
                <a:gd name="connsiteX415" fmla="*/ 104292 w 527014"/>
                <a:gd name="connsiteY415" fmla="*/ 225512 h 601969"/>
                <a:gd name="connsiteX416" fmla="*/ 103258 w 527014"/>
                <a:gd name="connsiteY416" fmla="*/ 226934 h 601969"/>
                <a:gd name="connsiteX417" fmla="*/ 101965 w 527014"/>
                <a:gd name="connsiteY417" fmla="*/ 227322 h 601969"/>
                <a:gd name="connsiteX418" fmla="*/ 99510 w 527014"/>
                <a:gd name="connsiteY418" fmla="*/ 227451 h 601969"/>
                <a:gd name="connsiteX419" fmla="*/ 98218 w 527014"/>
                <a:gd name="connsiteY419" fmla="*/ 229002 h 601969"/>
                <a:gd name="connsiteX420" fmla="*/ 97184 w 527014"/>
                <a:gd name="connsiteY420" fmla="*/ 230811 h 601969"/>
                <a:gd name="connsiteX421" fmla="*/ 95762 w 527014"/>
                <a:gd name="connsiteY421" fmla="*/ 231845 h 601969"/>
                <a:gd name="connsiteX422" fmla="*/ 93565 w 527014"/>
                <a:gd name="connsiteY422" fmla="*/ 231716 h 601969"/>
                <a:gd name="connsiteX423" fmla="*/ 92402 w 527014"/>
                <a:gd name="connsiteY423" fmla="*/ 231328 h 601969"/>
                <a:gd name="connsiteX424" fmla="*/ 91885 w 527014"/>
                <a:gd name="connsiteY424" fmla="*/ 231845 h 601969"/>
                <a:gd name="connsiteX425" fmla="*/ 91756 w 527014"/>
                <a:gd name="connsiteY425" fmla="*/ 234430 h 601969"/>
                <a:gd name="connsiteX426" fmla="*/ 90981 w 527014"/>
                <a:gd name="connsiteY426" fmla="*/ 236368 h 601969"/>
                <a:gd name="connsiteX427" fmla="*/ 89042 w 527014"/>
                <a:gd name="connsiteY427" fmla="*/ 237660 h 601969"/>
                <a:gd name="connsiteX428" fmla="*/ 84519 w 527014"/>
                <a:gd name="connsiteY428" fmla="*/ 239211 h 601969"/>
                <a:gd name="connsiteX429" fmla="*/ 83873 w 527014"/>
                <a:gd name="connsiteY429" fmla="*/ 239599 h 601969"/>
                <a:gd name="connsiteX430" fmla="*/ 82839 w 527014"/>
                <a:gd name="connsiteY430" fmla="*/ 240633 h 601969"/>
                <a:gd name="connsiteX431" fmla="*/ 82193 w 527014"/>
                <a:gd name="connsiteY431" fmla="*/ 240891 h 601969"/>
                <a:gd name="connsiteX432" fmla="*/ 81676 w 527014"/>
                <a:gd name="connsiteY432" fmla="*/ 240762 h 601969"/>
                <a:gd name="connsiteX433" fmla="*/ 80642 w 527014"/>
                <a:gd name="connsiteY433" fmla="*/ 239987 h 601969"/>
                <a:gd name="connsiteX434" fmla="*/ 80125 w 527014"/>
                <a:gd name="connsiteY434" fmla="*/ 239857 h 601969"/>
                <a:gd name="connsiteX435" fmla="*/ 77928 w 527014"/>
                <a:gd name="connsiteY435" fmla="*/ 239857 h 601969"/>
                <a:gd name="connsiteX436" fmla="*/ 77152 w 527014"/>
                <a:gd name="connsiteY436" fmla="*/ 240374 h 601969"/>
                <a:gd name="connsiteX437" fmla="*/ 76377 w 527014"/>
                <a:gd name="connsiteY437" fmla="*/ 241925 h 601969"/>
                <a:gd name="connsiteX438" fmla="*/ 74826 w 527014"/>
                <a:gd name="connsiteY438" fmla="*/ 246319 h 601969"/>
                <a:gd name="connsiteX439" fmla="*/ 73405 w 527014"/>
                <a:gd name="connsiteY439" fmla="*/ 247741 h 601969"/>
                <a:gd name="connsiteX440" fmla="*/ 73405 w 527014"/>
                <a:gd name="connsiteY440" fmla="*/ 247741 h 601969"/>
                <a:gd name="connsiteX441" fmla="*/ 70949 w 527014"/>
                <a:gd name="connsiteY441" fmla="*/ 248128 h 601969"/>
                <a:gd name="connsiteX442" fmla="*/ 69528 w 527014"/>
                <a:gd name="connsiteY442" fmla="*/ 247741 h 601969"/>
                <a:gd name="connsiteX443" fmla="*/ 68494 w 527014"/>
                <a:gd name="connsiteY443" fmla="*/ 246965 h 601969"/>
                <a:gd name="connsiteX444" fmla="*/ 65134 w 527014"/>
                <a:gd name="connsiteY444" fmla="*/ 242701 h 601969"/>
                <a:gd name="connsiteX445" fmla="*/ 64488 w 527014"/>
                <a:gd name="connsiteY445" fmla="*/ 242571 h 601969"/>
                <a:gd name="connsiteX446" fmla="*/ 62808 w 527014"/>
                <a:gd name="connsiteY446" fmla="*/ 242701 h 601969"/>
                <a:gd name="connsiteX447" fmla="*/ 60740 w 527014"/>
                <a:gd name="connsiteY447" fmla="*/ 243217 h 601969"/>
                <a:gd name="connsiteX448" fmla="*/ 58930 w 527014"/>
                <a:gd name="connsiteY448" fmla="*/ 243864 h 601969"/>
                <a:gd name="connsiteX449" fmla="*/ 57121 w 527014"/>
                <a:gd name="connsiteY449" fmla="*/ 244251 h 601969"/>
                <a:gd name="connsiteX450" fmla="*/ 51693 w 527014"/>
                <a:gd name="connsiteY450" fmla="*/ 243605 h 601969"/>
                <a:gd name="connsiteX451" fmla="*/ 50789 w 527014"/>
                <a:gd name="connsiteY451" fmla="*/ 243347 h 601969"/>
                <a:gd name="connsiteX452" fmla="*/ 49496 w 527014"/>
                <a:gd name="connsiteY452" fmla="*/ 242701 h 601969"/>
                <a:gd name="connsiteX453" fmla="*/ 46783 w 527014"/>
                <a:gd name="connsiteY453" fmla="*/ 240116 h 601969"/>
                <a:gd name="connsiteX454" fmla="*/ 45361 w 527014"/>
                <a:gd name="connsiteY454" fmla="*/ 239211 h 601969"/>
                <a:gd name="connsiteX455" fmla="*/ 44715 w 527014"/>
                <a:gd name="connsiteY455" fmla="*/ 239082 h 601969"/>
                <a:gd name="connsiteX456" fmla="*/ 43940 w 527014"/>
                <a:gd name="connsiteY456" fmla="*/ 239211 h 601969"/>
                <a:gd name="connsiteX457" fmla="*/ 42389 w 527014"/>
                <a:gd name="connsiteY457" fmla="*/ 239082 h 601969"/>
                <a:gd name="connsiteX458" fmla="*/ 41484 w 527014"/>
                <a:gd name="connsiteY458" fmla="*/ 238824 h 601969"/>
                <a:gd name="connsiteX459" fmla="*/ 39804 w 527014"/>
                <a:gd name="connsiteY459" fmla="*/ 238048 h 601969"/>
                <a:gd name="connsiteX460" fmla="*/ 39029 w 527014"/>
                <a:gd name="connsiteY460" fmla="*/ 237790 h 601969"/>
                <a:gd name="connsiteX461" fmla="*/ 34505 w 527014"/>
                <a:gd name="connsiteY461" fmla="*/ 237273 h 601969"/>
                <a:gd name="connsiteX462" fmla="*/ 32825 w 527014"/>
                <a:gd name="connsiteY462" fmla="*/ 236368 h 601969"/>
                <a:gd name="connsiteX463" fmla="*/ 30758 w 527014"/>
                <a:gd name="connsiteY463" fmla="*/ 234171 h 601969"/>
                <a:gd name="connsiteX464" fmla="*/ 27139 w 527014"/>
                <a:gd name="connsiteY464" fmla="*/ 231457 h 601969"/>
                <a:gd name="connsiteX465" fmla="*/ 26751 w 527014"/>
                <a:gd name="connsiteY465" fmla="*/ 230294 h 601969"/>
                <a:gd name="connsiteX466" fmla="*/ 29207 w 527014"/>
                <a:gd name="connsiteY466" fmla="*/ 229906 h 601969"/>
                <a:gd name="connsiteX467" fmla="*/ 27268 w 527014"/>
                <a:gd name="connsiteY467" fmla="*/ 228097 h 601969"/>
                <a:gd name="connsiteX468" fmla="*/ 25071 w 527014"/>
                <a:gd name="connsiteY468" fmla="*/ 226546 h 601969"/>
                <a:gd name="connsiteX469" fmla="*/ 22616 w 527014"/>
                <a:gd name="connsiteY469" fmla="*/ 225512 h 601969"/>
                <a:gd name="connsiteX470" fmla="*/ 19773 w 527014"/>
                <a:gd name="connsiteY470" fmla="*/ 225254 h 601969"/>
                <a:gd name="connsiteX471" fmla="*/ 17705 w 527014"/>
                <a:gd name="connsiteY471" fmla="*/ 225900 h 601969"/>
                <a:gd name="connsiteX472" fmla="*/ 15637 w 527014"/>
                <a:gd name="connsiteY472" fmla="*/ 226288 h 601969"/>
                <a:gd name="connsiteX473" fmla="*/ 13570 w 527014"/>
                <a:gd name="connsiteY473" fmla="*/ 226288 h 601969"/>
                <a:gd name="connsiteX474" fmla="*/ 11502 w 527014"/>
                <a:gd name="connsiteY474" fmla="*/ 226029 h 601969"/>
                <a:gd name="connsiteX475" fmla="*/ 10210 w 527014"/>
                <a:gd name="connsiteY475" fmla="*/ 225383 h 601969"/>
                <a:gd name="connsiteX476" fmla="*/ 9951 w 527014"/>
                <a:gd name="connsiteY476" fmla="*/ 224479 h 601969"/>
                <a:gd name="connsiteX477" fmla="*/ 10080 w 527014"/>
                <a:gd name="connsiteY477" fmla="*/ 223445 h 601969"/>
                <a:gd name="connsiteX478" fmla="*/ 9951 w 527014"/>
                <a:gd name="connsiteY478" fmla="*/ 222282 h 601969"/>
                <a:gd name="connsiteX479" fmla="*/ 9046 w 527014"/>
                <a:gd name="connsiteY479" fmla="*/ 219826 h 601969"/>
                <a:gd name="connsiteX480" fmla="*/ 9693 w 527014"/>
                <a:gd name="connsiteY480" fmla="*/ 217758 h 601969"/>
                <a:gd name="connsiteX481" fmla="*/ 9951 w 527014"/>
                <a:gd name="connsiteY481" fmla="*/ 217629 h 601969"/>
                <a:gd name="connsiteX482" fmla="*/ 10468 w 527014"/>
                <a:gd name="connsiteY482" fmla="*/ 217629 h 601969"/>
                <a:gd name="connsiteX483" fmla="*/ 10985 w 527014"/>
                <a:gd name="connsiteY483" fmla="*/ 217500 h 601969"/>
                <a:gd name="connsiteX484" fmla="*/ 11114 w 527014"/>
                <a:gd name="connsiteY484" fmla="*/ 216854 h 601969"/>
                <a:gd name="connsiteX485" fmla="*/ 10985 w 527014"/>
                <a:gd name="connsiteY485" fmla="*/ 216208 h 601969"/>
                <a:gd name="connsiteX486" fmla="*/ 10468 w 527014"/>
                <a:gd name="connsiteY486" fmla="*/ 215045 h 601969"/>
                <a:gd name="connsiteX487" fmla="*/ 10339 w 527014"/>
                <a:gd name="connsiteY487" fmla="*/ 214398 h 601969"/>
                <a:gd name="connsiteX488" fmla="*/ 10210 w 527014"/>
                <a:gd name="connsiteY488" fmla="*/ 212201 h 601969"/>
                <a:gd name="connsiteX489" fmla="*/ 9693 w 527014"/>
                <a:gd name="connsiteY489" fmla="*/ 211684 h 601969"/>
                <a:gd name="connsiteX490" fmla="*/ 8271 w 527014"/>
                <a:gd name="connsiteY490" fmla="*/ 210909 h 601969"/>
                <a:gd name="connsiteX491" fmla="*/ 5945 w 527014"/>
                <a:gd name="connsiteY491" fmla="*/ 210004 h 601969"/>
                <a:gd name="connsiteX492" fmla="*/ 4136 w 527014"/>
                <a:gd name="connsiteY492" fmla="*/ 210134 h 601969"/>
                <a:gd name="connsiteX493" fmla="*/ 2455 w 527014"/>
                <a:gd name="connsiteY493" fmla="*/ 211038 h 601969"/>
                <a:gd name="connsiteX494" fmla="*/ 2455 w 527014"/>
                <a:gd name="connsiteY494" fmla="*/ 211038 h 601969"/>
                <a:gd name="connsiteX495" fmla="*/ 5945 w 527014"/>
                <a:gd name="connsiteY495" fmla="*/ 214011 h 601969"/>
                <a:gd name="connsiteX496" fmla="*/ 6849 w 527014"/>
                <a:gd name="connsiteY496" fmla="*/ 215561 h 601969"/>
                <a:gd name="connsiteX497" fmla="*/ 6979 w 527014"/>
                <a:gd name="connsiteY497" fmla="*/ 218275 h 601969"/>
                <a:gd name="connsiteX498" fmla="*/ 6979 w 527014"/>
                <a:gd name="connsiteY498" fmla="*/ 220343 h 601969"/>
                <a:gd name="connsiteX499" fmla="*/ 8659 w 527014"/>
                <a:gd name="connsiteY499" fmla="*/ 228226 h 601969"/>
                <a:gd name="connsiteX500" fmla="*/ 8917 w 527014"/>
                <a:gd name="connsiteY500" fmla="*/ 230165 h 601969"/>
                <a:gd name="connsiteX501" fmla="*/ 8917 w 527014"/>
                <a:gd name="connsiteY501" fmla="*/ 231328 h 601969"/>
                <a:gd name="connsiteX502" fmla="*/ 7754 w 527014"/>
                <a:gd name="connsiteY502" fmla="*/ 233008 h 601969"/>
                <a:gd name="connsiteX503" fmla="*/ 7237 w 527014"/>
                <a:gd name="connsiteY503" fmla="*/ 233913 h 601969"/>
                <a:gd name="connsiteX504" fmla="*/ 5815 w 527014"/>
                <a:gd name="connsiteY504" fmla="*/ 238307 h 601969"/>
                <a:gd name="connsiteX505" fmla="*/ 5299 w 527014"/>
                <a:gd name="connsiteY505" fmla="*/ 239211 h 601969"/>
                <a:gd name="connsiteX506" fmla="*/ 4911 w 527014"/>
                <a:gd name="connsiteY506" fmla="*/ 239599 h 601969"/>
                <a:gd name="connsiteX507" fmla="*/ 4523 w 527014"/>
                <a:gd name="connsiteY507" fmla="*/ 239857 h 601969"/>
                <a:gd name="connsiteX508" fmla="*/ 4006 w 527014"/>
                <a:gd name="connsiteY508" fmla="*/ 239987 h 601969"/>
                <a:gd name="connsiteX509" fmla="*/ 2585 w 527014"/>
                <a:gd name="connsiteY509" fmla="*/ 239987 h 601969"/>
                <a:gd name="connsiteX510" fmla="*/ 2068 w 527014"/>
                <a:gd name="connsiteY510" fmla="*/ 240504 h 601969"/>
                <a:gd name="connsiteX511" fmla="*/ 1551 w 527014"/>
                <a:gd name="connsiteY511" fmla="*/ 241408 h 601969"/>
                <a:gd name="connsiteX512" fmla="*/ 1034 w 527014"/>
                <a:gd name="connsiteY512" fmla="*/ 243605 h 601969"/>
                <a:gd name="connsiteX513" fmla="*/ 1034 w 527014"/>
                <a:gd name="connsiteY513" fmla="*/ 244768 h 601969"/>
                <a:gd name="connsiteX514" fmla="*/ 1163 w 527014"/>
                <a:gd name="connsiteY514" fmla="*/ 245673 h 601969"/>
                <a:gd name="connsiteX515" fmla="*/ 1422 w 527014"/>
                <a:gd name="connsiteY515" fmla="*/ 246061 h 601969"/>
                <a:gd name="connsiteX516" fmla="*/ 1809 w 527014"/>
                <a:gd name="connsiteY516" fmla="*/ 246448 h 601969"/>
                <a:gd name="connsiteX517" fmla="*/ 2197 w 527014"/>
                <a:gd name="connsiteY517" fmla="*/ 246836 h 601969"/>
                <a:gd name="connsiteX518" fmla="*/ 3489 w 527014"/>
                <a:gd name="connsiteY518" fmla="*/ 247741 h 601969"/>
                <a:gd name="connsiteX519" fmla="*/ 3877 w 527014"/>
                <a:gd name="connsiteY519" fmla="*/ 248258 h 601969"/>
                <a:gd name="connsiteX520" fmla="*/ 4265 w 527014"/>
                <a:gd name="connsiteY520" fmla="*/ 249033 h 601969"/>
                <a:gd name="connsiteX521" fmla="*/ 4782 w 527014"/>
                <a:gd name="connsiteY521" fmla="*/ 250584 h 601969"/>
                <a:gd name="connsiteX522" fmla="*/ 4782 w 527014"/>
                <a:gd name="connsiteY522" fmla="*/ 251488 h 601969"/>
                <a:gd name="connsiteX523" fmla="*/ 4652 w 527014"/>
                <a:gd name="connsiteY523" fmla="*/ 252264 h 601969"/>
                <a:gd name="connsiteX524" fmla="*/ 4394 w 527014"/>
                <a:gd name="connsiteY524" fmla="*/ 252781 h 601969"/>
                <a:gd name="connsiteX525" fmla="*/ 4136 w 527014"/>
                <a:gd name="connsiteY525" fmla="*/ 253168 h 601969"/>
                <a:gd name="connsiteX526" fmla="*/ 3748 w 527014"/>
                <a:gd name="connsiteY526" fmla="*/ 253556 h 601969"/>
                <a:gd name="connsiteX527" fmla="*/ 1163 w 527014"/>
                <a:gd name="connsiteY527" fmla="*/ 255365 h 601969"/>
                <a:gd name="connsiteX528" fmla="*/ 775 w 527014"/>
                <a:gd name="connsiteY528" fmla="*/ 255753 h 601969"/>
                <a:gd name="connsiteX529" fmla="*/ 388 w 527014"/>
                <a:gd name="connsiteY529" fmla="*/ 256270 h 601969"/>
                <a:gd name="connsiteX530" fmla="*/ 0 w 527014"/>
                <a:gd name="connsiteY530" fmla="*/ 257175 h 601969"/>
                <a:gd name="connsiteX531" fmla="*/ 0 w 527014"/>
                <a:gd name="connsiteY531" fmla="*/ 257821 h 601969"/>
                <a:gd name="connsiteX532" fmla="*/ 259 w 527014"/>
                <a:gd name="connsiteY532" fmla="*/ 258209 h 601969"/>
                <a:gd name="connsiteX533" fmla="*/ 1939 w 527014"/>
                <a:gd name="connsiteY533" fmla="*/ 258725 h 601969"/>
                <a:gd name="connsiteX534" fmla="*/ 2326 w 527014"/>
                <a:gd name="connsiteY534" fmla="*/ 258984 h 601969"/>
                <a:gd name="connsiteX535" fmla="*/ 2714 w 527014"/>
                <a:gd name="connsiteY535" fmla="*/ 259372 h 601969"/>
                <a:gd name="connsiteX536" fmla="*/ 3231 w 527014"/>
                <a:gd name="connsiteY536" fmla="*/ 260406 h 601969"/>
                <a:gd name="connsiteX537" fmla="*/ 3619 w 527014"/>
                <a:gd name="connsiteY537" fmla="*/ 261698 h 601969"/>
                <a:gd name="connsiteX538" fmla="*/ 3748 w 527014"/>
                <a:gd name="connsiteY538" fmla="*/ 262603 h 601969"/>
                <a:gd name="connsiteX539" fmla="*/ 3360 w 527014"/>
                <a:gd name="connsiteY539" fmla="*/ 270227 h 601969"/>
                <a:gd name="connsiteX540" fmla="*/ 3489 w 527014"/>
                <a:gd name="connsiteY540" fmla="*/ 271261 h 601969"/>
                <a:gd name="connsiteX541" fmla="*/ 3877 w 527014"/>
                <a:gd name="connsiteY541" fmla="*/ 272424 h 601969"/>
                <a:gd name="connsiteX542" fmla="*/ 4782 w 527014"/>
                <a:gd name="connsiteY542" fmla="*/ 280178 h 601969"/>
                <a:gd name="connsiteX543" fmla="*/ 5169 w 527014"/>
                <a:gd name="connsiteY543" fmla="*/ 281212 h 601969"/>
                <a:gd name="connsiteX544" fmla="*/ 5686 w 527014"/>
                <a:gd name="connsiteY544" fmla="*/ 282246 h 601969"/>
                <a:gd name="connsiteX545" fmla="*/ 6720 w 527014"/>
                <a:gd name="connsiteY545" fmla="*/ 283668 h 601969"/>
                <a:gd name="connsiteX546" fmla="*/ 7237 w 527014"/>
                <a:gd name="connsiteY546" fmla="*/ 284055 h 601969"/>
                <a:gd name="connsiteX547" fmla="*/ 7754 w 527014"/>
                <a:gd name="connsiteY547" fmla="*/ 284055 h 601969"/>
                <a:gd name="connsiteX548" fmla="*/ 8788 w 527014"/>
                <a:gd name="connsiteY548" fmla="*/ 283668 h 601969"/>
                <a:gd name="connsiteX549" fmla="*/ 9305 w 527014"/>
                <a:gd name="connsiteY549" fmla="*/ 283668 h 601969"/>
                <a:gd name="connsiteX550" fmla="*/ 9951 w 527014"/>
                <a:gd name="connsiteY550" fmla="*/ 283797 h 601969"/>
                <a:gd name="connsiteX551" fmla="*/ 10597 w 527014"/>
                <a:gd name="connsiteY551" fmla="*/ 284185 h 601969"/>
                <a:gd name="connsiteX552" fmla="*/ 11114 w 527014"/>
                <a:gd name="connsiteY552" fmla="*/ 284443 h 601969"/>
                <a:gd name="connsiteX553" fmla="*/ 11760 w 527014"/>
                <a:gd name="connsiteY553" fmla="*/ 284443 h 601969"/>
                <a:gd name="connsiteX554" fmla="*/ 14991 w 527014"/>
                <a:gd name="connsiteY554" fmla="*/ 284055 h 601969"/>
                <a:gd name="connsiteX555" fmla="*/ 15508 w 527014"/>
                <a:gd name="connsiteY555" fmla="*/ 283926 h 601969"/>
                <a:gd name="connsiteX556" fmla="*/ 16930 w 527014"/>
                <a:gd name="connsiteY556" fmla="*/ 283151 h 601969"/>
                <a:gd name="connsiteX557" fmla="*/ 18093 w 527014"/>
                <a:gd name="connsiteY557" fmla="*/ 282763 h 601969"/>
                <a:gd name="connsiteX558" fmla="*/ 21840 w 527014"/>
                <a:gd name="connsiteY558" fmla="*/ 282246 h 601969"/>
                <a:gd name="connsiteX559" fmla="*/ 22487 w 527014"/>
                <a:gd name="connsiteY559" fmla="*/ 282246 h 601969"/>
                <a:gd name="connsiteX560" fmla="*/ 23133 w 527014"/>
                <a:gd name="connsiteY560" fmla="*/ 282375 h 601969"/>
                <a:gd name="connsiteX561" fmla="*/ 23650 w 527014"/>
                <a:gd name="connsiteY561" fmla="*/ 282504 h 601969"/>
                <a:gd name="connsiteX562" fmla="*/ 25588 w 527014"/>
                <a:gd name="connsiteY562" fmla="*/ 283538 h 601969"/>
                <a:gd name="connsiteX563" fmla="*/ 26622 w 527014"/>
                <a:gd name="connsiteY563" fmla="*/ 283926 h 601969"/>
                <a:gd name="connsiteX564" fmla="*/ 29595 w 527014"/>
                <a:gd name="connsiteY564" fmla="*/ 284572 h 601969"/>
                <a:gd name="connsiteX565" fmla="*/ 30241 w 527014"/>
                <a:gd name="connsiteY565" fmla="*/ 284831 h 601969"/>
                <a:gd name="connsiteX566" fmla="*/ 30887 w 527014"/>
                <a:gd name="connsiteY566" fmla="*/ 285089 h 601969"/>
                <a:gd name="connsiteX567" fmla="*/ 31533 w 527014"/>
                <a:gd name="connsiteY567" fmla="*/ 285735 h 601969"/>
                <a:gd name="connsiteX568" fmla="*/ 31921 w 527014"/>
                <a:gd name="connsiteY568" fmla="*/ 285994 h 601969"/>
                <a:gd name="connsiteX569" fmla="*/ 32308 w 527014"/>
                <a:gd name="connsiteY569" fmla="*/ 286123 h 601969"/>
                <a:gd name="connsiteX570" fmla="*/ 32696 w 527014"/>
                <a:gd name="connsiteY570" fmla="*/ 285994 h 601969"/>
                <a:gd name="connsiteX571" fmla="*/ 33730 w 527014"/>
                <a:gd name="connsiteY571" fmla="*/ 285606 h 601969"/>
                <a:gd name="connsiteX572" fmla="*/ 35539 w 527014"/>
                <a:gd name="connsiteY572" fmla="*/ 285348 h 601969"/>
                <a:gd name="connsiteX573" fmla="*/ 36573 w 527014"/>
                <a:gd name="connsiteY573" fmla="*/ 284960 h 601969"/>
                <a:gd name="connsiteX574" fmla="*/ 37090 w 527014"/>
                <a:gd name="connsiteY574" fmla="*/ 284831 h 601969"/>
                <a:gd name="connsiteX575" fmla="*/ 37736 w 527014"/>
                <a:gd name="connsiteY575" fmla="*/ 284831 h 601969"/>
                <a:gd name="connsiteX576" fmla="*/ 38253 w 527014"/>
                <a:gd name="connsiteY576" fmla="*/ 284960 h 601969"/>
                <a:gd name="connsiteX577" fmla="*/ 38899 w 527014"/>
                <a:gd name="connsiteY577" fmla="*/ 284960 h 601969"/>
                <a:gd name="connsiteX578" fmla="*/ 39416 w 527014"/>
                <a:gd name="connsiteY578" fmla="*/ 284831 h 601969"/>
                <a:gd name="connsiteX579" fmla="*/ 40321 w 527014"/>
                <a:gd name="connsiteY579" fmla="*/ 284314 h 601969"/>
                <a:gd name="connsiteX580" fmla="*/ 40838 w 527014"/>
                <a:gd name="connsiteY580" fmla="*/ 284185 h 601969"/>
                <a:gd name="connsiteX581" fmla="*/ 41484 w 527014"/>
                <a:gd name="connsiteY581" fmla="*/ 284314 h 601969"/>
                <a:gd name="connsiteX582" fmla="*/ 43810 w 527014"/>
                <a:gd name="connsiteY582" fmla="*/ 285348 h 601969"/>
                <a:gd name="connsiteX583" fmla="*/ 44327 w 527014"/>
                <a:gd name="connsiteY583" fmla="*/ 285477 h 601969"/>
                <a:gd name="connsiteX584" fmla="*/ 44844 w 527014"/>
                <a:gd name="connsiteY584" fmla="*/ 285477 h 601969"/>
                <a:gd name="connsiteX585" fmla="*/ 45232 w 527014"/>
                <a:gd name="connsiteY585" fmla="*/ 285218 h 601969"/>
                <a:gd name="connsiteX586" fmla="*/ 45878 w 527014"/>
                <a:gd name="connsiteY586" fmla="*/ 284572 h 601969"/>
                <a:gd name="connsiteX587" fmla="*/ 46266 w 527014"/>
                <a:gd name="connsiteY587" fmla="*/ 284314 h 601969"/>
                <a:gd name="connsiteX588" fmla="*/ 46783 w 527014"/>
                <a:gd name="connsiteY588" fmla="*/ 284314 h 601969"/>
                <a:gd name="connsiteX589" fmla="*/ 47300 w 527014"/>
                <a:gd name="connsiteY589" fmla="*/ 284572 h 601969"/>
                <a:gd name="connsiteX590" fmla="*/ 48592 w 527014"/>
                <a:gd name="connsiteY590" fmla="*/ 285477 h 601969"/>
                <a:gd name="connsiteX591" fmla="*/ 49109 w 527014"/>
                <a:gd name="connsiteY591" fmla="*/ 285735 h 601969"/>
                <a:gd name="connsiteX592" fmla="*/ 50143 w 527014"/>
                <a:gd name="connsiteY592" fmla="*/ 286123 h 601969"/>
                <a:gd name="connsiteX593" fmla="*/ 51435 w 527014"/>
                <a:gd name="connsiteY593" fmla="*/ 287028 h 601969"/>
                <a:gd name="connsiteX594" fmla="*/ 51952 w 527014"/>
                <a:gd name="connsiteY594" fmla="*/ 287286 h 601969"/>
                <a:gd name="connsiteX595" fmla="*/ 52469 w 527014"/>
                <a:gd name="connsiteY595" fmla="*/ 287415 h 601969"/>
                <a:gd name="connsiteX596" fmla="*/ 53115 w 527014"/>
                <a:gd name="connsiteY596" fmla="*/ 287803 h 601969"/>
                <a:gd name="connsiteX597" fmla="*/ 53890 w 527014"/>
                <a:gd name="connsiteY597" fmla="*/ 288320 h 601969"/>
                <a:gd name="connsiteX598" fmla="*/ 54924 w 527014"/>
                <a:gd name="connsiteY598" fmla="*/ 289354 h 601969"/>
                <a:gd name="connsiteX599" fmla="*/ 55570 w 527014"/>
                <a:gd name="connsiteY599" fmla="*/ 289871 h 601969"/>
                <a:gd name="connsiteX600" fmla="*/ 56217 w 527014"/>
                <a:gd name="connsiteY600" fmla="*/ 290258 h 601969"/>
                <a:gd name="connsiteX601" fmla="*/ 56863 w 527014"/>
                <a:gd name="connsiteY601" fmla="*/ 290388 h 601969"/>
                <a:gd name="connsiteX602" fmla="*/ 57638 w 527014"/>
                <a:gd name="connsiteY602" fmla="*/ 290775 h 601969"/>
                <a:gd name="connsiteX603" fmla="*/ 58026 w 527014"/>
                <a:gd name="connsiteY603" fmla="*/ 291551 h 601969"/>
                <a:gd name="connsiteX604" fmla="*/ 58414 w 527014"/>
                <a:gd name="connsiteY604" fmla="*/ 292068 h 601969"/>
                <a:gd name="connsiteX605" fmla="*/ 58801 w 527014"/>
                <a:gd name="connsiteY605" fmla="*/ 292326 h 601969"/>
                <a:gd name="connsiteX606" fmla="*/ 59448 w 527014"/>
                <a:gd name="connsiteY606" fmla="*/ 292455 h 601969"/>
                <a:gd name="connsiteX607" fmla="*/ 59835 w 527014"/>
                <a:gd name="connsiteY607" fmla="*/ 292585 h 601969"/>
                <a:gd name="connsiteX608" fmla="*/ 60740 w 527014"/>
                <a:gd name="connsiteY608" fmla="*/ 293102 h 601969"/>
                <a:gd name="connsiteX609" fmla="*/ 62291 w 527014"/>
                <a:gd name="connsiteY609" fmla="*/ 294394 h 601969"/>
                <a:gd name="connsiteX610" fmla="*/ 63841 w 527014"/>
                <a:gd name="connsiteY610" fmla="*/ 295945 h 601969"/>
                <a:gd name="connsiteX611" fmla="*/ 64617 w 527014"/>
                <a:gd name="connsiteY611" fmla="*/ 296462 h 601969"/>
                <a:gd name="connsiteX612" fmla="*/ 65134 w 527014"/>
                <a:gd name="connsiteY612" fmla="*/ 296462 h 601969"/>
                <a:gd name="connsiteX613" fmla="*/ 65521 w 527014"/>
                <a:gd name="connsiteY613" fmla="*/ 295428 h 601969"/>
                <a:gd name="connsiteX614" fmla="*/ 66168 w 527014"/>
                <a:gd name="connsiteY614" fmla="*/ 295299 h 601969"/>
                <a:gd name="connsiteX615" fmla="*/ 67072 w 527014"/>
                <a:gd name="connsiteY615" fmla="*/ 295557 h 601969"/>
                <a:gd name="connsiteX616" fmla="*/ 68881 w 527014"/>
                <a:gd name="connsiteY616" fmla="*/ 296979 h 601969"/>
                <a:gd name="connsiteX617" fmla="*/ 69786 w 527014"/>
                <a:gd name="connsiteY617" fmla="*/ 297883 h 601969"/>
                <a:gd name="connsiteX618" fmla="*/ 70432 w 527014"/>
                <a:gd name="connsiteY618" fmla="*/ 298788 h 601969"/>
                <a:gd name="connsiteX619" fmla="*/ 70820 w 527014"/>
                <a:gd name="connsiteY619" fmla="*/ 299822 h 601969"/>
                <a:gd name="connsiteX620" fmla="*/ 71208 w 527014"/>
                <a:gd name="connsiteY620" fmla="*/ 300339 h 601969"/>
                <a:gd name="connsiteX621" fmla="*/ 71725 w 527014"/>
                <a:gd name="connsiteY621" fmla="*/ 300597 h 601969"/>
                <a:gd name="connsiteX622" fmla="*/ 72371 w 527014"/>
                <a:gd name="connsiteY622" fmla="*/ 300597 h 601969"/>
                <a:gd name="connsiteX623" fmla="*/ 73663 w 527014"/>
                <a:gd name="connsiteY623" fmla="*/ 300468 h 601969"/>
                <a:gd name="connsiteX624" fmla="*/ 74309 w 527014"/>
                <a:gd name="connsiteY624" fmla="*/ 300597 h 601969"/>
                <a:gd name="connsiteX625" fmla="*/ 74568 w 527014"/>
                <a:gd name="connsiteY625" fmla="*/ 300985 h 601969"/>
                <a:gd name="connsiteX626" fmla="*/ 74439 w 527014"/>
                <a:gd name="connsiteY626" fmla="*/ 301373 h 601969"/>
                <a:gd name="connsiteX627" fmla="*/ 74180 w 527014"/>
                <a:gd name="connsiteY627" fmla="*/ 301760 h 601969"/>
                <a:gd name="connsiteX628" fmla="*/ 73792 w 527014"/>
                <a:gd name="connsiteY628" fmla="*/ 302148 h 601969"/>
                <a:gd name="connsiteX629" fmla="*/ 73534 w 527014"/>
                <a:gd name="connsiteY629" fmla="*/ 302665 h 601969"/>
                <a:gd name="connsiteX630" fmla="*/ 73146 w 527014"/>
                <a:gd name="connsiteY630" fmla="*/ 303828 h 601969"/>
                <a:gd name="connsiteX631" fmla="*/ 73534 w 527014"/>
                <a:gd name="connsiteY631" fmla="*/ 304991 h 601969"/>
                <a:gd name="connsiteX632" fmla="*/ 74180 w 527014"/>
                <a:gd name="connsiteY632" fmla="*/ 305896 h 601969"/>
                <a:gd name="connsiteX633" fmla="*/ 75472 w 527014"/>
                <a:gd name="connsiteY633" fmla="*/ 307188 h 601969"/>
                <a:gd name="connsiteX634" fmla="*/ 75989 w 527014"/>
                <a:gd name="connsiteY634" fmla="*/ 307963 h 601969"/>
                <a:gd name="connsiteX635" fmla="*/ 76248 w 527014"/>
                <a:gd name="connsiteY635" fmla="*/ 308610 h 601969"/>
                <a:gd name="connsiteX636" fmla="*/ 76119 w 527014"/>
                <a:gd name="connsiteY636" fmla="*/ 309127 h 601969"/>
                <a:gd name="connsiteX637" fmla="*/ 75989 w 527014"/>
                <a:gd name="connsiteY637" fmla="*/ 309773 h 601969"/>
                <a:gd name="connsiteX638" fmla="*/ 75860 w 527014"/>
                <a:gd name="connsiteY638" fmla="*/ 310419 h 601969"/>
                <a:gd name="connsiteX639" fmla="*/ 76119 w 527014"/>
                <a:gd name="connsiteY639" fmla="*/ 311582 h 601969"/>
                <a:gd name="connsiteX640" fmla="*/ 76506 w 527014"/>
                <a:gd name="connsiteY640" fmla="*/ 312099 h 601969"/>
                <a:gd name="connsiteX641" fmla="*/ 77023 w 527014"/>
                <a:gd name="connsiteY641" fmla="*/ 312357 h 601969"/>
                <a:gd name="connsiteX642" fmla="*/ 77669 w 527014"/>
                <a:gd name="connsiteY642" fmla="*/ 312357 h 601969"/>
                <a:gd name="connsiteX643" fmla="*/ 78962 w 527014"/>
                <a:gd name="connsiteY643" fmla="*/ 312228 h 601969"/>
                <a:gd name="connsiteX644" fmla="*/ 81029 w 527014"/>
                <a:gd name="connsiteY644" fmla="*/ 312228 h 601969"/>
                <a:gd name="connsiteX645" fmla="*/ 81676 w 527014"/>
                <a:gd name="connsiteY645" fmla="*/ 312099 h 601969"/>
                <a:gd name="connsiteX646" fmla="*/ 82193 w 527014"/>
                <a:gd name="connsiteY646" fmla="*/ 311840 h 601969"/>
                <a:gd name="connsiteX647" fmla="*/ 83873 w 527014"/>
                <a:gd name="connsiteY647" fmla="*/ 310548 h 601969"/>
                <a:gd name="connsiteX648" fmla="*/ 84389 w 527014"/>
                <a:gd name="connsiteY648" fmla="*/ 310290 h 601969"/>
                <a:gd name="connsiteX649" fmla="*/ 84907 w 527014"/>
                <a:gd name="connsiteY649" fmla="*/ 310160 h 601969"/>
                <a:gd name="connsiteX650" fmla="*/ 85423 w 527014"/>
                <a:gd name="connsiteY650" fmla="*/ 310160 h 601969"/>
                <a:gd name="connsiteX651" fmla="*/ 85940 w 527014"/>
                <a:gd name="connsiteY651" fmla="*/ 310290 h 601969"/>
                <a:gd name="connsiteX652" fmla="*/ 86845 w 527014"/>
                <a:gd name="connsiteY652" fmla="*/ 310807 h 601969"/>
                <a:gd name="connsiteX653" fmla="*/ 87362 w 527014"/>
                <a:gd name="connsiteY653" fmla="*/ 311324 h 601969"/>
                <a:gd name="connsiteX654" fmla="*/ 87750 w 527014"/>
                <a:gd name="connsiteY654" fmla="*/ 311970 h 601969"/>
                <a:gd name="connsiteX655" fmla="*/ 88267 w 527014"/>
                <a:gd name="connsiteY655" fmla="*/ 312874 h 601969"/>
                <a:gd name="connsiteX656" fmla="*/ 88913 w 527014"/>
                <a:gd name="connsiteY656" fmla="*/ 313391 h 601969"/>
                <a:gd name="connsiteX657" fmla="*/ 90593 w 527014"/>
                <a:gd name="connsiteY657" fmla="*/ 314167 h 601969"/>
                <a:gd name="connsiteX658" fmla="*/ 91239 w 527014"/>
                <a:gd name="connsiteY658" fmla="*/ 314813 h 601969"/>
                <a:gd name="connsiteX659" fmla="*/ 91885 w 527014"/>
                <a:gd name="connsiteY659" fmla="*/ 315717 h 601969"/>
                <a:gd name="connsiteX660" fmla="*/ 92402 w 527014"/>
                <a:gd name="connsiteY660" fmla="*/ 316105 h 601969"/>
                <a:gd name="connsiteX661" fmla="*/ 92919 w 527014"/>
                <a:gd name="connsiteY661" fmla="*/ 316234 h 601969"/>
                <a:gd name="connsiteX662" fmla="*/ 93436 w 527014"/>
                <a:gd name="connsiteY662" fmla="*/ 316234 h 601969"/>
                <a:gd name="connsiteX663" fmla="*/ 93694 w 527014"/>
                <a:gd name="connsiteY663" fmla="*/ 316493 h 601969"/>
                <a:gd name="connsiteX664" fmla="*/ 93824 w 527014"/>
                <a:gd name="connsiteY664" fmla="*/ 317010 h 601969"/>
                <a:gd name="connsiteX665" fmla="*/ 93824 w 527014"/>
                <a:gd name="connsiteY665" fmla="*/ 317656 h 601969"/>
                <a:gd name="connsiteX666" fmla="*/ 93953 w 527014"/>
                <a:gd name="connsiteY666" fmla="*/ 318431 h 601969"/>
                <a:gd name="connsiteX667" fmla="*/ 94470 w 527014"/>
                <a:gd name="connsiteY667" fmla="*/ 318819 h 601969"/>
                <a:gd name="connsiteX668" fmla="*/ 95245 w 527014"/>
                <a:gd name="connsiteY668" fmla="*/ 319078 h 601969"/>
                <a:gd name="connsiteX669" fmla="*/ 96667 w 527014"/>
                <a:gd name="connsiteY669" fmla="*/ 319853 h 601969"/>
                <a:gd name="connsiteX670" fmla="*/ 97313 w 527014"/>
                <a:gd name="connsiteY670" fmla="*/ 320499 h 601969"/>
                <a:gd name="connsiteX671" fmla="*/ 97571 w 527014"/>
                <a:gd name="connsiteY671" fmla="*/ 321145 h 601969"/>
                <a:gd name="connsiteX672" fmla="*/ 97442 w 527014"/>
                <a:gd name="connsiteY672" fmla="*/ 322438 h 601969"/>
                <a:gd name="connsiteX673" fmla="*/ 97701 w 527014"/>
                <a:gd name="connsiteY673" fmla="*/ 322696 h 601969"/>
                <a:gd name="connsiteX674" fmla="*/ 98218 w 527014"/>
                <a:gd name="connsiteY674" fmla="*/ 322825 h 601969"/>
                <a:gd name="connsiteX675" fmla="*/ 100285 w 527014"/>
                <a:gd name="connsiteY675" fmla="*/ 322825 h 601969"/>
                <a:gd name="connsiteX676" fmla="*/ 100802 w 527014"/>
                <a:gd name="connsiteY676" fmla="*/ 322955 h 601969"/>
                <a:gd name="connsiteX677" fmla="*/ 101061 w 527014"/>
                <a:gd name="connsiteY677" fmla="*/ 323342 h 601969"/>
                <a:gd name="connsiteX678" fmla="*/ 101061 w 527014"/>
                <a:gd name="connsiteY678" fmla="*/ 323859 h 601969"/>
                <a:gd name="connsiteX679" fmla="*/ 100802 w 527014"/>
                <a:gd name="connsiteY679" fmla="*/ 324376 h 601969"/>
                <a:gd name="connsiteX680" fmla="*/ 101061 w 527014"/>
                <a:gd name="connsiteY680" fmla="*/ 324635 h 601969"/>
                <a:gd name="connsiteX681" fmla="*/ 101578 w 527014"/>
                <a:gd name="connsiteY681" fmla="*/ 324635 h 601969"/>
                <a:gd name="connsiteX682" fmla="*/ 103516 w 527014"/>
                <a:gd name="connsiteY682" fmla="*/ 324635 h 601969"/>
                <a:gd name="connsiteX683" fmla="*/ 104162 w 527014"/>
                <a:gd name="connsiteY683" fmla="*/ 324505 h 601969"/>
                <a:gd name="connsiteX684" fmla="*/ 104550 w 527014"/>
                <a:gd name="connsiteY684" fmla="*/ 324247 h 601969"/>
                <a:gd name="connsiteX685" fmla="*/ 104679 w 527014"/>
                <a:gd name="connsiteY685" fmla="*/ 323730 h 601969"/>
                <a:gd name="connsiteX686" fmla="*/ 104550 w 527014"/>
                <a:gd name="connsiteY686" fmla="*/ 323213 h 601969"/>
                <a:gd name="connsiteX687" fmla="*/ 104292 w 527014"/>
                <a:gd name="connsiteY687" fmla="*/ 322696 h 601969"/>
                <a:gd name="connsiteX688" fmla="*/ 104162 w 527014"/>
                <a:gd name="connsiteY688" fmla="*/ 322179 h 601969"/>
                <a:gd name="connsiteX689" fmla="*/ 104162 w 527014"/>
                <a:gd name="connsiteY689" fmla="*/ 321662 h 601969"/>
                <a:gd name="connsiteX690" fmla="*/ 104550 w 527014"/>
                <a:gd name="connsiteY690" fmla="*/ 321404 h 601969"/>
                <a:gd name="connsiteX691" fmla="*/ 105196 w 527014"/>
                <a:gd name="connsiteY691" fmla="*/ 321404 h 601969"/>
                <a:gd name="connsiteX692" fmla="*/ 106230 w 527014"/>
                <a:gd name="connsiteY692" fmla="*/ 321921 h 601969"/>
                <a:gd name="connsiteX693" fmla="*/ 107005 w 527014"/>
                <a:gd name="connsiteY693" fmla="*/ 322179 h 601969"/>
                <a:gd name="connsiteX694" fmla="*/ 109073 w 527014"/>
                <a:gd name="connsiteY694" fmla="*/ 322438 h 601969"/>
                <a:gd name="connsiteX695" fmla="*/ 110236 w 527014"/>
                <a:gd name="connsiteY695" fmla="*/ 323084 h 601969"/>
                <a:gd name="connsiteX696" fmla="*/ 111012 w 527014"/>
                <a:gd name="connsiteY696" fmla="*/ 323471 h 601969"/>
                <a:gd name="connsiteX697" fmla="*/ 111658 w 527014"/>
                <a:gd name="connsiteY697" fmla="*/ 323730 h 601969"/>
                <a:gd name="connsiteX698" fmla="*/ 112175 w 527014"/>
                <a:gd name="connsiteY698" fmla="*/ 323730 h 601969"/>
                <a:gd name="connsiteX699" fmla="*/ 112562 w 527014"/>
                <a:gd name="connsiteY699" fmla="*/ 323471 h 601969"/>
                <a:gd name="connsiteX700" fmla="*/ 113338 w 527014"/>
                <a:gd name="connsiteY700" fmla="*/ 322179 h 601969"/>
                <a:gd name="connsiteX701" fmla="*/ 113467 w 527014"/>
                <a:gd name="connsiteY701" fmla="*/ 321791 h 601969"/>
                <a:gd name="connsiteX702" fmla="*/ 113467 w 527014"/>
                <a:gd name="connsiteY702" fmla="*/ 321533 h 601969"/>
                <a:gd name="connsiteX703" fmla="*/ 113338 w 527014"/>
                <a:gd name="connsiteY703" fmla="*/ 320499 h 601969"/>
                <a:gd name="connsiteX704" fmla="*/ 113338 w 527014"/>
                <a:gd name="connsiteY704" fmla="*/ 319982 h 601969"/>
                <a:gd name="connsiteX705" fmla="*/ 113596 w 527014"/>
                <a:gd name="connsiteY705" fmla="*/ 319594 h 601969"/>
                <a:gd name="connsiteX706" fmla="*/ 113984 w 527014"/>
                <a:gd name="connsiteY706" fmla="*/ 319336 h 601969"/>
                <a:gd name="connsiteX707" fmla="*/ 114501 w 527014"/>
                <a:gd name="connsiteY707" fmla="*/ 319207 h 601969"/>
                <a:gd name="connsiteX708" fmla="*/ 115147 w 527014"/>
                <a:gd name="connsiteY708" fmla="*/ 319336 h 601969"/>
                <a:gd name="connsiteX709" fmla="*/ 115922 w 527014"/>
                <a:gd name="connsiteY709" fmla="*/ 319594 h 601969"/>
                <a:gd name="connsiteX710" fmla="*/ 116181 w 527014"/>
                <a:gd name="connsiteY710" fmla="*/ 319982 h 601969"/>
                <a:gd name="connsiteX711" fmla="*/ 116052 w 527014"/>
                <a:gd name="connsiteY711" fmla="*/ 320370 h 601969"/>
                <a:gd name="connsiteX712" fmla="*/ 115406 w 527014"/>
                <a:gd name="connsiteY712" fmla="*/ 321016 h 601969"/>
                <a:gd name="connsiteX713" fmla="*/ 115535 w 527014"/>
                <a:gd name="connsiteY713" fmla="*/ 321275 h 601969"/>
                <a:gd name="connsiteX714" fmla="*/ 115922 w 527014"/>
                <a:gd name="connsiteY714" fmla="*/ 321533 h 601969"/>
                <a:gd name="connsiteX715" fmla="*/ 116956 w 527014"/>
                <a:gd name="connsiteY715" fmla="*/ 321921 h 601969"/>
                <a:gd name="connsiteX716" fmla="*/ 117603 w 527014"/>
                <a:gd name="connsiteY716" fmla="*/ 322050 h 601969"/>
                <a:gd name="connsiteX717" fmla="*/ 118249 w 527014"/>
                <a:gd name="connsiteY717" fmla="*/ 322179 h 601969"/>
                <a:gd name="connsiteX718" fmla="*/ 118766 w 527014"/>
                <a:gd name="connsiteY718" fmla="*/ 322050 h 601969"/>
                <a:gd name="connsiteX719" fmla="*/ 119283 w 527014"/>
                <a:gd name="connsiteY719" fmla="*/ 321791 h 601969"/>
                <a:gd name="connsiteX720" fmla="*/ 119670 w 527014"/>
                <a:gd name="connsiteY720" fmla="*/ 321404 h 601969"/>
                <a:gd name="connsiteX721" fmla="*/ 119929 w 527014"/>
                <a:gd name="connsiteY721" fmla="*/ 321016 h 601969"/>
                <a:gd name="connsiteX722" fmla="*/ 120316 w 527014"/>
                <a:gd name="connsiteY722" fmla="*/ 320628 h 601969"/>
                <a:gd name="connsiteX723" fmla="*/ 120833 w 527014"/>
                <a:gd name="connsiteY723" fmla="*/ 320370 h 601969"/>
                <a:gd name="connsiteX724" fmla="*/ 121480 w 527014"/>
                <a:gd name="connsiteY724" fmla="*/ 320370 h 601969"/>
                <a:gd name="connsiteX725" fmla="*/ 121867 w 527014"/>
                <a:gd name="connsiteY725" fmla="*/ 320758 h 601969"/>
                <a:gd name="connsiteX726" fmla="*/ 122126 w 527014"/>
                <a:gd name="connsiteY726" fmla="*/ 321275 h 601969"/>
                <a:gd name="connsiteX727" fmla="*/ 122126 w 527014"/>
                <a:gd name="connsiteY727" fmla="*/ 321921 h 601969"/>
                <a:gd name="connsiteX728" fmla="*/ 122126 w 527014"/>
                <a:gd name="connsiteY728" fmla="*/ 322567 h 601969"/>
                <a:gd name="connsiteX729" fmla="*/ 121867 w 527014"/>
                <a:gd name="connsiteY729" fmla="*/ 323859 h 601969"/>
                <a:gd name="connsiteX730" fmla="*/ 121867 w 527014"/>
                <a:gd name="connsiteY730" fmla="*/ 324635 h 601969"/>
                <a:gd name="connsiteX731" fmla="*/ 121996 w 527014"/>
                <a:gd name="connsiteY731" fmla="*/ 325539 h 601969"/>
                <a:gd name="connsiteX732" fmla="*/ 122255 w 527014"/>
                <a:gd name="connsiteY732" fmla="*/ 326702 h 601969"/>
                <a:gd name="connsiteX733" fmla="*/ 122643 w 527014"/>
                <a:gd name="connsiteY733" fmla="*/ 327219 h 601969"/>
                <a:gd name="connsiteX734" fmla="*/ 123160 w 527014"/>
                <a:gd name="connsiteY734" fmla="*/ 327478 h 601969"/>
                <a:gd name="connsiteX735" fmla="*/ 123677 w 527014"/>
                <a:gd name="connsiteY735" fmla="*/ 327478 h 601969"/>
                <a:gd name="connsiteX736" fmla="*/ 124193 w 527014"/>
                <a:gd name="connsiteY736" fmla="*/ 327349 h 601969"/>
                <a:gd name="connsiteX737" fmla="*/ 125227 w 527014"/>
                <a:gd name="connsiteY737" fmla="*/ 326832 h 601969"/>
                <a:gd name="connsiteX738" fmla="*/ 126390 w 527014"/>
                <a:gd name="connsiteY738" fmla="*/ 326444 h 601969"/>
                <a:gd name="connsiteX739" fmla="*/ 127037 w 527014"/>
                <a:gd name="connsiteY739" fmla="*/ 326315 h 601969"/>
                <a:gd name="connsiteX740" fmla="*/ 127683 w 527014"/>
                <a:gd name="connsiteY740" fmla="*/ 326185 h 601969"/>
                <a:gd name="connsiteX741" fmla="*/ 128329 w 527014"/>
                <a:gd name="connsiteY741" fmla="*/ 326185 h 601969"/>
                <a:gd name="connsiteX742" fmla="*/ 128975 w 527014"/>
                <a:gd name="connsiteY742" fmla="*/ 326315 h 601969"/>
                <a:gd name="connsiteX743" fmla="*/ 129492 w 527014"/>
                <a:gd name="connsiteY743" fmla="*/ 326444 h 601969"/>
                <a:gd name="connsiteX744" fmla="*/ 131043 w 527014"/>
                <a:gd name="connsiteY744" fmla="*/ 327090 h 601969"/>
                <a:gd name="connsiteX745" fmla="*/ 131560 w 527014"/>
                <a:gd name="connsiteY745" fmla="*/ 327090 h 601969"/>
                <a:gd name="connsiteX746" fmla="*/ 132852 w 527014"/>
                <a:gd name="connsiteY746" fmla="*/ 326961 h 601969"/>
                <a:gd name="connsiteX747" fmla="*/ 133627 w 527014"/>
                <a:gd name="connsiteY747" fmla="*/ 326961 h 601969"/>
                <a:gd name="connsiteX748" fmla="*/ 134015 w 527014"/>
                <a:gd name="connsiteY748" fmla="*/ 327349 h 601969"/>
                <a:gd name="connsiteX749" fmla="*/ 134274 w 527014"/>
                <a:gd name="connsiteY749" fmla="*/ 327865 h 601969"/>
                <a:gd name="connsiteX750" fmla="*/ 134403 w 527014"/>
                <a:gd name="connsiteY750" fmla="*/ 328382 h 601969"/>
                <a:gd name="connsiteX751" fmla="*/ 134274 w 527014"/>
                <a:gd name="connsiteY751" fmla="*/ 328899 h 601969"/>
                <a:gd name="connsiteX752" fmla="*/ 134015 w 527014"/>
                <a:gd name="connsiteY752" fmla="*/ 329287 h 601969"/>
                <a:gd name="connsiteX753" fmla="*/ 133240 w 527014"/>
                <a:gd name="connsiteY753" fmla="*/ 329933 h 601969"/>
                <a:gd name="connsiteX754" fmla="*/ 132852 w 527014"/>
                <a:gd name="connsiteY754" fmla="*/ 330321 h 601969"/>
                <a:gd name="connsiteX755" fmla="*/ 132594 w 527014"/>
                <a:gd name="connsiteY755" fmla="*/ 330838 h 601969"/>
                <a:gd name="connsiteX756" fmla="*/ 132464 w 527014"/>
                <a:gd name="connsiteY756" fmla="*/ 331355 h 601969"/>
                <a:gd name="connsiteX757" fmla="*/ 132723 w 527014"/>
                <a:gd name="connsiteY757" fmla="*/ 332001 h 601969"/>
                <a:gd name="connsiteX758" fmla="*/ 133111 w 527014"/>
                <a:gd name="connsiteY758" fmla="*/ 332647 h 601969"/>
                <a:gd name="connsiteX759" fmla="*/ 134920 w 527014"/>
                <a:gd name="connsiteY759" fmla="*/ 334715 h 601969"/>
                <a:gd name="connsiteX760" fmla="*/ 135178 w 527014"/>
                <a:gd name="connsiteY760" fmla="*/ 335232 h 601969"/>
                <a:gd name="connsiteX761" fmla="*/ 135308 w 527014"/>
                <a:gd name="connsiteY761" fmla="*/ 335749 h 601969"/>
                <a:gd name="connsiteX762" fmla="*/ 135178 w 527014"/>
                <a:gd name="connsiteY762" fmla="*/ 336524 h 601969"/>
                <a:gd name="connsiteX763" fmla="*/ 135049 w 527014"/>
                <a:gd name="connsiteY763" fmla="*/ 336912 h 601969"/>
                <a:gd name="connsiteX764" fmla="*/ 134791 w 527014"/>
                <a:gd name="connsiteY764" fmla="*/ 337299 h 601969"/>
                <a:gd name="connsiteX765" fmla="*/ 134532 w 527014"/>
                <a:gd name="connsiteY765" fmla="*/ 337816 h 601969"/>
                <a:gd name="connsiteX766" fmla="*/ 134403 w 527014"/>
                <a:gd name="connsiteY766" fmla="*/ 338463 h 601969"/>
                <a:gd name="connsiteX767" fmla="*/ 134532 w 527014"/>
                <a:gd name="connsiteY767" fmla="*/ 339367 h 601969"/>
                <a:gd name="connsiteX768" fmla="*/ 134920 w 527014"/>
                <a:gd name="connsiteY768" fmla="*/ 339755 h 601969"/>
                <a:gd name="connsiteX769" fmla="*/ 135566 w 527014"/>
                <a:gd name="connsiteY769" fmla="*/ 339884 h 601969"/>
                <a:gd name="connsiteX770" fmla="*/ 136729 w 527014"/>
                <a:gd name="connsiteY770" fmla="*/ 339626 h 601969"/>
                <a:gd name="connsiteX771" fmla="*/ 140606 w 527014"/>
                <a:gd name="connsiteY771" fmla="*/ 338333 h 601969"/>
                <a:gd name="connsiteX772" fmla="*/ 143578 w 527014"/>
                <a:gd name="connsiteY772" fmla="*/ 337687 h 601969"/>
                <a:gd name="connsiteX773" fmla="*/ 144354 w 527014"/>
                <a:gd name="connsiteY773" fmla="*/ 337687 h 601969"/>
                <a:gd name="connsiteX774" fmla="*/ 145129 w 527014"/>
                <a:gd name="connsiteY774" fmla="*/ 337687 h 601969"/>
                <a:gd name="connsiteX775" fmla="*/ 146163 w 527014"/>
                <a:gd name="connsiteY775" fmla="*/ 337946 h 601969"/>
                <a:gd name="connsiteX776" fmla="*/ 146680 w 527014"/>
                <a:gd name="connsiteY776" fmla="*/ 338333 h 601969"/>
                <a:gd name="connsiteX777" fmla="*/ 147068 w 527014"/>
                <a:gd name="connsiteY777" fmla="*/ 338850 h 601969"/>
                <a:gd name="connsiteX778" fmla="*/ 147197 w 527014"/>
                <a:gd name="connsiteY778" fmla="*/ 339367 h 601969"/>
                <a:gd name="connsiteX779" fmla="*/ 147456 w 527014"/>
                <a:gd name="connsiteY779" fmla="*/ 340530 h 601969"/>
                <a:gd name="connsiteX780" fmla="*/ 147714 w 527014"/>
                <a:gd name="connsiteY780" fmla="*/ 341306 h 601969"/>
                <a:gd name="connsiteX781" fmla="*/ 148102 w 527014"/>
                <a:gd name="connsiteY781" fmla="*/ 342210 h 601969"/>
                <a:gd name="connsiteX782" fmla="*/ 149394 w 527014"/>
                <a:gd name="connsiteY782" fmla="*/ 344278 h 601969"/>
                <a:gd name="connsiteX783" fmla="*/ 149652 w 527014"/>
                <a:gd name="connsiteY783" fmla="*/ 344924 h 601969"/>
                <a:gd name="connsiteX784" fmla="*/ 149652 w 527014"/>
                <a:gd name="connsiteY784" fmla="*/ 345441 h 601969"/>
                <a:gd name="connsiteX785" fmla="*/ 149523 w 527014"/>
                <a:gd name="connsiteY785" fmla="*/ 345958 h 601969"/>
                <a:gd name="connsiteX786" fmla="*/ 149136 w 527014"/>
                <a:gd name="connsiteY786" fmla="*/ 346346 h 601969"/>
                <a:gd name="connsiteX787" fmla="*/ 148619 w 527014"/>
                <a:gd name="connsiteY787" fmla="*/ 346604 h 601969"/>
                <a:gd name="connsiteX788" fmla="*/ 146422 w 527014"/>
                <a:gd name="connsiteY788" fmla="*/ 347250 h 601969"/>
                <a:gd name="connsiteX789" fmla="*/ 144483 w 527014"/>
                <a:gd name="connsiteY789" fmla="*/ 347380 h 601969"/>
                <a:gd name="connsiteX790" fmla="*/ 143966 w 527014"/>
                <a:gd name="connsiteY790" fmla="*/ 347638 h 601969"/>
                <a:gd name="connsiteX791" fmla="*/ 143578 w 527014"/>
                <a:gd name="connsiteY791" fmla="*/ 348026 h 601969"/>
                <a:gd name="connsiteX792" fmla="*/ 143320 w 527014"/>
                <a:gd name="connsiteY792" fmla="*/ 348543 h 601969"/>
                <a:gd name="connsiteX793" fmla="*/ 143191 w 527014"/>
                <a:gd name="connsiteY793" fmla="*/ 349060 h 601969"/>
                <a:gd name="connsiteX794" fmla="*/ 143062 w 527014"/>
                <a:gd name="connsiteY794" fmla="*/ 350352 h 601969"/>
                <a:gd name="connsiteX795" fmla="*/ 143062 w 527014"/>
                <a:gd name="connsiteY795" fmla="*/ 351774 h 601969"/>
                <a:gd name="connsiteX796" fmla="*/ 143449 w 527014"/>
                <a:gd name="connsiteY796" fmla="*/ 354229 h 601969"/>
                <a:gd name="connsiteX797" fmla="*/ 143578 w 527014"/>
                <a:gd name="connsiteY797" fmla="*/ 354746 h 601969"/>
                <a:gd name="connsiteX798" fmla="*/ 146551 w 527014"/>
                <a:gd name="connsiteY798" fmla="*/ 360432 h 601969"/>
                <a:gd name="connsiteX799" fmla="*/ 146680 w 527014"/>
                <a:gd name="connsiteY799" fmla="*/ 360949 h 601969"/>
                <a:gd name="connsiteX800" fmla="*/ 146680 w 527014"/>
                <a:gd name="connsiteY800" fmla="*/ 361466 h 601969"/>
                <a:gd name="connsiteX801" fmla="*/ 146292 w 527014"/>
                <a:gd name="connsiteY801" fmla="*/ 362500 h 601969"/>
                <a:gd name="connsiteX802" fmla="*/ 146163 w 527014"/>
                <a:gd name="connsiteY802" fmla="*/ 363146 h 601969"/>
                <a:gd name="connsiteX803" fmla="*/ 146292 w 527014"/>
                <a:gd name="connsiteY803" fmla="*/ 363792 h 601969"/>
                <a:gd name="connsiteX804" fmla="*/ 147326 w 527014"/>
                <a:gd name="connsiteY804" fmla="*/ 365472 h 601969"/>
                <a:gd name="connsiteX805" fmla="*/ 147456 w 527014"/>
                <a:gd name="connsiteY805" fmla="*/ 365860 h 601969"/>
                <a:gd name="connsiteX806" fmla="*/ 147585 w 527014"/>
                <a:gd name="connsiteY806" fmla="*/ 369091 h 601969"/>
                <a:gd name="connsiteX807" fmla="*/ 147972 w 527014"/>
                <a:gd name="connsiteY807" fmla="*/ 370642 h 601969"/>
                <a:gd name="connsiteX808" fmla="*/ 148360 w 527014"/>
                <a:gd name="connsiteY808" fmla="*/ 371676 h 601969"/>
                <a:gd name="connsiteX809" fmla="*/ 148877 w 527014"/>
                <a:gd name="connsiteY809" fmla="*/ 372451 h 601969"/>
                <a:gd name="connsiteX810" fmla="*/ 150686 w 527014"/>
                <a:gd name="connsiteY810" fmla="*/ 374260 h 601969"/>
                <a:gd name="connsiteX811" fmla="*/ 154822 w 527014"/>
                <a:gd name="connsiteY811" fmla="*/ 377233 h 601969"/>
                <a:gd name="connsiteX812" fmla="*/ 155468 w 527014"/>
                <a:gd name="connsiteY812" fmla="*/ 377879 h 601969"/>
                <a:gd name="connsiteX813" fmla="*/ 155985 w 527014"/>
                <a:gd name="connsiteY813" fmla="*/ 378396 h 601969"/>
                <a:gd name="connsiteX814" fmla="*/ 157019 w 527014"/>
                <a:gd name="connsiteY814" fmla="*/ 380334 h 601969"/>
                <a:gd name="connsiteX815" fmla="*/ 157665 w 527014"/>
                <a:gd name="connsiteY815" fmla="*/ 382143 h 601969"/>
                <a:gd name="connsiteX816" fmla="*/ 159086 w 527014"/>
                <a:gd name="connsiteY816" fmla="*/ 384470 h 601969"/>
                <a:gd name="connsiteX817" fmla="*/ 160767 w 527014"/>
                <a:gd name="connsiteY817" fmla="*/ 386408 h 601969"/>
                <a:gd name="connsiteX818" fmla="*/ 162576 w 527014"/>
                <a:gd name="connsiteY818" fmla="*/ 387830 h 601969"/>
                <a:gd name="connsiteX819" fmla="*/ 164514 w 527014"/>
                <a:gd name="connsiteY819" fmla="*/ 388864 h 601969"/>
                <a:gd name="connsiteX820" fmla="*/ 169037 w 527014"/>
                <a:gd name="connsiteY820" fmla="*/ 390285 h 601969"/>
                <a:gd name="connsiteX821" fmla="*/ 178730 w 527014"/>
                <a:gd name="connsiteY821" fmla="*/ 392094 h 601969"/>
                <a:gd name="connsiteX822" fmla="*/ 179635 w 527014"/>
                <a:gd name="connsiteY822" fmla="*/ 392611 h 601969"/>
                <a:gd name="connsiteX823" fmla="*/ 180152 w 527014"/>
                <a:gd name="connsiteY823" fmla="*/ 393128 h 601969"/>
                <a:gd name="connsiteX824" fmla="*/ 180410 w 527014"/>
                <a:gd name="connsiteY824" fmla="*/ 393645 h 601969"/>
                <a:gd name="connsiteX825" fmla="*/ 180539 w 527014"/>
                <a:gd name="connsiteY825" fmla="*/ 394162 h 601969"/>
                <a:gd name="connsiteX826" fmla="*/ 180798 w 527014"/>
                <a:gd name="connsiteY826" fmla="*/ 395455 h 601969"/>
                <a:gd name="connsiteX827" fmla="*/ 180927 w 527014"/>
                <a:gd name="connsiteY827" fmla="*/ 398168 h 601969"/>
                <a:gd name="connsiteX828" fmla="*/ 180798 w 527014"/>
                <a:gd name="connsiteY828" fmla="*/ 399461 h 601969"/>
                <a:gd name="connsiteX829" fmla="*/ 179118 w 527014"/>
                <a:gd name="connsiteY829" fmla="*/ 405793 h 601969"/>
                <a:gd name="connsiteX830" fmla="*/ 178859 w 527014"/>
                <a:gd name="connsiteY830" fmla="*/ 408378 h 601969"/>
                <a:gd name="connsiteX831" fmla="*/ 178859 w 527014"/>
                <a:gd name="connsiteY831" fmla="*/ 410446 h 601969"/>
                <a:gd name="connsiteX832" fmla="*/ 178730 w 527014"/>
                <a:gd name="connsiteY832" fmla="*/ 411092 h 601969"/>
                <a:gd name="connsiteX833" fmla="*/ 177825 w 527014"/>
                <a:gd name="connsiteY833" fmla="*/ 414581 h 601969"/>
                <a:gd name="connsiteX834" fmla="*/ 177696 w 527014"/>
                <a:gd name="connsiteY834" fmla="*/ 415227 h 601969"/>
                <a:gd name="connsiteX835" fmla="*/ 177696 w 527014"/>
                <a:gd name="connsiteY835" fmla="*/ 415873 h 601969"/>
                <a:gd name="connsiteX836" fmla="*/ 177825 w 527014"/>
                <a:gd name="connsiteY836" fmla="*/ 417166 h 601969"/>
                <a:gd name="connsiteX837" fmla="*/ 178471 w 527014"/>
                <a:gd name="connsiteY837" fmla="*/ 419363 h 601969"/>
                <a:gd name="connsiteX838" fmla="*/ 178730 w 527014"/>
                <a:gd name="connsiteY838" fmla="*/ 420526 h 601969"/>
                <a:gd name="connsiteX839" fmla="*/ 178989 w 527014"/>
                <a:gd name="connsiteY839" fmla="*/ 423240 h 601969"/>
                <a:gd name="connsiteX840" fmla="*/ 178859 w 527014"/>
                <a:gd name="connsiteY840" fmla="*/ 429443 h 601969"/>
                <a:gd name="connsiteX841" fmla="*/ 179118 w 527014"/>
                <a:gd name="connsiteY841" fmla="*/ 430735 h 601969"/>
                <a:gd name="connsiteX842" fmla="*/ 184029 w 527014"/>
                <a:gd name="connsiteY842" fmla="*/ 440945 h 601969"/>
                <a:gd name="connsiteX843" fmla="*/ 184545 w 527014"/>
                <a:gd name="connsiteY843" fmla="*/ 441720 h 601969"/>
                <a:gd name="connsiteX844" fmla="*/ 185063 w 527014"/>
                <a:gd name="connsiteY844" fmla="*/ 442366 h 601969"/>
                <a:gd name="connsiteX845" fmla="*/ 187647 w 527014"/>
                <a:gd name="connsiteY845" fmla="*/ 444305 h 601969"/>
                <a:gd name="connsiteX846" fmla="*/ 188164 w 527014"/>
                <a:gd name="connsiteY846" fmla="*/ 444951 h 601969"/>
                <a:gd name="connsiteX847" fmla="*/ 188552 w 527014"/>
                <a:gd name="connsiteY847" fmla="*/ 445597 h 601969"/>
                <a:gd name="connsiteX848" fmla="*/ 188681 w 527014"/>
                <a:gd name="connsiteY848" fmla="*/ 446243 h 601969"/>
                <a:gd name="connsiteX849" fmla="*/ 189069 w 527014"/>
                <a:gd name="connsiteY849" fmla="*/ 448828 h 601969"/>
                <a:gd name="connsiteX850" fmla="*/ 189715 w 527014"/>
                <a:gd name="connsiteY850" fmla="*/ 451154 h 601969"/>
                <a:gd name="connsiteX851" fmla="*/ 191524 w 527014"/>
                <a:gd name="connsiteY851" fmla="*/ 455290 h 601969"/>
                <a:gd name="connsiteX852" fmla="*/ 192300 w 527014"/>
                <a:gd name="connsiteY852" fmla="*/ 457487 h 601969"/>
                <a:gd name="connsiteX853" fmla="*/ 192429 w 527014"/>
                <a:gd name="connsiteY853" fmla="*/ 458779 h 601969"/>
                <a:gd name="connsiteX854" fmla="*/ 192429 w 527014"/>
                <a:gd name="connsiteY854" fmla="*/ 460071 h 601969"/>
                <a:gd name="connsiteX855" fmla="*/ 192170 w 527014"/>
                <a:gd name="connsiteY855" fmla="*/ 462010 h 601969"/>
                <a:gd name="connsiteX856" fmla="*/ 191266 w 527014"/>
                <a:gd name="connsiteY856" fmla="*/ 466145 h 601969"/>
                <a:gd name="connsiteX857" fmla="*/ 191524 w 527014"/>
                <a:gd name="connsiteY857" fmla="*/ 467179 h 601969"/>
                <a:gd name="connsiteX858" fmla="*/ 191783 w 527014"/>
                <a:gd name="connsiteY858" fmla="*/ 467696 h 601969"/>
                <a:gd name="connsiteX859" fmla="*/ 194109 w 527014"/>
                <a:gd name="connsiteY859" fmla="*/ 472090 h 601969"/>
                <a:gd name="connsiteX860" fmla="*/ 195918 w 527014"/>
                <a:gd name="connsiteY860" fmla="*/ 473770 h 601969"/>
                <a:gd name="connsiteX861" fmla="*/ 201346 w 527014"/>
                <a:gd name="connsiteY861" fmla="*/ 490829 h 601969"/>
                <a:gd name="connsiteX862" fmla="*/ 202251 w 527014"/>
                <a:gd name="connsiteY862" fmla="*/ 492509 h 601969"/>
                <a:gd name="connsiteX863" fmla="*/ 204318 w 527014"/>
                <a:gd name="connsiteY863" fmla="*/ 493284 h 601969"/>
                <a:gd name="connsiteX864" fmla="*/ 205481 w 527014"/>
                <a:gd name="connsiteY864" fmla="*/ 493543 h 601969"/>
                <a:gd name="connsiteX865" fmla="*/ 206127 w 527014"/>
                <a:gd name="connsiteY865" fmla="*/ 493543 h 601969"/>
                <a:gd name="connsiteX866" fmla="*/ 206774 w 527014"/>
                <a:gd name="connsiteY866" fmla="*/ 493543 h 601969"/>
                <a:gd name="connsiteX867" fmla="*/ 207291 w 527014"/>
                <a:gd name="connsiteY867" fmla="*/ 493414 h 601969"/>
                <a:gd name="connsiteX868" fmla="*/ 207808 w 527014"/>
                <a:gd name="connsiteY868" fmla="*/ 493155 h 601969"/>
                <a:gd name="connsiteX869" fmla="*/ 211685 w 527014"/>
                <a:gd name="connsiteY869" fmla="*/ 491087 h 601969"/>
                <a:gd name="connsiteX870" fmla="*/ 212331 w 527014"/>
                <a:gd name="connsiteY870" fmla="*/ 490958 h 601969"/>
                <a:gd name="connsiteX871" fmla="*/ 213106 w 527014"/>
                <a:gd name="connsiteY871" fmla="*/ 491087 h 601969"/>
                <a:gd name="connsiteX872" fmla="*/ 213752 w 527014"/>
                <a:gd name="connsiteY872" fmla="*/ 491475 h 601969"/>
                <a:gd name="connsiteX873" fmla="*/ 214915 w 527014"/>
                <a:gd name="connsiteY873" fmla="*/ 492767 h 601969"/>
                <a:gd name="connsiteX874" fmla="*/ 215303 w 527014"/>
                <a:gd name="connsiteY874" fmla="*/ 493284 h 601969"/>
                <a:gd name="connsiteX875" fmla="*/ 215562 w 527014"/>
                <a:gd name="connsiteY875" fmla="*/ 493801 h 601969"/>
                <a:gd name="connsiteX876" fmla="*/ 216078 w 527014"/>
                <a:gd name="connsiteY876" fmla="*/ 495223 h 601969"/>
                <a:gd name="connsiteX877" fmla="*/ 225254 w 527014"/>
                <a:gd name="connsiteY877" fmla="*/ 504398 h 601969"/>
                <a:gd name="connsiteX878" fmla="*/ 225512 w 527014"/>
                <a:gd name="connsiteY878" fmla="*/ 504915 h 601969"/>
                <a:gd name="connsiteX879" fmla="*/ 226676 w 527014"/>
                <a:gd name="connsiteY879" fmla="*/ 508017 h 601969"/>
                <a:gd name="connsiteX880" fmla="*/ 227322 w 527014"/>
                <a:gd name="connsiteY880" fmla="*/ 509180 h 601969"/>
                <a:gd name="connsiteX881" fmla="*/ 227839 w 527014"/>
                <a:gd name="connsiteY881" fmla="*/ 509826 h 601969"/>
                <a:gd name="connsiteX882" fmla="*/ 231716 w 527014"/>
                <a:gd name="connsiteY882" fmla="*/ 512669 h 601969"/>
                <a:gd name="connsiteX883" fmla="*/ 232491 w 527014"/>
                <a:gd name="connsiteY883" fmla="*/ 513574 h 601969"/>
                <a:gd name="connsiteX884" fmla="*/ 232879 w 527014"/>
                <a:gd name="connsiteY884" fmla="*/ 514349 h 601969"/>
                <a:gd name="connsiteX885" fmla="*/ 232879 w 527014"/>
                <a:gd name="connsiteY885" fmla="*/ 522750 h 601969"/>
                <a:gd name="connsiteX886" fmla="*/ 232750 w 527014"/>
                <a:gd name="connsiteY886" fmla="*/ 523913 h 601969"/>
                <a:gd name="connsiteX887" fmla="*/ 231974 w 527014"/>
                <a:gd name="connsiteY887" fmla="*/ 526239 h 601969"/>
                <a:gd name="connsiteX888" fmla="*/ 231845 w 527014"/>
                <a:gd name="connsiteY888" fmla="*/ 527531 h 601969"/>
                <a:gd name="connsiteX889" fmla="*/ 231845 w 527014"/>
                <a:gd name="connsiteY889" fmla="*/ 528824 h 601969"/>
                <a:gd name="connsiteX890" fmla="*/ 231974 w 527014"/>
                <a:gd name="connsiteY890" fmla="*/ 530116 h 601969"/>
                <a:gd name="connsiteX891" fmla="*/ 232233 w 527014"/>
                <a:gd name="connsiteY891" fmla="*/ 531279 h 601969"/>
                <a:gd name="connsiteX892" fmla="*/ 234042 w 527014"/>
                <a:gd name="connsiteY892" fmla="*/ 535414 h 601969"/>
                <a:gd name="connsiteX893" fmla="*/ 234688 w 527014"/>
                <a:gd name="connsiteY893" fmla="*/ 536448 h 601969"/>
                <a:gd name="connsiteX894" fmla="*/ 235205 w 527014"/>
                <a:gd name="connsiteY894" fmla="*/ 537095 h 601969"/>
                <a:gd name="connsiteX895" fmla="*/ 235722 w 527014"/>
                <a:gd name="connsiteY895" fmla="*/ 537353 h 601969"/>
                <a:gd name="connsiteX896" fmla="*/ 236239 w 527014"/>
                <a:gd name="connsiteY896" fmla="*/ 537482 h 601969"/>
                <a:gd name="connsiteX897" fmla="*/ 236885 w 527014"/>
                <a:gd name="connsiteY897" fmla="*/ 537611 h 601969"/>
                <a:gd name="connsiteX898" fmla="*/ 238436 w 527014"/>
                <a:gd name="connsiteY898" fmla="*/ 537611 h 601969"/>
                <a:gd name="connsiteX899" fmla="*/ 239599 w 527014"/>
                <a:gd name="connsiteY899" fmla="*/ 537741 h 601969"/>
                <a:gd name="connsiteX900" fmla="*/ 240762 w 527014"/>
                <a:gd name="connsiteY900" fmla="*/ 538128 h 601969"/>
                <a:gd name="connsiteX901" fmla="*/ 242442 w 527014"/>
                <a:gd name="connsiteY901" fmla="*/ 539291 h 601969"/>
                <a:gd name="connsiteX902" fmla="*/ 243088 w 527014"/>
                <a:gd name="connsiteY902" fmla="*/ 540067 h 601969"/>
                <a:gd name="connsiteX903" fmla="*/ 243476 w 527014"/>
                <a:gd name="connsiteY903" fmla="*/ 540842 h 601969"/>
                <a:gd name="connsiteX904" fmla="*/ 243734 w 527014"/>
                <a:gd name="connsiteY904" fmla="*/ 542005 h 601969"/>
                <a:gd name="connsiteX905" fmla="*/ 243864 w 527014"/>
                <a:gd name="connsiteY905" fmla="*/ 545495 h 601969"/>
                <a:gd name="connsiteX906" fmla="*/ 243993 w 527014"/>
                <a:gd name="connsiteY906" fmla="*/ 546141 h 601969"/>
                <a:gd name="connsiteX907" fmla="*/ 245285 w 527014"/>
                <a:gd name="connsiteY907" fmla="*/ 549759 h 601969"/>
                <a:gd name="connsiteX908" fmla="*/ 245415 w 527014"/>
                <a:gd name="connsiteY908" fmla="*/ 550535 h 601969"/>
                <a:gd name="connsiteX909" fmla="*/ 245544 w 527014"/>
                <a:gd name="connsiteY909" fmla="*/ 551310 h 601969"/>
                <a:gd name="connsiteX910" fmla="*/ 245544 w 527014"/>
                <a:gd name="connsiteY910" fmla="*/ 552603 h 601969"/>
                <a:gd name="connsiteX911" fmla="*/ 245285 w 527014"/>
                <a:gd name="connsiteY911" fmla="*/ 553895 h 601969"/>
                <a:gd name="connsiteX912" fmla="*/ 244898 w 527014"/>
                <a:gd name="connsiteY912" fmla="*/ 554929 h 601969"/>
                <a:gd name="connsiteX913" fmla="*/ 244381 w 527014"/>
                <a:gd name="connsiteY913" fmla="*/ 555963 h 601969"/>
                <a:gd name="connsiteX914" fmla="*/ 244251 w 527014"/>
                <a:gd name="connsiteY914" fmla="*/ 556480 h 601969"/>
                <a:gd name="connsiteX915" fmla="*/ 244251 w 527014"/>
                <a:gd name="connsiteY915" fmla="*/ 557126 h 601969"/>
                <a:gd name="connsiteX916" fmla="*/ 244381 w 527014"/>
                <a:gd name="connsiteY916" fmla="*/ 557772 h 601969"/>
                <a:gd name="connsiteX917" fmla="*/ 245156 w 527014"/>
                <a:gd name="connsiteY917" fmla="*/ 559710 h 601969"/>
                <a:gd name="connsiteX918" fmla="*/ 245285 w 527014"/>
                <a:gd name="connsiteY918" fmla="*/ 560227 h 601969"/>
                <a:gd name="connsiteX919" fmla="*/ 245285 w 527014"/>
                <a:gd name="connsiteY919" fmla="*/ 560744 h 601969"/>
                <a:gd name="connsiteX920" fmla="*/ 245156 w 527014"/>
                <a:gd name="connsiteY920" fmla="*/ 561261 h 601969"/>
                <a:gd name="connsiteX921" fmla="*/ 244639 w 527014"/>
                <a:gd name="connsiteY921" fmla="*/ 562295 h 601969"/>
                <a:gd name="connsiteX922" fmla="*/ 244510 w 527014"/>
                <a:gd name="connsiteY922" fmla="*/ 562812 h 601969"/>
                <a:gd name="connsiteX923" fmla="*/ 244381 w 527014"/>
                <a:gd name="connsiteY923" fmla="*/ 563458 h 601969"/>
                <a:gd name="connsiteX924" fmla="*/ 244381 w 527014"/>
                <a:gd name="connsiteY924" fmla="*/ 564234 h 601969"/>
                <a:gd name="connsiteX925" fmla="*/ 244639 w 527014"/>
                <a:gd name="connsiteY925" fmla="*/ 565138 h 601969"/>
                <a:gd name="connsiteX926" fmla="*/ 245027 w 527014"/>
                <a:gd name="connsiteY926" fmla="*/ 565526 h 601969"/>
                <a:gd name="connsiteX927" fmla="*/ 245544 w 527014"/>
                <a:gd name="connsiteY927" fmla="*/ 565784 h 601969"/>
                <a:gd name="connsiteX928" fmla="*/ 246061 w 527014"/>
                <a:gd name="connsiteY928" fmla="*/ 565784 h 601969"/>
                <a:gd name="connsiteX929" fmla="*/ 246448 w 527014"/>
                <a:gd name="connsiteY929" fmla="*/ 565784 h 601969"/>
                <a:gd name="connsiteX930" fmla="*/ 252910 w 527014"/>
                <a:gd name="connsiteY930" fmla="*/ 563717 h 601969"/>
                <a:gd name="connsiteX931" fmla="*/ 253556 w 527014"/>
                <a:gd name="connsiteY931" fmla="*/ 563587 h 601969"/>
                <a:gd name="connsiteX932" fmla="*/ 254202 w 527014"/>
                <a:gd name="connsiteY932" fmla="*/ 563587 h 601969"/>
                <a:gd name="connsiteX933" fmla="*/ 254849 w 527014"/>
                <a:gd name="connsiteY933" fmla="*/ 563587 h 601969"/>
                <a:gd name="connsiteX934" fmla="*/ 255495 w 527014"/>
                <a:gd name="connsiteY934" fmla="*/ 563717 h 601969"/>
                <a:gd name="connsiteX935" fmla="*/ 256141 w 527014"/>
                <a:gd name="connsiteY935" fmla="*/ 563846 h 601969"/>
                <a:gd name="connsiteX936" fmla="*/ 256658 w 527014"/>
                <a:gd name="connsiteY936" fmla="*/ 564104 h 601969"/>
                <a:gd name="connsiteX937" fmla="*/ 257304 w 527014"/>
                <a:gd name="connsiteY937" fmla="*/ 564492 h 601969"/>
                <a:gd name="connsiteX938" fmla="*/ 259242 w 527014"/>
                <a:gd name="connsiteY938" fmla="*/ 566431 h 601969"/>
                <a:gd name="connsiteX939" fmla="*/ 259759 w 527014"/>
                <a:gd name="connsiteY939" fmla="*/ 567206 h 601969"/>
                <a:gd name="connsiteX940" fmla="*/ 260147 w 527014"/>
                <a:gd name="connsiteY940" fmla="*/ 567852 h 601969"/>
                <a:gd name="connsiteX941" fmla="*/ 260406 w 527014"/>
                <a:gd name="connsiteY941" fmla="*/ 569015 h 601969"/>
                <a:gd name="connsiteX942" fmla="*/ 260535 w 527014"/>
                <a:gd name="connsiteY942" fmla="*/ 569661 h 601969"/>
                <a:gd name="connsiteX943" fmla="*/ 260535 w 527014"/>
                <a:gd name="connsiteY943" fmla="*/ 570308 h 601969"/>
                <a:gd name="connsiteX944" fmla="*/ 260406 w 527014"/>
                <a:gd name="connsiteY944" fmla="*/ 570824 h 601969"/>
                <a:gd name="connsiteX945" fmla="*/ 260147 w 527014"/>
                <a:gd name="connsiteY945" fmla="*/ 571341 h 601969"/>
                <a:gd name="connsiteX946" fmla="*/ 258467 w 527014"/>
                <a:gd name="connsiteY946" fmla="*/ 573409 h 601969"/>
                <a:gd name="connsiteX947" fmla="*/ 258209 w 527014"/>
                <a:gd name="connsiteY947" fmla="*/ 573926 h 601969"/>
                <a:gd name="connsiteX948" fmla="*/ 258209 w 527014"/>
                <a:gd name="connsiteY948" fmla="*/ 574701 h 601969"/>
                <a:gd name="connsiteX949" fmla="*/ 258338 w 527014"/>
                <a:gd name="connsiteY949" fmla="*/ 575735 h 601969"/>
                <a:gd name="connsiteX950" fmla="*/ 259759 w 527014"/>
                <a:gd name="connsiteY950" fmla="*/ 578708 h 601969"/>
                <a:gd name="connsiteX951" fmla="*/ 259889 w 527014"/>
                <a:gd name="connsiteY951" fmla="*/ 578966 h 601969"/>
                <a:gd name="connsiteX952" fmla="*/ 259889 w 527014"/>
                <a:gd name="connsiteY952" fmla="*/ 581422 h 601969"/>
                <a:gd name="connsiteX953" fmla="*/ 260018 w 527014"/>
                <a:gd name="connsiteY953" fmla="*/ 582068 h 601969"/>
                <a:gd name="connsiteX954" fmla="*/ 260793 w 527014"/>
                <a:gd name="connsiteY954" fmla="*/ 585169 h 601969"/>
                <a:gd name="connsiteX955" fmla="*/ 261181 w 527014"/>
                <a:gd name="connsiteY955" fmla="*/ 585686 h 601969"/>
                <a:gd name="connsiteX956" fmla="*/ 261698 w 527014"/>
                <a:gd name="connsiteY956" fmla="*/ 586074 h 601969"/>
                <a:gd name="connsiteX957" fmla="*/ 263507 w 527014"/>
                <a:gd name="connsiteY957" fmla="*/ 586462 h 601969"/>
                <a:gd name="connsiteX958" fmla="*/ 265575 w 527014"/>
                <a:gd name="connsiteY958" fmla="*/ 587366 h 601969"/>
                <a:gd name="connsiteX959" fmla="*/ 266092 w 527014"/>
                <a:gd name="connsiteY959" fmla="*/ 587625 h 601969"/>
                <a:gd name="connsiteX960" fmla="*/ 267126 w 527014"/>
                <a:gd name="connsiteY960" fmla="*/ 588529 h 601969"/>
                <a:gd name="connsiteX961" fmla="*/ 270486 w 527014"/>
                <a:gd name="connsiteY961" fmla="*/ 592148 h 601969"/>
                <a:gd name="connsiteX962" fmla="*/ 271261 w 527014"/>
                <a:gd name="connsiteY962" fmla="*/ 592794 h 601969"/>
                <a:gd name="connsiteX963" fmla="*/ 271778 w 527014"/>
                <a:gd name="connsiteY963" fmla="*/ 593053 h 601969"/>
                <a:gd name="connsiteX964" fmla="*/ 273846 w 527014"/>
                <a:gd name="connsiteY964" fmla="*/ 593828 h 601969"/>
                <a:gd name="connsiteX965" fmla="*/ 274492 w 527014"/>
                <a:gd name="connsiteY965" fmla="*/ 593957 h 601969"/>
                <a:gd name="connsiteX966" fmla="*/ 286252 w 527014"/>
                <a:gd name="connsiteY966" fmla="*/ 594733 h 601969"/>
                <a:gd name="connsiteX967" fmla="*/ 287028 w 527014"/>
                <a:gd name="connsiteY967" fmla="*/ 594991 h 601969"/>
                <a:gd name="connsiteX968" fmla="*/ 287803 w 527014"/>
                <a:gd name="connsiteY968" fmla="*/ 595379 h 601969"/>
                <a:gd name="connsiteX969" fmla="*/ 289096 w 527014"/>
                <a:gd name="connsiteY969" fmla="*/ 596283 h 601969"/>
                <a:gd name="connsiteX970" fmla="*/ 289742 w 527014"/>
                <a:gd name="connsiteY970" fmla="*/ 596930 h 601969"/>
                <a:gd name="connsiteX971" fmla="*/ 290129 w 527014"/>
                <a:gd name="connsiteY971" fmla="*/ 597447 h 601969"/>
                <a:gd name="connsiteX972" fmla="*/ 291680 w 527014"/>
                <a:gd name="connsiteY972" fmla="*/ 600936 h 601969"/>
                <a:gd name="connsiteX973" fmla="*/ 292197 w 527014"/>
                <a:gd name="connsiteY973" fmla="*/ 601582 h 601969"/>
                <a:gd name="connsiteX974" fmla="*/ 292714 w 527014"/>
                <a:gd name="connsiteY974" fmla="*/ 601970 h 601969"/>
                <a:gd name="connsiteX975" fmla="*/ 293231 w 527014"/>
                <a:gd name="connsiteY975" fmla="*/ 601970 h 601969"/>
                <a:gd name="connsiteX976" fmla="*/ 293619 w 527014"/>
                <a:gd name="connsiteY976" fmla="*/ 601711 h 601969"/>
                <a:gd name="connsiteX977" fmla="*/ 294006 w 527014"/>
                <a:gd name="connsiteY977" fmla="*/ 601324 h 601969"/>
                <a:gd name="connsiteX978" fmla="*/ 294265 w 527014"/>
                <a:gd name="connsiteY978" fmla="*/ 600807 h 601969"/>
                <a:gd name="connsiteX979" fmla="*/ 294394 w 527014"/>
                <a:gd name="connsiteY979" fmla="*/ 600160 h 601969"/>
                <a:gd name="connsiteX980" fmla="*/ 294265 w 527014"/>
                <a:gd name="connsiteY980" fmla="*/ 598222 h 601969"/>
                <a:gd name="connsiteX981" fmla="*/ 294394 w 527014"/>
                <a:gd name="connsiteY981" fmla="*/ 597705 h 601969"/>
                <a:gd name="connsiteX982" fmla="*/ 294653 w 527014"/>
                <a:gd name="connsiteY982" fmla="*/ 597317 h 601969"/>
                <a:gd name="connsiteX983" fmla="*/ 295040 w 527014"/>
                <a:gd name="connsiteY983" fmla="*/ 596930 h 601969"/>
                <a:gd name="connsiteX984" fmla="*/ 295557 w 527014"/>
                <a:gd name="connsiteY984" fmla="*/ 596671 h 601969"/>
                <a:gd name="connsiteX985" fmla="*/ 296074 w 527014"/>
                <a:gd name="connsiteY985" fmla="*/ 596413 h 601969"/>
                <a:gd name="connsiteX986" fmla="*/ 296591 w 527014"/>
                <a:gd name="connsiteY986" fmla="*/ 596283 h 601969"/>
                <a:gd name="connsiteX987" fmla="*/ 297237 w 527014"/>
                <a:gd name="connsiteY987" fmla="*/ 596154 h 601969"/>
                <a:gd name="connsiteX988" fmla="*/ 297883 w 527014"/>
                <a:gd name="connsiteY988" fmla="*/ 596154 h 601969"/>
                <a:gd name="connsiteX989" fmla="*/ 299046 w 527014"/>
                <a:gd name="connsiteY989" fmla="*/ 596413 h 601969"/>
                <a:gd name="connsiteX990" fmla="*/ 299563 w 527014"/>
                <a:gd name="connsiteY990" fmla="*/ 596413 h 601969"/>
                <a:gd name="connsiteX991" fmla="*/ 300339 w 527014"/>
                <a:gd name="connsiteY991" fmla="*/ 596154 h 601969"/>
                <a:gd name="connsiteX992" fmla="*/ 300726 w 527014"/>
                <a:gd name="connsiteY992" fmla="*/ 596025 h 601969"/>
                <a:gd name="connsiteX993" fmla="*/ 301114 w 527014"/>
                <a:gd name="connsiteY993" fmla="*/ 595637 h 601969"/>
                <a:gd name="connsiteX994" fmla="*/ 301373 w 527014"/>
                <a:gd name="connsiteY994" fmla="*/ 595250 h 601969"/>
                <a:gd name="connsiteX995" fmla="*/ 302019 w 527014"/>
                <a:gd name="connsiteY995" fmla="*/ 593699 h 601969"/>
                <a:gd name="connsiteX996" fmla="*/ 302407 w 527014"/>
                <a:gd name="connsiteY996" fmla="*/ 593440 h 601969"/>
                <a:gd name="connsiteX997" fmla="*/ 303053 w 527014"/>
                <a:gd name="connsiteY997" fmla="*/ 593570 h 601969"/>
                <a:gd name="connsiteX998" fmla="*/ 304086 w 527014"/>
                <a:gd name="connsiteY998" fmla="*/ 594345 h 601969"/>
                <a:gd name="connsiteX999" fmla="*/ 304733 w 527014"/>
                <a:gd name="connsiteY999" fmla="*/ 594733 h 601969"/>
                <a:gd name="connsiteX1000" fmla="*/ 305379 w 527014"/>
                <a:gd name="connsiteY1000" fmla="*/ 594862 h 601969"/>
                <a:gd name="connsiteX1001" fmla="*/ 305767 w 527014"/>
                <a:gd name="connsiteY1001" fmla="*/ 594733 h 601969"/>
                <a:gd name="connsiteX1002" fmla="*/ 306154 w 527014"/>
                <a:gd name="connsiteY1002" fmla="*/ 594474 h 601969"/>
                <a:gd name="connsiteX1003" fmla="*/ 306413 w 527014"/>
                <a:gd name="connsiteY1003" fmla="*/ 594216 h 601969"/>
                <a:gd name="connsiteX1004" fmla="*/ 306671 w 527014"/>
                <a:gd name="connsiteY1004" fmla="*/ 594086 h 601969"/>
                <a:gd name="connsiteX1005" fmla="*/ 307834 w 527014"/>
                <a:gd name="connsiteY1005" fmla="*/ 594086 h 601969"/>
                <a:gd name="connsiteX1006" fmla="*/ 309902 w 527014"/>
                <a:gd name="connsiteY1006" fmla="*/ 595120 h 601969"/>
                <a:gd name="connsiteX1007" fmla="*/ 310290 w 527014"/>
                <a:gd name="connsiteY1007" fmla="*/ 595250 h 601969"/>
                <a:gd name="connsiteX1008" fmla="*/ 317915 w 527014"/>
                <a:gd name="connsiteY1008" fmla="*/ 592923 h 601969"/>
                <a:gd name="connsiteX1009" fmla="*/ 319207 w 527014"/>
                <a:gd name="connsiteY1009" fmla="*/ 591760 h 601969"/>
                <a:gd name="connsiteX1010" fmla="*/ 321533 w 527014"/>
                <a:gd name="connsiteY1010" fmla="*/ 588529 h 601969"/>
                <a:gd name="connsiteX1011" fmla="*/ 323213 w 527014"/>
                <a:gd name="connsiteY1011" fmla="*/ 587625 h 601969"/>
                <a:gd name="connsiteX1012" fmla="*/ 326702 w 527014"/>
                <a:gd name="connsiteY1012" fmla="*/ 584652 h 601969"/>
                <a:gd name="connsiteX1013" fmla="*/ 328770 w 527014"/>
                <a:gd name="connsiteY1013" fmla="*/ 583619 h 601969"/>
                <a:gd name="connsiteX1014" fmla="*/ 329675 w 527014"/>
                <a:gd name="connsiteY1014" fmla="*/ 582972 h 601969"/>
                <a:gd name="connsiteX1015" fmla="*/ 330192 w 527014"/>
                <a:gd name="connsiteY1015" fmla="*/ 582326 h 601969"/>
                <a:gd name="connsiteX1016" fmla="*/ 330579 w 527014"/>
                <a:gd name="connsiteY1016" fmla="*/ 581680 h 601969"/>
                <a:gd name="connsiteX1017" fmla="*/ 330838 w 527014"/>
                <a:gd name="connsiteY1017" fmla="*/ 580905 h 601969"/>
                <a:gd name="connsiteX1018" fmla="*/ 330967 w 527014"/>
                <a:gd name="connsiteY1018" fmla="*/ 579871 h 601969"/>
                <a:gd name="connsiteX1019" fmla="*/ 330967 w 527014"/>
                <a:gd name="connsiteY1019" fmla="*/ 576382 h 601969"/>
                <a:gd name="connsiteX1020" fmla="*/ 329546 w 527014"/>
                <a:gd name="connsiteY1020" fmla="*/ 565655 h 601969"/>
                <a:gd name="connsiteX1021" fmla="*/ 330709 w 527014"/>
                <a:gd name="connsiteY1021" fmla="*/ 556609 h 601969"/>
                <a:gd name="connsiteX1022" fmla="*/ 332130 w 527014"/>
                <a:gd name="connsiteY1022" fmla="*/ 552990 h 601969"/>
                <a:gd name="connsiteX1023" fmla="*/ 332389 w 527014"/>
                <a:gd name="connsiteY1023" fmla="*/ 551698 h 601969"/>
                <a:gd name="connsiteX1024" fmla="*/ 336783 w 527014"/>
                <a:gd name="connsiteY1024" fmla="*/ 546270 h 601969"/>
                <a:gd name="connsiteX1025" fmla="*/ 337558 w 527014"/>
                <a:gd name="connsiteY1025" fmla="*/ 545753 h 601969"/>
                <a:gd name="connsiteX1026" fmla="*/ 339109 w 527014"/>
                <a:gd name="connsiteY1026" fmla="*/ 544848 h 601969"/>
                <a:gd name="connsiteX1027" fmla="*/ 339884 w 527014"/>
                <a:gd name="connsiteY1027" fmla="*/ 544202 h 601969"/>
                <a:gd name="connsiteX1028" fmla="*/ 345183 w 527014"/>
                <a:gd name="connsiteY1028" fmla="*/ 536578 h 601969"/>
                <a:gd name="connsiteX1029" fmla="*/ 350223 w 527014"/>
                <a:gd name="connsiteY1029" fmla="*/ 531021 h 601969"/>
                <a:gd name="connsiteX1030" fmla="*/ 348672 w 527014"/>
                <a:gd name="connsiteY1030" fmla="*/ 530374 h 601969"/>
                <a:gd name="connsiteX1031" fmla="*/ 348155 w 527014"/>
                <a:gd name="connsiteY1031" fmla="*/ 531279 h 601969"/>
                <a:gd name="connsiteX1032" fmla="*/ 347121 w 527014"/>
                <a:gd name="connsiteY1032" fmla="*/ 531796 h 601969"/>
                <a:gd name="connsiteX1033" fmla="*/ 345829 w 527014"/>
                <a:gd name="connsiteY1033" fmla="*/ 531925 h 601969"/>
                <a:gd name="connsiteX1034" fmla="*/ 344278 w 527014"/>
                <a:gd name="connsiteY1034" fmla="*/ 531796 h 601969"/>
                <a:gd name="connsiteX1035" fmla="*/ 344278 w 527014"/>
                <a:gd name="connsiteY1035" fmla="*/ 531021 h 601969"/>
                <a:gd name="connsiteX1036" fmla="*/ 346217 w 527014"/>
                <a:gd name="connsiteY1036" fmla="*/ 530891 h 601969"/>
                <a:gd name="connsiteX1037" fmla="*/ 347897 w 527014"/>
                <a:gd name="connsiteY1037" fmla="*/ 530374 h 601969"/>
                <a:gd name="connsiteX1038" fmla="*/ 347897 w 527014"/>
                <a:gd name="connsiteY1038" fmla="*/ 529599 h 601969"/>
                <a:gd name="connsiteX1039" fmla="*/ 346604 w 527014"/>
                <a:gd name="connsiteY1039" fmla="*/ 529082 h 601969"/>
                <a:gd name="connsiteX1040" fmla="*/ 345958 w 527014"/>
                <a:gd name="connsiteY1040" fmla="*/ 528953 h 601969"/>
                <a:gd name="connsiteX1041" fmla="*/ 344924 w 527014"/>
                <a:gd name="connsiteY1041" fmla="*/ 528953 h 601969"/>
                <a:gd name="connsiteX1042" fmla="*/ 344924 w 527014"/>
                <a:gd name="connsiteY1042" fmla="*/ 528177 h 601969"/>
                <a:gd name="connsiteX1043" fmla="*/ 346863 w 527014"/>
                <a:gd name="connsiteY1043" fmla="*/ 528177 h 601969"/>
                <a:gd name="connsiteX1044" fmla="*/ 349577 w 527014"/>
                <a:gd name="connsiteY1044" fmla="*/ 529211 h 601969"/>
                <a:gd name="connsiteX1045" fmla="*/ 351127 w 527014"/>
                <a:gd name="connsiteY1045" fmla="*/ 529470 h 601969"/>
                <a:gd name="connsiteX1046" fmla="*/ 352808 w 527014"/>
                <a:gd name="connsiteY1046" fmla="*/ 528824 h 601969"/>
                <a:gd name="connsiteX1047" fmla="*/ 354875 w 527014"/>
                <a:gd name="connsiteY1047" fmla="*/ 527273 h 601969"/>
                <a:gd name="connsiteX1048" fmla="*/ 358365 w 527014"/>
                <a:gd name="connsiteY1048" fmla="*/ 524042 h 601969"/>
                <a:gd name="connsiteX1049" fmla="*/ 359269 w 527014"/>
                <a:gd name="connsiteY1049" fmla="*/ 522362 h 601969"/>
                <a:gd name="connsiteX1050" fmla="*/ 359398 w 527014"/>
                <a:gd name="connsiteY1050" fmla="*/ 520682 h 601969"/>
                <a:gd name="connsiteX1051" fmla="*/ 359269 w 527014"/>
                <a:gd name="connsiteY1051" fmla="*/ 519131 h 601969"/>
                <a:gd name="connsiteX1052" fmla="*/ 359528 w 527014"/>
                <a:gd name="connsiteY1052" fmla="*/ 517839 h 601969"/>
                <a:gd name="connsiteX1053" fmla="*/ 360820 w 527014"/>
                <a:gd name="connsiteY1053" fmla="*/ 516288 h 601969"/>
                <a:gd name="connsiteX1054" fmla="*/ 364051 w 527014"/>
                <a:gd name="connsiteY1054" fmla="*/ 513703 h 601969"/>
                <a:gd name="connsiteX1055" fmla="*/ 365343 w 527014"/>
                <a:gd name="connsiteY1055" fmla="*/ 512023 h 601969"/>
                <a:gd name="connsiteX1056" fmla="*/ 367282 w 527014"/>
                <a:gd name="connsiteY1056" fmla="*/ 508792 h 601969"/>
                <a:gd name="connsiteX1057" fmla="*/ 368057 w 527014"/>
                <a:gd name="connsiteY1057" fmla="*/ 506983 h 601969"/>
                <a:gd name="connsiteX1058" fmla="*/ 368833 w 527014"/>
                <a:gd name="connsiteY1058" fmla="*/ 503235 h 601969"/>
                <a:gd name="connsiteX1059" fmla="*/ 370900 w 527014"/>
                <a:gd name="connsiteY1059" fmla="*/ 500134 h 601969"/>
                <a:gd name="connsiteX1060" fmla="*/ 372451 w 527014"/>
                <a:gd name="connsiteY1060" fmla="*/ 495223 h 601969"/>
                <a:gd name="connsiteX1061" fmla="*/ 380076 w 527014"/>
                <a:gd name="connsiteY1061" fmla="*/ 485918 h 601969"/>
                <a:gd name="connsiteX1062" fmla="*/ 378396 w 527014"/>
                <a:gd name="connsiteY1062" fmla="*/ 485918 h 601969"/>
                <a:gd name="connsiteX1063" fmla="*/ 377750 w 527014"/>
                <a:gd name="connsiteY1063" fmla="*/ 485401 h 601969"/>
                <a:gd name="connsiteX1064" fmla="*/ 377362 w 527014"/>
                <a:gd name="connsiteY1064" fmla="*/ 484496 h 601969"/>
                <a:gd name="connsiteX1065" fmla="*/ 376716 w 527014"/>
                <a:gd name="connsiteY1065" fmla="*/ 483463 h 601969"/>
                <a:gd name="connsiteX1066" fmla="*/ 375423 w 527014"/>
                <a:gd name="connsiteY1066" fmla="*/ 482687 h 601969"/>
                <a:gd name="connsiteX1067" fmla="*/ 372839 w 527014"/>
                <a:gd name="connsiteY1067" fmla="*/ 482170 h 601969"/>
                <a:gd name="connsiteX1068" fmla="*/ 371805 w 527014"/>
                <a:gd name="connsiteY1068" fmla="*/ 481653 h 601969"/>
                <a:gd name="connsiteX1069" fmla="*/ 371805 w 527014"/>
                <a:gd name="connsiteY1069" fmla="*/ 481007 h 601969"/>
                <a:gd name="connsiteX1070" fmla="*/ 373743 w 527014"/>
                <a:gd name="connsiteY1070" fmla="*/ 480749 h 601969"/>
                <a:gd name="connsiteX1071" fmla="*/ 378396 w 527014"/>
                <a:gd name="connsiteY1071" fmla="*/ 481395 h 601969"/>
                <a:gd name="connsiteX1072" fmla="*/ 381239 w 527014"/>
                <a:gd name="connsiteY1072" fmla="*/ 480232 h 601969"/>
                <a:gd name="connsiteX1073" fmla="*/ 383824 w 527014"/>
                <a:gd name="connsiteY1073" fmla="*/ 479844 h 601969"/>
                <a:gd name="connsiteX1074" fmla="*/ 384341 w 527014"/>
                <a:gd name="connsiteY1074" fmla="*/ 479069 h 601969"/>
                <a:gd name="connsiteX1075" fmla="*/ 384599 w 527014"/>
                <a:gd name="connsiteY1075" fmla="*/ 478164 h 601969"/>
                <a:gd name="connsiteX1076" fmla="*/ 385245 w 527014"/>
                <a:gd name="connsiteY1076" fmla="*/ 477776 h 601969"/>
                <a:gd name="connsiteX1077" fmla="*/ 389639 w 527014"/>
                <a:gd name="connsiteY1077" fmla="*/ 476742 h 601969"/>
                <a:gd name="connsiteX1078" fmla="*/ 396359 w 527014"/>
                <a:gd name="connsiteY1078" fmla="*/ 476613 h 601969"/>
                <a:gd name="connsiteX1079" fmla="*/ 398039 w 527014"/>
                <a:gd name="connsiteY1079" fmla="*/ 476096 h 601969"/>
                <a:gd name="connsiteX1080" fmla="*/ 399332 w 527014"/>
                <a:gd name="connsiteY1080" fmla="*/ 474675 h 601969"/>
                <a:gd name="connsiteX1081" fmla="*/ 404889 w 527014"/>
                <a:gd name="connsiteY1081" fmla="*/ 464982 h 601969"/>
                <a:gd name="connsiteX1082" fmla="*/ 408895 w 527014"/>
                <a:gd name="connsiteY1082" fmla="*/ 459813 h 601969"/>
                <a:gd name="connsiteX1083" fmla="*/ 414323 w 527014"/>
                <a:gd name="connsiteY1083" fmla="*/ 456065 h 601969"/>
                <a:gd name="connsiteX1084" fmla="*/ 422335 w 527014"/>
                <a:gd name="connsiteY1084" fmla="*/ 454127 h 601969"/>
                <a:gd name="connsiteX1085" fmla="*/ 426083 w 527014"/>
                <a:gd name="connsiteY1085" fmla="*/ 454127 h 601969"/>
                <a:gd name="connsiteX1086" fmla="*/ 428022 w 527014"/>
                <a:gd name="connsiteY1086" fmla="*/ 454643 h 601969"/>
                <a:gd name="connsiteX1087" fmla="*/ 429185 w 527014"/>
                <a:gd name="connsiteY1087" fmla="*/ 454643 h 601969"/>
                <a:gd name="connsiteX1088" fmla="*/ 439523 w 527014"/>
                <a:gd name="connsiteY1088" fmla="*/ 442237 h 601969"/>
                <a:gd name="connsiteX1089" fmla="*/ 448570 w 527014"/>
                <a:gd name="connsiteY1089" fmla="*/ 432932 h 601969"/>
                <a:gd name="connsiteX1090" fmla="*/ 453739 w 527014"/>
                <a:gd name="connsiteY1090" fmla="*/ 425049 h 601969"/>
                <a:gd name="connsiteX1091" fmla="*/ 460330 w 527014"/>
                <a:gd name="connsiteY1091" fmla="*/ 413547 h 601969"/>
                <a:gd name="connsiteX1092" fmla="*/ 463949 w 527014"/>
                <a:gd name="connsiteY1092" fmla="*/ 403984 h 601969"/>
                <a:gd name="connsiteX1093" fmla="*/ 465241 w 527014"/>
                <a:gd name="connsiteY1093" fmla="*/ 402175 h 601969"/>
                <a:gd name="connsiteX1094" fmla="*/ 467438 w 527014"/>
                <a:gd name="connsiteY1094" fmla="*/ 400624 h 601969"/>
                <a:gd name="connsiteX1095" fmla="*/ 474546 w 527014"/>
                <a:gd name="connsiteY1095" fmla="*/ 396747 h 601969"/>
                <a:gd name="connsiteX1096" fmla="*/ 475967 w 527014"/>
                <a:gd name="connsiteY1096" fmla="*/ 395584 h 601969"/>
                <a:gd name="connsiteX1097" fmla="*/ 476872 w 527014"/>
                <a:gd name="connsiteY1097" fmla="*/ 394550 h 601969"/>
                <a:gd name="connsiteX1098" fmla="*/ 480361 w 527014"/>
                <a:gd name="connsiteY1098" fmla="*/ 385891 h 601969"/>
                <a:gd name="connsiteX1099" fmla="*/ 481395 w 527014"/>
                <a:gd name="connsiteY1099" fmla="*/ 384987 h 601969"/>
                <a:gd name="connsiteX1100" fmla="*/ 485789 w 527014"/>
                <a:gd name="connsiteY1100" fmla="*/ 380205 h 601969"/>
                <a:gd name="connsiteX1101" fmla="*/ 487210 w 527014"/>
                <a:gd name="connsiteY1101" fmla="*/ 379171 h 601969"/>
                <a:gd name="connsiteX1102" fmla="*/ 495611 w 527014"/>
                <a:gd name="connsiteY1102" fmla="*/ 375294 h 601969"/>
                <a:gd name="connsiteX1103" fmla="*/ 497161 w 527014"/>
                <a:gd name="connsiteY1103" fmla="*/ 374131 h 601969"/>
                <a:gd name="connsiteX1104" fmla="*/ 498712 w 527014"/>
                <a:gd name="connsiteY1104" fmla="*/ 372580 h 601969"/>
                <a:gd name="connsiteX1105" fmla="*/ 502460 w 527014"/>
                <a:gd name="connsiteY1105" fmla="*/ 366894 h 601969"/>
                <a:gd name="connsiteX1106" fmla="*/ 503494 w 527014"/>
                <a:gd name="connsiteY1106" fmla="*/ 365989 h 601969"/>
                <a:gd name="connsiteX1107" fmla="*/ 507242 w 527014"/>
                <a:gd name="connsiteY1107" fmla="*/ 364309 h 601969"/>
                <a:gd name="connsiteX1108" fmla="*/ 508793 w 527014"/>
                <a:gd name="connsiteY1108" fmla="*/ 360691 h 601969"/>
                <a:gd name="connsiteX1109" fmla="*/ 509439 w 527014"/>
                <a:gd name="connsiteY1109" fmla="*/ 356943 h 601969"/>
                <a:gd name="connsiteX1110" fmla="*/ 510472 w 527014"/>
                <a:gd name="connsiteY1110" fmla="*/ 355004 h 601969"/>
                <a:gd name="connsiteX1111" fmla="*/ 512282 w 527014"/>
                <a:gd name="connsiteY1111" fmla="*/ 358752 h 601969"/>
                <a:gd name="connsiteX1112" fmla="*/ 516030 w 527014"/>
                <a:gd name="connsiteY1112" fmla="*/ 358623 h 601969"/>
                <a:gd name="connsiteX1113" fmla="*/ 520294 w 527014"/>
                <a:gd name="connsiteY1113" fmla="*/ 355909 h 601969"/>
                <a:gd name="connsiteX1114" fmla="*/ 523654 w 527014"/>
                <a:gd name="connsiteY1114" fmla="*/ 352032 h 601969"/>
                <a:gd name="connsiteX1115" fmla="*/ 525593 w 527014"/>
                <a:gd name="connsiteY1115" fmla="*/ 348672 h 601969"/>
                <a:gd name="connsiteX1116" fmla="*/ 525851 w 527014"/>
                <a:gd name="connsiteY1116" fmla="*/ 347638 h 601969"/>
                <a:gd name="connsiteX1117" fmla="*/ 525464 w 527014"/>
                <a:gd name="connsiteY1117" fmla="*/ 346475 h 601969"/>
                <a:gd name="connsiteX1118" fmla="*/ 523913 w 527014"/>
                <a:gd name="connsiteY1118" fmla="*/ 344278 h 601969"/>
                <a:gd name="connsiteX1119" fmla="*/ 522104 w 527014"/>
                <a:gd name="connsiteY1119" fmla="*/ 342986 h 601969"/>
                <a:gd name="connsiteX1120" fmla="*/ 519648 w 527014"/>
                <a:gd name="connsiteY1120" fmla="*/ 342986 h 601969"/>
                <a:gd name="connsiteX1121" fmla="*/ 516417 w 527014"/>
                <a:gd name="connsiteY1121" fmla="*/ 345183 h 601969"/>
                <a:gd name="connsiteX1122" fmla="*/ 513962 w 527014"/>
                <a:gd name="connsiteY1122" fmla="*/ 344924 h 601969"/>
                <a:gd name="connsiteX1123" fmla="*/ 510990 w 527014"/>
                <a:gd name="connsiteY1123" fmla="*/ 345183 h 601969"/>
                <a:gd name="connsiteX1124" fmla="*/ 506595 w 527014"/>
                <a:gd name="connsiteY1124" fmla="*/ 346346 h 601969"/>
                <a:gd name="connsiteX1125" fmla="*/ 503365 w 527014"/>
                <a:gd name="connsiteY1125" fmla="*/ 345570 h 601969"/>
                <a:gd name="connsiteX1126" fmla="*/ 501038 w 527014"/>
                <a:gd name="connsiteY1126" fmla="*/ 346604 h 601969"/>
                <a:gd name="connsiteX1127" fmla="*/ 499100 w 527014"/>
                <a:gd name="connsiteY1127" fmla="*/ 345700 h 601969"/>
                <a:gd name="connsiteX1128" fmla="*/ 498066 w 527014"/>
                <a:gd name="connsiteY1128" fmla="*/ 344407 h 601969"/>
                <a:gd name="connsiteX1129" fmla="*/ 497808 w 527014"/>
                <a:gd name="connsiteY1129" fmla="*/ 342727 h 601969"/>
                <a:gd name="connsiteX1130" fmla="*/ 498712 w 527014"/>
                <a:gd name="connsiteY1130" fmla="*/ 342340 h 601969"/>
                <a:gd name="connsiteX1131" fmla="*/ 499488 w 527014"/>
                <a:gd name="connsiteY1131" fmla="*/ 342727 h 60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Lst>
              <a:rect l="l" t="t" r="r" b="b"/>
              <a:pathLst>
                <a:path w="527014" h="601969">
                  <a:moveTo>
                    <a:pt x="455290" y="244251"/>
                  </a:moveTo>
                  <a:lnTo>
                    <a:pt x="456065" y="244381"/>
                  </a:lnTo>
                  <a:lnTo>
                    <a:pt x="457099" y="245156"/>
                  </a:lnTo>
                  <a:lnTo>
                    <a:pt x="457745" y="247482"/>
                  </a:lnTo>
                  <a:lnTo>
                    <a:pt x="458908" y="248128"/>
                  </a:lnTo>
                  <a:lnTo>
                    <a:pt x="460201" y="248387"/>
                  </a:lnTo>
                  <a:lnTo>
                    <a:pt x="461493" y="248128"/>
                  </a:lnTo>
                  <a:lnTo>
                    <a:pt x="462915" y="248387"/>
                  </a:lnTo>
                  <a:lnTo>
                    <a:pt x="463690" y="247482"/>
                  </a:lnTo>
                  <a:lnTo>
                    <a:pt x="464595" y="246965"/>
                  </a:lnTo>
                  <a:lnTo>
                    <a:pt x="466275" y="247224"/>
                  </a:lnTo>
                  <a:lnTo>
                    <a:pt x="468084" y="247094"/>
                  </a:lnTo>
                  <a:lnTo>
                    <a:pt x="469118" y="246319"/>
                  </a:lnTo>
                  <a:lnTo>
                    <a:pt x="468859" y="244381"/>
                  </a:lnTo>
                  <a:lnTo>
                    <a:pt x="467438" y="242184"/>
                  </a:lnTo>
                  <a:lnTo>
                    <a:pt x="465499" y="241021"/>
                  </a:lnTo>
                  <a:lnTo>
                    <a:pt x="463949" y="239857"/>
                  </a:lnTo>
                  <a:lnTo>
                    <a:pt x="460847" y="239857"/>
                  </a:lnTo>
                  <a:lnTo>
                    <a:pt x="458521" y="239728"/>
                  </a:lnTo>
                  <a:lnTo>
                    <a:pt x="455548" y="241796"/>
                  </a:lnTo>
                  <a:lnTo>
                    <a:pt x="454256" y="243088"/>
                  </a:lnTo>
                  <a:lnTo>
                    <a:pt x="454256" y="243605"/>
                  </a:lnTo>
                  <a:lnTo>
                    <a:pt x="455290" y="244251"/>
                  </a:lnTo>
                  <a:close/>
                  <a:moveTo>
                    <a:pt x="507112" y="376586"/>
                  </a:moveTo>
                  <a:lnTo>
                    <a:pt x="504140" y="375036"/>
                  </a:lnTo>
                  <a:lnTo>
                    <a:pt x="501426" y="374777"/>
                  </a:lnTo>
                  <a:lnTo>
                    <a:pt x="499229" y="375294"/>
                  </a:lnTo>
                  <a:lnTo>
                    <a:pt x="496386" y="378266"/>
                  </a:lnTo>
                  <a:lnTo>
                    <a:pt x="489278" y="381239"/>
                  </a:lnTo>
                  <a:lnTo>
                    <a:pt x="483980" y="386537"/>
                  </a:lnTo>
                  <a:lnTo>
                    <a:pt x="483075" y="390802"/>
                  </a:lnTo>
                  <a:lnTo>
                    <a:pt x="483980" y="393258"/>
                  </a:lnTo>
                  <a:lnTo>
                    <a:pt x="487598" y="393387"/>
                  </a:lnTo>
                  <a:lnTo>
                    <a:pt x="491734" y="392870"/>
                  </a:lnTo>
                  <a:lnTo>
                    <a:pt x="497161" y="392870"/>
                  </a:lnTo>
                  <a:lnTo>
                    <a:pt x="500263" y="392741"/>
                  </a:lnTo>
                  <a:lnTo>
                    <a:pt x="501297" y="392611"/>
                  </a:lnTo>
                  <a:lnTo>
                    <a:pt x="502202" y="392224"/>
                  </a:lnTo>
                  <a:lnTo>
                    <a:pt x="504269" y="389768"/>
                  </a:lnTo>
                  <a:lnTo>
                    <a:pt x="505045" y="387701"/>
                  </a:lnTo>
                  <a:lnTo>
                    <a:pt x="505949" y="386667"/>
                  </a:lnTo>
                  <a:lnTo>
                    <a:pt x="507888" y="385245"/>
                  </a:lnTo>
                  <a:lnTo>
                    <a:pt x="509309" y="381885"/>
                  </a:lnTo>
                  <a:lnTo>
                    <a:pt x="510731" y="379688"/>
                  </a:lnTo>
                  <a:lnTo>
                    <a:pt x="511506" y="377620"/>
                  </a:lnTo>
                  <a:lnTo>
                    <a:pt x="510343" y="376457"/>
                  </a:lnTo>
                  <a:lnTo>
                    <a:pt x="507112" y="376586"/>
                  </a:lnTo>
                  <a:close/>
                  <a:moveTo>
                    <a:pt x="466145" y="248387"/>
                  </a:moveTo>
                  <a:lnTo>
                    <a:pt x="464724" y="248128"/>
                  </a:lnTo>
                  <a:lnTo>
                    <a:pt x="463044" y="249550"/>
                  </a:lnTo>
                  <a:lnTo>
                    <a:pt x="461105" y="249421"/>
                  </a:lnTo>
                  <a:lnTo>
                    <a:pt x="459425" y="249808"/>
                  </a:lnTo>
                  <a:lnTo>
                    <a:pt x="458650" y="251488"/>
                  </a:lnTo>
                  <a:lnTo>
                    <a:pt x="458650" y="253944"/>
                  </a:lnTo>
                  <a:lnTo>
                    <a:pt x="457616" y="256529"/>
                  </a:lnTo>
                  <a:lnTo>
                    <a:pt x="457357" y="259759"/>
                  </a:lnTo>
                  <a:lnTo>
                    <a:pt x="459038" y="260406"/>
                  </a:lnTo>
                  <a:lnTo>
                    <a:pt x="460201" y="261569"/>
                  </a:lnTo>
                  <a:lnTo>
                    <a:pt x="460459" y="263378"/>
                  </a:lnTo>
                  <a:lnTo>
                    <a:pt x="462527" y="265963"/>
                  </a:lnTo>
                  <a:lnTo>
                    <a:pt x="464465" y="272553"/>
                  </a:lnTo>
                  <a:lnTo>
                    <a:pt x="466404" y="273717"/>
                  </a:lnTo>
                  <a:lnTo>
                    <a:pt x="468730" y="274492"/>
                  </a:lnTo>
                  <a:lnTo>
                    <a:pt x="471315" y="273717"/>
                  </a:lnTo>
                  <a:lnTo>
                    <a:pt x="473253" y="272941"/>
                  </a:lnTo>
                  <a:lnTo>
                    <a:pt x="477260" y="269323"/>
                  </a:lnTo>
                  <a:lnTo>
                    <a:pt x="479198" y="266867"/>
                  </a:lnTo>
                  <a:lnTo>
                    <a:pt x="480103" y="265575"/>
                  </a:lnTo>
                  <a:lnTo>
                    <a:pt x="479973" y="263378"/>
                  </a:lnTo>
                  <a:lnTo>
                    <a:pt x="478810" y="260922"/>
                  </a:lnTo>
                  <a:lnTo>
                    <a:pt x="477389" y="258984"/>
                  </a:lnTo>
                  <a:lnTo>
                    <a:pt x="475838" y="256399"/>
                  </a:lnTo>
                  <a:lnTo>
                    <a:pt x="475450" y="253685"/>
                  </a:lnTo>
                  <a:lnTo>
                    <a:pt x="474416" y="252652"/>
                  </a:lnTo>
                  <a:lnTo>
                    <a:pt x="472219" y="249679"/>
                  </a:lnTo>
                  <a:lnTo>
                    <a:pt x="470798" y="247741"/>
                  </a:lnTo>
                  <a:lnTo>
                    <a:pt x="469764" y="247999"/>
                  </a:lnTo>
                  <a:lnTo>
                    <a:pt x="467955" y="248258"/>
                  </a:lnTo>
                  <a:lnTo>
                    <a:pt x="466145" y="248387"/>
                  </a:lnTo>
                  <a:close/>
                  <a:moveTo>
                    <a:pt x="519131" y="359528"/>
                  </a:moveTo>
                  <a:lnTo>
                    <a:pt x="516934" y="361595"/>
                  </a:lnTo>
                  <a:lnTo>
                    <a:pt x="513574" y="362629"/>
                  </a:lnTo>
                  <a:lnTo>
                    <a:pt x="511636" y="363534"/>
                  </a:lnTo>
                  <a:lnTo>
                    <a:pt x="509956" y="364568"/>
                  </a:lnTo>
                  <a:lnTo>
                    <a:pt x="509309" y="365472"/>
                  </a:lnTo>
                  <a:lnTo>
                    <a:pt x="508146" y="367669"/>
                  </a:lnTo>
                  <a:lnTo>
                    <a:pt x="505562" y="368574"/>
                  </a:lnTo>
                  <a:lnTo>
                    <a:pt x="502719" y="370513"/>
                  </a:lnTo>
                  <a:lnTo>
                    <a:pt x="502848" y="372709"/>
                  </a:lnTo>
                  <a:lnTo>
                    <a:pt x="505820" y="373485"/>
                  </a:lnTo>
                  <a:lnTo>
                    <a:pt x="506854" y="374389"/>
                  </a:lnTo>
                  <a:lnTo>
                    <a:pt x="510214" y="373226"/>
                  </a:lnTo>
                  <a:lnTo>
                    <a:pt x="510860" y="372968"/>
                  </a:lnTo>
                  <a:lnTo>
                    <a:pt x="512669" y="372580"/>
                  </a:lnTo>
                  <a:lnTo>
                    <a:pt x="513057" y="372193"/>
                  </a:lnTo>
                  <a:lnTo>
                    <a:pt x="513833" y="371417"/>
                  </a:lnTo>
                  <a:lnTo>
                    <a:pt x="517451" y="369091"/>
                  </a:lnTo>
                  <a:lnTo>
                    <a:pt x="518227" y="367799"/>
                  </a:lnTo>
                  <a:lnTo>
                    <a:pt x="518614" y="366765"/>
                  </a:lnTo>
                  <a:lnTo>
                    <a:pt x="519519" y="365472"/>
                  </a:lnTo>
                  <a:lnTo>
                    <a:pt x="520294" y="363922"/>
                  </a:lnTo>
                  <a:lnTo>
                    <a:pt x="522491" y="360432"/>
                  </a:lnTo>
                  <a:lnTo>
                    <a:pt x="521457" y="359011"/>
                  </a:lnTo>
                  <a:lnTo>
                    <a:pt x="519131" y="359528"/>
                  </a:lnTo>
                  <a:close/>
                  <a:moveTo>
                    <a:pt x="499488" y="342727"/>
                  </a:moveTo>
                  <a:lnTo>
                    <a:pt x="500780" y="343244"/>
                  </a:lnTo>
                  <a:lnTo>
                    <a:pt x="502460" y="343373"/>
                  </a:lnTo>
                  <a:lnTo>
                    <a:pt x="506208" y="342210"/>
                  </a:lnTo>
                  <a:lnTo>
                    <a:pt x="510731" y="341693"/>
                  </a:lnTo>
                  <a:lnTo>
                    <a:pt x="516030" y="340143"/>
                  </a:lnTo>
                  <a:lnTo>
                    <a:pt x="519777" y="338721"/>
                  </a:lnTo>
                  <a:lnTo>
                    <a:pt x="522750" y="337299"/>
                  </a:lnTo>
                  <a:lnTo>
                    <a:pt x="524688" y="335490"/>
                  </a:lnTo>
                  <a:lnTo>
                    <a:pt x="525980" y="333552"/>
                  </a:lnTo>
                  <a:lnTo>
                    <a:pt x="527014" y="327995"/>
                  </a:lnTo>
                  <a:lnTo>
                    <a:pt x="527014" y="324505"/>
                  </a:lnTo>
                  <a:lnTo>
                    <a:pt x="526756" y="320111"/>
                  </a:lnTo>
                  <a:lnTo>
                    <a:pt x="525464" y="316234"/>
                  </a:lnTo>
                  <a:lnTo>
                    <a:pt x="524688" y="309644"/>
                  </a:lnTo>
                  <a:lnTo>
                    <a:pt x="524301" y="306800"/>
                  </a:lnTo>
                  <a:lnTo>
                    <a:pt x="524171" y="304733"/>
                  </a:lnTo>
                  <a:lnTo>
                    <a:pt x="524042" y="301114"/>
                  </a:lnTo>
                  <a:lnTo>
                    <a:pt x="523008" y="295557"/>
                  </a:lnTo>
                  <a:lnTo>
                    <a:pt x="521587" y="292843"/>
                  </a:lnTo>
                  <a:lnTo>
                    <a:pt x="518614" y="289483"/>
                  </a:lnTo>
                  <a:lnTo>
                    <a:pt x="512928" y="286252"/>
                  </a:lnTo>
                  <a:lnTo>
                    <a:pt x="503623" y="283021"/>
                  </a:lnTo>
                  <a:lnTo>
                    <a:pt x="498712" y="281212"/>
                  </a:lnTo>
                  <a:lnTo>
                    <a:pt x="495869" y="279403"/>
                  </a:lnTo>
                  <a:lnTo>
                    <a:pt x="493931" y="279015"/>
                  </a:lnTo>
                  <a:lnTo>
                    <a:pt x="491346" y="279532"/>
                  </a:lnTo>
                  <a:lnTo>
                    <a:pt x="489666" y="279532"/>
                  </a:lnTo>
                  <a:lnTo>
                    <a:pt x="485918" y="280178"/>
                  </a:lnTo>
                  <a:lnTo>
                    <a:pt x="484755" y="279791"/>
                  </a:lnTo>
                  <a:lnTo>
                    <a:pt x="482300" y="279791"/>
                  </a:lnTo>
                  <a:lnTo>
                    <a:pt x="480749" y="279661"/>
                  </a:lnTo>
                  <a:lnTo>
                    <a:pt x="478035" y="279144"/>
                  </a:lnTo>
                  <a:lnTo>
                    <a:pt x="475579" y="280566"/>
                  </a:lnTo>
                  <a:lnTo>
                    <a:pt x="471315" y="281341"/>
                  </a:lnTo>
                  <a:lnTo>
                    <a:pt x="467179" y="280824"/>
                  </a:lnTo>
                  <a:lnTo>
                    <a:pt x="463561" y="279403"/>
                  </a:lnTo>
                  <a:lnTo>
                    <a:pt x="460976" y="277594"/>
                  </a:lnTo>
                  <a:lnTo>
                    <a:pt x="459942" y="276430"/>
                  </a:lnTo>
                  <a:lnTo>
                    <a:pt x="459038" y="275009"/>
                  </a:lnTo>
                  <a:lnTo>
                    <a:pt x="458391" y="273329"/>
                  </a:lnTo>
                  <a:lnTo>
                    <a:pt x="457616" y="269064"/>
                  </a:lnTo>
                  <a:lnTo>
                    <a:pt x="456453" y="267126"/>
                  </a:lnTo>
                  <a:lnTo>
                    <a:pt x="453610" y="263636"/>
                  </a:lnTo>
                  <a:lnTo>
                    <a:pt x="450379" y="257950"/>
                  </a:lnTo>
                  <a:lnTo>
                    <a:pt x="449991" y="256658"/>
                  </a:lnTo>
                  <a:lnTo>
                    <a:pt x="449345" y="251747"/>
                  </a:lnTo>
                  <a:lnTo>
                    <a:pt x="447277" y="248516"/>
                  </a:lnTo>
                  <a:lnTo>
                    <a:pt x="443013" y="245802"/>
                  </a:lnTo>
                  <a:lnTo>
                    <a:pt x="440945" y="245414"/>
                  </a:lnTo>
                  <a:lnTo>
                    <a:pt x="438489" y="245802"/>
                  </a:lnTo>
                  <a:lnTo>
                    <a:pt x="436551" y="246965"/>
                  </a:lnTo>
                  <a:lnTo>
                    <a:pt x="435000" y="248645"/>
                  </a:lnTo>
                  <a:lnTo>
                    <a:pt x="433966" y="250584"/>
                  </a:lnTo>
                  <a:lnTo>
                    <a:pt x="433837" y="251618"/>
                  </a:lnTo>
                  <a:lnTo>
                    <a:pt x="433837" y="252910"/>
                  </a:lnTo>
                  <a:lnTo>
                    <a:pt x="433708" y="254073"/>
                  </a:lnTo>
                  <a:lnTo>
                    <a:pt x="433062" y="254978"/>
                  </a:lnTo>
                  <a:lnTo>
                    <a:pt x="432028" y="255107"/>
                  </a:lnTo>
                  <a:lnTo>
                    <a:pt x="431382" y="254332"/>
                  </a:lnTo>
                  <a:lnTo>
                    <a:pt x="430994" y="253298"/>
                  </a:lnTo>
                  <a:lnTo>
                    <a:pt x="430219" y="252264"/>
                  </a:lnTo>
                  <a:lnTo>
                    <a:pt x="430348" y="250971"/>
                  </a:lnTo>
                  <a:lnTo>
                    <a:pt x="431123" y="248258"/>
                  </a:lnTo>
                  <a:lnTo>
                    <a:pt x="431640" y="247224"/>
                  </a:lnTo>
                  <a:lnTo>
                    <a:pt x="431769" y="246578"/>
                  </a:lnTo>
                  <a:lnTo>
                    <a:pt x="431511" y="245802"/>
                  </a:lnTo>
                  <a:lnTo>
                    <a:pt x="430865" y="245414"/>
                  </a:lnTo>
                  <a:lnTo>
                    <a:pt x="430089" y="245156"/>
                  </a:lnTo>
                  <a:lnTo>
                    <a:pt x="429572" y="244639"/>
                  </a:lnTo>
                  <a:lnTo>
                    <a:pt x="429055" y="243605"/>
                  </a:lnTo>
                  <a:lnTo>
                    <a:pt x="428926" y="243088"/>
                  </a:lnTo>
                  <a:lnTo>
                    <a:pt x="428926" y="242313"/>
                  </a:lnTo>
                  <a:lnTo>
                    <a:pt x="429702" y="242313"/>
                  </a:lnTo>
                  <a:lnTo>
                    <a:pt x="430477" y="243605"/>
                  </a:lnTo>
                  <a:lnTo>
                    <a:pt x="431769" y="244381"/>
                  </a:lnTo>
                  <a:lnTo>
                    <a:pt x="434871" y="245285"/>
                  </a:lnTo>
                  <a:lnTo>
                    <a:pt x="435646" y="244768"/>
                  </a:lnTo>
                  <a:lnTo>
                    <a:pt x="437456" y="244898"/>
                  </a:lnTo>
                  <a:lnTo>
                    <a:pt x="438489" y="244639"/>
                  </a:lnTo>
                  <a:lnTo>
                    <a:pt x="439265" y="243993"/>
                  </a:lnTo>
                  <a:lnTo>
                    <a:pt x="440945" y="241408"/>
                  </a:lnTo>
                  <a:lnTo>
                    <a:pt x="440169" y="238565"/>
                  </a:lnTo>
                  <a:lnTo>
                    <a:pt x="439006" y="236756"/>
                  </a:lnTo>
                  <a:lnTo>
                    <a:pt x="437326" y="234559"/>
                  </a:lnTo>
                  <a:lnTo>
                    <a:pt x="436809" y="232233"/>
                  </a:lnTo>
                  <a:lnTo>
                    <a:pt x="436551" y="228614"/>
                  </a:lnTo>
                  <a:lnTo>
                    <a:pt x="435129" y="226417"/>
                  </a:lnTo>
                  <a:lnTo>
                    <a:pt x="434483" y="222411"/>
                  </a:lnTo>
                  <a:lnTo>
                    <a:pt x="433966" y="220731"/>
                  </a:lnTo>
                  <a:lnTo>
                    <a:pt x="434095" y="219568"/>
                  </a:lnTo>
                  <a:lnTo>
                    <a:pt x="433062" y="217629"/>
                  </a:lnTo>
                  <a:lnTo>
                    <a:pt x="432028" y="215303"/>
                  </a:lnTo>
                  <a:lnTo>
                    <a:pt x="431769" y="212718"/>
                  </a:lnTo>
                  <a:lnTo>
                    <a:pt x="430606" y="210392"/>
                  </a:lnTo>
                  <a:lnTo>
                    <a:pt x="428797" y="207291"/>
                  </a:lnTo>
                  <a:lnTo>
                    <a:pt x="427246" y="206257"/>
                  </a:lnTo>
                  <a:lnTo>
                    <a:pt x="426471" y="206515"/>
                  </a:lnTo>
                  <a:lnTo>
                    <a:pt x="425954" y="207291"/>
                  </a:lnTo>
                  <a:lnTo>
                    <a:pt x="425308" y="207937"/>
                  </a:lnTo>
                  <a:lnTo>
                    <a:pt x="424274" y="207808"/>
                  </a:lnTo>
                  <a:lnTo>
                    <a:pt x="423628" y="207032"/>
                  </a:lnTo>
                  <a:lnTo>
                    <a:pt x="423498" y="206127"/>
                  </a:lnTo>
                  <a:lnTo>
                    <a:pt x="423886" y="205223"/>
                  </a:lnTo>
                  <a:lnTo>
                    <a:pt x="424661" y="204835"/>
                  </a:lnTo>
                  <a:lnTo>
                    <a:pt x="425566" y="203672"/>
                  </a:lnTo>
                  <a:lnTo>
                    <a:pt x="425824" y="201087"/>
                  </a:lnTo>
                  <a:lnTo>
                    <a:pt x="424145" y="196693"/>
                  </a:lnTo>
                  <a:lnTo>
                    <a:pt x="423111" y="193075"/>
                  </a:lnTo>
                  <a:lnTo>
                    <a:pt x="422852" y="190878"/>
                  </a:lnTo>
                  <a:lnTo>
                    <a:pt x="422206" y="188810"/>
                  </a:lnTo>
                  <a:lnTo>
                    <a:pt x="420784" y="186872"/>
                  </a:lnTo>
                  <a:lnTo>
                    <a:pt x="420009" y="184804"/>
                  </a:lnTo>
                  <a:lnTo>
                    <a:pt x="419880" y="182219"/>
                  </a:lnTo>
                  <a:lnTo>
                    <a:pt x="419104" y="180152"/>
                  </a:lnTo>
                  <a:lnTo>
                    <a:pt x="417941" y="178601"/>
                  </a:lnTo>
                  <a:lnTo>
                    <a:pt x="417424" y="176921"/>
                  </a:lnTo>
                  <a:lnTo>
                    <a:pt x="417037" y="175370"/>
                  </a:lnTo>
                  <a:lnTo>
                    <a:pt x="415486" y="174594"/>
                  </a:lnTo>
                  <a:lnTo>
                    <a:pt x="414840" y="173690"/>
                  </a:lnTo>
                  <a:lnTo>
                    <a:pt x="413677" y="173044"/>
                  </a:lnTo>
                  <a:lnTo>
                    <a:pt x="412643" y="172268"/>
                  </a:lnTo>
                  <a:lnTo>
                    <a:pt x="412255" y="170717"/>
                  </a:lnTo>
                  <a:lnTo>
                    <a:pt x="412126" y="169554"/>
                  </a:lnTo>
                  <a:lnTo>
                    <a:pt x="412513" y="167874"/>
                  </a:lnTo>
                  <a:lnTo>
                    <a:pt x="412643" y="166582"/>
                  </a:lnTo>
                  <a:lnTo>
                    <a:pt x="411867" y="165031"/>
                  </a:lnTo>
                  <a:lnTo>
                    <a:pt x="410575" y="162188"/>
                  </a:lnTo>
                  <a:lnTo>
                    <a:pt x="408895" y="159862"/>
                  </a:lnTo>
                  <a:lnTo>
                    <a:pt x="408120" y="157794"/>
                  </a:lnTo>
                  <a:lnTo>
                    <a:pt x="407861" y="155468"/>
                  </a:lnTo>
                  <a:lnTo>
                    <a:pt x="406956" y="152883"/>
                  </a:lnTo>
                  <a:lnTo>
                    <a:pt x="406181" y="151074"/>
                  </a:lnTo>
                  <a:lnTo>
                    <a:pt x="404760" y="149652"/>
                  </a:lnTo>
                  <a:lnTo>
                    <a:pt x="404501" y="147326"/>
                  </a:lnTo>
                  <a:lnTo>
                    <a:pt x="405018" y="145646"/>
                  </a:lnTo>
                  <a:lnTo>
                    <a:pt x="404501" y="143578"/>
                  </a:lnTo>
                  <a:lnTo>
                    <a:pt x="402821" y="139831"/>
                  </a:lnTo>
                  <a:lnTo>
                    <a:pt x="402046" y="137246"/>
                  </a:lnTo>
                  <a:lnTo>
                    <a:pt x="403467" y="134015"/>
                  </a:lnTo>
                  <a:lnTo>
                    <a:pt x="402563" y="128975"/>
                  </a:lnTo>
                  <a:lnTo>
                    <a:pt x="396489" y="113338"/>
                  </a:lnTo>
                  <a:lnTo>
                    <a:pt x="396101" y="105584"/>
                  </a:lnTo>
                  <a:lnTo>
                    <a:pt x="397910" y="101061"/>
                  </a:lnTo>
                  <a:lnTo>
                    <a:pt x="397393" y="90463"/>
                  </a:lnTo>
                  <a:lnTo>
                    <a:pt x="396747" y="76248"/>
                  </a:lnTo>
                  <a:lnTo>
                    <a:pt x="397781" y="59447"/>
                  </a:lnTo>
                  <a:lnTo>
                    <a:pt x="396359" y="56734"/>
                  </a:lnTo>
                  <a:lnTo>
                    <a:pt x="393904" y="56863"/>
                  </a:lnTo>
                  <a:lnTo>
                    <a:pt x="391707" y="60998"/>
                  </a:lnTo>
                  <a:lnTo>
                    <a:pt x="390415" y="65392"/>
                  </a:lnTo>
                  <a:lnTo>
                    <a:pt x="389639" y="74955"/>
                  </a:lnTo>
                  <a:lnTo>
                    <a:pt x="387701" y="82063"/>
                  </a:lnTo>
                  <a:lnTo>
                    <a:pt x="387442" y="84519"/>
                  </a:lnTo>
                  <a:lnTo>
                    <a:pt x="385116" y="79091"/>
                  </a:lnTo>
                  <a:lnTo>
                    <a:pt x="386925" y="67848"/>
                  </a:lnTo>
                  <a:lnTo>
                    <a:pt x="387054" y="55053"/>
                  </a:lnTo>
                  <a:lnTo>
                    <a:pt x="387054" y="44327"/>
                  </a:lnTo>
                  <a:lnTo>
                    <a:pt x="386279" y="38641"/>
                  </a:lnTo>
                  <a:lnTo>
                    <a:pt x="382273" y="29465"/>
                  </a:lnTo>
                  <a:lnTo>
                    <a:pt x="374390" y="19514"/>
                  </a:lnTo>
                  <a:lnTo>
                    <a:pt x="364697" y="8788"/>
                  </a:lnTo>
                  <a:lnTo>
                    <a:pt x="357848" y="4135"/>
                  </a:lnTo>
                  <a:lnTo>
                    <a:pt x="353841" y="1422"/>
                  </a:lnTo>
                  <a:lnTo>
                    <a:pt x="351127" y="0"/>
                  </a:lnTo>
                  <a:lnTo>
                    <a:pt x="348801" y="905"/>
                  </a:lnTo>
                  <a:lnTo>
                    <a:pt x="347767" y="1939"/>
                  </a:lnTo>
                  <a:lnTo>
                    <a:pt x="346475" y="7496"/>
                  </a:lnTo>
                  <a:lnTo>
                    <a:pt x="346346" y="8788"/>
                  </a:lnTo>
                  <a:lnTo>
                    <a:pt x="347897" y="19643"/>
                  </a:lnTo>
                  <a:lnTo>
                    <a:pt x="353066" y="35539"/>
                  </a:lnTo>
                  <a:lnTo>
                    <a:pt x="356814" y="43422"/>
                  </a:lnTo>
                  <a:lnTo>
                    <a:pt x="359786" y="48333"/>
                  </a:lnTo>
                  <a:lnTo>
                    <a:pt x="360562" y="51306"/>
                  </a:lnTo>
                  <a:lnTo>
                    <a:pt x="359657" y="54278"/>
                  </a:lnTo>
                  <a:lnTo>
                    <a:pt x="358106" y="49884"/>
                  </a:lnTo>
                  <a:lnTo>
                    <a:pt x="351645" y="38124"/>
                  </a:lnTo>
                  <a:lnTo>
                    <a:pt x="348672" y="30758"/>
                  </a:lnTo>
                  <a:lnTo>
                    <a:pt x="347251" y="24554"/>
                  </a:lnTo>
                  <a:lnTo>
                    <a:pt x="346475" y="22745"/>
                  </a:lnTo>
                  <a:lnTo>
                    <a:pt x="345183" y="21453"/>
                  </a:lnTo>
                  <a:lnTo>
                    <a:pt x="343761" y="21582"/>
                  </a:lnTo>
                  <a:lnTo>
                    <a:pt x="342469" y="23520"/>
                  </a:lnTo>
                  <a:lnTo>
                    <a:pt x="342598" y="29724"/>
                  </a:lnTo>
                  <a:lnTo>
                    <a:pt x="338721" y="39287"/>
                  </a:lnTo>
                  <a:lnTo>
                    <a:pt x="336653" y="41484"/>
                  </a:lnTo>
                  <a:lnTo>
                    <a:pt x="333293" y="42389"/>
                  </a:lnTo>
                  <a:lnTo>
                    <a:pt x="325281" y="46266"/>
                  </a:lnTo>
                  <a:lnTo>
                    <a:pt x="322567" y="48592"/>
                  </a:lnTo>
                  <a:lnTo>
                    <a:pt x="321016" y="52210"/>
                  </a:lnTo>
                  <a:lnTo>
                    <a:pt x="320112" y="55700"/>
                  </a:lnTo>
                  <a:lnTo>
                    <a:pt x="318819" y="58543"/>
                  </a:lnTo>
                  <a:lnTo>
                    <a:pt x="317010" y="60998"/>
                  </a:lnTo>
                  <a:lnTo>
                    <a:pt x="310160" y="68494"/>
                  </a:lnTo>
                  <a:lnTo>
                    <a:pt x="306800" y="70174"/>
                  </a:lnTo>
                  <a:lnTo>
                    <a:pt x="306025" y="70949"/>
                  </a:lnTo>
                  <a:lnTo>
                    <a:pt x="305767" y="71983"/>
                  </a:lnTo>
                  <a:lnTo>
                    <a:pt x="306025" y="74180"/>
                  </a:lnTo>
                  <a:lnTo>
                    <a:pt x="305767" y="75214"/>
                  </a:lnTo>
                  <a:lnTo>
                    <a:pt x="304862" y="76119"/>
                  </a:lnTo>
                  <a:lnTo>
                    <a:pt x="304086" y="76248"/>
                  </a:lnTo>
                  <a:lnTo>
                    <a:pt x="303311" y="76119"/>
                  </a:lnTo>
                  <a:lnTo>
                    <a:pt x="302277" y="76506"/>
                  </a:lnTo>
                  <a:lnTo>
                    <a:pt x="300597" y="78316"/>
                  </a:lnTo>
                  <a:lnTo>
                    <a:pt x="299822" y="80383"/>
                  </a:lnTo>
                  <a:lnTo>
                    <a:pt x="299046" y="84906"/>
                  </a:lnTo>
                  <a:lnTo>
                    <a:pt x="298013" y="87362"/>
                  </a:lnTo>
                  <a:lnTo>
                    <a:pt x="293489" y="93953"/>
                  </a:lnTo>
                  <a:lnTo>
                    <a:pt x="292197" y="96925"/>
                  </a:lnTo>
                  <a:lnTo>
                    <a:pt x="291293" y="98217"/>
                  </a:lnTo>
                  <a:lnTo>
                    <a:pt x="289225" y="99251"/>
                  </a:lnTo>
                  <a:lnTo>
                    <a:pt x="289225" y="100027"/>
                  </a:lnTo>
                  <a:lnTo>
                    <a:pt x="289354" y="101061"/>
                  </a:lnTo>
                  <a:lnTo>
                    <a:pt x="289225" y="101965"/>
                  </a:lnTo>
                  <a:lnTo>
                    <a:pt x="274751" y="125486"/>
                  </a:lnTo>
                  <a:lnTo>
                    <a:pt x="273717" y="126649"/>
                  </a:lnTo>
                  <a:lnTo>
                    <a:pt x="272295" y="127424"/>
                  </a:lnTo>
                  <a:lnTo>
                    <a:pt x="271390" y="127424"/>
                  </a:lnTo>
                  <a:lnTo>
                    <a:pt x="270615" y="127295"/>
                  </a:lnTo>
                  <a:lnTo>
                    <a:pt x="269323" y="127553"/>
                  </a:lnTo>
                  <a:lnTo>
                    <a:pt x="267255" y="129363"/>
                  </a:lnTo>
                  <a:lnTo>
                    <a:pt x="265058" y="134403"/>
                  </a:lnTo>
                  <a:lnTo>
                    <a:pt x="261181" y="137117"/>
                  </a:lnTo>
                  <a:lnTo>
                    <a:pt x="260535" y="139184"/>
                  </a:lnTo>
                  <a:lnTo>
                    <a:pt x="260664" y="141640"/>
                  </a:lnTo>
                  <a:lnTo>
                    <a:pt x="261698" y="146292"/>
                  </a:lnTo>
                  <a:lnTo>
                    <a:pt x="261569" y="147068"/>
                  </a:lnTo>
                  <a:lnTo>
                    <a:pt x="254849" y="159345"/>
                  </a:lnTo>
                  <a:lnTo>
                    <a:pt x="254202" y="160896"/>
                  </a:lnTo>
                  <a:lnTo>
                    <a:pt x="254719" y="162188"/>
                  </a:lnTo>
                  <a:lnTo>
                    <a:pt x="255495" y="163222"/>
                  </a:lnTo>
                  <a:lnTo>
                    <a:pt x="255624" y="164127"/>
                  </a:lnTo>
                  <a:lnTo>
                    <a:pt x="254073" y="165031"/>
                  </a:lnTo>
                  <a:lnTo>
                    <a:pt x="252910" y="165419"/>
                  </a:lnTo>
                  <a:lnTo>
                    <a:pt x="252005" y="165936"/>
                  </a:lnTo>
                  <a:lnTo>
                    <a:pt x="251230" y="166711"/>
                  </a:lnTo>
                  <a:lnTo>
                    <a:pt x="250455" y="167745"/>
                  </a:lnTo>
                  <a:lnTo>
                    <a:pt x="242055" y="186355"/>
                  </a:lnTo>
                  <a:lnTo>
                    <a:pt x="241408" y="189586"/>
                  </a:lnTo>
                  <a:lnTo>
                    <a:pt x="241021" y="190490"/>
                  </a:lnTo>
                  <a:lnTo>
                    <a:pt x="240116" y="191136"/>
                  </a:lnTo>
                  <a:lnTo>
                    <a:pt x="237919" y="191912"/>
                  </a:lnTo>
                  <a:lnTo>
                    <a:pt x="237531" y="192429"/>
                  </a:lnTo>
                  <a:lnTo>
                    <a:pt x="237919" y="193592"/>
                  </a:lnTo>
                  <a:lnTo>
                    <a:pt x="239599" y="196176"/>
                  </a:lnTo>
                  <a:lnTo>
                    <a:pt x="239987" y="197469"/>
                  </a:lnTo>
                  <a:lnTo>
                    <a:pt x="239857" y="198890"/>
                  </a:lnTo>
                  <a:lnTo>
                    <a:pt x="239341" y="199666"/>
                  </a:lnTo>
                  <a:lnTo>
                    <a:pt x="238694" y="200312"/>
                  </a:lnTo>
                  <a:lnTo>
                    <a:pt x="238178" y="201217"/>
                  </a:lnTo>
                  <a:lnTo>
                    <a:pt x="235851" y="206127"/>
                  </a:lnTo>
                  <a:lnTo>
                    <a:pt x="232750" y="210521"/>
                  </a:lnTo>
                  <a:lnTo>
                    <a:pt x="228743" y="214011"/>
                  </a:lnTo>
                  <a:lnTo>
                    <a:pt x="226417" y="218275"/>
                  </a:lnTo>
                  <a:lnTo>
                    <a:pt x="224996" y="220085"/>
                  </a:lnTo>
                  <a:lnTo>
                    <a:pt x="223186" y="221635"/>
                  </a:lnTo>
                  <a:lnTo>
                    <a:pt x="211168" y="228743"/>
                  </a:lnTo>
                  <a:lnTo>
                    <a:pt x="206515" y="230553"/>
                  </a:lnTo>
                  <a:lnTo>
                    <a:pt x="204706" y="231974"/>
                  </a:lnTo>
                  <a:lnTo>
                    <a:pt x="203414" y="234430"/>
                  </a:lnTo>
                  <a:lnTo>
                    <a:pt x="202509" y="236885"/>
                  </a:lnTo>
                  <a:lnTo>
                    <a:pt x="201863" y="237919"/>
                  </a:lnTo>
                  <a:lnTo>
                    <a:pt x="200700" y="238953"/>
                  </a:lnTo>
                  <a:lnTo>
                    <a:pt x="200054" y="239211"/>
                  </a:lnTo>
                  <a:lnTo>
                    <a:pt x="198890" y="238953"/>
                  </a:lnTo>
                  <a:lnTo>
                    <a:pt x="198374" y="239082"/>
                  </a:lnTo>
                  <a:lnTo>
                    <a:pt x="197857" y="239599"/>
                  </a:lnTo>
                  <a:lnTo>
                    <a:pt x="196952" y="240891"/>
                  </a:lnTo>
                  <a:lnTo>
                    <a:pt x="196306" y="241279"/>
                  </a:lnTo>
                  <a:lnTo>
                    <a:pt x="193980" y="241537"/>
                  </a:lnTo>
                  <a:lnTo>
                    <a:pt x="189844" y="240633"/>
                  </a:lnTo>
                  <a:lnTo>
                    <a:pt x="185321" y="240116"/>
                  </a:lnTo>
                  <a:lnTo>
                    <a:pt x="181961" y="237402"/>
                  </a:lnTo>
                  <a:lnTo>
                    <a:pt x="179635" y="236627"/>
                  </a:lnTo>
                  <a:lnTo>
                    <a:pt x="177567" y="236627"/>
                  </a:lnTo>
                  <a:lnTo>
                    <a:pt x="164644" y="239082"/>
                  </a:lnTo>
                  <a:lnTo>
                    <a:pt x="163610" y="238953"/>
                  </a:lnTo>
                  <a:lnTo>
                    <a:pt x="162447" y="237919"/>
                  </a:lnTo>
                  <a:lnTo>
                    <a:pt x="163222" y="236368"/>
                  </a:lnTo>
                  <a:lnTo>
                    <a:pt x="165160" y="234817"/>
                  </a:lnTo>
                  <a:lnTo>
                    <a:pt x="167228" y="234042"/>
                  </a:lnTo>
                  <a:lnTo>
                    <a:pt x="167228" y="233008"/>
                  </a:lnTo>
                  <a:lnTo>
                    <a:pt x="160508" y="227451"/>
                  </a:lnTo>
                  <a:lnTo>
                    <a:pt x="157794" y="223703"/>
                  </a:lnTo>
                  <a:lnTo>
                    <a:pt x="156890" y="222928"/>
                  </a:lnTo>
                  <a:lnTo>
                    <a:pt x="155468" y="222540"/>
                  </a:lnTo>
                  <a:lnTo>
                    <a:pt x="154951" y="222799"/>
                  </a:lnTo>
                  <a:lnTo>
                    <a:pt x="154693" y="223445"/>
                  </a:lnTo>
                  <a:lnTo>
                    <a:pt x="151720" y="227063"/>
                  </a:lnTo>
                  <a:lnTo>
                    <a:pt x="150428" y="227968"/>
                  </a:lnTo>
                  <a:lnTo>
                    <a:pt x="146680" y="229389"/>
                  </a:lnTo>
                  <a:lnTo>
                    <a:pt x="142803" y="232233"/>
                  </a:lnTo>
                  <a:lnTo>
                    <a:pt x="141640" y="232750"/>
                  </a:lnTo>
                  <a:lnTo>
                    <a:pt x="137504" y="233008"/>
                  </a:lnTo>
                  <a:lnTo>
                    <a:pt x="135308" y="233525"/>
                  </a:lnTo>
                  <a:lnTo>
                    <a:pt x="133627" y="233008"/>
                  </a:lnTo>
                  <a:lnTo>
                    <a:pt x="130267" y="231070"/>
                  </a:lnTo>
                  <a:lnTo>
                    <a:pt x="128587" y="230682"/>
                  </a:lnTo>
                  <a:lnTo>
                    <a:pt x="124969" y="230553"/>
                  </a:lnTo>
                  <a:lnTo>
                    <a:pt x="123160" y="230165"/>
                  </a:lnTo>
                  <a:lnTo>
                    <a:pt x="115922" y="227063"/>
                  </a:lnTo>
                  <a:lnTo>
                    <a:pt x="112821" y="226934"/>
                  </a:lnTo>
                  <a:lnTo>
                    <a:pt x="112175" y="226546"/>
                  </a:lnTo>
                  <a:lnTo>
                    <a:pt x="112175" y="225900"/>
                  </a:lnTo>
                  <a:lnTo>
                    <a:pt x="113209" y="223832"/>
                  </a:lnTo>
                  <a:lnTo>
                    <a:pt x="113338" y="222799"/>
                  </a:lnTo>
                  <a:lnTo>
                    <a:pt x="112175" y="221119"/>
                  </a:lnTo>
                  <a:lnTo>
                    <a:pt x="110366" y="220731"/>
                  </a:lnTo>
                  <a:lnTo>
                    <a:pt x="108427" y="221248"/>
                  </a:lnTo>
                  <a:lnTo>
                    <a:pt x="106489" y="222282"/>
                  </a:lnTo>
                  <a:lnTo>
                    <a:pt x="105325" y="223703"/>
                  </a:lnTo>
                  <a:lnTo>
                    <a:pt x="104292" y="225512"/>
                  </a:lnTo>
                  <a:lnTo>
                    <a:pt x="103258" y="226934"/>
                  </a:lnTo>
                  <a:lnTo>
                    <a:pt x="101965" y="227322"/>
                  </a:lnTo>
                  <a:lnTo>
                    <a:pt x="99510" y="227451"/>
                  </a:lnTo>
                  <a:lnTo>
                    <a:pt x="98218" y="229002"/>
                  </a:lnTo>
                  <a:lnTo>
                    <a:pt x="97184" y="230811"/>
                  </a:lnTo>
                  <a:lnTo>
                    <a:pt x="95762" y="231845"/>
                  </a:lnTo>
                  <a:lnTo>
                    <a:pt x="93565" y="231716"/>
                  </a:lnTo>
                  <a:lnTo>
                    <a:pt x="92402" y="231328"/>
                  </a:lnTo>
                  <a:lnTo>
                    <a:pt x="91885" y="231845"/>
                  </a:lnTo>
                  <a:lnTo>
                    <a:pt x="91756" y="234430"/>
                  </a:lnTo>
                  <a:lnTo>
                    <a:pt x="90981" y="236368"/>
                  </a:lnTo>
                  <a:lnTo>
                    <a:pt x="89042" y="237660"/>
                  </a:lnTo>
                  <a:lnTo>
                    <a:pt x="84519" y="239211"/>
                  </a:lnTo>
                  <a:lnTo>
                    <a:pt x="83873" y="239599"/>
                  </a:lnTo>
                  <a:lnTo>
                    <a:pt x="82839" y="240633"/>
                  </a:lnTo>
                  <a:lnTo>
                    <a:pt x="82193" y="240891"/>
                  </a:lnTo>
                  <a:lnTo>
                    <a:pt x="81676" y="240762"/>
                  </a:lnTo>
                  <a:lnTo>
                    <a:pt x="80642" y="239987"/>
                  </a:lnTo>
                  <a:lnTo>
                    <a:pt x="80125" y="239857"/>
                  </a:lnTo>
                  <a:lnTo>
                    <a:pt x="77928" y="239857"/>
                  </a:lnTo>
                  <a:lnTo>
                    <a:pt x="77152" y="240374"/>
                  </a:lnTo>
                  <a:lnTo>
                    <a:pt x="76377" y="241925"/>
                  </a:lnTo>
                  <a:lnTo>
                    <a:pt x="74826" y="246319"/>
                  </a:lnTo>
                  <a:lnTo>
                    <a:pt x="73405" y="247741"/>
                  </a:lnTo>
                  <a:lnTo>
                    <a:pt x="73405" y="247741"/>
                  </a:lnTo>
                  <a:lnTo>
                    <a:pt x="70949" y="248128"/>
                  </a:lnTo>
                  <a:lnTo>
                    <a:pt x="69528" y="247741"/>
                  </a:lnTo>
                  <a:lnTo>
                    <a:pt x="68494" y="246965"/>
                  </a:lnTo>
                  <a:lnTo>
                    <a:pt x="65134" y="242701"/>
                  </a:lnTo>
                  <a:lnTo>
                    <a:pt x="64488" y="242571"/>
                  </a:lnTo>
                  <a:lnTo>
                    <a:pt x="62808" y="242701"/>
                  </a:lnTo>
                  <a:lnTo>
                    <a:pt x="60740" y="243217"/>
                  </a:lnTo>
                  <a:lnTo>
                    <a:pt x="58930" y="243864"/>
                  </a:lnTo>
                  <a:lnTo>
                    <a:pt x="57121" y="244251"/>
                  </a:lnTo>
                  <a:lnTo>
                    <a:pt x="51693" y="243605"/>
                  </a:lnTo>
                  <a:lnTo>
                    <a:pt x="50789" y="243347"/>
                  </a:lnTo>
                  <a:lnTo>
                    <a:pt x="49496" y="242701"/>
                  </a:lnTo>
                  <a:lnTo>
                    <a:pt x="46783" y="240116"/>
                  </a:lnTo>
                  <a:lnTo>
                    <a:pt x="45361" y="239211"/>
                  </a:lnTo>
                  <a:lnTo>
                    <a:pt x="44715" y="239082"/>
                  </a:lnTo>
                  <a:lnTo>
                    <a:pt x="43940" y="239211"/>
                  </a:lnTo>
                  <a:lnTo>
                    <a:pt x="42389" y="239082"/>
                  </a:lnTo>
                  <a:lnTo>
                    <a:pt x="41484" y="238824"/>
                  </a:lnTo>
                  <a:lnTo>
                    <a:pt x="39804" y="238048"/>
                  </a:lnTo>
                  <a:lnTo>
                    <a:pt x="39029" y="237790"/>
                  </a:lnTo>
                  <a:lnTo>
                    <a:pt x="34505" y="237273"/>
                  </a:lnTo>
                  <a:lnTo>
                    <a:pt x="32825" y="236368"/>
                  </a:lnTo>
                  <a:lnTo>
                    <a:pt x="30758" y="234171"/>
                  </a:lnTo>
                  <a:lnTo>
                    <a:pt x="27139" y="231457"/>
                  </a:lnTo>
                  <a:lnTo>
                    <a:pt x="26751" y="230294"/>
                  </a:lnTo>
                  <a:lnTo>
                    <a:pt x="29207" y="229906"/>
                  </a:lnTo>
                  <a:lnTo>
                    <a:pt x="27268" y="228097"/>
                  </a:lnTo>
                  <a:lnTo>
                    <a:pt x="25071" y="226546"/>
                  </a:lnTo>
                  <a:lnTo>
                    <a:pt x="22616" y="225512"/>
                  </a:lnTo>
                  <a:lnTo>
                    <a:pt x="19773" y="225254"/>
                  </a:lnTo>
                  <a:lnTo>
                    <a:pt x="17705" y="225900"/>
                  </a:lnTo>
                  <a:lnTo>
                    <a:pt x="15637" y="226288"/>
                  </a:lnTo>
                  <a:lnTo>
                    <a:pt x="13570" y="226288"/>
                  </a:lnTo>
                  <a:lnTo>
                    <a:pt x="11502" y="226029"/>
                  </a:lnTo>
                  <a:lnTo>
                    <a:pt x="10210" y="225383"/>
                  </a:lnTo>
                  <a:lnTo>
                    <a:pt x="9951" y="224479"/>
                  </a:lnTo>
                  <a:lnTo>
                    <a:pt x="10080" y="223445"/>
                  </a:lnTo>
                  <a:lnTo>
                    <a:pt x="9951" y="222282"/>
                  </a:lnTo>
                  <a:lnTo>
                    <a:pt x="9046" y="219826"/>
                  </a:lnTo>
                  <a:lnTo>
                    <a:pt x="9693" y="217758"/>
                  </a:lnTo>
                  <a:lnTo>
                    <a:pt x="9951" y="217629"/>
                  </a:lnTo>
                  <a:lnTo>
                    <a:pt x="10468" y="217629"/>
                  </a:lnTo>
                  <a:lnTo>
                    <a:pt x="10985" y="217500"/>
                  </a:lnTo>
                  <a:lnTo>
                    <a:pt x="11114" y="216854"/>
                  </a:lnTo>
                  <a:lnTo>
                    <a:pt x="10985" y="216208"/>
                  </a:lnTo>
                  <a:lnTo>
                    <a:pt x="10468" y="215045"/>
                  </a:lnTo>
                  <a:lnTo>
                    <a:pt x="10339" y="214398"/>
                  </a:lnTo>
                  <a:lnTo>
                    <a:pt x="10210" y="212201"/>
                  </a:lnTo>
                  <a:lnTo>
                    <a:pt x="9693" y="211684"/>
                  </a:lnTo>
                  <a:lnTo>
                    <a:pt x="8271" y="210909"/>
                  </a:lnTo>
                  <a:lnTo>
                    <a:pt x="5945" y="210004"/>
                  </a:lnTo>
                  <a:lnTo>
                    <a:pt x="4136" y="210134"/>
                  </a:lnTo>
                  <a:lnTo>
                    <a:pt x="2455" y="211038"/>
                  </a:lnTo>
                  <a:lnTo>
                    <a:pt x="2455" y="211038"/>
                  </a:lnTo>
                  <a:lnTo>
                    <a:pt x="5945" y="214011"/>
                  </a:lnTo>
                  <a:lnTo>
                    <a:pt x="6849" y="215561"/>
                  </a:lnTo>
                  <a:lnTo>
                    <a:pt x="6979" y="218275"/>
                  </a:lnTo>
                  <a:lnTo>
                    <a:pt x="6979" y="220343"/>
                  </a:lnTo>
                  <a:lnTo>
                    <a:pt x="8659" y="228226"/>
                  </a:lnTo>
                  <a:lnTo>
                    <a:pt x="8917" y="230165"/>
                  </a:lnTo>
                  <a:lnTo>
                    <a:pt x="8917" y="231328"/>
                  </a:lnTo>
                  <a:lnTo>
                    <a:pt x="7754" y="233008"/>
                  </a:lnTo>
                  <a:lnTo>
                    <a:pt x="7237" y="233913"/>
                  </a:lnTo>
                  <a:lnTo>
                    <a:pt x="5815" y="238307"/>
                  </a:lnTo>
                  <a:lnTo>
                    <a:pt x="5299" y="239211"/>
                  </a:lnTo>
                  <a:lnTo>
                    <a:pt x="4911" y="239599"/>
                  </a:lnTo>
                  <a:lnTo>
                    <a:pt x="4523" y="239857"/>
                  </a:lnTo>
                  <a:lnTo>
                    <a:pt x="4006" y="239987"/>
                  </a:lnTo>
                  <a:lnTo>
                    <a:pt x="2585" y="239987"/>
                  </a:lnTo>
                  <a:lnTo>
                    <a:pt x="2068" y="240504"/>
                  </a:lnTo>
                  <a:lnTo>
                    <a:pt x="1551" y="241408"/>
                  </a:lnTo>
                  <a:lnTo>
                    <a:pt x="1034" y="243605"/>
                  </a:lnTo>
                  <a:lnTo>
                    <a:pt x="1034" y="244768"/>
                  </a:lnTo>
                  <a:lnTo>
                    <a:pt x="1163" y="245673"/>
                  </a:lnTo>
                  <a:lnTo>
                    <a:pt x="1422" y="246061"/>
                  </a:lnTo>
                  <a:lnTo>
                    <a:pt x="1809" y="246448"/>
                  </a:lnTo>
                  <a:lnTo>
                    <a:pt x="2197" y="246836"/>
                  </a:lnTo>
                  <a:lnTo>
                    <a:pt x="3489" y="247741"/>
                  </a:lnTo>
                  <a:lnTo>
                    <a:pt x="3877" y="248258"/>
                  </a:lnTo>
                  <a:lnTo>
                    <a:pt x="4265" y="249033"/>
                  </a:lnTo>
                  <a:lnTo>
                    <a:pt x="4782" y="250584"/>
                  </a:lnTo>
                  <a:lnTo>
                    <a:pt x="4782" y="251488"/>
                  </a:lnTo>
                  <a:lnTo>
                    <a:pt x="4652" y="252264"/>
                  </a:lnTo>
                  <a:lnTo>
                    <a:pt x="4394" y="252781"/>
                  </a:lnTo>
                  <a:lnTo>
                    <a:pt x="4136" y="253168"/>
                  </a:lnTo>
                  <a:lnTo>
                    <a:pt x="3748" y="253556"/>
                  </a:lnTo>
                  <a:lnTo>
                    <a:pt x="1163" y="255365"/>
                  </a:lnTo>
                  <a:lnTo>
                    <a:pt x="775" y="255753"/>
                  </a:lnTo>
                  <a:lnTo>
                    <a:pt x="388" y="256270"/>
                  </a:lnTo>
                  <a:lnTo>
                    <a:pt x="0" y="257175"/>
                  </a:lnTo>
                  <a:lnTo>
                    <a:pt x="0" y="257821"/>
                  </a:lnTo>
                  <a:lnTo>
                    <a:pt x="259" y="258209"/>
                  </a:lnTo>
                  <a:lnTo>
                    <a:pt x="1939" y="258725"/>
                  </a:lnTo>
                  <a:lnTo>
                    <a:pt x="2326" y="258984"/>
                  </a:lnTo>
                  <a:lnTo>
                    <a:pt x="2714" y="259372"/>
                  </a:lnTo>
                  <a:lnTo>
                    <a:pt x="3231" y="260406"/>
                  </a:lnTo>
                  <a:lnTo>
                    <a:pt x="3619" y="261698"/>
                  </a:lnTo>
                  <a:lnTo>
                    <a:pt x="3748" y="262603"/>
                  </a:lnTo>
                  <a:lnTo>
                    <a:pt x="3360" y="270227"/>
                  </a:lnTo>
                  <a:lnTo>
                    <a:pt x="3489" y="271261"/>
                  </a:lnTo>
                  <a:lnTo>
                    <a:pt x="3877" y="272424"/>
                  </a:lnTo>
                  <a:lnTo>
                    <a:pt x="4782" y="280178"/>
                  </a:lnTo>
                  <a:lnTo>
                    <a:pt x="5169" y="281212"/>
                  </a:lnTo>
                  <a:lnTo>
                    <a:pt x="5686" y="282246"/>
                  </a:lnTo>
                  <a:lnTo>
                    <a:pt x="6720" y="283668"/>
                  </a:lnTo>
                  <a:lnTo>
                    <a:pt x="7237" y="284055"/>
                  </a:lnTo>
                  <a:lnTo>
                    <a:pt x="7754" y="284055"/>
                  </a:lnTo>
                  <a:lnTo>
                    <a:pt x="8788" y="283668"/>
                  </a:lnTo>
                  <a:lnTo>
                    <a:pt x="9305" y="283668"/>
                  </a:lnTo>
                  <a:lnTo>
                    <a:pt x="9951" y="283797"/>
                  </a:lnTo>
                  <a:lnTo>
                    <a:pt x="10597" y="284185"/>
                  </a:lnTo>
                  <a:lnTo>
                    <a:pt x="11114" y="284443"/>
                  </a:lnTo>
                  <a:lnTo>
                    <a:pt x="11760" y="284443"/>
                  </a:lnTo>
                  <a:lnTo>
                    <a:pt x="14991" y="284055"/>
                  </a:lnTo>
                  <a:lnTo>
                    <a:pt x="15508" y="283926"/>
                  </a:lnTo>
                  <a:lnTo>
                    <a:pt x="16930" y="283151"/>
                  </a:lnTo>
                  <a:lnTo>
                    <a:pt x="18093" y="282763"/>
                  </a:lnTo>
                  <a:lnTo>
                    <a:pt x="21840" y="282246"/>
                  </a:lnTo>
                  <a:lnTo>
                    <a:pt x="22487" y="282246"/>
                  </a:lnTo>
                  <a:lnTo>
                    <a:pt x="23133" y="282375"/>
                  </a:lnTo>
                  <a:lnTo>
                    <a:pt x="23650" y="282504"/>
                  </a:lnTo>
                  <a:lnTo>
                    <a:pt x="25588" y="283538"/>
                  </a:lnTo>
                  <a:lnTo>
                    <a:pt x="26622" y="283926"/>
                  </a:lnTo>
                  <a:lnTo>
                    <a:pt x="29595" y="284572"/>
                  </a:lnTo>
                  <a:lnTo>
                    <a:pt x="30241" y="284831"/>
                  </a:lnTo>
                  <a:lnTo>
                    <a:pt x="30887" y="285089"/>
                  </a:lnTo>
                  <a:lnTo>
                    <a:pt x="31533" y="285735"/>
                  </a:lnTo>
                  <a:lnTo>
                    <a:pt x="31921" y="285994"/>
                  </a:lnTo>
                  <a:lnTo>
                    <a:pt x="32308" y="286123"/>
                  </a:lnTo>
                  <a:lnTo>
                    <a:pt x="32696" y="285994"/>
                  </a:lnTo>
                  <a:lnTo>
                    <a:pt x="33730" y="285606"/>
                  </a:lnTo>
                  <a:lnTo>
                    <a:pt x="35539" y="285348"/>
                  </a:lnTo>
                  <a:lnTo>
                    <a:pt x="36573" y="284960"/>
                  </a:lnTo>
                  <a:lnTo>
                    <a:pt x="37090" y="284831"/>
                  </a:lnTo>
                  <a:lnTo>
                    <a:pt x="37736" y="284831"/>
                  </a:lnTo>
                  <a:lnTo>
                    <a:pt x="38253" y="284960"/>
                  </a:lnTo>
                  <a:lnTo>
                    <a:pt x="38899" y="284960"/>
                  </a:lnTo>
                  <a:lnTo>
                    <a:pt x="39416" y="284831"/>
                  </a:lnTo>
                  <a:lnTo>
                    <a:pt x="40321" y="284314"/>
                  </a:lnTo>
                  <a:lnTo>
                    <a:pt x="40838" y="284185"/>
                  </a:lnTo>
                  <a:lnTo>
                    <a:pt x="41484" y="284314"/>
                  </a:lnTo>
                  <a:lnTo>
                    <a:pt x="43810" y="285348"/>
                  </a:lnTo>
                  <a:lnTo>
                    <a:pt x="44327" y="285477"/>
                  </a:lnTo>
                  <a:lnTo>
                    <a:pt x="44844" y="285477"/>
                  </a:lnTo>
                  <a:lnTo>
                    <a:pt x="45232" y="285218"/>
                  </a:lnTo>
                  <a:lnTo>
                    <a:pt x="45878" y="284572"/>
                  </a:lnTo>
                  <a:lnTo>
                    <a:pt x="46266" y="284314"/>
                  </a:lnTo>
                  <a:lnTo>
                    <a:pt x="46783" y="284314"/>
                  </a:lnTo>
                  <a:lnTo>
                    <a:pt x="47300" y="284572"/>
                  </a:lnTo>
                  <a:lnTo>
                    <a:pt x="48592" y="285477"/>
                  </a:lnTo>
                  <a:lnTo>
                    <a:pt x="49109" y="285735"/>
                  </a:lnTo>
                  <a:lnTo>
                    <a:pt x="50143" y="286123"/>
                  </a:lnTo>
                  <a:lnTo>
                    <a:pt x="51435" y="287028"/>
                  </a:lnTo>
                  <a:lnTo>
                    <a:pt x="51952" y="287286"/>
                  </a:lnTo>
                  <a:lnTo>
                    <a:pt x="52469" y="287415"/>
                  </a:lnTo>
                  <a:lnTo>
                    <a:pt x="53115" y="287803"/>
                  </a:lnTo>
                  <a:lnTo>
                    <a:pt x="53890" y="288320"/>
                  </a:lnTo>
                  <a:lnTo>
                    <a:pt x="54924" y="289354"/>
                  </a:lnTo>
                  <a:lnTo>
                    <a:pt x="55570" y="289871"/>
                  </a:lnTo>
                  <a:lnTo>
                    <a:pt x="56217" y="290258"/>
                  </a:lnTo>
                  <a:lnTo>
                    <a:pt x="56863" y="290388"/>
                  </a:lnTo>
                  <a:lnTo>
                    <a:pt x="57638" y="290775"/>
                  </a:lnTo>
                  <a:lnTo>
                    <a:pt x="58026" y="291551"/>
                  </a:lnTo>
                  <a:lnTo>
                    <a:pt x="58414" y="292068"/>
                  </a:lnTo>
                  <a:lnTo>
                    <a:pt x="58801" y="292326"/>
                  </a:lnTo>
                  <a:lnTo>
                    <a:pt x="59448" y="292455"/>
                  </a:lnTo>
                  <a:lnTo>
                    <a:pt x="59835" y="292585"/>
                  </a:lnTo>
                  <a:lnTo>
                    <a:pt x="60740" y="293102"/>
                  </a:lnTo>
                  <a:lnTo>
                    <a:pt x="62291" y="294394"/>
                  </a:lnTo>
                  <a:lnTo>
                    <a:pt x="63841" y="295945"/>
                  </a:lnTo>
                  <a:lnTo>
                    <a:pt x="64617" y="296462"/>
                  </a:lnTo>
                  <a:lnTo>
                    <a:pt x="65134" y="296462"/>
                  </a:lnTo>
                  <a:lnTo>
                    <a:pt x="65521" y="295428"/>
                  </a:lnTo>
                  <a:lnTo>
                    <a:pt x="66168" y="295299"/>
                  </a:lnTo>
                  <a:lnTo>
                    <a:pt x="67072" y="295557"/>
                  </a:lnTo>
                  <a:lnTo>
                    <a:pt x="68881" y="296979"/>
                  </a:lnTo>
                  <a:lnTo>
                    <a:pt x="69786" y="297883"/>
                  </a:lnTo>
                  <a:lnTo>
                    <a:pt x="70432" y="298788"/>
                  </a:lnTo>
                  <a:lnTo>
                    <a:pt x="70820" y="299822"/>
                  </a:lnTo>
                  <a:lnTo>
                    <a:pt x="71208" y="300339"/>
                  </a:lnTo>
                  <a:lnTo>
                    <a:pt x="71725" y="300597"/>
                  </a:lnTo>
                  <a:lnTo>
                    <a:pt x="72371" y="300597"/>
                  </a:lnTo>
                  <a:lnTo>
                    <a:pt x="73663" y="300468"/>
                  </a:lnTo>
                  <a:lnTo>
                    <a:pt x="74309" y="300597"/>
                  </a:lnTo>
                  <a:lnTo>
                    <a:pt x="74568" y="300985"/>
                  </a:lnTo>
                  <a:lnTo>
                    <a:pt x="74439" y="301373"/>
                  </a:lnTo>
                  <a:lnTo>
                    <a:pt x="74180" y="301760"/>
                  </a:lnTo>
                  <a:lnTo>
                    <a:pt x="73792" y="302148"/>
                  </a:lnTo>
                  <a:lnTo>
                    <a:pt x="73534" y="302665"/>
                  </a:lnTo>
                  <a:lnTo>
                    <a:pt x="73146" y="303828"/>
                  </a:lnTo>
                  <a:lnTo>
                    <a:pt x="73534" y="304991"/>
                  </a:lnTo>
                  <a:lnTo>
                    <a:pt x="74180" y="305896"/>
                  </a:lnTo>
                  <a:lnTo>
                    <a:pt x="75472" y="307188"/>
                  </a:lnTo>
                  <a:lnTo>
                    <a:pt x="75989" y="307963"/>
                  </a:lnTo>
                  <a:lnTo>
                    <a:pt x="76248" y="308610"/>
                  </a:lnTo>
                  <a:lnTo>
                    <a:pt x="76119" y="309127"/>
                  </a:lnTo>
                  <a:lnTo>
                    <a:pt x="75989" y="309773"/>
                  </a:lnTo>
                  <a:lnTo>
                    <a:pt x="75860" y="310419"/>
                  </a:lnTo>
                  <a:lnTo>
                    <a:pt x="76119" y="311582"/>
                  </a:lnTo>
                  <a:lnTo>
                    <a:pt x="76506" y="312099"/>
                  </a:lnTo>
                  <a:lnTo>
                    <a:pt x="77023" y="312357"/>
                  </a:lnTo>
                  <a:lnTo>
                    <a:pt x="77669" y="312357"/>
                  </a:lnTo>
                  <a:lnTo>
                    <a:pt x="78962" y="312228"/>
                  </a:lnTo>
                  <a:lnTo>
                    <a:pt x="81029" y="312228"/>
                  </a:lnTo>
                  <a:lnTo>
                    <a:pt x="81676" y="312099"/>
                  </a:lnTo>
                  <a:lnTo>
                    <a:pt x="82193" y="311840"/>
                  </a:lnTo>
                  <a:lnTo>
                    <a:pt x="83873" y="310548"/>
                  </a:lnTo>
                  <a:lnTo>
                    <a:pt x="84389" y="310290"/>
                  </a:lnTo>
                  <a:lnTo>
                    <a:pt x="84907" y="310160"/>
                  </a:lnTo>
                  <a:lnTo>
                    <a:pt x="85423" y="310160"/>
                  </a:lnTo>
                  <a:lnTo>
                    <a:pt x="85940" y="310290"/>
                  </a:lnTo>
                  <a:lnTo>
                    <a:pt x="86845" y="310807"/>
                  </a:lnTo>
                  <a:lnTo>
                    <a:pt x="87362" y="311324"/>
                  </a:lnTo>
                  <a:lnTo>
                    <a:pt x="87750" y="311970"/>
                  </a:lnTo>
                  <a:lnTo>
                    <a:pt x="88267" y="312874"/>
                  </a:lnTo>
                  <a:lnTo>
                    <a:pt x="88913" y="313391"/>
                  </a:lnTo>
                  <a:lnTo>
                    <a:pt x="90593" y="314167"/>
                  </a:lnTo>
                  <a:lnTo>
                    <a:pt x="91239" y="314813"/>
                  </a:lnTo>
                  <a:lnTo>
                    <a:pt x="91885" y="315717"/>
                  </a:lnTo>
                  <a:lnTo>
                    <a:pt x="92402" y="316105"/>
                  </a:lnTo>
                  <a:lnTo>
                    <a:pt x="92919" y="316234"/>
                  </a:lnTo>
                  <a:lnTo>
                    <a:pt x="93436" y="316234"/>
                  </a:lnTo>
                  <a:lnTo>
                    <a:pt x="93694" y="316493"/>
                  </a:lnTo>
                  <a:lnTo>
                    <a:pt x="93824" y="317010"/>
                  </a:lnTo>
                  <a:lnTo>
                    <a:pt x="93824" y="317656"/>
                  </a:lnTo>
                  <a:lnTo>
                    <a:pt x="93953" y="318431"/>
                  </a:lnTo>
                  <a:lnTo>
                    <a:pt x="94470" y="318819"/>
                  </a:lnTo>
                  <a:lnTo>
                    <a:pt x="95245" y="319078"/>
                  </a:lnTo>
                  <a:lnTo>
                    <a:pt x="96667" y="319853"/>
                  </a:lnTo>
                  <a:lnTo>
                    <a:pt x="97313" y="320499"/>
                  </a:lnTo>
                  <a:lnTo>
                    <a:pt x="97571" y="321145"/>
                  </a:lnTo>
                  <a:lnTo>
                    <a:pt x="97442" y="322438"/>
                  </a:lnTo>
                  <a:lnTo>
                    <a:pt x="97701" y="322696"/>
                  </a:lnTo>
                  <a:lnTo>
                    <a:pt x="98218" y="322825"/>
                  </a:lnTo>
                  <a:lnTo>
                    <a:pt x="100285" y="322825"/>
                  </a:lnTo>
                  <a:lnTo>
                    <a:pt x="100802" y="322955"/>
                  </a:lnTo>
                  <a:lnTo>
                    <a:pt x="101061" y="323342"/>
                  </a:lnTo>
                  <a:lnTo>
                    <a:pt x="101061" y="323859"/>
                  </a:lnTo>
                  <a:lnTo>
                    <a:pt x="100802" y="324376"/>
                  </a:lnTo>
                  <a:lnTo>
                    <a:pt x="101061" y="324635"/>
                  </a:lnTo>
                  <a:lnTo>
                    <a:pt x="101578" y="324635"/>
                  </a:lnTo>
                  <a:lnTo>
                    <a:pt x="103516" y="324635"/>
                  </a:lnTo>
                  <a:lnTo>
                    <a:pt x="104162" y="324505"/>
                  </a:lnTo>
                  <a:lnTo>
                    <a:pt x="104550" y="324247"/>
                  </a:lnTo>
                  <a:lnTo>
                    <a:pt x="104679" y="323730"/>
                  </a:lnTo>
                  <a:lnTo>
                    <a:pt x="104550" y="323213"/>
                  </a:lnTo>
                  <a:lnTo>
                    <a:pt x="104292" y="322696"/>
                  </a:lnTo>
                  <a:lnTo>
                    <a:pt x="104162" y="322179"/>
                  </a:lnTo>
                  <a:lnTo>
                    <a:pt x="104162" y="321662"/>
                  </a:lnTo>
                  <a:lnTo>
                    <a:pt x="104550" y="321404"/>
                  </a:lnTo>
                  <a:lnTo>
                    <a:pt x="105196" y="321404"/>
                  </a:lnTo>
                  <a:lnTo>
                    <a:pt x="106230" y="321921"/>
                  </a:lnTo>
                  <a:lnTo>
                    <a:pt x="107005" y="322179"/>
                  </a:lnTo>
                  <a:lnTo>
                    <a:pt x="109073" y="322438"/>
                  </a:lnTo>
                  <a:lnTo>
                    <a:pt x="110236" y="323084"/>
                  </a:lnTo>
                  <a:lnTo>
                    <a:pt x="111012" y="323471"/>
                  </a:lnTo>
                  <a:lnTo>
                    <a:pt x="111658" y="323730"/>
                  </a:lnTo>
                  <a:lnTo>
                    <a:pt x="112175" y="323730"/>
                  </a:lnTo>
                  <a:lnTo>
                    <a:pt x="112562" y="323471"/>
                  </a:lnTo>
                  <a:lnTo>
                    <a:pt x="113338" y="322179"/>
                  </a:lnTo>
                  <a:lnTo>
                    <a:pt x="113467" y="321791"/>
                  </a:lnTo>
                  <a:lnTo>
                    <a:pt x="113467" y="321533"/>
                  </a:lnTo>
                  <a:lnTo>
                    <a:pt x="113338" y="320499"/>
                  </a:lnTo>
                  <a:lnTo>
                    <a:pt x="113338" y="319982"/>
                  </a:lnTo>
                  <a:lnTo>
                    <a:pt x="113596" y="319594"/>
                  </a:lnTo>
                  <a:lnTo>
                    <a:pt x="113984" y="319336"/>
                  </a:lnTo>
                  <a:lnTo>
                    <a:pt x="114501" y="319207"/>
                  </a:lnTo>
                  <a:lnTo>
                    <a:pt x="115147" y="319336"/>
                  </a:lnTo>
                  <a:lnTo>
                    <a:pt x="115922" y="319594"/>
                  </a:lnTo>
                  <a:lnTo>
                    <a:pt x="116181" y="319982"/>
                  </a:lnTo>
                  <a:lnTo>
                    <a:pt x="116052" y="320370"/>
                  </a:lnTo>
                  <a:lnTo>
                    <a:pt x="115406" y="321016"/>
                  </a:lnTo>
                  <a:lnTo>
                    <a:pt x="115535" y="321275"/>
                  </a:lnTo>
                  <a:lnTo>
                    <a:pt x="115922" y="321533"/>
                  </a:lnTo>
                  <a:lnTo>
                    <a:pt x="116956" y="321921"/>
                  </a:lnTo>
                  <a:lnTo>
                    <a:pt x="117603" y="322050"/>
                  </a:lnTo>
                  <a:lnTo>
                    <a:pt x="118249" y="322179"/>
                  </a:lnTo>
                  <a:lnTo>
                    <a:pt x="118766" y="322050"/>
                  </a:lnTo>
                  <a:lnTo>
                    <a:pt x="119283" y="321791"/>
                  </a:lnTo>
                  <a:lnTo>
                    <a:pt x="119670" y="321404"/>
                  </a:lnTo>
                  <a:lnTo>
                    <a:pt x="119929" y="321016"/>
                  </a:lnTo>
                  <a:lnTo>
                    <a:pt x="120316" y="320628"/>
                  </a:lnTo>
                  <a:lnTo>
                    <a:pt x="120833" y="320370"/>
                  </a:lnTo>
                  <a:lnTo>
                    <a:pt x="121480" y="320370"/>
                  </a:lnTo>
                  <a:lnTo>
                    <a:pt x="121867" y="320758"/>
                  </a:lnTo>
                  <a:lnTo>
                    <a:pt x="122126" y="321275"/>
                  </a:lnTo>
                  <a:lnTo>
                    <a:pt x="122126" y="321921"/>
                  </a:lnTo>
                  <a:lnTo>
                    <a:pt x="122126" y="322567"/>
                  </a:lnTo>
                  <a:lnTo>
                    <a:pt x="121867" y="323859"/>
                  </a:lnTo>
                  <a:lnTo>
                    <a:pt x="121867" y="324635"/>
                  </a:lnTo>
                  <a:lnTo>
                    <a:pt x="121996" y="325539"/>
                  </a:lnTo>
                  <a:lnTo>
                    <a:pt x="122255" y="326702"/>
                  </a:lnTo>
                  <a:lnTo>
                    <a:pt x="122643" y="327219"/>
                  </a:lnTo>
                  <a:lnTo>
                    <a:pt x="123160" y="327478"/>
                  </a:lnTo>
                  <a:lnTo>
                    <a:pt x="123677" y="327478"/>
                  </a:lnTo>
                  <a:lnTo>
                    <a:pt x="124193" y="327349"/>
                  </a:lnTo>
                  <a:lnTo>
                    <a:pt x="125227" y="326832"/>
                  </a:lnTo>
                  <a:lnTo>
                    <a:pt x="126390" y="326444"/>
                  </a:lnTo>
                  <a:lnTo>
                    <a:pt x="127037" y="326315"/>
                  </a:lnTo>
                  <a:lnTo>
                    <a:pt x="127683" y="326185"/>
                  </a:lnTo>
                  <a:lnTo>
                    <a:pt x="128329" y="326185"/>
                  </a:lnTo>
                  <a:lnTo>
                    <a:pt x="128975" y="326315"/>
                  </a:lnTo>
                  <a:lnTo>
                    <a:pt x="129492" y="326444"/>
                  </a:lnTo>
                  <a:lnTo>
                    <a:pt x="131043" y="327090"/>
                  </a:lnTo>
                  <a:lnTo>
                    <a:pt x="131560" y="327090"/>
                  </a:lnTo>
                  <a:lnTo>
                    <a:pt x="132852" y="326961"/>
                  </a:lnTo>
                  <a:lnTo>
                    <a:pt x="133627" y="326961"/>
                  </a:lnTo>
                  <a:lnTo>
                    <a:pt x="134015" y="327349"/>
                  </a:lnTo>
                  <a:lnTo>
                    <a:pt x="134274" y="327865"/>
                  </a:lnTo>
                  <a:lnTo>
                    <a:pt x="134403" y="328382"/>
                  </a:lnTo>
                  <a:lnTo>
                    <a:pt x="134274" y="328899"/>
                  </a:lnTo>
                  <a:lnTo>
                    <a:pt x="134015" y="329287"/>
                  </a:lnTo>
                  <a:lnTo>
                    <a:pt x="133240" y="329933"/>
                  </a:lnTo>
                  <a:lnTo>
                    <a:pt x="132852" y="330321"/>
                  </a:lnTo>
                  <a:lnTo>
                    <a:pt x="132594" y="330838"/>
                  </a:lnTo>
                  <a:lnTo>
                    <a:pt x="132464" y="331355"/>
                  </a:lnTo>
                  <a:lnTo>
                    <a:pt x="132723" y="332001"/>
                  </a:lnTo>
                  <a:lnTo>
                    <a:pt x="133111" y="332647"/>
                  </a:lnTo>
                  <a:lnTo>
                    <a:pt x="134920" y="334715"/>
                  </a:lnTo>
                  <a:lnTo>
                    <a:pt x="135178" y="335232"/>
                  </a:lnTo>
                  <a:lnTo>
                    <a:pt x="135308" y="335749"/>
                  </a:lnTo>
                  <a:lnTo>
                    <a:pt x="135178" y="336524"/>
                  </a:lnTo>
                  <a:lnTo>
                    <a:pt x="135049" y="336912"/>
                  </a:lnTo>
                  <a:lnTo>
                    <a:pt x="134791" y="337299"/>
                  </a:lnTo>
                  <a:lnTo>
                    <a:pt x="134532" y="337816"/>
                  </a:lnTo>
                  <a:lnTo>
                    <a:pt x="134403" y="338463"/>
                  </a:lnTo>
                  <a:lnTo>
                    <a:pt x="134532" y="339367"/>
                  </a:lnTo>
                  <a:lnTo>
                    <a:pt x="134920" y="339755"/>
                  </a:lnTo>
                  <a:lnTo>
                    <a:pt x="135566" y="339884"/>
                  </a:lnTo>
                  <a:lnTo>
                    <a:pt x="136729" y="339626"/>
                  </a:lnTo>
                  <a:lnTo>
                    <a:pt x="140606" y="338333"/>
                  </a:lnTo>
                  <a:lnTo>
                    <a:pt x="143578" y="337687"/>
                  </a:lnTo>
                  <a:lnTo>
                    <a:pt x="144354" y="337687"/>
                  </a:lnTo>
                  <a:lnTo>
                    <a:pt x="145129" y="337687"/>
                  </a:lnTo>
                  <a:lnTo>
                    <a:pt x="146163" y="337946"/>
                  </a:lnTo>
                  <a:lnTo>
                    <a:pt x="146680" y="338333"/>
                  </a:lnTo>
                  <a:lnTo>
                    <a:pt x="147068" y="338850"/>
                  </a:lnTo>
                  <a:lnTo>
                    <a:pt x="147197" y="339367"/>
                  </a:lnTo>
                  <a:lnTo>
                    <a:pt x="147456" y="340530"/>
                  </a:lnTo>
                  <a:lnTo>
                    <a:pt x="147714" y="341306"/>
                  </a:lnTo>
                  <a:lnTo>
                    <a:pt x="148102" y="342210"/>
                  </a:lnTo>
                  <a:lnTo>
                    <a:pt x="149394" y="344278"/>
                  </a:lnTo>
                  <a:lnTo>
                    <a:pt x="149652" y="344924"/>
                  </a:lnTo>
                  <a:lnTo>
                    <a:pt x="149652" y="345441"/>
                  </a:lnTo>
                  <a:lnTo>
                    <a:pt x="149523" y="345958"/>
                  </a:lnTo>
                  <a:lnTo>
                    <a:pt x="149136" y="346346"/>
                  </a:lnTo>
                  <a:lnTo>
                    <a:pt x="148619" y="346604"/>
                  </a:lnTo>
                  <a:lnTo>
                    <a:pt x="146422" y="347250"/>
                  </a:lnTo>
                  <a:lnTo>
                    <a:pt x="144483" y="347380"/>
                  </a:lnTo>
                  <a:lnTo>
                    <a:pt x="143966" y="347638"/>
                  </a:lnTo>
                  <a:lnTo>
                    <a:pt x="143578" y="348026"/>
                  </a:lnTo>
                  <a:lnTo>
                    <a:pt x="143320" y="348543"/>
                  </a:lnTo>
                  <a:lnTo>
                    <a:pt x="143191" y="349060"/>
                  </a:lnTo>
                  <a:lnTo>
                    <a:pt x="143062" y="350352"/>
                  </a:lnTo>
                  <a:lnTo>
                    <a:pt x="143062" y="351774"/>
                  </a:lnTo>
                  <a:lnTo>
                    <a:pt x="143449" y="354229"/>
                  </a:lnTo>
                  <a:lnTo>
                    <a:pt x="143578" y="354746"/>
                  </a:lnTo>
                  <a:lnTo>
                    <a:pt x="146551" y="360432"/>
                  </a:lnTo>
                  <a:lnTo>
                    <a:pt x="146680" y="360949"/>
                  </a:lnTo>
                  <a:lnTo>
                    <a:pt x="146680" y="361466"/>
                  </a:lnTo>
                  <a:lnTo>
                    <a:pt x="146292" y="362500"/>
                  </a:lnTo>
                  <a:lnTo>
                    <a:pt x="146163" y="363146"/>
                  </a:lnTo>
                  <a:lnTo>
                    <a:pt x="146292" y="363792"/>
                  </a:lnTo>
                  <a:lnTo>
                    <a:pt x="147326" y="365472"/>
                  </a:lnTo>
                  <a:lnTo>
                    <a:pt x="147456" y="365860"/>
                  </a:lnTo>
                  <a:lnTo>
                    <a:pt x="147585" y="369091"/>
                  </a:lnTo>
                  <a:lnTo>
                    <a:pt x="147972" y="370642"/>
                  </a:lnTo>
                  <a:lnTo>
                    <a:pt x="148360" y="371676"/>
                  </a:lnTo>
                  <a:lnTo>
                    <a:pt x="148877" y="372451"/>
                  </a:lnTo>
                  <a:lnTo>
                    <a:pt x="150686" y="374260"/>
                  </a:lnTo>
                  <a:lnTo>
                    <a:pt x="154822" y="377233"/>
                  </a:lnTo>
                  <a:lnTo>
                    <a:pt x="155468" y="377879"/>
                  </a:lnTo>
                  <a:lnTo>
                    <a:pt x="155985" y="378396"/>
                  </a:lnTo>
                  <a:lnTo>
                    <a:pt x="157019" y="380334"/>
                  </a:lnTo>
                  <a:lnTo>
                    <a:pt x="157665" y="382143"/>
                  </a:lnTo>
                  <a:lnTo>
                    <a:pt x="159086" y="384470"/>
                  </a:lnTo>
                  <a:lnTo>
                    <a:pt x="160767" y="386408"/>
                  </a:lnTo>
                  <a:lnTo>
                    <a:pt x="162576" y="387830"/>
                  </a:lnTo>
                  <a:lnTo>
                    <a:pt x="164514" y="388864"/>
                  </a:lnTo>
                  <a:lnTo>
                    <a:pt x="169037" y="390285"/>
                  </a:lnTo>
                  <a:lnTo>
                    <a:pt x="178730" y="392094"/>
                  </a:lnTo>
                  <a:lnTo>
                    <a:pt x="179635" y="392611"/>
                  </a:lnTo>
                  <a:lnTo>
                    <a:pt x="180152" y="393128"/>
                  </a:lnTo>
                  <a:lnTo>
                    <a:pt x="180410" y="393645"/>
                  </a:lnTo>
                  <a:lnTo>
                    <a:pt x="180539" y="394162"/>
                  </a:lnTo>
                  <a:lnTo>
                    <a:pt x="180798" y="395455"/>
                  </a:lnTo>
                  <a:lnTo>
                    <a:pt x="180927" y="398168"/>
                  </a:lnTo>
                  <a:lnTo>
                    <a:pt x="180798" y="399461"/>
                  </a:lnTo>
                  <a:lnTo>
                    <a:pt x="179118" y="405793"/>
                  </a:lnTo>
                  <a:lnTo>
                    <a:pt x="178859" y="408378"/>
                  </a:lnTo>
                  <a:lnTo>
                    <a:pt x="178859" y="410446"/>
                  </a:lnTo>
                  <a:lnTo>
                    <a:pt x="178730" y="411092"/>
                  </a:lnTo>
                  <a:lnTo>
                    <a:pt x="177825" y="414581"/>
                  </a:lnTo>
                  <a:lnTo>
                    <a:pt x="177696" y="415227"/>
                  </a:lnTo>
                  <a:lnTo>
                    <a:pt x="177696" y="415873"/>
                  </a:lnTo>
                  <a:lnTo>
                    <a:pt x="177825" y="417166"/>
                  </a:lnTo>
                  <a:lnTo>
                    <a:pt x="178471" y="419363"/>
                  </a:lnTo>
                  <a:lnTo>
                    <a:pt x="178730" y="420526"/>
                  </a:lnTo>
                  <a:lnTo>
                    <a:pt x="178989" y="423240"/>
                  </a:lnTo>
                  <a:lnTo>
                    <a:pt x="178859" y="429443"/>
                  </a:lnTo>
                  <a:lnTo>
                    <a:pt x="179118" y="430735"/>
                  </a:lnTo>
                  <a:lnTo>
                    <a:pt x="184029" y="440945"/>
                  </a:lnTo>
                  <a:lnTo>
                    <a:pt x="184545" y="441720"/>
                  </a:lnTo>
                  <a:lnTo>
                    <a:pt x="185063" y="442366"/>
                  </a:lnTo>
                  <a:lnTo>
                    <a:pt x="187647" y="444305"/>
                  </a:lnTo>
                  <a:lnTo>
                    <a:pt x="188164" y="444951"/>
                  </a:lnTo>
                  <a:lnTo>
                    <a:pt x="188552" y="445597"/>
                  </a:lnTo>
                  <a:lnTo>
                    <a:pt x="188681" y="446243"/>
                  </a:lnTo>
                  <a:lnTo>
                    <a:pt x="189069" y="448828"/>
                  </a:lnTo>
                  <a:lnTo>
                    <a:pt x="189715" y="451154"/>
                  </a:lnTo>
                  <a:lnTo>
                    <a:pt x="191524" y="455290"/>
                  </a:lnTo>
                  <a:lnTo>
                    <a:pt x="192300" y="457487"/>
                  </a:lnTo>
                  <a:lnTo>
                    <a:pt x="192429" y="458779"/>
                  </a:lnTo>
                  <a:lnTo>
                    <a:pt x="192429" y="460071"/>
                  </a:lnTo>
                  <a:lnTo>
                    <a:pt x="192170" y="462010"/>
                  </a:lnTo>
                  <a:lnTo>
                    <a:pt x="191266" y="466145"/>
                  </a:lnTo>
                  <a:lnTo>
                    <a:pt x="191524" y="467179"/>
                  </a:lnTo>
                  <a:lnTo>
                    <a:pt x="191783" y="467696"/>
                  </a:lnTo>
                  <a:lnTo>
                    <a:pt x="194109" y="472090"/>
                  </a:lnTo>
                  <a:lnTo>
                    <a:pt x="195918" y="473770"/>
                  </a:lnTo>
                  <a:lnTo>
                    <a:pt x="201346" y="490829"/>
                  </a:lnTo>
                  <a:lnTo>
                    <a:pt x="202251" y="492509"/>
                  </a:lnTo>
                  <a:lnTo>
                    <a:pt x="204318" y="493284"/>
                  </a:lnTo>
                  <a:lnTo>
                    <a:pt x="205481" y="493543"/>
                  </a:lnTo>
                  <a:lnTo>
                    <a:pt x="206127" y="493543"/>
                  </a:lnTo>
                  <a:lnTo>
                    <a:pt x="206774" y="493543"/>
                  </a:lnTo>
                  <a:lnTo>
                    <a:pt x="207291" y="493414"/>
                  </a:lnTo>
                  <a:lnTo>
                    <a:pt x="207808" y="493155"/>
                  </a:lnTo>
                  <a:lnTo>
                    <a:pt x="211685" y="491087"/>
                  </a:lnTo>
                  <a:lnTo>
                    <a:pt x="212331" y="490958"/>
                  </a:lnTo>
                  <a:lnTo>
                    <a:pt x="213106" y="491087"/>
                  </a:lnTo>
                  <a:lnTo>
                    <a:pt x="213752" y="491475"/>
                  </a:lnTo>
                  <a:lnTo>
                    <a:pt x="214915" y="492767"/>
                  </a:lnTo>
                  <a:lnTo>
                    <a:pt x="215303" y="493284"/>
                  </a:lnTo>
                  <a:lnTo>
                    <a:pt x="215562" y="493801"/>
                  </a:lnTo>
                  <a:lnTo>
                    <a:pt x="216078" y="495223"/>
                  </a:lnTo>
                  <a:lnTo>
                    <a:pt x="225254" y="504398"/>
                  </a:lnTo>
                  <a:lnTo>
                    <a:pt x="225512" y="504915"/>
                  </a:lnTo>
                  <a:lnTo>
                    <a:pt x="226676" y="508017"/>
                  </a:lnTo>
                  <a:lnTo>
                    <a:pt x="227322" y="509180"/>
                  </a:lnTo>
                  <a:lnTo>
                    <a:pt x="227839" y="509826"/>
                  </a:lnTo>
                  <a:lnTo>
                    <a:pt x="231716" y="512669"/>
                  </a:lnTo>
                  <a:lnTo>
                    <a:pt x="232491" y="513574"/>
                  </a:lnTo>
                  <a:lnTo>
                    <a:pt x="232879" y="514349"/>
                  </a:lnTo>
                  <a:lnTo>
                    <a:pt x="232879" y="522750"/>
                  </a:lnTo>
                  <a:lnTo>
                    <a:pt x="232750" y="523913"/>
                  </a:lnTo>
                  <a:lnTo>
                    <a:pt x="231974" y="526239"/>
                  </a:lnTo>
                  <a:lnTo>
                    <a:pt x="231845" y="527531"/>
                  </a:lnTo>
                  <a:lnTo>
                    <a:pt x="231845" y="528824"/>
                  </a:lnTo>
                  <a:lnTo>
                    <a:pt x="231974" y="530116"/>
                  </a:lnTo>
                  <a:lnTo>
                    <a:pt x="232233" y="531279"/>
                  </a:lnTo>
                  <a:lnTo>
                    <a:pt x="234042" y="535414"/>
                  </a:lnTo>
                  <a:lnTo>
                    <a:pt x="234688" y="536448"/>
                  </a:lnTo>
                  <a:lnTo>
                    <a:pt x="235205" y="537095"/>
                  </a:lnTo>
                  <a:lnTo>
                    <a:pt x="235722" y="537353"/>
                  </a:lnTo>
                  <a:lnTo>
                    <a:pt x="236239" y="537482"/>
                  </a:lnTo>
                  <a:lnTo>
                    <a:pt x="236885" y="537611"/>
                  </a:lnTo>
                  <a:lnTo>
                    <a:pt x="238436" y="537611"/>
                  </a:lnTo>
                  <a:lnTo>
                    <a:pt x="239599" y="537741"/>
                  </a:lnTo>
                  <a:lnTo>
                    <a:pt x="240762" y="538128"/>
                  </a:lnTo>
                  <a:lnTo>
                    <a:pt x="242442" y="539291"/>
                  </a:lnTo>
                  <a:lnTo>
                    <a:pt x="243088" y="540067"/>
                  </a:lnTo>
                  <a:lnTo>
                    <a:pt x="243476" y="540842"/>
                  </a:lnTo>
                  <a:lnTo>
                    <a:pt x="243734" y="542005"/>
                  </a:lnTo>
                  <a:lnTo>
                    <a:pt x="243864" y="545495"/>
                  </a:lnTo>
                  <a:lnTo>
                    <a:pt x="243993" y="546141"/>
                  </a:lnTo>
                  <a:lnTo>
                    <a:pt x="245285" y="549759"/>
                  </a:lnTo>
                  <a:lnTo>
                    <a:pt x="245415" y="550535"/>
                  </a:lnTo>
                  <a:lnTo>
                    <a:pt x="245544" y="551310"/>
                  </a:lnTo>
                  <a:lnTo>
                    <a:pt x="245544" y="552603"/>
                  </a:lnTo>
                  <a:lnTo>
                    <a:pt x="245285" y="553895"/>
                  </a:lnTo>
                  <a:lnTo>
                    <a:pt x="244898" y="554929"/>
                  </a:lnTo>
                  <a:lnTo>
                    <a:pt x="244381" y="555963"/>
                  </a:lnTo>
                  <a:lnTo>
                    <a:pt x="244251" y="556480"/>
                  </a:lnTo>
                  <a:lnTo>
                    <a:pt x="244251" y="557126"/>
                  </a:lnTo>
                  <a:lnTo>
                    <a:pt x="244381" y="557772"/>
                  </a:lnTo>
                  <a:lnTo>
                    <a:pt x="245156" y="559710"/>
                  </a:lnTo>
                  <a:lnTo>
                    <a:pt x="245285" y="560227"/>
                  </a:lnTo>
                  <a:lnTo>
                    <a:pt x="245285" y="560744"/>
                  </a:lnTo>
                  <a:lnTo>
                    <a:pt x="245156" y="561261"/>
                  </a:lnTo>
                  <a:lnTo>
                    <a:pt x="244639" y="562295"/>
                  </a:lnTo>
                  <a:lnTo>
                    <a:pt x="244510" y="562812"/>
                  </a:lnTo>
                  <a:lnTo>
                    <a:pt x="244381" y="563458"/>
                  </a:lnTo>
                  <a:lnTo>
                    <a:pt x="244381" y="564234"/>
                  </a:lnTo>
                  <a:lnTo>
                    <a:pt x="244639" y="565138"/>
                  </a:lnTo>
                  <a:lnTo>
                    <a:pt x="245027" y="565526"/>
                  </a:lnTo>
                  <a:lnTo>
                    <a:pt x="245544" y="565784"/>
                  </a:lnTo>
                  <a:lnTo>
                    <a:pt x="246061" y="565784"/>
                  </a:lnTo>
                  <a:lnTo>
                    <a:pt x="246448" y="565784"/>
                  </a:lnTo>
                  <a:lnTo>
                    <a:pt x="252910" y="563717"/>
                  </a:lnTo>
                  <a:lnTo>
                    <a:pt x="253556" y="563587"/>
                  </a:lnTo>
                  <a:lnTo>
                    <a:pt x="254202" y="563587"/>
                  </a:lnTo>
                  <a:lnTo>
                    <a:pt x="254849" y="563587"/>
                  </a:lnTo>
                  <a:lnTo>
                    <a:pt x="255495" y="563717"/>
                  </a:lnTo>
                  <a:lnTo>
                    <a:pt x="256141" y="563846"/>
                  </a:lnTo>
                  <a:lnTo>
                    <a:pt x="256658" y="564104"/>
                  </a:lnTo>
                  <a:lnTo>
                    <a:pt x="257304" y="564492"/>
                  </a:lnTo>
                  <a:lnTo>
                    <a:pt x="259242" y="566431"/>
                  </a:lnTo>
                  <a:lnTo>
                    <a:pt x="259759" y="567206"/>
                  </a:lnTo>
                  <a:lnTo>
                    <a:pt x="260147" y="567852"/>
                  </a:lnTo>
                  <a:lnTo>
                    <a:pt x="260406" y="569015"/>
                  </a:lnTo>
                  <a:lnTo>
                    <a:pt x="260535" y="569661"/>
                  </a:lnTo>
                  <a:lnTo>
                    <a:pt x="260535" y="570308"/>
                  </a:lnTo>
                  <a:lnTo>
                    <a:pt x="260406" y="570824"/>
                  </a:lnTo>
                  <a:lnTo>
                    <a:pt x="260147" y="571341"/>
                  </a:lnTo>
                  <a:lnTo>
                    <a:pt x="258467" y="573409"/>
                  </a:lnTo>
                  <a:lnTo>
                    <a:pt x="258209" y="573926"/>
                  </a:lnTo>
                  <a:lnTo>
                    <a:pt x="258209" y="574701"/>
                  </a:lnTo>
                  <a:lnTo>
                    <a:pt x="258338" y="575735"/>
                  </a:lnTo>
                  <a:lnTo>
                    <a:pt x="259759" y="578708"/>
                  </a:lnTo>
                  <a:lnTo>
                    <a:pt x="259889" y="578966"/>
                  </a:lnTo>
                  <a:lnTo>
                    <a:pt x="259889" y="581422"/>
                  </a:lnTo>
                  <a:lnTo>
                    <a:pt x="260018" y="582068"/>
                  </a:lnTo>
                  <a:lnTo>
                    <a:pt x="260793" y="585169"/>
                  </a:lnTo>
                  <a:lnTo>
                    <a:pt x="261181" y="585686"/>
                  </a:lnTo>
                  <a:lnTo>
                    <a:pt x="261698" y="586074"/>
                  </a:lnTo>
                  <a:lnTo>
                    <a:pt x="263507" y="586462"/>
                  </a:lnTo>
                  <a:lnTo>
                    <a:pt x="265575" y="587366"/>
                  </a:lnTo>
                  <a:lnTo>
                    <a:pt x="266092" y="587625"/>
                  </a:lnTo>
                  <a:lnTo>
                    <a:pt x="267126" y="588529"/>
                  </a:lnTo>
                  <a:lnTo>
                    <a:pt x="270486" y="592148"/>
                  </a:lnTo>
                  <a:lnTo>
                    <a:pt x="271261" y="592794"/>
                  </a:lnTo>
                  <a:lnTo>
                    <a:pt x="271778" y="593053"/>
                  </a:lnTo>
                  <a:lnTo>
                    <a:pt x="273846" y="593828"/>
                  </a:lnTo>
                  <a:lnTo>
                    <a:pt x="274492" y="593957"/>
                  </a:lnTo>
                  <a:lnTo>
                    <a:pt x="286252" y="594733"/>
                  </a:lnTo>
                  <a:lnTo>
                    <a:pt x="287028" y="594991"/>
                  </a:lnTo>
                  <a:lnTo>
                    <a:pt x="287803" y="595379"/>
                  </a:lnTo>
                  <a:lnTo>
                    <a:pt x="289096" y="596283"/>
                  </a:lnTo>
                  <a:lnTo>
                    <a:pt x="289742" y="596930"/>
                  </a:lnTo>
                  <a:lnTo>
                    <a:pt x="290129" y="597447"/>
                  </a:lnTo>
                  <a:lnTo>
                    <a:pt x="291680" y="600936"/>
                  </a:lnTo>
                  <a:lnTo>
                    <a:pt x="292197" y="601582"/>
                  </a:lnTo>
                  <a:lnTo>
                    <a:pt x="292714" y="601970"/>
                  </a:lnTo>
                  <a:lnTo>
                    <a:pt x="293231" y="601970"/>
                  </a:lnTo>
                  <a:lnTo>
                    <a:pt x="293619" y="601711"/>
                  </a:lnTo>
                  <a:lnTo>
                    <a:pt x="294006" y="601324"/>
                  </a:lnTo>
                  <a:lnTo>
                    <a:pt x="294265" y="600807"/>
                  </a:lnTo>
                  <a:lnTo>
                    <a:pt x="294394" y="600160"/>
                  </a:lnTo>
                  <a:lnTo>
                    <a:pt x="294265" y="598222"/>
                  </a:lnTo>
                  <a:lnTo>
                    <a:pt x="294394" y="597705"/>
                  </a:lnTo>
                  <a:lnTo>
                    <a:pt x="294653" y="597317"/>
                  </a:lnTo>
                  <a:lnTo>
                    <a:pt x="295040" y="596930"/>
                  </a:lnTo>
                  <a:lnTo>
                    <a:pt x="295557" y="596671"/>
                  </a:lnTo>
                  <a:lnTo>
                    <a:pt x="296074" y="596413"/>
                  </a:lnTo>
                  <a:lnTo>
                    <a:pt x="296591" y="596283"/>
                  </a:lnTo>
                  <a:lnTo>
                    <a:pt x="297237" y="596154"/>
                  </a:lnTo>
                  <a:lnTo>
                    <a:pt x="297883" y="596154"/>
                  </a:lnTo>
                  <a:lnTo>
                    <a:pt x="299046" y="596413"/>
                  </a:lnTo>
                  <a:lnTo>
                    <a:pt x="299563" y="596413"/>
                  </a:lnTo>
                  <a:lnTo>
                    <a:pt x="300339" y="596154"/>
                  </a:lnTo>
                  <a:lnTo>
                    <a:pt x="300726" y="596025"/>
                  </a:lnTo>
                  <a:lnTo>
                    <a:pt x="301114" y="595637"/>
                  </a:lnTo>
                  <a:lnTo>
                    <a:pt x="301373" y="595250"/>
                  </a:lnTo>
                  <a:lnTo>
                    <a:pt x="302019" y="593699"/>
                  </a:lnTo>
                  <a:lnTo>
                    <a:pt x="302407" y="593440"/>
                  </a:lnTo>
                  <a:lnTo>
                    <a:pt x="303053" y="593570"/>
                  </a:lnTo>
                  <a:lnTo>
                    <a:pt x="304086" y="594345"/>
                  </a:lnTo>
                  <a:lnTo>
                    <a:pt x="304733" y="594733"/>
                  </a:lnTo>
                  <a:lnTo>
                    <a:pt x="305379" y="594862"/>
                  </a:lnTo>
                  <a:lnTo>
                    <a:pt x="305767" y="594733"/>
                  </a:lnTo>
                  <a:lnTo>
                    <a:pt x="306154" y="594474"/>
                  </a:lnTo>
                  <a:lnTo>
                    <a:pt x="306413" y="594216"/>
                  </a:lnTo>
                  <a:lnTo>
                    <a:pt x="306671" y="594086"/>
                  </a:lnTo>
                  <a:lnTo>
                    <a:pt x="307834" y="594086"/>
                  </a:lnTo>
                  <a:lnTo>
                    <a:pt x="309902" y="595120"/>
                  </a:lnTo>
                  <a:lnTo>
                    <a:pt x="310290" y="595250"/>
                  </a:lnTo>
                  <a:lnTo>
                    <a:pt x="317915" y="592923"/>
                  </a:lnTo>
                  <a:lnTo>
                    <a:pt x="319207" y="591760"/>
                  </a:lnTo>
                  <a:lnTo>
                    <a:pt x="321533" y="588529"/>
                  </a:lnTo>
                  <a:lnTo>
                    <a:pt x="323213" y="587625"/>
                  </a:lnTo>
                  <a:lnTo>
                    <a:pt x="326702" y="584652"/>
                  </a:lnTo>
                  <a:lnTo>
                    <a:pt x="328770" y="583619"/>
                  </a:lnTo>
                  <a:lnTo>
                    <a:pt x="329675" y="582972"/>
                  </a:lnTo>
                  <a:lnTo>
                    <a:pt x="330192" y="582326"/>
                  </a:lnTo>
                  <a:lnTo>
                    <a:pt x="330579" y="581680"/>
                  </a:lnTo>
                  <a:lnTo>
                    <a:pt x="330838" y="580905"/>
                  </a:lnTo>
                  <a:lnTo>
                    <a:pt x="330967" y="579871"/>
                  </a:lnTo>
                  <a:lnTo>
                    <a:pt x="330967" y="576382"/>
                  </a:lnTo>
                  <a:lnTo>
                    <a:pt x="329546" y="565655"/>
                  </a:lnTo>
                  <a:lnTo>
                    <a:pt x="330709" y="556609"/>
                  </a:lnTo>
                  <a:lnTo>
                    <a:pt x="332130" y="552990"/>
                  </a:lnTo>
                  <a:lnTo>
                    <a:pt x="332389" y="551698"/>
                  </a:lnTo>
                  <a:lnTo>
                    <a:pt x="336783" y="546270"/>
                  </a:lnTo>
                  <a:lnTo>
                    <a:pt x="337558" y="545753"/>
                  </a:lnTo>
                  <a:lnTo>
                    <a:pt x="339109" y="544848"/>
                  </a:lnTo>
                  <a:lnTo>
                    <a:pt x="339884" y="544202"/>
                  </a:lnTo>
                  <a:lnTo>
                    <a:pt x="345183" y="536578"/>
                  </a:lnTo>
                  <a:lnTo>
                    <a:pt x="350223" y="531021"/>
                  </a:lnTo>
                  <a:lnTo>
                    <a:pt x="348672" y="530374"/>
                  </a:lnTo>
                  <a:lnTo>
                    <a:pt x="348155" y="531279"/>
                  </a:lnTo>
                  <a:lnTo>
                    <a:pt x="347121" y="531796"/>
                  </a:lnTo>
                  <a:lnTo>
                    <a:pt x="345829" y="531925"/>
                  </a:lnTo>
                  <a:lnTo>
                    <a:pt x="344278" y="531796"/>
                  </a:lnTo>
                  <a:lnTo>
                    <a:pt x="344278" y="531021"/>
                  </a:lnTo>
                  <a:lnTo>
                    <a:pt x="346217" y="530891"/>
                  </a:lnTo>
                  <a:lnTo>
                    <a:pt x="347897" y="530374"/>
                  </a:lnTo>
                  <a:lnTo>
                    <a:pt x="347897" y="529599"/>
                  </a:lnTo>
                  <a:lnTo>
                    <a:pt x="346604" y="529082"/>
                  </a:lnTo>
                  <a:lnTo>
                    <a:pt x="345958" y="528953"/>
                  </a:lnTo>
                  <a:lnTo>
                    <a:pt x="344924" y="528953"/>
                  </a:lnTo>
                  <a:lnTo>
                    <a:pt x="344924" y="528177"/>
                  </a:lnTo>
                  <a:lnTo>
                    <a:pt x="346863" y="528177"/>
                  </a:lnTo>
                  <a:lnTo>
                    <a:pt x="349577" y="529211"/>
                  </a:lnTo>
                  <a:lnTo>
                    <a:pt x="351127" y="529470"/>
                  </a:lnTo>
                  <a:lnTo>
                    <a:pt x="352808" y="528824"/>
                  </a:lnTo>
                  <a:lnTo>
                    <a:pt x="354875" y="527273"/>
                  </a:lnTo>
                  <a:lnTo>
                    <a:pt x="358365" y="524042"/>
                  </a:lnTo>
                  <a:lnTo>
                    <a:pt x="359269" y="522362"/>
                  </a:lnTo>
                  <a:lnTo>
                    <a:pt x="359398" y="520682"/>
                  </a:lnTo>
                  <a:lnTo>
                    <a:pt x="359269" y="519131"/>
                  </a:lnTo>
                  <a:lnTo>
                    <a:pt x="359528" y="517839"/>
                  </a:lnTo>
                  <a:lnTo>
                    <a:pt x="360820" y="516288"/>
                  </a:lnTo>
                  <a:lnTo>
                    <a:pt x="364051" y="513703"/>
                  </a:lnTo>
                  <a:lnTo>
                    <a:pt x="365343" y="512023"/>
                  </a:lnTo>
                  <a:lnTo>
                    <a:pt x="367282" y="508792"/>
                  </a:lnTo>
                  <a:lnTo>
                    <a:pt x="368057" y="506983"/>
                  </a:lnTo>
                  <a:lnTo>
                    <a:pt x="368833" y="503235"/>
                  </a:lnTo>
                  <a:lnTo>
                    <a:pt x="370900" y="500134"/>
                  </a:lnTo>
                  <a:lnTo>
                    <a:pt x="372451" y="495223"/>
                  </a:lnTo>
                  <a:lnTo>
                    <a:pt x="380076" y="485918"/>
                  </a:lnTo>
                  <a:lnTo>
                    <a:pt x="378396" y="485918"/>
                  </a:lnTo>
                  <a:lnTo>
                    <a:pt x="377750" y="485401"/>
                  </a:lnTo>
                  <a:lnTo>
                    <a:pt x="377362" y="484496"/>
                  </a:lnTo>
                  <a:lnTo>
                    <a:pt x="376716" y="483463"/>
                  </a:lnTo>
                  <a:lnTo>
                    <a:pt x="375423" y="482687"/>
                  </a:lnTo>
                  <a:lnTo>
                    <a:pt x="372839" y="482170"/>
                  </a:lnTo>
                  <a:lnTo>
                    <a:pt x="371805" y="481653"/>
                  </a:lnTo>
                  <a:lnTo>
                    <a:pt x="371805" y="481007"/>
                  </a:lnTo>
                  <a:lnTo>
                    <a:pt x="373743" y="480749"/>
                  </a:lnTo>
                  <a:lnTo>
                    <a:pt x="378396" y="481395"/>
                  </a:lnTo>
                  <a:lnTo>
                    <a:pt x="381239" y="480232"/>
                  </a:lnTo>
                  <a:lnTo>
                    <a:pt x="383824" y="479844"/>
                  </a:lnTo>
                  <a:lnTo>
                    <a:pt x="384341" y="479069"/>
                  </a:lnTo>
                  <a:lnTo>
                    <a:pt x="384599" y="478164"/>
                  </a:lnTo>
                  <a:lnTo>
                    <a:pt x="385245" y="477776"/>
                  </a:lnTo>
                  <a:lnTo>
                    <a:pt x="389639" y="476742"/>
                  </a:lnTo>
                  <a:lnTo>
                    <a:pt x="396359" y="476613"/>
                  </a:lnTo>
                  <a:lnTo>
                    <a:pt x="398039" y="476096"/>
                  </a:lnTo>
                  <a:lnTo>
                    <a:pt x="399332" y="474675"/>
                  </a:lnTo>
                  <a:lnTo>
                    <a:pt x="404889" y="464982"/>
                  </a:lnTo>
                  <a:lnTo>
                    <a:pt x="408895" y="459813"/>
                  </a:lnTo>
                  <a:lnTo>
                    <a:pt x="414323" y="456065"/>
                  </a:lnTo>
                  <a:lnTo>
                    <a:pt x="422335" y="454127"/>
                  </a:lnTo>
                  <a:lnTo>
                    <a:pt x="426083" y="454127"/>
                  </a:lnTo>
                  <a:lnTo>
                    <a:pt x="428022" y="454643"/>
                  </a:lnTo>
                  <a:lnTo>
                    <a:pt x="429185" y="454643"/>
                  </a:lnTo>
                  <a:lnTo>
                    <a:pt x="439523" y="442237"/>
                  </a:lnTo>
                  <a:lnTo>
                    <a:pt x="448570" y="432932"/>
                  </a:lnTo>
                  <a:lnTo>
                    <a:pt x="453739" y="425049"/>
                  </a:lnTo>
                  <a:lnTo>
                    <a:pt x="460330" y="413547"/>
                  </a:lnTo>
                  <a:lnTo>
                    <a:pt x="463949" y="403984"/>
                  </a:lnTo>
                  <a:lnTo>
                    <a:pt x="465241" y="402175"/>
                  </a:lnTo>
                  <a:lnTo>
                    <a:pt x="467438" y="400624"/>
                  </a:lnTo>
                  <a:lnTo>
                    <a:pt x="474546" y="396747"/>
                  </a:lnTo>
                  <a:lnTo>
                    <a:pt x="475967" y="395584"/>
                  </a:lnTo>
                  <a:lnTo>
                    <a:pt x="476872" y="394550"/>
                  </a:lnTo>
                  <a:lnTo>
                    <a:pt x="480361" y="385891"/>
                  </a:lnTo>
                  <a:lnTo>
                    <a:pt x="481395" y="384987"/>
                  </a:lnTo>
                  <a:lnTo>
                    <a:pt x="485789" y="380205"/>
                  </a:lnTo>
                  <a:lnTo>
                    <a:pt x="487210" y="379171"/>
                  </a:lnTo>
                  <a:lnTo>
                    <a:pt x="495611" y="375294"/>
                  </a:lnTo>
                  <a:lnTo>
                    <a:pt x="497161" y="374131"/>
                  </a:lnTo>
                  <a:lnTo>
                    <a:pt x="498712" y="372580"/>
                  </a:lnTo>
                  <a:lnTo>
                    <a:pt x="502460" y="366894"/>
                  </a:lnTo>
                  <a:lnTo>
                    <a:pt x="503494" y="365989"/>
                  </a:lnTo>
                  <a:lnTo>
                    <a:pt x="507242" y="364309"/>
                  </a:lnTo>
                  <a:lnTo>
                    <a:pt x="508793" y="360691"/>
                  </a:lnTo>
                  <a:lnTo>
                    <a:pt x="509439" y="356943"/>
                  </a:lnTo>
                  <a:lnTo>
                    <a:pt x="510472" y="355004"/>
                  </a:lnTo>
                  <a:lnTo>
                    <a:pt x="512282" y="358752"/>
                  </a:lnTo>
                  <a:lnTo>
                    <a:pt x="516030" y="358623"/>
                  </a:lnTo>
                  <a:lnTo>
                    <a:pt x="520294" y="355909"/>
                  </a:lnTo>
                  <a:lnTo>
                    <a:pt x="523654" y="352032"/>
                  </a:lnTo>
                  <a:lnTo>
                    <a:pt x="525593" y="348672"/>
                  </a:lnTo>
                  <a:lnTo>
                    <a:pt x="525851" y="347638"/>
                  </a:lnTo>
                  <a:lnTo>
                    <a:pt x="525464" y="346475"/>
                  </a:lnTo>
                  <a:lnTo>
                    <a:pt x="523913" y="344278"/>
                  </a:lnTo>
                  <a:lnTo>
                    <a:pt x="522104" y="342986"/>
                  </a:lnTo>
                  <a:lnTo>
                    <a:pt x="519648" y="342986"/>
                  </a:lnTo>
                  <a:lnTo>
                    <a:pt x="516417" y="345183"/>
                  </a:lnTo>
                  <a:lnTo>
                    <a:pt x="513962" y="344924"/>
                  </a:lnTo>
                  <a:lnTo>
                    <a:pt x="510990" y="345183"/>
                  </a:lnTo>
                  <a:lnTo>
                    <a:pt x="506595" y="346346"/>
                  </a:lnTo>
                  <a:lnTo>
                    <a:pt x="503365" y="345570"/>
                  </a:lnTo>
                  <a:lnTo>
                    <a:pt x="501038" y="346604"/>
                  </a:lnTo>
                  <a:lnTo>
                    <a:pt x="499100" y="345700"/>
                  </a:lnTo>
                  <a:lnTo>
                    <a:pt x="498066" y="344407"/>
                  </a:lnTo>
                  <a:lnTo>
                    <a:pt x="497808" y="342727"/>
                  </a:lnTo>
                  <a:lnTo>
                    <a:pt x="498712" y="342340"/>
                  </a:lnTo>
                  <a:lnTo>
                    <a:pt x="499488" y="342727"/>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8" name="Graphic 2">
              <a:extLst>
                <a:ext uri="{FF2B5EF4-FFF2-40B4-BE49-F238E27FC236}">
                  <a16:creationId xmlns:a16="http://schemas.microsoft.com/office/drawing/2014/main" id="{78F864D6-8A05-ED90-9C4C-7CE512280151}"/>
                </a:ext>
              </a:extLst>
            </p:cNvPr>
            <p:cNvSpPr/>
            <p:nvPr/>
          </p:nvSpPr>
          <p:spPr>
            <a:xfrm>
              <a:off x="7511365" y="2743933"/>
              <a:ext cx="330320" cy="179763"/>
            </a:xfrm>
            <a:custGeom>
              <a:avLst/>
              <a:gdLst>
                <a:gd name="connsiteX0" fmla="*/ 330321 w 330320"/>
                <a:gd name="connsiteY0" fmla="*/ 8659 h 179763"/>
                <a:gd name="connsiteX1" fmla="*/ 328641 w 330320"/>
                <a:gd name="connsiteY1" fmla="*/ 7625 h 179763"/>
                <a:gd name="connsiteX2" fmla="*/ 327607 w 330320"/>
                <a:gd name="connsiteY2" fmla="*/ 7366 h 179763"/>
                <a:gd name="connsiteX3" fmla="*/ 324506 w 330320"/>
                <a:gd name="connsiteY3" fmla="*/ 7496 h 179763"/>
                <a:gd name="connsiteX4" fmla="*/ 313908 w 330320"/>
                <a:gd name="connsiteY4" fmla="*/ 5686 h 179763"/>
                <a:gd name="connsiteX5" fmla="*/ 304345 w 330320"/>
                <a:gd name="connsiteY5" fmla="*/ 5428 h 179763"/>
                <a:gd name="connsiteX6" fmla="*/ 301373 w 330320"/>
                <a:gd name="connsiteY6" fmla="*/ 4135 h 179763"/>
                <a:gd name="connsiteX7" fmla="*/ 297754 w 330320"/>
                <a:gd name="connsiteY7" fmla="*/ 3102 h 179763"/>
                <a:gd name="connsiteX8" fmla="*/ 296720 w 330320"/>
                <a:gd name="connsiteY8" fmla="*/ 2585 h 179763"/>
                <a:gd name="connsiteX9" fmla="*/ 296203 w 330320"/>
                <a:gd name="connsiteY9" fmla="*/ 2068 h 179763"/>
                <a:gd name="connsiteX10" fmla="*/ 295945 w 330320"/>
                <a:gd name="connsiteY10" fmla="*/ 1292 h 179763"/>
                <a:gd name="connsiteX11" fmla="*/ 295816 w 330320"/>
                <a:gd name="connsiteY11" fmla="*/ 646 h 179763"/>
                <a:gd name="connsiteX12" fmla="*/ 295686 w 330320"/>
                <a:gd name="connsiteY12" fmla="*/ 129 h 179763"/>
                <a:gd name="connsiteX13" fmla="*/ 294006 w 330320"/>
                <a:gd name="connsiteY13" fmla="*/ 0 h 179763"/>
                <a:gd name="connsiteX14" fmla="*/ 291551 w 330320"/>
                <a:gd name="connsiteY14" fmla="*/ 388 h 179763"/>
                <a:gd name="connsiteX15" fmla="*/ 280825 w 330320"/>
                <a:gd name="connsiteY15" fmla="*/ 3360 h 179763"/>
                <a:gd name="connsiteX16" fmla="*/ 279015 w 330320"/>
                <a:gd name="connsiteY16" fmla="*/ 4135 h 179763"/>
                <a:gd name="connsiteX17" fmla="*/ 271520 w 330320"/>
                <a:gd name="connsiteY17" fmla="*/ 8788 h 179763"/>
                <a:gd name="connsiteX18" fmla="*/ 270357 w 330320"/>
                <a:gd name="connsiteY18" fmla="*/ 9176 h 179763"/>
                <a:gd name="connsiteX19" fmla="*/ 269064 w 330320"/>
                <a:gd name="connsiteY19" fmla="*/ 9434 h 179763"/>
                <a:gd name="connsiteX20" fmla="*/ 266997 w 330320"/>
                <a:gd name="connsiteY20" fmla="*/ 9046 h 179763"/>
                <a:gd name="connsiteX21" fmla="*/ 264153 w 330320"/>
                <a:gd name="connsiteY21" fmla="*/ 7754 h 179763"/>
                <a:gd name="connsiteX22" fmla="*/ 262086 w 330320"/>
                <a:gd name="connsiteY22" fmla="*/ 7108 h 179763"/>
                <a:gd name="connsiteX23" fmla="*/ 261052 w 330320"/>
                <a:gd name="connsiteY23" fmla="*/ 6462 h 179763"/>
                <a:gd name="connsiteX24" fmla="*/ 260794 w 330320"/>
                <a:gd name="connsiteY24" fmla="*/ 5428 h 179763"/>
                <a:gd name="connsiteX25" fmla="*/ 260923 w 330320"/>
                <a:gd name="connsiteY25" fmla="*/ 4652 h 179763"/>
                <a:gd name="connsiteX26" fmla="*/ 260535 w 330320"/>
                <a:gd name="connsiteY26" fmla="*/ 4006 h 179763"/>
                <a:gd name="connsiteX27" fmla="*/ 259113 w 330320"/>
                <a:gd name="connsiteY27" fmla="*/ 3877 h 179763"/>
                <a:gd name="connsiteX28" fmla="*/ 256787 w 330320"/>
                <a:gd name="connsiteY28" fmla="*/ 4394 h 179763"/>
                <a:gd name="connsiteX29" fmla="*/ 251747 w 330320"/>
                <a:gd name="connsiteY29" fmla="*/ 4652 h 179763"/>
                <a:gd name="connsiteX30" fmla="*/ 248775 w 330320"/>
                <a:gd name="connsiteY30" fmla="*/ 5299 h 179763"/>
                <a:gd name="connsiteX31" fmla="*/ 243735 w 330320"/>
                <a:gd name="connsiteY31" fmla="*/ 7496 h 179763"/>
                <a:gd name="connsiteX32" fmla="*/ 242184 w 330320"/>
                <a:gd name="connsiteY32" fmla="*/ 8013 h 179763"/>
                <a:gd name="connsiteX33" fmla="*/ 240891 w 330320"/>
                <a:gd name="connsiteY33" fmla="*/ 7625 h 179763"/>
                <a:gd name="connsiteX34" fmla="*/ 239728 w 330320"/>
                <a:gd name="connsiteY34" fmla="*/ 6203 h 179763"/>
                <a:gd name="connsiteX35" fmla="*/ 238565 w 330320"/>
                <a:gd name="connsiteY35" fmla="*/ 6333 h 179763"/>
                <a:gd name="connsiteX36" fmla="*/ 237661 w 330320"/>
                <a:gd name="connsiteY36" fmla="*/ 6591 h 179763"/>
                <a:gd name="connsiteX37" fmla="*/ 231845 w 330320"/>
                <a:gd name="connsiteY37" fmla="*/ 10726 h 179763"/>
                <a:gd name="connsiteX38" fmla="*/ 229648 w 330320"/>
                <a:gd name="connsiteY38" fmla="*/ 13182 h 179763"/>
                <a:gd name="connsiteX39" fmla="*/ 227063 w 330320"/>
                <a:gd name="connsiteY39" fmla="*/ 14216 h 179763"/>
                <a:gd name="connsiteX40" fmla="*/ 226288 w 330320"/>
                <a:gd name="connsiteY40" fmla="*/ 14733 h 179763"/>
                <a:gd name="connsiteX41" fmla="*/ 226288 w 330320"/>
                <a:gd name="connsiteY41" fmla="*/ 15508 h 179763"/>
                <a:gd name="connsiteX42" fmla="*/ 226546 w 330320"/>
                <a:gd name="connsiteY42" fmla="*/ 16413 h 179763"/>
                <a:gd name="connsiteX43" fmla="*/ 227063 w 330320"/>
                <a:gd name="connsiteY43" fmla="*/ 17188 h 179763"/>
                <a:gd name="connsiteX44" fmla="*/ 227193 w 330320"/>
                <a:gd name="connsiteY44" fmla="*/ 17705 h 179763"/>
                <a:gd name="connsiteX45" fmla="*/ 227322 w 330320"/>
                <a:gd name="connsiteY45" fmla="*/ 18093 h 179763"/>
                <a:gd name="connsiteX46" fmla="*/ 226934 w 330320"/>
                <a:gd name="connsiteY46" fmla="*/ 18739 h 179763"/>
                <a:gd name="connsiteX47" fmla="*/ 226159 w 330320"/>
                <a:gd name="connsiteY47" fmla="*/ 19644 h 179763"/>
                <a:gd name="connsiteX48" fmla="*/ 213752 w 330320"/>
                <a:gd name="connsiteY48" fmla="*/ 27268 h 179763"/>
                <a:gd name="connsiteX49" fmla="*/ 212848 w 330320"/>
                <a:gd name="connsiteY49" fmla="*/ 28302 h 179763"/>
                <a:gd name="connsiteX50" fmla="*/ 212460 w 330320"/>
                <a:gd name="connsiteY50" fmla="*/ 29853 h 179763"/>
                <a:gd name="connsiteX51" fmla="*/ 211426 w 330320"/>
                <a:gd name="connsiteY51" fmla="*/ 31791 h 179763"/>
                <a:gd name="connsiteX52" fmla="*/ 210909 w 330320"/>
                <a:gd name="connsiteY52" fmla="*/ 33213 h 179763"/>
                <a:gd name="connsiteX53" fmla="*/ 202251 w 330320"/>
                <a:gd name="connsiteY53" fmla="*/ 39675 h 179763"/>
                <a:gd name="connsiteX54" fmla="*/ 192300 w 330320"/>
                <a:gd name="connsiteY54" fmla="*/ 40450 h 179763"/>
                <a:gd name="connsiteX55" fmla="*/ 190878 w 330320"/>
                <a:gd name="connsiteY55" fmla="*/ 40838 h 179763"/>
                <a:gd name="connsiteX56" fmla="*/ 189069 w 330320"/>
                <a:gd name="connsiteY56" fmla="*/ 41872 h 179763"/>
                <a:gd name="connsiteX57" fmla="*/ 185321 w 330320"/>
                <a:gd name="connsiteY57" fmla="*/ 44456 h 179763"/>
                <a:gd name="connsiteX58" fmla="*/ 181573 w 330320"/>
                <a:gd name="connsiteY58" fmla="*/ 46136 h 179763"/>
                <a:gd name="connsiteX59" fmla="*/ 179247 w 330320"/>
                <a:gd name="connsiteY59" fmla="*/ 47687 h 179763"/>
                <a:gd name="connsiteX60" fmla="*/ 178343 w 330320"/>
                <a:gd name="connsiteY60" fmla="*/ 48721 h 179763"/>
                <a:gd name="connsiteX61" fmla="*/ 177308 w 330320"/>
                <a:gd name="connsiteY61" fmla="*/ 49496 h 179763"/>
                <a:gd name="connsiteX62" fmla="*/ 176016 w 330320"/>
                <a:gd name="connsiteY62" fmla="*/ 50013 h 179763"/>
                <a:gd name="connsiteX63" fmla="*/ 174336 w 330320"/>
                <a:gd name="connsiteY63" fmla="*/ 49755 h 179763"/>
                <a:gd name="connsiteX64" fmla="*/ 171751 w 330320"/>
                <a:gd name="connsiteY64" fmla="*/ 48592 h 179763"/>
                <a:gd name="connsiteX65" fmla="*/ 170588 w 330320"/>
                <a:gd name="connsiteY65" fmla="*/ 48204 h 179763"/>
                <a:gd name="connsiteX66" fmla="*/ 169425 w 330320"/>
                <a:gd name="connsiteY66" fmla="*/ 48075 h 179763"/>
                <a:gd name="connsiteX67" fmla="*/ 150299 w 330320"/>
                <a:gd name="connsiteY67" fmla="*/ 46395 h 179763"/>
                <a:gd name="connsiteX68" fmla="*/ 147714 w 330320"/>
                <a:gd name="connsiteY68" fmla="*/ 46653 h 179763"/>
                <a:gd name="connsiteX69" fmla="*/ 145259 w 330320"/>
                <a:gd name="connsiteY69" fmla="*/ 47170 h 179763"/>
                <a:gd name="connsiteX70" fmla="*/ 142545 w 330320"/>
                <a:gd name="connsiteY70" fmla="*/ 49238 h 179763"/>
                <a:gd name="connsiteX71" fmla="*/ 138797 w 330320"/>
                <a:gd name="connsiteY71" fmla="*/ 56346 h 179763"/>
                <a:gd name="connsiteX72" fmla="*/ 136988 w 330320"/>
                <a:gd name="connsiteY72" fmla="*/ 55700 h 179763"/>
                <a:gd name="connsiteX73" fmla="*/ 135954 w 330320"/>
                <a:gd name="connsiteY73" fmla="*/ 54924 h 179763"/>
                <a:gd name="connsiteX74" fmla="*/ 132335 w 330320"/>
                <a:gd name="connsiteY74" fmla="*/ 50918 h 179763"/>
                <a:gd name="connsiteX75" fmla="*/ 129621 w 330320"/>
                <a:gd name="connsiteY75" fmla="*/ 49496 h 179763"/>
                <a:gd name="connsiteX76" fmla="*/ 126649 w 330320"/>
                <a:gd name="connsiteY76" fmla="*/ 48592 h 179763"/>
                <a:gd name="connsiteX77" fmla="*/ 120058 w 330320"/>
                <a:gd name="connsiteY77" fmla="*/ 47558 h 179763"/>
                <a:gd name="connsiteX78" fmla="*/ 118766 w 330320"/>
                <a:gd name="connsiteY78" fmla="*/ 47170 h 179763"/>
                <a:gd name="connsiteX79" fmla="*/ 112692 w 330320"/>
                <a:gd name="connsiteY79" fmla="*/ 44069 h 179763"/>
                <a:gd name="connsiteX80" fmla="*/ 90205 w 330320"/>
                <a:gd name="connsiteY80" fmla="*/ 22616 h 179763"/>
                <a:gd name="connsiteX81" fmla="*/ 85424 w 330320"/>
                <a:gd name="connsiteY81" fmla="*/ 19773 h 179763"/>
                <a:gd name="connsiteX82" fmla="*/ 84261 w 330320"/>
                <a:gd name="connsiteY82" fmla="*/ 19256 h 179763"/>
                <a:gd name="connsiteX83" fmla="*/ 81546 w 330320"/>
                <a:gd name="connsiteY83" fmla="*/ 18480 h 179763"/>
                <a:gd name="connsiteX84" fmla="*/ 80513 w 330320"/>
                <a:gd name="connsiteY84" fmla="*/ 17705 h 179763"/>
                <a:gd name="connsiteX85" fmla="*/ 79737 w 330320"/>
                <a:gd name="connsiteY85" fmla="*/ 16671 h 179763"/>
                <a:gd name="connsiteX86" fmla="*/ 78574 w 330320"/>
                <a:gd name="connsiteY86" fmla="*/ 14474 h 179763"/>
                <a:gd name="connsiteX87" fmla="*/ 76636 w 330320"/>
                <a:gd name="connsiteY87" fmla="*/ 11890 h 179763"/>
                <a:gd name="connsiteX88" fmla="*/ 74697 w 330320"/>
                <a:gd name="connsiteY88" fmla="*/ 11760 h 179763"/>
                <a:gd name="connsiteX89" fmla="*/ 72241 w 330320"/>
                <a:gd name="connsiteY89" fmla="*/ 11890 h 179763"/>
                <a:gd name="connsiteX90" fmla="*/ 70820 w 330320"/>
                <a:gd name="connsiteY90" fmla="*/ 12277 h 179763"/>
                <a:gd name="connsiteX91" fmla="*/ 69528 w 330320"/>
                <a:gd name="connsiteY91" fmla="*/ 12923 h 179763"/>
                <a:gd name="connsiteX92" fmla="*/ 65004 w 330320"/>
                <a:gd name="connsiteY92" fmla="*/ 16154 h 179763"/>
                <a:gd name="connsiteX93" fmla="*/ 63583 w 330320"/>
                <a:gd name="connsiteY93" fmla="*/ 16671 h 179763"/>
                <a:gd name="connsiteX94" fmla="*/ 61645 w 330320"/>
                <a:gd name="connsiteY94" fmla="*/ 16800 h 179763"/>
                <a:gd name="connsiteX95" fmla="*/ 60352 w 330320"/>
                <a:gd name="connsiteY95" fmla="*/ 16283 h 179763"/>
                <a:gd name="connsiteX96" fmla="*/ 59189 w 330320"/>
                <a:gd name="connsiteY96" fmla="*/ 15637 h 179763"/>
                <a:gd name="connsiteX97" fmla="*/ 58543 w 330320"/>
                <a:gd name="connsiteY97" fmla="*/ 14603 h 179763"/>
                <a:gd name="connsiteX98" fmla="*/ 58155 w 330320"/>
                <a:gd name="connsiteY98" fmla="*/ 13570 h 179763"/>
                <a:gd name="connsiteX99" fmla="*/ 57767 w 330320"/>
                <a:gd name="connsiteY99" fmla="*/ 12406 h 179763"/>
                <a:gd name="connsiteX100" fmla="*/ 57767 w 330320"/>
                <a:gd name="connsiteY100" fmla="*/ 11373 h 179763"/>
                <a:gd name="connsiteX101" fmla="*/ 57380 w 330320"/>
                <a:gd name="connsiteY101" fmla="*/ 10339 h 179763"/>
                <a:gd name="connsiteX102" fmla="*/ 55441 w 330320"/>
                <a:gd name="connsiteY102" fmla="*/ 7883 h 179763"/>
                <a:gd name="connsiteX103" fmla="*/ 54924 w 330320"/>
                <a:gd name="connsiteY103" fmla="*/ 6979 h 179763"/>
                <a:gd name="connsiteX104" fmla="*/ 54666 w 330320"/>
                <a:gd name="connsiteY104" fmla="*/ 6203 h 179763"/>
                <a:gd name="connsiteX105" fmla="*/ 54149 w 330320"/>
                <a:gd name="connsiteY105" fmla="*/ 5299 h 179763"/>
                <a:gd name="connsiteX106" fmla="*/ 52081 w 330320"/>
                <a:gd name="connsiteY106" fmla="*/ 3102 h 179763"/>
                <a:gd name="connsiteX107" fmla="*/ 51047 w 330320"/>
                <a:gd name="connsiteY107" fmla="*/ 2843 h 179763"/>
                <a:gd name="connsiteX108" fmla="*/ 49755 w 330320"/>
                <a:gd name="connsiteY108" fmla="*/ 3231 h 179763"/>
                <a:gd name="connsiteX109" fmla="*/ 46395 w 330320"/>
                <a:gd name="connsiteY109" fmla="*/ 5557 h 179763"/>
                <a:gd name="connsiteX110" fmla="*/ 45619 w 330320"/>
                <a:gd name="connsiteY110" fmla="*/ 6591 h 179763"/>
                <a:gd name="connsiteX111" fmla="*/ 45619 w 330320"/>
                <a:gd name="connsiteY111" fmla="*/ 7496 h 179763"/>
                <a:gd name="connsiteX112" fmla="*/ 45619 w 330320"/>
                <a:gd name="connsiteY112" fmla="*/ 8659 h 179763"/>
                <a:gd name="connsiteX113" fmla="*/ 44973 w 330320"/>
                <a:gd name="connsiteY113" fmla="*/ 11502 h 179763"/>
                <a:gd name="connsiteX114" fmla="*/ 44973 w 330320"/>
                <a:gd name="connsiteY114" fmla="*/ 12665 h 179763"/>
                <a:gd name="connsiteX115" fmla="*/ 45103 w 330320"/>
                <a:gd name="connsiteY115" fmla="*/ 14474 h 179763"/>
                <a:gd name="connsiteX116" fmla="*/ 44973 w 330320"/>
                <a:gd name="connsiteY116" fmla="*/ 15508 h 179763"/>
                <a:gd name="connsiteX117" fmla="*/ 44327 w 330320"/>
                <a:gd name="connsiteY117" fmla="*/ 17059 h 179763"/>
                <a:gd name="connsiteX118" fmla="*/ 43035 w 330320"/>
                <a:gd name="connsiteY118" fmla="*/ 18739 h 179763"/>
                <a:gd name="connsiteX119" fmla="*/ 40062 w 330320"/>
                <a:gd name="connsiteY119" fmla="*/ 21453 h 179763"/>
                <a:gd name="connsiteX120" fmla="*/ 36186 w 330320"/>
                <a:gd name="connsiteY120" fmla="*/ 24037 h 179763"/>
                <a:gd name="connsiteX121" fmla="*/ 32308 w 330320"/>
                <a:gd name="connsiteY121" fmla="*/ 27914 h 179763"/>
                <a:gd name="connsiteX122" fmla="*/ 28561 w 330320"/>
                <a:gd name="connsiteY122" fmla="*/ 33342 h 179763"/>
                <a:gd name="connsiteX123" fmla="*/ 25588 w 330320"/>
                <a:gd name="connsiteY123" fmla="*/ 35152 h 179763"/>
                <a:gd name="connsiteX124" fmla="*/ 19514 w 330320"/>
                <a:gd name="connsiteY124" fmla="*/ 36832 h 179763"/>
                <a:gd name="connsiteX125" fmla="*/ 15379 w 330320"/>
                <a:gd name="connsiteY125" fmla="*/ 37865 h 179763"/>
                <a:gd name="connsiteX126" fmla="*/ 14216 w 330320"/>
                <a:gd name="connsiteY126" fmla="*/ 38770 h 179763"/>
                <a:gd name="connsiteX127" fmla="*/ 12923 w 330320"/>
                <a:gd name="connsiteY127" fmla="*/ 39933 h 179763"/>
                <a:gd name="connsiteX128" fmla="*/ 11114 w 330320"/>
                <a:gd name="connsiteY128" fmla="*/ 42518 h 179763"/>
                <a:gd name="connsiteX129" fmla="*/ 8788 w 330320"/>
                <a:gd name="connsiteY129" fmla="*/ 46653 h 179763"/>
                <a:gd name="connsiteX130" fmla="*/ 5040 w 330320"/>
                <a:gd name="connsiteY130" fmla="*/ 50272 h 179763"/>
                <a:gd name="connsiteX131" fmla="*/ 0 w 330320"/>
                <a:gd name="connsiteY131" fmla="*/ 53503 h 179763"/>
                <a:gd name="connsiteX132" fmla="*/ 3231 w 330320"/>
                <a:gd name="connsiteY132" fmla="*/ 60223 h 179763"/>
                <a:gd name="connsiteX133" fmla="*/ 3748 w 330320"/>
                <a:gd name="connsiteY133" fmla="*/ 61515 h 179763"/>
                <a:gd name="connsiteX134" fmla="*/ 3748 w 330320"/>
                <a:gd name="connsiteY134" fmla="*/ 62032 h 179763"/>
                <a:gd name="connsiteX135" fmla="*/ 4006 w 330320"/>
                <a:gd name="connsiteY135" fmla="*/ 62420 h 179763"/>
                <a:gd name="connsiteX136" fmla="*/ 4782 w 330320"/>
                <a:gd name="connsiteY136" fmla="*/ 63195 h 179763"/>
                <a:gd name="connsiteX137" fmla="*/ 5816 w 330320"/>
                <a:gd name="connsiteY137" fmla="*/ 63841 h 179763"/>
                <a:gd name="connsiteX138" fmla="*/ 6979 w 330320"/>
                <a:gd name="connsiteY138" fmla="*/ 64358 h 179763"/>
                <a:gd name="connsiteX139" fmla="*/ 8271 w 330320"/>
                <a:gd name="connsiteY139" fmla="*/ 64617 h 179763"/>
                <a:gd name="connsiteX140" fmla="*/ 12148 w 330320"/>
                <a:gd name="connsiteY140" fmla="*/ 64875 h 179763"/>
                <a:gd name="connsiteX141" fmla="*/ 14086 w 330320"/>
                <a:gd name="connsiteY141" fmla="*/ 65263 h 179763"/>
                <a:gd name="connsiteX142" fmla="*/ 15767 w 330320"/>
                <a:gd name="connsiteY142" fmla="*/ 65909 h 179763"/>
                <a:gd name="connsiteX143" fmla="*/ 17317 w 330320"/>
                <a:gd name="connsiteY143" fmla="*/ 66814 h 179763"/>
                <a:gd name="connsiteX144" fmla="*/ 22875 w 330320"/>
                <a:gd name="connsiteY144" fmla="*/ 68881 h 179763"/>
                <a:gd name="connsiteX145" fmla="*/ 23779 w 330320"/>
                <a:gd name="connsiteY145" fmla="*/ 69528 h 179763"/>
                <a:gd name="connsiteX146" fmla="*/ 24038 w 330320"/>
                <a:gd name="connsiteY146" fmla="*/ 71466 h 179763"/>
                <a:gd name="connsiteX147" fmla="*/ 24555 w 330320"/>
                <a:gd name="connsiteY147" fmla="*/ 73275 h 179763"/>
                <a:gd name="connsiteX148" fmla="*/ 25459 w 330320"/>
                <a:gd name="connsiteY148" fmla="*/ 74697 h 179763"/>
                <a:gd name="connsiteX149" fmla="*/ 26751 w 330320"/>
                <a:gd name="connsiteY149" fmla="*/ 75731 h 179763"/>
                <a:gd name="connsiteX150" fmla="*/ 36315 w 330320"/>
                <a:gd name="connsiteY150" fmla="*/ 77928 h 179763"/>
                <a:gd name="connsiteX151" fmla="*/ 37866 w 330320"/>
                <a:gd name="connsiteY151" fmla="*/ 79091 h 179763"/>
                <a:gd name="connsiteX152" fmla="*/ 39416 w 330320"/>
                <a:gd name="connsiteY152" fmla="*/ 80771 h 179763"/>
                <a:gd name="connsiteX153" fmla="*/ 42776 w 330320"/>
                <a:gd name="connsiteY153" fmla="*/ 82063 h 179763"/>
                <a:gd name="connsiteX154" fmla="*/ 46007 w 330320"/>
                <a:gd name="connsiteY154" fmla="*/ 83873 h 179763"/>
                <a:gd name="connsiteX155" fmla="*/ 47300 w 330320"/>
                <a:gd name="connsiteY155" fmla="*/ 86845 h 179763"/>
                <a:gd name="connsiteX156" fmla="*/ 49755 w 330320"/>
                <a:gd name="connsiteY156" fmla="*/ 86070 h 179763"/>
                <a:gd name="connsiteX157" fmla="*/ 57251 w 330320"/>
                <a:gd name="connsiteY157" fmla="*/ 86845 h 179763"/>
                <a:gd name="connsiteX158" fmla="*/ 59835 w 330320"/>
                <a:gd name="connsiteY158" fmla="*/ 87620 h 179763"/>
                <a:gd name="connsiteX159" fmla="*/ 62808 w 330320"/>
                <a:gd name="connsiteY159" fmla="*/ 91110 h 179763"/>
                <a:gd name="connsiteX160" fmla="*/ 65909 w 330320"/>
                <a:gd name="connsiteY160" fmla="*/ 92531 h 179763"/>
                <a:gd name="connsiteX161" fmla="*/ 71595 w 330320"/>
                <a:gd name="connsiteY161" fmla="*/ 96408 h 179763"/>
                <a:gd name="connsiteX162" fmla="*/ 73922 w 330320"/>
                <a:gd name="connsiteY162" fmla="*/ 97184 h 179763"/>
                <a:gd name="connsiteX163" fmla="*/ 76636 w 330320"/>
                <a:gd name="connsiteY163" fmla="*/ 97830 h 179763"/>
                <a:gd name="connsiteX164" fmla="*/ 79350 w 330320"/>
                <a:gd name="connsiteY164" fmla="*/ 97959 h 179763"/>
                <a:gd name="connsiteX165" fmla="*/ 81805 w 330320"/>
                <a:gd name="connsiteY165" fmla="*/ 97184 h 179763"/>
                <a:gd name="connsiteX166" fmla="*/ 85424 w 330320"/>
                <a:gd name="connsiteY166" fmla="*/ 98993 h 179763"/>
                <a:gd name="connsiteX167" fmla="*/ 93824 w 330320"/>
                <a:gd name="connsiteY167" fmla="*/ 101319 h 179763"/>
                <a:gd name="connsiteX168" fmla="*/ 97959 w 330320"/>
                <a:gd name="connsiteY168" fmla="*/ 103128 h 179763"/>
                <a:gd name="connsiteX169" fmla="*/ 100415 w 330320"/>
                <a:gd name="connsiteY169" fmla="*/ 104679 h 179763"/>
                <a:gd name="connsiteX170" fmla="*/ 105713 w 330320"/>
                <a:gd name="connsiteY170" fmla="*/ 110107 h 179763"/>
                <a:gd name="connsiteX171" fmla="*/ 106359 w 330320"/>
                <a:gd name="connsiteY171" fmla="*/ 111012 h 179763"/>
                <a:gd name="connsiteX172" fmla="*/ 107264 w 330320"/>
                <a:gd name="connsiteY172" fmla="*/ 112950 h 179763"/>
                <a:gd name="connsiteX173" fmla="*/ 107781 w 330320"/>
                <a:gd name="connsiteY173" fmla="*/ 113855 h 179763"/>
                <a:gd name="connsiteX174" fmla="*/ 109202 w 330320"/>
                <a:gd name="connsiteY174" fmla="*/ 114630 h 179763"/>
                <a:gd name="connsiteX175" fmla="*/ 110236 w 330320"/>
                <a:gd name="connsiteY175" fmla="*/ 114630 h 179763"/>
                <a:gd name="connsiteX176" fmla="*/ 111400 w 330320"/>
                <a:gd name="connsiteY176" fmla="*/ 114372 h 179763"/>
                <a:gd name="connsiteX177" fmla="*/ 112692 w 330320"/>
                <a:gd name="connsiteY177" fmla="*/ 114242 h 179763"/>
                <a:gd name="connsiteX178" fmla="*/ 116698 w 330320"/>
                <a:gd name="connsiteY178" fmla="*/ 115018 h 179763"/>
                <a:gd name="connsiteX179" fmla="*/ 119541 w 330320"/>
                <a:gd name="connsiteY179" fmla="*/ 116569 h 179763"/>
                <a:gd name="connsiteX180" fmla="*/ 125744 w 330320"/>
                <a:gd name="connsiteY180" fmla="*/ 121996 h 179763"/>
                <a:gd name="connsiteX181" fmla="*/ 127683 w 330320"/>
                <a:gd name="connsiteY181" fmla="*/ 123160 h 179763"/>
                <a:gd name="connsiteX182" fmla="*/ 129880 w 330320"/>
                <a:gd name="connsiteY182" fmla="*/ 123676 h 179763"/>
                <a:gd name="connsiteX183" fmla="*/ 132077 w 330320"/>
                <a:gd name="connsiteY183" fmla="*/ 122643 h 179763"/>
                <a:gd name="connsiteX184" fmla="*/ 134016 w 330320"/>
                <a:gd name="connsiteY184" fmla="*/ 122255 h 179763"/>
                <a:gd name="connsiteX185" fmla="*/ 135954 w 330320"/>
                <a:gd name="connsiteY185" fmla="*/ 123547 h 179763"/>
                <a:gd name="connsiteX186" fmla="*/ 137505 w 330320"/>
                <a:gd name="connsiteY186" fmla="*/ 125486 h 179763"/>
                <a:gd name="connsiteX187" fmla="*/ 138280 w 330320"/>
                <a:gd name="connsiteY187" fmla="*/ 127424 h 179763"/>
                <a:gd name="connsiteX188" fmla="*/ 139055 w 330320"/>
                <a:gd name="connsiteY188" fmla="*/ 136729 h 179763"/>
                <a:gd name="connsiteX189" fmla="*/ 139572 w 330320"/>
                <a:gd name="connsiteY189" fmla="*/ 138668 h 179763"/>
                <a:gd name="connsiteX190" fmla="*/ 140865 w 330320"/>
                <a:gd name="connsiteY190" fmla="*/ 139572 h 179763"/>
                <a:gd name="connsiteX191" fmla="*/ 144871 w 330320"/>
                <a:gd name="connsiteY191" fmla="*/ 140865 h 179763"/>
                <a:gd name="connsiteX192" fmla="*/ 146422 w 330320"/>
                <a:gd name="connsiteY192" fmla="*/ 141898 h 179763"/>
                <a:gd name="connsiteX193" fmla="*/ 148102 w 330320"/>
                <a:gd name="connsiteY193" fmla="*/ 143837 h 179763"/>
                <a:gd name="connsiteX194" fmla="*/ 149523 w 330320"/>
                <a:gd name="connsiteY194" fmla="*/ 145905 h 179763"/>
                <a:gd name="connsiteX195" fmla="*/ 150040 w 330320"/>
                <a:gd name="connsiteY195" fmla="*/ 147843 h 179763"/>
                <a:gd name="connsiteX196" fmla="*/ 151074 w 330320"/>
                <a:gd name="connsiteY196" fmla="*/ 148877 h 179763"/>
                <a:gd name="connsiteX197" fmla="*/ 153271 w 330320"/>
                <a:gd name="connsiteY197" fmla="*/ 149653 h 179763"/>
                <a:gd name="connsiteX198" fmla="*/ 157407 w 330320"/>
                <a:gd name="connsiteY198" fmla="*/ 150428 h 179763"/>
                <a:gd name="connsiteX199" fmla="*/ 158699 w 330320"/>
                <a:gd name="connsiteY199" fmla="*/ 151332 h 179763"/>
                <a:gd name="connsiteX200" fmla="*/ 161542 w 330320"/>
                <a:gd name="connsiteY200" fmla="*/ 153788 h 179763"/>
                <a:gd name="connsiteX201" fmla="*/ 165677 w 330320"/>
                <a:gd name="connsiteY201" fmla="*/ 155468 h 179763"/>
                <a:gd name="connsiteX202" fmla="*/ 166582 w 330320"/>
                <a:gd name="connsiteY202" fmla="*/ 155597 h 179763"/>
                <a:gd name="connsiteX203" fmla="*/ 167228 w 330320"/>
                <a:gd name="connsiteY203" fmla="*/ 155339 h 179763"/>
                <a:gd name="connsiteX204" fmla="*/ 169167 w 330320"/>
                <a:gd name="connsiteY204" fmla="*/ 153400 h 179763"/>
                <a:gd name="connsiteX205" fmla="*/ 171364 w 330320"/>
                <a:gd name="connsiteY205" fmla="*/ 152754 h 179763"/>
                <a:gd name="connsiteX206" fmla="*/ 172786 w 330320"/>
                <a:gd name="connsiteY206" fmla="*/ 153142 h 179763"/>
                <a:gd name="connsiteX207" fmla="*/ 176662 w 330320"/>
                <a:gd name="connsiteY207" fmla="*/ 157536 h 179763"/>
                <a:gd name="connsiteX208" fmla="*/ 177955 w 330320"/>
                <a:gd name="connsiteY208" fmla="*/ 159474 h 179763"/>
                <a:gd name="connsiteX209" fmla="*/ 178859 w 330320"/>
                <a:gd name="connsiteY209" fmla="*/ 161671 h 179763"/>
                <a:gd name="connsiteX210" fmla="*/ 179376 w 330320"/>
                <a:gd name="connsiteY210" fmla="*/ 163868 h 179763"/>
                <a:gd name="connsiteX211" fmla="*/ 178601 w 330320"/>
                <a:gd name="connsiteY211" fmla="*/ 167874 h 179763"/>
                <a:gd name="connsiteX212" fmla="*/ 178601 w 330320"/>
                <a:gd name="connsiteY212" fmla="*/ 170201 h 179763"/>
                <a:gd name="connsiteX213" fmla="*/ 179764 w 330320"/>
                <a:gd name="connsiteY213" fmla="*/ 171235 h 179763"/>
                <a:gd name="connsiteX214" fmla="*/ 183382 w 330320"/>
                <a:gd name="connsiteY214" fmla="*/ 171105 h 179763"/>
                <a:gd name="connsiteX215" fmla="*/ 189586 w 330320"/>
                <a:gd name="connsiteY215" fmla="*/ 169684 h 179763"/>
                <a:gd name="connsiteX216" fmla="*/ 190619 w 330320"/>
                <a:gd name="connsiteY216" fmla="*/ 170201 h 179763"/>
                <a:gd name="connsiteX217" fmla="*/ 192946 w 330320"/>
                <a:gd name="connsiteY217" fmla="*/ 171881 h 179763"/>
                <a:gd name="connsiteX218" fmla="*/ 193592 w 330320"/>
                <a:gd name="connsiteY218" fmla="*/ 172914 h 179763"/>
                <a:gd name="connsiteX219" fmla="*/ 194884 w 330320"/>
                <a:gd name="connsiteY219" fmla="*/ 177825 h 179763"/>
                <a:gd name="connsiteX220" fmla="*/ 195789 w 330320"/>
                <a:gd name="connsiteY220" fmla="*/ 179764 h 179763"/>
                <a:gd name="connsiteX221" fmla="*/ 207937 w 330320"/>
                <a:gd name="connsiteY221" fmla="*/ 163868 h 179763"/>
                <a:gd name="connsiteX222" fmla="*/ 208325 w 330320"/>
                <a:gd name="connsiteY222" fmla="*/ 162964 h 179763"/>
                <a:gd name="connsiteX223" fmla="*/ 208195 w 330320"/>
                <a:gd name="connsiteY223" fmla="*/ 162447 h 179763"/>
                <a:gd name="connsiteX224" fmla="*/ 208066 w 330320"/>
                <a:gd name="connsiteY224" fmla="*/ 161671 h 179763"/>
                <a:gd name="connsiteX225" fmla="*/ 207937 w 330320"/>
                <a:gd name="connsiteY225" fmla="*/ 160379 h 179763"/>
                <a:gd name="connsiteX226" fmla="*/ 208325 w 330320"/>
                <a:gd name="connsiteY226" fmla="*/ 157923 h 179763"/>
                <a:gd name="connsiteX227" fmla="*/ 209229 w 330320"/>
                <a:gd name="connsiteY227" fmla="*/ 156114 h 179763"/>
                <a:gd name="connsiteX228" fmla="*/ 212331 w 330320"/>
                <a:gd name="connsiteY228" fmla="*/ 152625 h 179763"/>
                <a:gd name="connsiteX229" fmla="*/ 224091 w 330320"/>
                <a:gd name="connsiteY229" fmla="*/ 143061 h 179763"/>
                <a:gd name="connsiteX230" fmla="*/ 229519 w 330320"/>
                <a:gd name="connsiteY230" fmla="*/ 135954 h 179763"/>
                <a:gd name="connsiteX231" fmla="*/ 233783 w 330320"/>
                <a:gd name="connsiteY231" fmla="*/ 134274 h 179763"/>
                <a:gd name="connsiteX232" fmla="*/ 235335 w 330320"/>
                <a:gd name="connsiteY232" fmla="*/ 132723 h 179763"/>
                <a:gd name="connsiteX233" fmla="*/ 238953 w 330320"/>
                <a:gd name="connsiteY233" fmla="*/ 125357 h 179763"/>
                <a:gd name="connsiteX234" fmla="*/ 240116 w 330320"/>
                <a:gd name="connsiteY234" fmla="*/ 123676 h 179763"/>
                <a:gd name="connsiteX235" fmla="*/ 241279 w 330320"/>
                <a:gd name="connsiteY235" fmla="*/ 123030 h 179763"/>
                <a:gd name="connsiteX236" fmla="*/ 242055 w 330320"/>
                <a:gd name="connsiteY236" fmla="*/ 122126 h 179763"/>
                <a:gd name="connsiteX237" fmla="*/ 244639 w 330320"/>
                <a:gd name="connsiteY237" fmla="*/ 116439 h 179763"/>
                <a:gd name="connsiteX238" fmla="*/ 249550 w 330320"/>
                <a:gd name="connsiteY238" fmla="*/ 112692 h 179763"/>
                <a:gd name="connsiteX239" fmla="*/ 251747 w 330320"/>
                <a:gd name="connsiteY239" fmla="*/ 110236 h 179763"/>
                <a:gd name="connsiteX240" fmla="*/ 253944 w 330320"/>
                <a:gd name="connsiteY240" fmla="*/ 103516 h 179763"/>
                <a:gd name="connsiteX241" fmla="*/ 259501 w 330320"/>
                <a:gd name="connsiteY241" fmla="*/ 98217 h 179763"/>
                <a:gd name="connsiteX242" fmla="*/ 260794 w 330320"/>
                <a:gd name="connsiteY242" fmla="*/ 95633 h 179763"/>
                <a:gd name="connsiteX243" fmla="*/ 260018 w 330320"/>
                <a:gd name="connsiteY243" fmla="*/ 96796 h 179763"/>
                <a:gd name="connsiteX244" fmla="*/ 258467 w 330320"/>
                <a:gd name="connsiteY244" fmla="*/ 97313 h 179763"/>
                <a:gd name="connsiteX245" fmla="*/ 254978 w 330320"/>
                <a:gd name="connsiteY245" fmla="*/ 97830 h 179763"/>
                <a:gd name="connsiteX246" fmla="*/ 254590 w 330320"/>
                <a:gd name="connsiteY246" fmla="*/ 98476 h 179763"/>
                <a:gd name="connsiteX247" fmla="*/ 254461 w 330320"/>
                <a:gd name="connsiteY247" fmla="*/ 99381 h 179763"/>
                <a:gd name="connsiteX248" fmla="*/ 254073 w 330320"/>
                <a:gd name="connsiteY248" fmla="*/ 99898 h 179763"/>
                <a:gd name="connsiteX249" fmla="*/ 252781 w 330320"/>
                <a:gd name="connsiteY249" fmla="*/ 99381 h 179763"/>
                <a:gd name="connsiteX250" fmla="*/ 252135 w 330320"/>
                <a:gd name="connsiteY250" fmla="*/ 98734 h 179763"/>
                <a:gd name="connsiteX251" fmla="*/ 249679 w 330320"/>
                <a:gd name="connsiteY251" fmla="*/ 90334 h 179763"/>
                <a:gd name="connsiteX252" fmla="*/ 249033 w 330320"/>
                <a:gd name="connsiteY252" fmla="*/ 89042 h 179763"/>
                <a:gd name="connsiteX253" fmla="*/ 247483 w 330320"/>
                <a:gd name="connsiteY253" fmla="*/ 87620 h 179763"/>
                <a:gd name="connsiteX254" fmla="*/ 244381 w 330320"/>
                <a:gd name="connsiteY254" fmla="*/ 85553 h 179763"/>
                <a:gd name="connsiteX255" fmla="*/ 243218 w 330320"/>
                <a:gd name="connsiteY255" fmla="*/ 83743 h 179763"/>
                <a:gd name="connsiteX256" fmla="*/ 245415 w 330320"/>
                <a:gd name="connsiteY256" fmla="*/ 82580 h 179763"/>
                <a:gd name="connsiteX257" fmla="*/ 247870 w 330320"/>
                <a:gd name="connsiteY257" fmla="*/ 83485 h 179763"/>
                <a:gd name="connsiteX258" fmla="*/ 249292 w 330320"/>
                <a:gd name="connsiteY258" fmla="*/ 85294 h 179763"/>
                <a:gd name="connsiteX259" fmla="*/ 249033 w 330320"/>
                <a:gd name="connsiteY259" fmla="*/ 86845 h 179763"/>
                <a:gd name="connsiteX260" fmla="*/ 252393 w 330320"/>
                <a:gd name="connsiteY260" fmla="*/ 92014 h 179763"/>
                <a:gd name="connsiteX261" fmla="*/ 252393 w 330320"/>
                <a:gd name="connsiteY261" fmla="*/ 93048 h 179763"/>
                <a:gd name="connsiteX262" fmla="*/ 253298 w 330320"/>
                <a:gd name="connsiteY262" fmla="*/ 95374 h 179763"/>
                <a:gd name="connsiteX263" fmla="*/ 254461 w 330320"/>
                <a:gd name="connsiteY263" fmla="*/ 97184 h 179763"/>
                <a:gd name="connsiteX264" fmla="*/ 254978 w 330320"/>
                <a:gd name="connsiteY264" fmla="*/ 96796 h 179763"/>
                <a:gd name="connsiteX265" fmla="*/ 259630 w 330320"/>
                <a:gd name="connsiteY265" fmla="*/ 92014 h 179763"/>
                <a:gd name="connsiteX266" fmla="*/ 260406 w 330320"/>
                <a:gd name="connsiteY266" fmla="*/ 91756 h 179763"/>
                <a:gd name="connsiteX267" fmla="*/ 261181 w 330320"/>
                <a:gd name="connsiteY267" fmla="*/ 91110 h 179763"/>
                <a:gd name="connsiteX268" fmla="*/ 261569 w 330320"/>
                <a:gd name="connsiteY268" fmla="*/ 90076 h 179763"/>
                <a:gd name="connsiteX269" fmla="*/ 261569 w 330320"/>
                <a:gd name="connsiteY269" fmla="*/ 87233 h 179763"/>
                <a:gd name="connsiteX270" fmla="*/ 261181 w 330320"/>
                <a:gd name="connsiteY270" fmla="*/ 85811 h 179763"/>
                <a:gd name="connsiteX271" fmla="*/ 259501 w 330320"/>
                <a:gd name="connsiteY271" fmla="*/ 83097 h 179763"/>
                <a:gd name="connsiteX272" fmla="*/ 259372 w 330320"/>
                <a:gd name="connsiteY272" fmla="*/ 82451 h 179763"/>
                <a:gd name="connsiteX273" fmla="*/ 260664 w 330320"/>
                <a:gd name="connsiteY273" fmla="*/ 81029 h 179763"/>
                <a:gd name="connsiteX274" fmla="*/ 262086 w 330320"/>
                <a:gd name="connsiteY274" fmla="*/ 81417 h 179763"/>
                <a:gd name="connsiteX275" fmla="*/ 263507 w 330320"/>
                <a:gd name="connsiteY275" fmla="*/ 82709 h 179763"/>
                <a:gd name="connsiteX276" fmla="*/ 264412 w 330320"/>
                <a:gd name="connsiteY276" fmla="*/ 83743 h 179763"/>
                <a:gd name="connsiteX277" fmla="*/ 266351 w 330320"/>
                <a:gd name="connsiteY277" fmla="*/ 87103 h 179763"/>
                <a:gd name="connsiteX278" fmla="*/ 266092 w 330320"/>
                <a:gd name="connsiteY278" fmla="*/ 89042 h 179763"/>
                <a:gd name="connsiteX279" fmla="*/ 264541 w 330320"/>
                <a:gd name="connsiteY279" fmla="*/ 90851 h 179763"/>
                <a:gd name="connsiteX280" fmla="*/ 262990 w 330320"/>
                <a:gd name="connsiteY280" fmla="*/ 93436 h 179763"/>
                <a:gd name="connsiteX281" fmla="*/ 264800 w 330320"/>
                <a:gd name="connsiteY281" fmla="*/ 92014 h 179763"/>
                <a:gd name="connsiteX282" fmla="*/ 265704 w 330320"/>
                <a:gd name="connsiteY282" fmla="*/ 91497 h 179763"/>
                <a:gd name="connsiteX283" fmla="*/ 266738 w 330320"/>
                <a:gd name="connsiteY283" fmla="*/ 91239 h 179763"/>
                <a:gd name="connsiteX284" fmla="*/ 269323 w 330320"/>
                <a:gd name="connsiteY284" fmla="*/ 90980 h 179763"/>
                <a:gd name="connsiteX285" fmla="*/ 270357 w 330320"/>
                <a:gd name="connsiteY285" fmla="*/ 90722 h 179763"/>
                <a:gd name="connsiteX286" fmla="*/ 271778 w 330320"/>
                <a:gd name="connsiteY286" fmla="*/ 90463 h 179763"/>
                <a:gd name="connsiteX287" fmla="*/ 273975 w 330320"/>
                <a:gd name="connsiteY287" fmla="*/ 83614 h 179763"/>
                <a:gd name="connsiteX288" fmla="*/ 275914 w 330320"/>
                <a:gd name="connsiteY288" fmla="*/ 80125 h 179763"/>
                <a:gd name="connsiteX289" fmla="*/ 278757 w 330320"/>
                <a:gd name="connsiteY289" fmla="*/ 78703 h 179763"/>
                <a:gd name="connsiteX290" fmla="*/ 283926 w 330320"/>
                <a:gd name="connsiteY290" fmla="*/ 75343 h 179763"/>
                <a:gd name="connsiteX291" fmla="*/ 284831 w 330320"/>
                <a:gd name="connsiteY291" fmla="*/ 74309 h 179763"/>
                <a:gd name="connsiteX292" fmla="*/ 293490 w 330320"/>
                <a:gd name="connsiteY292" fmla="*/ 61515 h 179763"/>
                <a:gd name="connsiteX293" fmla="*/ 293748 w 330320"/>
                <a:gd name="connsiteY293" fmla="*/ 59835 h 179763"/>
                <a:gd name="connsiteX294" fmla="*/ 294653 w 330320"/>
                <a:gd name="connsiteY294" fmla="*/ 57638 h 179763"/>
                <a:gd name="connsiteX295" fmla="*/ 296720 w 330320"/>
                <a:gd name="connsiteY295" fmla="*/ 55312 h 179763"/>
                <a:gd name="connsiteX296" fmla="*/ 299434 w 330320"/>
                <a:gd name="connsiteY296" fmla="*/ 53374 h 179763"/>
                <a:gd name="connsiteX297" fmla="*/ 301890 w 330320"/>
                <a:gd name="connsiteY297" fmla="*/ 52081 h 179763"/>
                <a:gd name="connsiteX298" fmla="*/ 301890 w 330320"/>
                <a:gd name="connsiteY298" fmla="*/ 52857 h 179763"/>
                <a:gd name="connsiteX299" fmla="*/ 304216 w 330320"/>
                <a:gd name="connsiteY299" fmla="*/ 50918 h 179763"/>
                <a:gd name="connsiteX300" fmla="*/ 313650 w 330320"/>
                <a:gd name="connsiteY300" fmla="*/ 38770 h 179763"/>
                <a:gd name="connsiteX301" fmla="*/ 315330 w 330320"/>
                <a:gd name="connsiteY301" fmla="*/ 34505 h 179763"/>
                <a:gd name="connsiteX302" fmla="*/ 318432 w 330320"/>
                <a:gd name="connsiteY302" fmla="*/ 30241 h 179763"/>
                <a:gd name="connsiteX303" fmla="*/ 321404 w 330320"/>
                <a:gd name="connsiteY303" fmla="*/ 23133 h 179763"/>
                <a:gd name="connsiteX304" fmla="*/ 326056 w 330320"/>
                <a:gd name="connsiteY304" fmla="*/ 16930 h 179763"/>
                <a:gd name="connsiteX305" fmla="*/ 330321 w 330320"/>
                <a:gd name="connsiteY305" fmla="*/ 8659 h 17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330320" h="179763">
                  <a:moveTo>
                    <a:pt x="330321" y="8659"/>
                  </a:moveTo>
                  <a:lnTo>
                    <a:pt x="328641" y="7625"/>
                  </a:lnTo>
                  <a:lnTo>
                    <a:pt x="327607" y="7366"/>
                  </a:lnTo>
                  <a:lnTo>
                    <a:pt x="324506" y="7496"/>
                  </a:lnTo>
                  <a:lnTo>
                    <a:pt x="313908" y="5686"/>
                  </a:lnTo>
                  <a:lnTo>
                    <a:pt x="304345" y="5428"/>
                  </a:lnTo>
                  <a:lnTo>
                    <a:pt x="301373" y="4135"/>
                  </a:lnTo>
                  <a:lnTo>
                    <a:pt x="297754" y="3102"/>
                  </a:lnTo>
                  <a:lnTo>
                    <a:pt x="296720" y="2585"/>
                  </a:lnTo>
                  <a:lnTo>
                    <a:pt x="296203" y="2068"/>
                  </a:lnTo>
                  <a:lnTo>
                    <a:pt x="295945" y="1292"/>
                  </a:lnTo>
                  <a:lnTo>
                    <a:pt x="295816" y="646"/>
                  </a:lnTo>
                  <a:lnTo>
                    <a:pt x="295686" y="129"/>
                  </a:lnTo>
                  <a:lnTo>
                    <a:pt x="294006" y="0"/>
                  </a:lnTo>
                  <a:lnTo>
                    <a:pt x="291551" y="388"/>
                  </a:lnTo>
                  <a:lnTo>
                    <a:pt x="280825" y="3360"/>
                  </a:lnTo>
                  <a:lnTo>
                    <a:pt x="279015" y="4135"/>
                  </a:lnTo>
                  <a:lnTo>
                    <a:pt x="271520" y="8788"/>
                  </a:lnTo>
                  <a:lnTo>
                    <a:pt x="270357" y="9176"/>
                  </a:lnTo>
                  <a:lnTo>
                    <a:pt x="269064" y="9434"/>
                  </a:lnTo>
                  <a:lnTo>
                    <a:pt x="266997" y="9046"/>
                  </a:lnTo>
                  <a:lnTo>
                    <a:pt x="264153" y="7754"/>
                  </a:lnTo>
                  <a:lnTo>
                    <a:pt x="262086" y="7108"/>
                  </a:lnTo>
                  <a:lnTo>
                    <a:pt x="261052" y="6462"/>
                  </a:lnTo>
                  <a:lnTo>
                    <a:pt x="260794" y="5428"/>
                  </a:lnTo>
                  <a:lnTo>
                    <a:pt x="260923" y="4652"/>
                  </a:lnTo>
                  <a:lnTo>
                    <a:pt x="260535" y="4006"/>
                  </a:lnTo>
                  <a:lnTo>
                    <a:pt x="259113" y="3877"/>
                  </a:lnTo>
                  <a:lnTo>
                    <a:pt x="256787" y="4394"/>
                  </a:lnTo>
                  <a:lnTo>
                    <a:pt x="251747" y="4652"/>
                  </a:lnTo>
                  <a:lnTo>
                    <a:pt x="248775" y="5299"/>
                  </a:lnTo>
                  <a:lnTo>
                    <a:pt x="243735" y="7496"/>
                  </a:lnTo>
                  <a:lnTo>
                    <a:pt x="242184" y="8013"/>
                  </a:lnTo>
                  <a:lnTo>
                    <a:pt x="240891" y="7625"/>
                  </a:lnTo>
                  <a:lnTo>
                    <a:pt x="239728" y="6203"/>
                  </a:lnTo>
                  <a:lnTo>
                    <a:pt x="238565" y="6333"/>
                  </a:lnTo>
                  <a:lnTo>
                    <a:pt x="237661" y="6591"/>
                  </a:lnTo>
                  <a:lnTo>
                    <a:pt x="231845" y="10726"/>
                  </a:lnTo>
                  <a:lnTo>
                    <a:pt x="229648" y="13182"/>
                  </a:lnTo>
                  <a:lnTo>
                    <a:pt x="227063" y="14216"/>
                  </a:lnTo>
                  <a:lnTo>
                    <a:pt x="226288" y="14733"/>
                  </a:lnTo>
                  <a:lnTo>
                    <a:pt x="226288" y="15508"/>
                  </a:lnTo>
                  <a:lnTo>
                    <a:pt x="226546" y="16413"/>
                  </a:lnTo>
                  <a:lnTo>
                    <a:pt x="227063" y="17188"/>
                  </a:lnTo>
                  <a:lnTo>
                    <a:pt x="227193" y="17705"/>
                  </a:lnTo>
                  <a:lnTo>
                    <a:pt x="227322" y="18093"/>
                  </a:lnTo>
                  <a:lnTo>
                    <a:pt x="226934" y="18739"/>
                  </a:lnTo>
                  <a:lnTo>
                    <a:pt x="226159" y="19644"/>
                  </a:lnTo>
                  <a:lnTo>
                    <a:pt x="213752" y="27268"/>
                  </a:lnTo>
                  <a:lnTo>
                    <a:pt x="212848" y="28302"/>
                  </a:lnTo>
                  <a:lnTo>
                    <a:pt x="212460" y="29853"/>
                  </a:lnTo>
                  <a:lnTo>
                    <a:pt x="211426" y="31791"/>
                  </a:lnTo>
                  <a:lnTo>
                    <a:pt x="210909" y="33213"/>
                  </a:lnTo>
                  <a:lnTo>
                    <a:pt x="202251" y="39675"/>
                  </a:lnTo>
                  <a:lnTo>
                    <a:pt x="192300" y="40450"/>
                  </a:lnTo>
                  <a:lnTo>
                    <a:pt x="190878" y="40838"/>
                  </a:lnTo>
                  <a:lnTo>
                    <a:pt x="189069" y="41872"/>
                  </a:lnTo>
                  <a:lnTo>
                    <a:pt x="185321" y="44456"/>
                  </a:lnTo>
                  <a:lnTo>
                    <a:pt x="181573" y="46136"/>
                  </a:lnTo>
                  <a:lnTo>
                    <a:pt x="179247" y="47687"/>
                  </a:lnTo>
                  <a:lnTo>
                    <a:pt x="178343" y="48721"/>
                  </a:lnTo>
                  <a:lnTo>
                    <a:pt x="177308" y="49496"/>
                  </a:lnTo>
                  <a:lnTo>
                    <a:pt x="176016" y="50013"/>
                  </a:lnTo>
                  <a:lnTo>
                    <a:pt x="174336" y="49755"/>
                  </a:lnTo>
                  <a:lnTo>
                    <a:pt x="171751" y="48592"/>
                  </a:lnTo>
                  <a:lnTo>
                    <a:pt x="170588" y="48204"/>
                  </a:lnTo>
                  <a:lnTo>
                    <a:pt x="169425" y="48075"/>
                  </a:lnTo>
                  <a:lnTo>
                    <a:pt x="150299" y="46395"/>
                  </a:lnTo>
                  <a:lnTo>
                    <a:pt x="147714" y="46653"/>
                  </a:lnTo>
                  <a:lnTo>
                    <a:pt x="145259" y="47170"/>
                  </a:lnTo>
                  <a:lnTo>
                    <a:pt x="142545" y="49238"/>
                  </a:lnTo>
                  <a:lnTo>
                    <a:pt x="138797" y="56346"/>
                  </a:lnTo>
                  <a:lnTo>
                    <a:pt x="136988" y="55700"/>
                  </a:lnTo>
                  <a:lnTo>
                    <a:pt x="135954" y="54924"/>
                  </a:lnTo>
                  <a:lnTo>
                    <a:pt x="132335" y="50918"/>
                  </a:lnTo>
                  <a:lnTo>
                    <a:pt x="129621" y="49496"/>
                  </a:lnTo>
                  <a:lnTo>
                    <a:pt x="126649" y="48592"/>
                  </a:lnTo>
                  <a:lnTo>
                    <a:pt x="120058" y="47558"/>
                  </a:lnTo>
                  <a:lnTo>
                    <a:pt x="118766" y="47170"/>
                  </a:lnTo>
                  <a:lnTo>
                    <a:pt x="112692" y="44069"/>
                  </a:lnTo>
                  <a:lnTo>
                    <a:pt x="90205" y="22616"/>
                  </a:lnTo>
                  <a:lnTo>
                    <a:pt x="85424" y="19773"/>
                  </a:lnTo>
                  <a:lnTo>
                    <a:pt x="84261" y="19256"/>
                  </a:lnTo>
                  <a:lnTo>
                    <a:pt x="81546" y="18480"/>
                  </a:lnTo>
                  <a:lnTo>
                    <a:pt x="80513" y="17705"/>
                  </a:lnTo>
                  <a:lnTo>
                    <a:pt x="79737" y="16671"/>
                  </a:lnTo>
                  <a:lnTo>
                    <a:pt x="78574" y="14474"/>
                  </a:lnTo>
                  <a:lnTo>
                    <a:pt x="76636" y="11890"/>
                  </a:lnTo>
                  <a:lnTo>
                    <a:pt x="74697" y="11760"/>
                  </a:lnTo>
                  <a:lnTo>
                    <a:pt x="72241" y="11890"/>
                  </a:lnTo>
                  <a:lnTo>
                    <a:pt x="70820" y="12277"/>
                  </a:lnTo>
                  <a:lnTo>
                    <a:pt x="69528" y="12923"/>
                  </a:lnTo>
                  <a:lnTo>
                    <a:pt x="65004" y="16154"/>
                  </a:lnTo>
                  <a:lnTo>
                    <a:pt x="63583" y="16671"/>
                  </a:lnTo>
                  <a:lnTo>
                    <a:pt x="61645" y="16800"/>
                  </a:lnTo>
                  <a:lnTo>
                    <a:pt x="60352" y="16283"/>
                  </a:lnTo>
                  <a:lnTo>
                    <a:pt x="59189" y="15637"/>
                  </a:lnTo>
                  <a:lnTo>
                    <a:pt x="58543" y="14603"/>
                  </a:lnTo>
                  <a:lnTo>
                    <a:pt x="58155" y="13570"/>
                  </a:lnTo>
                  <a:lnTo>
                    <a:pt x="57767" y="12406"/>
                  </a:lnTo>
                  <a:lnTo>
                    <a:pt x="57767" y="11373"/>
                  </a:lnTo>
                  <a:lnTo>
                    <a:pt x="57380" y="10339"/>
                  </a:lnTo>
                  <a:lnTo>
                    <a:pt x="55441" y="7883"/>
                  </a:lnTo>
                  <a:lnTo>
                    <a:pt x="54924" y="6979"/>
                  </a:lnTo>
                  <a:lnTo>
                    <a:pt x="54666" y="6203"/>
                  </a:lnTo>
                  <a:lnTo>
                    <a:pt x="54149" y="5299"/>
                  </a:lnTo>
                  <a:lnTo>
                    <a:pt x="52081" y="3102"/>
                  </a:lnTo>
                  <a:lnTo>
                    <a:pt x="51047" y="2843"/>
                  </a:lnTo>
                  <a:lnTo>
                    <a:pt x="49755" y="3231"/>
                  </a:lnTo>
                  <a:lnTo>
                    <a:pt x="46395" y="5557"/>
                  </a:lnTo>
                  <a:lnTo>
                    <a:pt x="45619" y="6591"/>
                  </a:lnTo>
                  <a:lnTo>
                    <a:pt x="45619" y="7496"/>
                  </a:lnTo>
                  <a:lnTo>
                    <a:pt x="45619" y="8659"/>
                  </a:lnTo>
                  <a:lnTo>
                    <a:pt x="44973" y="11502"/>
                  </a:lnTo>
                  <a:lnTo>
                    <a:pt x="44973" y="12665"/>
                  </a:lnTo>
                  <a:lnTo>
                    <a:pt x="45103" y="14474"/>
                  </a:lnTo>
                  <a:lnTo>
                    <a:pt x="44973" y="15508"/>
                  </a:lnTo>
                  <a:lnTo>
                    <a:pt x="44327" y="17059"/>
                  </a:lnTo>
                  <a:lnTo>
                    <a:pt x="43035" y="18739"/>
                  </a:lnTo>
                  <a:lnTo>
                    <a:pt x="40062" y="21453"/>
                  </a:lnTo>
                  <a:lnTo>
                    <a:pt x="36186" y="24037"/>
                  </a:lnTo>
                  <a:lnTo>
                    <a:pt x="32308" y="27914"/>
                  </a:lnTo>
                  <a:lnTo>
                    <a:pt x="28561" y="33342"/>
                  </a:lnTo>
                  <a:lnTo>
                    <a:pt x="25588" y="35152"/>
                  </a:lnTo>
                  <a:lnTo>
                    <a:pt x="19514" y="36832"/>
                  </a:lnTo>
                  <a:lnTo>
                    <a:pt x="15379" y="37865"/>
                  </a:lnTo>
                  <a:lnTo>
                    <a:pt x="14216" y="38770"/>
                  </a:lnTo>
                  <a:lnTo>
                    <a:pt x="12923" y="39933"/>
                  </a:lnTo>
                  <a:lnTo>
                    <a:pt x="11114" y="42518"/>
                  </a:lnTo>
                  <a:lnTo>
                    <a:pt x="8788" y="46653"/>
                  </a:lnTo>
                  <a:lnTo>
                    <a:pt x="5040" y="50272"/>
                  </a:lnTo>
                  <a:lnTo>
                    <a:pt x="0" y="53503"/>
                  </a:lnTo>
                  <a:lnTo>
                    <a:pt x="3231" y="60223"/>
                  </a:lnTo>
                  <a:lnTo>
                    <a:pt x="3748" y="61515"/>
                  </a:lnTo>
                  <a:lnTo>
                    <a:pt x="3748" y="62032"/>
                  </a:lnTo>
                  <a:lnTo>
                    <a:pt x="4006" y="62420"/>
                  </a:lnTo>
                  <a:lnTo>
                    <a:pt x="4782" y="63195"/>
                  </a:lnTo>
                  <a:lnTo>
                    <a:pt x="5816" y="63841"/>
                  </a:lnTo>
                  <a:lnTo>
                    <a:pt x="6979" y="64358"/>
                  </a:lnTo>
                  <a:lnTo>
                    <a:pt x="8271" y="64617"/>
                  </a:lnTo>
                  <a:lnTo>
                    <a:pt x="12148" y="64875"/>
                  </a:lnTo>
                  <a:lnTo>
                    <a:pt x="14086" y="65263"/>
                  </a:lnTo>
                  <a:lnTo>
                    <a:pt x="15767" y="65909"/>
                  </a:lnTo>
                  <a:lnTo>
                    <a:pt x="17317" y="66814"/>
                  </a:lnTo>
                  <a:lnTo>
                    <a:pt x="22875" y="68881"/>
                  </a:lnTo>
                  <a:lnTo>
                    <a:pt x="23779" y="69528"/>
                  </a:lnTo>
                  <a:lnTo>
                    <a:pt x="24038" y="71466"/>
                  </a:lnTo>
                  <a:lnTo>
                    <a:pt x="24555" y="73275"/>
                  </a:lnTo>
                  <a:lnTo>
                    <a:pt x="25459" y="74697"/>
                  </a:lnTo>
                  <a:lnTo>
                    <a:pt x="26751" y="75731"/>
                  </a:lnTo>
                  <a:lnTo>
                    <a:pt x="36315" y="77928"/>
                  </a:lnTo>
                  <a:lnTo>
                    <a:pt x="37866" y="79091"/>
                  </a:lnTo>
                  <a:lnTo>
                    <a:pt x="39416" y="80771"/>
                  </a:lnTo>
                  <a:lnTo>
                    <a:pt x="42776" y="82063"/>
                  </a:lnTo>
                  <a:lnTo>
                    <a:pt x="46007" y="83873"/>
                  </a:lnTo>
                  <a:lnTo>
                    <a:pt x="47300" y="86845"/>
                  </a:lnTo>
                  <a:lnTo>
                    <a:pt x="49755" y="86070"/>
                  </a:lnTo>
                  <a:lnTo>
                    <a:pt x="57251" y="86845"/>
                  </a:lnTo>
                  <a:lnTo>
                    <a:pt x="59835" y="87620"/>
                  </a:lnTo>
                  <a:lnTo>
                    <a:pt x="62808" y="91110"/>
                  </a:lnTo>
                  <a:lnTo>
                    <a:pt x="65909" y="92531"/>
                  </a:lnTo>
                  <a:lnTo>
                    <a:pt x="71595" y="96408"/>
                  </a:lnTo>
                  <a:lnTo>
                    <a:pt x="73922" y="97184"/>
                  </a:lnTo>
                  <a:lnTo>
                    <a:pt x="76636" y="97830"/>
                  </a:lnTo>
                  <a:lnTo>
                    <a:pt x="79350" y="97959"/>
                  </a:lnTo>
                  <a:lnTo>
                    <a:pt x="81805" y="97184"/>
                  </a:lnTo>
                  <a:lnTo>
                    <a:pt x="85424" y="98993"/>
                  </a:lnTo>
                  <a:lnTo>
                    <a:pt x="93824" y="101319"/>
                  </a:lnTo>
                  <a:lnTo>
                    <a:pt x="97959" y="103128"/>
                  </a:lnTo>
                  <a:lnTo>
                    <a:pt x="100415" y="104679"/>
                  </a:lnTo>
                  <a:lnTo>
                    <a:pt x="105713" y="110107"/>
                  </a:lnTo>
                  <a:lnTo>
                    <a:pt x="106359" y="111012"/>
                  </a:lnTo>
                  <a:lnTo>
                    <a:pt x="107264" y="112950"/>
                  </a:lnTo>
                  <a:lnTo>
                    <a:pt x="107781" y="113855"/>
                  </a:lnTo>
                  <a:lnTo>
                    <a:pt x="109202" y="114630"/>
                  </a:lnTo>
                  <a:lnTo>
                    <a:pt x="110236" y="114630"/>
                  </a:lnTo>
                  <a:lnTo>
                    <a:pt x="111400" y="114372"/>
                  </a:lnTo>
                  <a:lnTo>
                    <a:pt x="112692" y="114242"/>
                  </a:lnTo>
                  <a:lnTo>
                    <a:pt x="116698" y="115018"/>
                  </a:lnTo>
                  <a:lnTo>
                    <a:pt x="119541" y="116569"/>
                  </a:lnTo>
                  <a:lnTo>
                    <a:pt x="125744" y="121996"/>
                  </a:lnTo>
                  <a:lnTo>
                    <a:pt x="127683" y="123160"/>
                  </a:lnTo>
                  <a:lnTo>
                    <a:pt x="129880" y="123676"/>
                  </a:lnTo>
                  <a:lnTo>
                    <a:pt x="132077" y="122643"/>
                  </a:lnTo>
                  <a:lnTo>
                    <a:pt x="134016" y="122255"/>
                  </a:lnTo>
                  <a:lnTo>
                    <a:pt x="135954" y="123547"/>
                  </a:lnTo>
                  <a:lnTo>
                    <a:pt x="137505" y="125486"/>
                  </a:lnTo>
                  <a:lnTo>
                    <a:pt x="138280" y="127424"/>
                  </a:lnTo>
                  <a:lnTo>
                    <a:pt x="139055" y="136729"/>
                  </a:lnTo>
                  <a:lnTo>
                    <a:pt x="139572" y="138668"/>
                  </a:lnTo>
                  <a:lnTo>
                    <a:pt x="140865" y="139572"/>
                  </a:lnTo>
                  <a:lnTo>
                    <a:pt x="144871" y="140865"/>
                  </a:lnTo>
                  <a:lnTo>
                    <a:pt x="146422" y="141898"/>
                  </a:lnTo>
                  <a:lnTo>
                    <a:pt x="148102" y="143837"/>
                  </a:lnTo>
                  <a:lnTo>
                    <a:pt x="149523" y="145905"/>
                  </a:lnTo>
                  <a:lnTo>
                    <a:pt x="150040" y="147843"/>
                  </a:lnTo>
                  <a:lnTo>
                    <a:pt x="151074" y="148877"/>
                  </a:lnTo>
                  <a:lnTo>
                    <a:pt x="153271" y="149653"/>
                  </a:lnTo>
                  <a:lnTo>
                    <a:pt x="157407" y="150428"/>
                  </a:lnTo>
                  <a:lnTo>
                    <a:pt x="158699" y="151332"/>
                  </a:lnTo>
                  <a:lnTo>
                    <a:pt x="161542" y="153788"/>
                  </a:lnTo>
                  <a:lnTo>
                    <a:pt x="165677" y="155468"/>
                  </a:lnTo>
                  <a:lnTo>
                    <a:pt x="166582" y="155597"/>
                  </a:lnTo>
                  <a:lnTo>
                    <a:pt x="167228" y="155339"/>
                  </a:lnTo>
                  <a:lnTo>
                    <a:pt x="169167" y="153400"/>
                  </a:lnTo>
                  <a:lnTo>
                    <a:pt x="171364" y="152754"/>
                  </a:lnTo>
                  <a:lnTo>
                    <a:pt x="172786" y="153142"/>
                  </a:lnTo>
                  <a:lnTo>
                    <a:pt x="176662" y="157536"/>
                  </a:lnTo>
                  <a:lnTo>
                    <a:pt x="177955" y="159474"/>
                  </a:lnTo>
                  <a:lnTo>
                    <a:pt x="178859" y="161671"/>
                  </a:lnTo>
                  <a:lnTo>
                    <a:pt x="179376" y="163868"/>
                  </a:lnTo>
                  <a:lnTo>
                    <a:pt x="178601" y="167874"/>
                  </a:lnTo>
                  <a:lnTo>
                    <a:pt x="178601" y="170201"/>
                  </a:lnTo>
                  <a:lnTo>
                    <a:pt x="179764" y="171235"/>
                  </a:lnTo>
                  <a:lnTo>
                    <a:pt x="183382" y="171105"/>
                  </a:lnTo>
                  <a:lnTo>
                    <a:pt x="189586" y="169684"/>
                  </a:lnTo>
                  <a:lnTo>
                    <a:pt x="190619" y="170201"/>
                  </a:lnTo>
                  <a:lnTo>
                    <a:pt x="192946" y="171881"/>
                  </a:lnTo>
                  <a:lnTo>
                    <a:pt x="193592" y="172914"/>
                  </a:lnTo>
                  <a:lnTo>
                    <a:pt x="194884" y="177825"/>
                  </a:lnTo>
                  <a:lnTo>
                    <a:pt x="195789" y="179764"/>
                  </a:lnTo>
                  <a:lnTo>
                    <a:pt x="207937" y="163868"/>
                  </a:lnTo>
                  <a:lnTo>
                    <a:pt x="208325" y="162964"/>
                  </a:lnTo>
                  <a:lnTo>
                    <a:pt x="208195" y="162447"/>
                  </a:lnTo>
                  <a:lnTo>
                    <a:pt x="208066" y="161671"/>
                  </a:lnTo>
                  <a:lnTo>
                    <a:pt x="207937" y="160379"/>
                  </a:lnTo>
                  <a:lnTo>
                    <a:pt x="208325" y="157923"/>
                  </a:lnTo>
                  <a:lnTo>
                    <a:pt x="209229" y="156114"/>
                  </a:lnTo>
                  <a:lnTo>
                    <a:pt x="212331" y="152625"/>
                  </a:lnTo>
                  <a:lnTo>
                    <a:pt x="224091" y="143061"/>
                  </a:lnTo>
                  <a:lnTo>
                    <a:pt x="229519" y="135954"/>
                  </a:lnTo>
                  <a:lnTo>
                    <a:pt x="233783" y="134274"/>
                  </a:lnTo>
                  <a:lnTo>
                    <a:pt x="235335" y="132723"/>
                  </a:lnTo>
                  <a:lnTo>
                    <a:pt x="238953" y="125357"/>
                  </a:lnTo>
                  <a:lnTo>
                    <a:pt x="240116" y="123676"/>
                  </a:lnTo>
                  <a:lnTo>
                    <a:pt x="241279" y="123030"/>
                  </a:lnTo>
                  <a:lnTo>
                    <a:pt x="242055" y="122126"/>
                  </a:lnTo>
                  <a:lnTo>
                    <a:pt x="244639" y="116439"/>
                  </a:lnTo>
                  <a:lnTo>
                    <a:pt x="249550" y="112692"/>
                  </a:lnTo>
                  <a:lnTo>
                    <a:pt x="251747" y="110236"/>
                  </a:lnTo>
                  <a:lnTo>
                    <a:pt x="253944" y="103516"/>
                  </a:lnTo>
                  <a:lnTo>
                    <a:pt x="259501" y="98217"/>
                  </a:lnTo>
                  <a:lnTo>
                    <a:pt x="260794" y="95633"/>
                  </a:lnTo>
                  <a:lnTo>
                    <a:pt x="260018" y="96796"/>
                  </a:lnTo>
                  <a:lnTo>
                    <a:pt x="258467" y="97313"/>
                  </a:lnTo>
                  <a:lnTo>
                    <a:pt x="254978" y="97830"/>
                  </a:lnTo>
                  <a:lnTo>
                    <a:pt x="254590" y="98476"/>
                  </a:lnTo>
                  <a:lnTo>
                    <a:pt x="254461" y="99381"/>
                  </a:lnTo>
                  <a:lnTo>
                    <a:pt x="254073" y="99898"/>
                  </a:lnTo>
                  <a:lnTo>
                    <a:pt x="252781" y="99381"/>
                  </a:lnTo>
                  <a:lnTo>
                    <a:pt x="252135" y="98734"/>
                  </a:lnTo>
                  <a:lnTo>
                    <a:pt x="249679" y="90334"/>
                  </a:lnTo>
                  <a:lnTo>
                    <a:pt x="249033" y="89042"/>
                  </a:lnTo>
                  <a:lnTo>
                    <a:pt x="247483" y="87620"/>
                  </a:lnTo>
                  <a:lnTo>
                    <a:pt x="244381" y="85553"/>
                  </a:lnTo>
                  <a:lnTo>
                    <a:pt x="243218" y="83743"/>
                  </a:lnTo>
                  <a:lnTo>
                    <a:pt x="245415" y="82580"/>
                  </a:lnTo>
                  <a:lnTo>
                    <a:pt x="247870" y="83485"/>
                  </a:lnTo>
                  <a:lnTo>
                    <a:pt x="249292" y="85294"/>
                  </a:lnTo>
                  <a:lnTo>
                    <a:pt x="249033" y="86845"/>
                  </a:lnTo>
                  <a:lnTo>
                    <a:pt x="252393" y="92014"/>
                  </a:lnTo>
                  <a:lnTo>
                    <a:pt x="252393" y="93048"/>
                  </a:lnTo>
                  <a:lnTo>
                    <a:pt x="253298" y="95374"/>
                  </a:lnTo>
                  <a:lnTo>
                    <a:pt x="254461" y="97184"/>
                  </a:lnTo>
                  <a:lnTo>
                    <a:pt x="254978" y="96796"/>
                  </a:lnTo>
                  <a:lnTo>
                    <a:pt x="259630" y="92014"/>
                  </a:lnTo>
                  <a:lnTo>
                    <a:pt x="260406" y="91756"/>
                  </a:lnTo>
                  <a:lnTo>
                    <a:pt x="261181" y="91110"/>
                  </a:lnTo>
                  <a:lnTo>
                    <a:pt x="261569" y="90076"/>
                  </a:lnTo>
                  <a:lnTo>
                    <a:pt x="261569" y="87233"/>
                  </a:lnTo>
                  <a:lnTo>
                    <a:pt x="261181" y="85811"/>
                  </a:lnTo>
                  <a:lnTo>
                    <a:pt x="259501" y="83097"/>
                  </a:lnTo>
                  <a:lnTo>
                    <a:pt x="259372" y="82451"/>
                  </a:lnTo>
                  <a:lnTo>
                    <a:pt x="260664" y="81029"/>
                  </a:lnTo>
                  <a:lnTo>
                    <a:pt x="262086" y="81417"/>
                  </a:lnTo>
                  <a:lnTo>
                    <a:pt x="263507" y="82709"/>
                  </a:lnTo>
                  <a:lnTo>
                    <a:pt x="264412" y="83743"/>
                  </a:lnTo>
                  <a:lnTo>
                    <a:pt x="266351" y="87103"/>
                  </a:lnTo>
                  <a:lnTo>
                    <a:pt x="266092" y="89042"/>
                  </a:lnTo>
                  <a:lnTo>
                    <a:pt x="264541" y="90851"/>
                  </a:lnTo>
                  <a:lnTo>
                    <a:pt x="262990" y="93436"/>
                  </a:lnTo>
                  <a:lnTo>
                    <a:pt x="264800" y="92014"/>
                  </a:lnTo>
                  <a:lnTo>
                    <a:pt x="265704" y="91497"/>
                  </a:lnTo>
                  <a:lnTo>
                    <a:pt x="266738" y="91239"/>
                  </a:lnTo>
                  <a:lnTo>
                    <a:pt x="269323" y="90980"/>
                  </a:lnTo>
                  <a:lnTo>
                    <a:pt x="270357" y="90722"/>
                  </a:lnTo>
                  <a:lnTo>
                    <a:pt x="271778" y="90463"/>
                  </a:lnTo>
                  <a:lnTo>
                    <a:pt x="273975" y="83614"/>
                  </a:lnTo>
                  <a:lnTo>
                    <a:pt x="275914" y="80125"/>
                  </a:lnTo>
                  <a:lnTo>
                    <a:pt x="278757" y="78703"/>
                  </a:lnTo>
                  <a:lnTo>
                    <a:pt x="283926" y="75343"/>
                  </a:lnTo>
                  <a:lnTo>
                    <a:pt x="284831" y="74309"/>
                  </a:lnTo>
                  <a:lnTo>
                    <a:pt x="293490" y="61515"/>
                  </a:lnTo>
                  <a:lnTo>
                    <a:pt x="293748" y="59835"/>
                  </a:lnTo>
                  <a:lnTo>
                    <a:pt x="294653" y="57638"/>
                  </a:lnTo>
                  <a:lnTo>
                    <a:pt x="296720" y="55312"/>
                  </a:lnTo>
                  <a:lnTo>
                    <a:pt x="299434" y="53374"/>
                  </a:lnTo>
                  <a:lnTo>
                    <a:pt x="301890" y="52081"/>
                  </a:lnTo>
                  <a:lnTo>
                    <a:pt x="301890" y="52857"/>
                  </a:lnTo>
                  <a:lnTo>
                    <a:pt x="304216" y="50918"/>
                  </a:lnTo>
                  <a:lnTo>
                    <a:pt x="313650" y="38770"/>
                  </a:lnTo>
                  <a:lnTo>
                    <a:pt x="315330" y="34505"/>
                  </a:lnTo>
                  <a:lnTo>
                    <a:pt x="318432" y="30241"/>
                  </a:lnTo>
                  <a:lnTo>
                    <a:pt x="321404" y="23133"/>
                  </a:lnTo>
                  <a:lnTo>
                    <a:pt x="326056" y="16930"/>
                  </a:lnTo>
                  <a:lnTo>
                    <a:pt x="330321" y="8659"/>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29" name="Graphic 2">
              <a:extLst>
                <a:ext uri="{FF2B5EF4-FFF2-40B4-BE49-F238E27FC236}">
                  <a16:creationId xmlns:a16="http://schemas.microsoft.com/office/drawing/2014/main" id="{DAEFAC75-B90E-08DC-0955-75095B008F80}"/>
                </a:ext>
              </a:extLst>
            </p:cNvPr>
            <p:cNvSpPr/>
            <p:nvPr/>
          </p:nvSpPr>
          <p:spPr>
            <a:xfrm>
              <a:off x="3680883" y="2559775"/>
              <a:ext cx="788970" cy="433449"/>
            </a:xfrm>
            <a:custGeom>
              <a:avLst/>
              <a:gdLst>
                <a:gd name="connsiteX0" fmla="*/ 769456 w 788970"/>
                <a:gd name="connsiteY0" fmla="*/ 292456 h 433449"/>
                <a:gd name="connsiteX1" fmla="*/ 450896 w 788970"/>
                <a:gd name="connsiteY1" fmla="*/ 143449 h 433449"/>
                <a:gd name="connsiteX2" fmla="*/ 390415 w 788970"/>
                <a:gd name="connsiteY2" fmla="*/ 111529 h 433449"/>
                <a:gd name="connsiteX3" fmla="*/ 145129 w 788970"/>
                <a:gd name="connsiteY3" fmla="*/ 50789 h 433449"/>
                <a:gd name="connsiteX4" fmla="*/ 24037 w 788970"/>
                <a:gd name="connsiteY4" fmla="*/ 517 h 433449"/>
                <a:gd name="connsiteX5" fmla="*/ 22745 w 788970"/>
                <a:gd name="connsiteY5" fmla="*/ 0 h 433449"/>
                <a:gd name="connsiteX6" fmla="*/ 23133 w 788970"/>
                <a:gd name="connsiteY6" fmla="*/ 905 h 433449"/>
                <a:gd name="connsiteX7" fmla="*/ 30499 w 788970"/>
                <a:gd name="connsiteY7" fmla="*/ 11502 h 433449"/>
                <a:gd name="connsiteX8" fmla="*/ 31533 w 788970"/>
                <a:gd name="connsiteY8" fmla="*/ 16025 h 433449"/>
                <a:gd name="connsiteX9" fmla="*/ 32438 w 788970"/>
                <a:gd name="connsiteY9" fmla="*/ 18093 h 433449"/>
                <a:gd name="connsiteX10" fmla="*/ 32696 w 788970"/>
                <a:gd name="connsiteY10" fmla="*/ 20031 h 433449"/>
                <a:gd name="connsiteX11" fmla="*/ 31533 w 788970"/>
                <a:gd name="connsiteY11" fmla="*/ 22228 h 433449"/>
                <a:gd name="connsiteX12" fmla="*/ 29724 w 788970"/>
                <a:gd name="connsiteY12" fmla="*/ 23133 h 433449"/>
                <a:gd name="connsiteX13" fmla="*/ 27656 w 788970"/>
                <a:gd name="connsiteY13" fmla="*/ 23520 h 433449"/>
                <a:gd name="connsiteX14" fmla="*/ 23391 w 788970"/>
                <a:gd name="connsiteY14" fmla="*/ 23391 h 433449"/>
                <a:gd name="connsiteX15" fmla="*/ 20677 w 788970"/>
                <a:gd name="connsiteY15" fmla="*/ 23520 h 433449"/>
                <a:gd name="connsiteX16" fmla="*/ 18739 w 788970"/>
                <a:gd name="connsiteY16" fmla="*/ 24167 h 433449"/>
                <a:gd name="connsiteX17" fmla="*/ 14862 w 788970"/>
                <a:gd name="connsiteY17" fmla="*/ 26493 h 433449"/>
                <a:gd name="connsiteX18" fmla="*/ 12536 w 788970"/>
                <a:gd name="connsiteY18" fmla="*/ 27398 h 433449"/>
                <a:gd name="connsiteX19" fmla="*/ 10597 w 788970"/>
                <a:gd name="connsiteY19" fmla="*/ 27268 h 433449"/>
                <a:gd name="connsiteX20" fmla="*/ 6203 w 788970"/>
                <a:gd name="connsiteY20" fmla="*/ 25588 h 433449"/>
                <a:gd name="connsiteX21" fmla="*/ 3877 w 788970"/>
                <a:gd name="connsiteY21" fmla="*/ 25588 h 433449"/>
                <a:gd name="connsiteX22" fmla="*/ 4265 w 788970"/>
                <a:gd name="connsiteY22" fmla="*/ 27527 h 433449"/>
                <a:gd name="connsiteX23" fmla="*/ 7366 w 788970"/>
                <a:gd name="connsiteY23" fmla="*/ 32696 h 433449"/>
                <a:gd name="connsiteX24" fmla="*/ 8012 w 788970"/>
                <a:gd name="connsiteY24" fmla="*/ 35410 h 433449"/>
                <a:gd name="connsiteX25" fmla="*/ 7366 w 788970"/>
                <a:gd name="connsiteY25" fmla="*/ 37219 h 433449"/>
                <a:gd name="connsiteX26" fmla="*/ 6591 w 788970"/>
                <a:gd name="connsiteY26" fmla="*/ 38899 h 433449"/>
                <a:gd name="connsiteX27" fmla="*/ 6462 w 788970"/>
                <a:gd name="connsiteY27" fmla="*/ 41096 h 433449"/>
                <a:gd name="connsiteX28" fmla="*/ 5040 w 788970"/>
                <a:gd name="connsiteY28" fmla="*/ 43552 h 433449"/>
                <a:gd name="connsiteX29" fmla="*/ 3748 w 788970"/>
                <a:gd name="connsiteY29" fmla="*/ 44069 h 433449"/>
                <a:gd name="connsiteX30" fmla="*/ 0 w 788970"/>
                <a:gd name="connsiteY30" fmla="*/ 45619 h 433449"/>
                <a:gd name="connsiteX31" fmla="*/ 1034 w 788970"/>
                <a:gd name="connsiteY31" fmla="*/ 47558 h 433449"/>
                <a:gd name="connsiteX32" fmla="*/ 5299 w 788970"/>
                <a:gd name="connsiteY32" fmla="*/ 50013 h 433449"/>
                <a:gd name="connsiteX33" fmla="*/ 19256 w 788970"/>
                <a:gd name="connsiteY33" fmla="*/ 64617 h 433449"/>
                <a:gd name="connsiteX34" fmla="*/ 22228 w 788970"/>
                <a:gd name="connsiteY34" fmla="*/ 66685 h 433449"/>
                <a:gd name="connsiteX35" fmla="*/ 25588 w 788970"/>
                <a:gd name="connsiteY35" fmla="*/ 68106 h 433449"/>
                <a:gd name="connsiteX36" fmla="*/ 29594 w 788970"/>
                <a:gd name="connsiteY36" fmla="*/ 69269 h 433449"/>
                <a:gd name="connsiteX37" fmla="*/ 32825 w 788970"/>
                <a:gd name="connsiteY37" fmla="*/ 71854 h 433449"/>
                <a:gd name="connsiteX38" fmla="*/ 33859 w 788970"/>
                <a:gd name="connsiteY38" fmla="*/ 76119 h 433449"/>
                <a:gd name="connsiteX39" fmla="*/ 32696 w 788970"/>
                <a:gd name="connsiteY39" fmla="*/ 80254 h 433449"/>
                <a:gd name="connsiteX40" fmla="*/ 29207 w 788970"/>
                <a:gd name="connsiteY40" fmla="*/ 82451 h 433449"/>
                <a:gd name="connsiteX41" fmla="*/ 25588 w 788970"/>
                <a:gd name="connsiteY41" fmla="*/ 81159 h 433449"/>
                <a:gd name="connsiteX42" fmla="*/ 24037 w 788970"/>
                <a:gd name="connsiteY42" fmla="*/ 81159 h 433449"/>
                <a:gd name="connsiteX43" fmla="*/ 23908 w 788970"/>
                <a:gd name="connsiteY43" fmla="*/ 83097 h 433449"/>
                <a:gd name="connsiteX44" fmla="*/ 25071 w 788970"/>
                <a:gd name="connsiteY44" fmla="*/ 88267 h 433449"/>
                <a:gd name="connsiteX45" fmla="*/ 25717 w 788970"/>
                <a:gd name="connsiteY45" fmla="*/ 89688 h 433449"/>
                <a:gd name="connsiteX46" fmla="*/ 28948 w 788970"/>
                <a:gd name="connsiteY46" fmla="*/ 92144 h 433449"/>
                <a:gd name="connsiteX47" fmla="*/ 33471 w 788970"/>
                <a:gd name="connsiteY47" fmla="*/ 93953 h 433449"/>
                <a:gd name="connsiteX48" fmla="*/ 37607 w 788970"/>
                <a:gd name="connsiteY48" fmla="*/ 96150 h 433449"/>
                <a:gd name="connsiteX49" fmla="*/ 39287 w 788970"/>
                <a:gd name="connsiteY49" fmla="*/ 99510 h 433449"/>
                <a:gd name="connsiteX50" fmla="*/ 40062 w 788970"/>
                <a:gd name="connsiteY50" fmla="*/ 101965 h 433449"/>
                <a:gd name="connsiteX51" fmla="*/ 43552 w 788970"/>
                <a:gd name="connsiteY51" fmla="*/ 106747 h 433449"/>
                <a:gd name="connsiteX52" fmla="*/ 44715 w 788970"/>
                <a:gd name="connsiteY52" fmla="*/ 109202 h 433449"/>
                <a:gd name="connsiteX53" fmla="*/ 44844 w 788970"/>
                <a:gd name="connsiteY53" fmla="*/ 111270 h 433449"/>
                <a:gd name="connsiteX54" fmla="*/ 44198 w 788970"/>
                <a:gd name="connsiteY54" fmla="*/ 115276 h 433449"/>
                <a:gd name="connsiteX55" fmla="*/ 44456 w 788970"/>
                <a:gd name="connsiteY55" fmla="*/ 117344 h 433449"/>
                <a:gd name="connsiteX56" fmla="*/ 45878 w 788970"/>
                <a:gd name="connsiteY56" fmla="*/ 119800 h 433449"/>
                <a:gd name="connsiteX57" fmla="*/ 48980 w 788970"/>
                <a:gd name="connsiteY57" fmla="*/ 123935 h 433449"/>
                <a:gd name="connsiteX58" fmla="*/ 49884 w 788970"/>
                <a:gd name="connsiteY58" fmla="*/ 126778 h 433449"/>
                <a:gd name="connsiteX59" fmla="*/ 50401 w 788970"/>
                <a:gd name="connsiteY59" fmla="*/ 131172 h 433449"/>
                <a:gd name="connsiteX60" fmla="*/ 51176 w 788970"/>
                <a:gd name="connsiteY60" fmla="*/ 133240 h 433449"/>
                <a:gd name="connsiteX61" fmla="*/ 52727 w 788970"/>
                <a:gd name="connsiteY61" fmla="*/ 134661 h 433449"/>
                <a:gd name="connsiteX62" fmla="*/ 61257 w 788970"/>
                <a:gd name="connsiteY62" fmla="*/ 139314 h 433449"/>
                <a:gd name="connsiteX63" fmla="*/ 62420 w 788970"/>
                <a:gd name="connsiteY63" fmla="*/ 140348 h 433449"/>
                <a:gd name="connsiteX64" fmla="*/ 64100 w 788970"/>
                <a:gd name="connsiteY64" fmla="*/ 142545 h 433449"/>
                <a:gd name="connsiteX65" fmla="*/ 65134 w 788970"/>
                <a:gd name="connsiteY65" fmla="*/ 143578 h 433449"/>
                <a:gd name="connsiteX66" fmla="*/ 66168 w 788970"/>
                <a:gd name="connsiteY66" fmla="*/ 143966 h 433449"/>
                <a:gd name="connsiteX67" fmla="*/ 68494 w 788970"/>
                <a:gd name="connsiteY67" fmla="*/ 144225 h 433449"/>
                <a:gd name="connsiteX68" fmla="*/ 69398 w 788970"/>
                <a:gd name="connsiteY68" fmla="*/ 144612 h 433449"/>
                <a:gd name="connsiteX69" fmla="*/ 70949 w 788970"/>
                <a:gd name="connsiteY69" fmla="*/ 146163 h 433449"/>
                <a:gd name="connsiteX70" fmla="*/ 71725 w 788970"/>
                <a:gd name="connsiteY70" fmla="*/ 148102 h 433449"/>
                <a:gd name="connsiteX71" fmla="*/ 71854 w 788970"/>
                <a:gd name="connsiteY71" fmla="*/ 150299 h 433449"/>
                <a:gd name="connsiteX72" fmla="*/ 70820 w 788970"/>
                <a:gd name="connsiteY72" fmla="*/ 155080 h 433449"/>
                <a:gd name="connsiteX73" fmla="*/ 70820 w 788970"/>
                <a:gd name="connsiteY73" fmla="*/ 157148 h 433449"/>
                <a:gd name="connsiteX74" fmla="*/ 71595 w 788970"/>
                <a:gd name="connsiteY74" fmla="*/ 158957 h 433449"/>
                <a:gd name="connsiteX75" fmla="*/ 76119 w 788970"/>
                <a:gd name="connsiteY75" fmla="*/ 164773 h 433449"/>
                <a:gd name="connsiteX76" fmla="*/ 78057 w 788970"/>
                <a:gd name="connsiteY76" fmla="*/ 166711 h 433449"/>
                <a:gd name="connsiteX77" fmla="*/ 80254 w 788970"/>
                <a:gd name="connsiteY77" fmla="*/ 167874 h 433449"/>
                <a:gd name="connsiteX78" fmla="*/ 86457 w 788970"/>
                <a:gd name="connsiteY78" fmla="*/ 169167 h 433449"/>
                <a:gd name="connsiteX79" fmla="*/ 88525 w 788970"/>
                <a:gd name="connsiteY79" fmla="*/ 170201 h 433449"/>
                <a:gd name="connsiteX80" fmla="*/ 90334 w 788970"/>
                <a:gd name="connsiteY80" fmla="*/ 172139 h 433449"/>
                <a:gd name="connsiteX81" fmla="*/ 91627 w 788970"/>
                <a:gd name="connsiteY81" fmla="*/ 174078 h 433449"/>
                <a:gd name="connsiteX82" fmla="*/ 93436 w 788970"/>
                <a:gd name="connsiteY82" fmla="*/ 178730 h 433449"/>
                <a:gd name="connsiteX83" fmla="*/ 101707 w 788970"/>
                <a:gd name="connsiteY83" fmla="*/ 190749 h 433449"/>
                <a:gd name="connsiteX84" fmla="*/ 103387 w 788970"/>
                <a:gd name="connsiteY84" fmla="*/ 192041 h 433449"/>
                <a:gd name="connsiteX85" fmla="*/ 107264 w 788970"/>
                <a:gd name="connsiteY85" fmla="*/ 194626 h 433449"/>
                <a:gd name="connsiteX86" fmla="*/ 108685 w 788970"/>
                <a:gd name="connsiteY86" fmla="*/ 196176 h 433449"/>
                <a:gd name="connsiteX87" fmla="*/ 111658 w 788970"/>
                <a:gd name="connsiteY87" fmla="*/ 200570 h 433449"/>
                <a:gd name="connsiteX88" fmla="*/ 112304 w 788970"/>
                <a:gd name="connsiteY88" fmla="*/ 202380 h 433449"/>
                <a:gd name="connsiteX89" fmla="*/ 113467 w 788970"/>
                <a:gd name="connsiteY89" fmla="*/ 211297 h 433449"/>
                <a:gd name="connsiteX90" fmla="*/ 112950 w 788970"/>
                <a:gd name="connsiteY90" fmla="*/ 214528 h 433449"/>
                <a:gd name="connsiteX91" fmla="*/ 112045 w 788970"/>
                <a:gd name="connsiteY91" fmla="*/ 216595 h 433449"/>
                <a:gd name="connsiteX92" fmla="*/ 111012 w 788970"/>
                <a:gd name="connsiteY92" fmla="*/ 218017 h 433449"/>
                <a:gd name="connsiteX93" fmla="*/ 106101 w 788970"/>
                <a:gd name="connsiteY93" fmla="*/ 221894 h 433449"/>
                <a:gd name="connsiteX94" fmla="*/ 105971 w 788970"/>
                <a:gd name="connsiteY94" fmla="*/ 224866 h 433449"/>
                <a:gd name="connsiteX95" fmla="*/ 105455 w 788970"/>
                <a:gd name="connsiteY95" fmla="*/ 226159 h 433449"/>
                <a:gd name="connsiteX96" fmla="*/ 103904 w 788970"/>
                <a:gd name="connsiteY96" fmla="*/ 226934 h 433449"/>
                <a:gd name="connsiteX97" fmla="*/ 102224 w 788970"/>
                <a:gd name="connsiteY97" fmla="*/ 227451 h 433449"/>
                <a:gd name="connsiteX98" fmla="*/ 100673 w 788970"/>
                <a:gd name="connsiteY98" fmla="*/ 227709 h 433449"/>
                <a:gd name="connsiteX99" fmla="*/ 99381 w 788970"/>
                <a:gd name="connsiteY99" fmla="*/ 228485 h 433449"/>
                <a:gd name="connsiteX100" fmla="*/ 98217 w 788970"/>
                <a:gd name="connsiteY100" fmla="*/ 230165 h 433449"/>
                <a:gd name="connsiteX101" fmla="*/ 96537 w 788970"/>
                <a:gd name="connsiteY101" fmla="*/ 233525 h 433449"/>
                <a:gd name="connsiteX102" fmla="*/ 93953 w 788970"/>
                <a:gd name="connsiteY102" fmla="*/ 236885 h 433449"/>
                <a:gd name="connsiteX103" fmla="*/ 88396 w 788970"/>
                <a:gd name="connsiteY103" fmla="*/ 242571 h 433449"/>
                <a:gd name="connsiteX104" fmla="*/ 86070 w 788970"/>
                <a:gd name="connsiteY104" fmla="*/ 246190 h 433449"/>
                <a:gd name="connsiteX105" fmla="*/ 129104 w 788970"/>
                <a:gd name="connsiteY105" fmla="*/ 246448 h 433449"/>
                <a:gd name="connsiteX106" fmla="*/ 142028 w 788970"/>
                <a:gd name="connsiteY106" fmla="*/ 249033 h 433449"/>
                <a:gd name="connsiteX107" fmla="*/ 142674 w 788970"/>
                <a:gd name="connsiteY107" fmla="*/ 249291 h 433449"/>
                <a:gd name="connsiteX108" fmla="*/ 143578 w 788970"/>
                <a:gd name="connsiteY108" fmla="*/ 250067 h 433449"/>
                <a:gd name="connsiteX109" fmla="*/ 144225 w 788970"/>
                <a:gd name="connsiteY109" fmla="*/ 250196 h 433449"/>
                <a:gd name="connsiteX110" fmla="*/ 144612 w 788970"/>
                <a:gd name="connsiteY110" fmla="*/ 250067 h 433449"/>
                <a:gd name="connsiteX111" fmla="*/ 145517 w 788970"/>
                <a:gd name="connsiteY111" fmla="*/ 249550 h 433449"/>
                <a:gd name="connsiteX112" fmla="*/ 145905 w 788970"/>
                <a:gd name="connsiteY112" fmla="*/ 249421 h 433449"/>
                <a:gd name="connsiteX113" fmla="*/ 147972 w 788970"/>
                <a:gd name="connsiteY113" fmla="*/ 249808 h 433449"/>
                <a:gd name="connsiteX114" fmla="*/ 152366 w 788970"/>
                <a:gd name="connsiteY114" fmla="*/ 251230 h 433449"/>
                <a:gd name="connsiteX115" fmla="*/ 156760 w 788970"/>
                <a:gd name="connsiteY115" fmla="*/ 253427 h 433449"/>
                <a:gd name="connsiteX116" fmla="*/ 158828 w 788970"/>
                <a:gd name="connsiteY116" fmla="*/ 254073 h 433449"/>
                <a:gd name="connsiteX117" fmla="*/ 163610 w 788970"/>
                <a:gd name="connsiteY117" fmla="*/ 254590 h 433449"/>
                <a:gd name="connsiteX118" fmla="*/ 170071 w 788970"/>
                <a:gd name="connsiteY118" fmla="*/ 254073 h 433449"/>
                <a:gd name="connsiteX119" fmla="*/ 172268 w 788970"/>
                <a:gd name="connsiteY119" fmla="*/ 254590 h 433449"/>
                <a:gd name="connsiteX120" fmla="*/ 174336 w 788970"/>
                <a:gd name="connsiteY120" fmla="*/ 255624 h 433449"/>
                <a:gd name="connsiteX121" fmla="*/ 177308 w 788970"/>
                <a:gd name="connsiteY121" fmla="*/ 258209 h 433449"/>
                <a:gd name="connsiteX122" fmla="*/ 179247 w 788970"/>
                <a:gd name="connsiteY122" fmla="*/ 259501 h 433449"/>
                <a:gd name="connsiteX123" fmla="*/ 180281 w 788970"/>
                <a:gd name="connsiteY123" fmla="*/ 259630 h 433449"/>
                <a:gd name="connsiteX124" fmla="*/ 181573 w 788970"/>
                <a:gd name="connsiteY124" fmla="*/ 259501 h 433449"/>
                <a:gd name="connsiteX125" fmla="*/ 182607 w 788970"/>
                <a:gd name="connsiteY125" fmla="*/ 259501 h 433449"/>
                <a:gd name="connsiteX126" fmla="*/ 183253 w 788970"/>
                <a:gd name="connsiteY126" fmla="*/ 260406 h 433449"/>
                <a:gd name="connsiteX127" fmla="*/ 183382 w 788970"/>
                <a:gd name="connsiteY127" fmla="*/ 261439 h 433449"/>
                <a:gd name="connsiteX128" fmla="*/ 183253 w 788970"/>
                <a:gd name="connsiteY128" fmla="*/ 264670 h 433449"/>
                <a:gd name="connsiteX129" fmla="*/ 183512 w 788970"/>
                <a:gd name="connsiteY129" fmla="*/ 266867 h 433449"/>
                <a:gd name="connsiteX130" fmla="*/ 184545 w 788970"/>
                <a:gd name="connsiteY130" fmla="*/ 268676 h 433449"/>
                <a:gd name="connsiteX131" fmla="*/ 187518 w 788970"/>
                <a:gd name="connsiteY131" fmla="*/ 272166 h 433449"/>
                <a:gd name="connsiteX132" fmla="*/ 188164 w 788970"/>
                <a:gd name="connsiteY132" fmla="*/ 274104 h 433449"/>
                <a:gd name="connsiteX133" fmla="*/ 187776 w 788970"/>
                <a:gd name="connsiteY133" fmla="*/ 276172 h 433449"/>
                <a:gd name="connsiteX134" fmla="*/ 186484 w 788970"/>
                <a:gd name="connsiteY134" fmla="*/ 280178 h 433449"/>
                <a:gd name="connsiteX135" fmla="*/ 187776 w 788970"/>
                <a:gd name="connsiteY135" fmla="*/ 284314 h 433449"/>
                <a:gd name="connsiteX136" fmla="*/ 195272 w 788970"/>
                <a:gd name="connsiteY136" fmla="*/ 288966 h 433449"/>
                <a:gd name="connsiteX137" fmla="*/ 197469 w 788970"/>
                <a:gd name="connsiteY137" fmla="*/ 293360 h 433449"/>
                <a:gd name="connsiteX138" fmla="*/ 197857 w 788970"/>
                <a:gd name="connsiteY138" fmla="*/ 294523 h 433449"/>
                <a:gd name="connsiteX139" fmla="*/ 198632 w 788970"/>
                <a:gd name="connsiteY139" fmla="*/ 296720 h 433449"/>
                <a:gd name="connsiteX140" fmla="*/ 199020 w 788970"/>
                <a:gd name="connsiteY140" fmla="*/ 297883 h 433449"/>
                <a:gd name="connsiteX141" fmla="*/ 198761 w 788970"/>
                <a:gd name="connsiteY141" fmla="*/ 299176 h 433449"/>
                <a:gd name="connsiteX142" fmla="*/ 197081 w 788970"/>
                <a:gd name="connsiteY142" fmla="*/ 301243 h 433449"/>
                <a:gd name="connsiteX143" fmla="*/ 196435 w 788970"/>
                <a:gd name="connsiteY143" fmla="*/ 302277 h 433449"/>
                <a:gd name="connsiteX144" fmla="*/ 196306 w 788970"/>
                <a:gd name="connsiteY144" fmla="*/ 304474 h 433449"/>
                <a:gd name="connsiteX145" fmla="*/ 196435 w 788970"/>
                <a:gd name="connsiteY145" fmla="*/ 306413 h 433449"/>
                <a:gd name="connsiteX146" fmla="*/ 196306 w 788970"/>
                <a:gd name="connsiteY146" fmla="*/ 308351 h 433449"/>
                <a:gd name="connsiteX147" fmla="*/ 195143 w 788970"/>
                <a:gd name="connsiteY147" fmla="*/ 310548 h 433449"/>
                <a:gd name="connsiteX148" fmla="*/ 200958 w 788970"/>
                <a:gd name="connsiteY148" fmla="*/ 310548 h 433449"/>
                <a:gd name="connsiteX149" fmla="*/ 220085 w 788970"/>
                <a:gd name="connsiteY149" fmla="*/ 310548 h 433449"/>
                <a:gd name="connsiteX150" fmla="*/ 239082 w 788970"/>
                <a:gd name="connsiteY150" fmla="*/ 310677 h 433449"/>
                <a:gd name="connsiteX151" fmla="*/ 258209 w 788970"/>
                <a:gd name="connsiteY151" fmla="*/ 310677 h 433449"/>
                <a:gd name="connsiteX152" fmla="*/ 277335 w 788970"/>
                <a:gd name="connsiteY152" fmla="*/ 310677 h 433449"/>
                <a:gd name="connsiteX153" fmla="*/ 281212 w 788970"/>
                <a:gd name="connsiteY153" fmla="*/ 310677 h 433449"/>
                <a:gd name="connsiteX154" fmla="*/ 283151 w 788970"/>
                <a:gd name="connsiteY154" fmla="*/ 310160 h 433449"/>
                <a:gd name="connsiteX155" fmla="*/ 284185 w 788970"/>
                <a:gd name="connsiteY155" fmla="*/ 309385 h 433449"/>
                <a:gd name="connsiteX156" fmla="*/ 284701 w 788970"/>
                <a:gd name="connsiteY156" fmla="*/ 308480 h 433449"/>
                <a:gd name="connsiteX157" fmla="*/ 285218 w 788970"/>
                <a:gd name="connsiteY157" fmla="*/ 307963 h 433449"/>
                <a:gd name="connsiteX158" fmla="*/ 286769 w 788970"/>
                <a:gd name="connsiteY158" fmla="*/ 307834 h 433449"/>
                <a:gd name="connsiteX159" fmla="*/ 287932 w 788970"/>
                <a:gd name="connsiteY159" fmla="*/ 308222 h 433449"/>
                <a:gd name="connsiteX160" fmla="*/ 288708 w 788970"/>
                <a:gd name="connsiteY160" fmla="*/ 308868 h 433449"/>
                <a:gd name="connsiteX161" fmla="*/ 289612 w 788970"/>
                <a:gd name="connsiteY161" fmla="*/ 309385 h 433449"/>
                <a:gd name="connsiteX162" fmla="*/ 291034 w 788970"/>
                <a:gd name="connsiteY162" fmla="*/ 309256 h 433449"/>
                <a:gd name="connsiteX163" fmla="*/ 293231 w 788970"/>
                <a:gd name="connsiteY163" fmla="*/ 308222 h 433449"/>
                <a:gd name="connsiteX164" fmla="*/ 296979 w 788970"/>
                <a:gd name="connsiteY164" fmla="*/ 305250 h 433449"/>
                <a:gd name="connsiteX165" fmla="*/ 302148 w 788970"/>
                <a:gd name="connsiteY165" fmla="*/ 303440 h 433449"/>
                <a:gd name="connsiteX166" fmla="*/ 303570 w 788970"/>
                <a:gd name="connsiteY166" fmla="*/ 301373 h 433449"/>
                <a:gd name="connsiteX167" fmla="*/ 304603 w 788970"/>
                <a:gd name="connsiteY167" fmla="*/ 298917 h 433449"/>
                <a:gd name="connsiteX168" fmla="*/ 305896 w 788970"/>
                <a:gd name="connsiteY168" fmla="*/ 296591 h 433449"/>
                <a:gd name="connsiteX169" fmla="*/ 307705 w 788970"/>
                <a:gd name="connsiteY169" fmla="*/ 295169 h 433449"/>
                <a:gd name="connsiteX170" fmla="*/ 314942 w 788970"/>
                <a:gd name="connsiteY170" fmla="*/ 292068 h 433449"/>
                <a:gd name="connsiteX171" fmla="*/ 321533 w 788970"/>
                <a:gd name="connsiteY171" fmla="*/ 290258 h 433449"/>
                <a:gd name="connsiteX172" fmla="*/ 323472 w 788970"/>
                <a:gd name="connsiteY172" fmla="*/ 288708 h 433449"/>
                <a:gd name="connsiteX173" fmla="*/ 324247 w 788970"/>
                <a:gd name="connsiteY173" fmla="*/ 287545 h 433449"/>
                <a:gd name="connsiteX174" fmla="*/ 325539 w 788970"/>
                <a:gd name="connsiteY174" fmla="*/ 284831 h 433449"/>
                <a:gd name="connsiteX175" fmla="*/ 326444 w 788970"/>
                <a:gd name="connsiteY175" fmla="*/ 283538 h 433449"/>
                <a:gd name="connsiteX176" fmla="*/ 327736 w 788970"/>
                <a:gd name="connsiteY176" fmla="*/ 282504 h 433449"/>
                <a:gd name="connsiteX177" fmla="*/ 330450 w 788970"/>
                <a:gd name="connsiteY177" fmla="*/ 280824 h 433449"/>
                <a:gd name="connsiteX178" fmla="*/ 331742 w 788970"/>
                <a:gd name="connsiteY178" fmla="*/ 279791 h 433449"/>
                <a:gd name="connsiteX179" fmla="*/ 334715 w 788970"/>
                <a:gd name="connsiteY179" fmla="*/ 275267 h 433449"/>
                <a:gd name="connsiteX180" fmla="*/ 336524 w 788970"/>
                <a:gd name="connsiteY180" fmla="*/ 273329 h 433449"/>
                <a:gd name="connsiteX181" fmla="*/ 341823 w 788970"/>
                <a:gd name="connsiteY181" fmla="*/ 270357 h 433449"/>
                <a:gd name="connsiteX182" fmla="*/ 344020 w 788970"/>
                <a:gd name="connsiteY182" fmla="*/ 268676 h 433449"/>
                <a:gd name="connsiteX183" fmla="*/ 348026 w 788970"/>
                <a:gd name="connsiteY183" fmla="*/ 264670 h 433449"/>
                <a:gd name="connsiteX184" fmla="*/ 350223 w 788970"/>
                <a:gd name="connsiteY184" fmla="*/ 262990 h 433449"/>
                <a:gd name="connsiteX185" fmla="*/ 357331 w 788970"/>
                <a:gd name="connsiteY185" fmla="*/ 258984 h 433449"/>
                <a:gd name="connsiteX186" fmla="*/ 359398 w 788970"/>
                <a:gd name="connsiteY186" fmla="*/ 257045 h 433449"/>
                <a:gd name="connsiteX187" fmla="*/ 363146 w 788970"/>
                <a:gd name="connsiteY187" fmla="*/ 252393 h 433449"/>
                <a:gd name="connsiteX188" fmla="*/ 365343 w 788970"/>
                <a:gd name="connsiteY188" fmla="*/ 250455 h 433449"/>
                <a:gd name="connsiteX189" fmla="*/ 367411 w 788970"/>
                <a:gd name="connsiteY189" fmla="*/ 249550 h 433449"/>
                <a:gd name="connsiteX190" fmla="*/ 369479 w 788970"/>
                <a:gd name="connsiteY190" fmla="*/ 249033 h 433449"/>
                <a:gd name="connsiteX191" fmla="*/ 374002 w 788970"/>
                <a:gd name="connsiteY191" fmla="*/ 248516 h 433449"/>
                <a:gd name="connsiteX192" fmla="*/ 374131 w 788970"/>
                <a:gd name="connsiteY192" fmla="*/ 249938 h 433449"/>
                <a:gd name="connsiteX193" fmla="*/ 374002 w 788970"/>
                <a:gd name="connsiteY193" fmla="*/ 250325 h 433449"/>
                <a:gd name="connsiteX194" fmla="*/ 372839 w 788970"/>
                <a:gd name="connsiteY194" fmla="*/ 252135 h 433449"/>
                <a:gd name="connsiteX195" fmla="*/ 372580 w 788970"/>
                <a:gd name="connsiteY195" fmla="*/ 253944 h 433449"/>
                <a:gd name="connsiteX196" fmla="*/ 372063 w 788970"/>
                <a:gd name="connsiteY196" fmla="*/ 255365 h 433449"/>
                <a:gd name="connsiteX197" fmla="*/ 370125 w 788970"/>
                <a:gd name="connsiteY197" fmla="*/ 256141 h 433449"/>
                <a:gd name="connsiteX198" fmla="*/ 370254 w 788970"/>
                <a:gd name="connsiteY198" fmla="*/ 256529 h 433449"/>
                <a:gd name="connsiteX199" fmla="*/ 370513 w 788970"/>
                <a:gd name="connsiteY199" fmla="*/ 257304 h 433449"/>
                <a:gd name="connsiteX200" fmla="*/ 370771 w 788970"/>
                <a:gd name="connsiteY200" fmla="*/ 257692 h 433449"/>
                <a:gd name="connsiteX201" fmla="*/ 369479 w 788970"/>
                <a:gd name="connsiteY201" fmla="*/ 258079 h 433449"/>
                <a:gd name="connsiteX202" fmla="*/ 368574 w 788970"/>
                <a:gd name="connsiteY202" fmla="*/ 259113 h 433449"/>
                <a:gd name="connsiteX203" fmla="*/ 368316 w 788970"/>
                <a:gd name="connsiteY203" fmla="*/ 260535 h 433449"/>
                <a:gd name="connsiteX204" fmla="*/ 369737 w 788970"/>
                <a:gd name="connsiteY204" fmla="*/ 263119 h 433449"/>
                <a:gd name="connsiteX205" fmla="*/ 368833 w 788970"/>
                <a:gd name="connsiteY205" fmla="*/ 263378 h 433449"/>
                <a:gd name="connsiteX206" fmla="*/ 367282 w 788970"/>
                <a:gd name="connsiteY206" fmla="*/ 263119 h 433449"/>
                <a:gd name="connsiteX207" fmla="*/ 366765 w 788970"/>
                <a:gd name="connsiteY207" fmla="*/ 262861 h 433449"/>
                <a:gd name="connsiteX208" fmla="*/ 363922 w 788970"/>
                <a:gd name="connsiteY208" fmla="*/ 262990 h 433449"/>
                <a:gd name="connsiteX209" fmla="*/ 363405 w 788970"/>
                <a:gd name="connsiteY209" fmla="*/ 263119 h 433449"/>
                <a:gd name="connsiteX210" fmla="*/ 364439 w 788970"/>
                <a:gd name="connsiteY210" fmla="*/ 265058 h 433449"/>
                <a:gd name="connsiteX211" fmla="*/ 365214 w 788970"/>
                <a:gd name="connsiteY211" fmla="*/ 268547 h 433449"/>
                <a:gd name="connsiteX212" fmla="*/ 365860 w 788970"/>
                <a:gd name="connsiteY212" fmla="*/ 270615 h 433449"/>
                <a:gd name="connsiteX213" fmla="*/ 367152 w 788970"/>
                <a:gd name="connsiteY213" fmla="*/ 272166 h 433449"/>
                <a:gd name="connsiteX214" fmla="*/ 370254 w 788970"/>
                <a:gd name="connsiteY214" fmla="*/ 274750 h 433449"/>
                <a:gd name="connsiteX215" fmla="*/ 371546 w 788970"/>
                <a:gd name="connsiteY215" fmla="*/ 276301 h 433449"/>
                <a:gd name="connsiteX216" fmla="*/ 372193 w 788970"/>
                <a:gd name="connsiteY216" fmla="*/ 278498 h 433449"/>
                <a:gd name="connsiteX217" fmla="*/ 372063 w 788970"/>
                <a:gd name="connsiteY217" fmla="*/ 280437 h 433449"/>
                <a:gd name="connsiteX218" fmla="*/ 371159 w 788970"/>
                <a:gd name="connsiteY218" fmla="*/ 282375 h 433449"/>
                <a:gd name="connsiteX219" fmla="*/ 369866 w 788970"/>
                <a:gd name="connsiteY219" fmla="*/ 284185 h 433449"/>
                <a:gd name="connsiteX220" fmla="*/ 369608 w 788970"/>
                <a:gd name="connsiteY220" fmla="*/ 284831 h 433449"/>
                <a:gd name="connsiteX221" fmla="*/ 369349 w 788970"/>
                <a:gd name="connsiteY221" fmla="*/ 286123 h 433449"/>
                <a:gd name="connsiteX222" fmla="*/ 368703 w 788970"/>
                <a:gd name="connsiteY222" fmla="*/ 286769 h 433449"/>
                <a:gd name="connsiteX223" fmla="*/ 368186 w 788970"/>
                <a:gd name="connsiteY223" fmla="*/ 286769 h 433449"/>
                <a:gd name="connsiteX224" fmla="*/ 367023 w 788970"/>
                <a:gd name="connsiteY224" fmla="*/ 286123 h 433449"/>
                <a:gd name="connsiteX225" fmla="*/ 366506 w 788970"/>
                <a:gd name="connsiteY225" fmla="*/ 286123 h 433449"/>
                <a:gd name="connsiteX226" fmla="*/ 365343 w 788970"/>
                <a:gd name="connsiteY226" fmla="*/ 286769 h 433449"/>
                <a:gd name="connsiteX227" fmla="*/ 364309 w 788970"/>
                <a:gd name="connsiteY227" fmla="*/ 287545 h 433449"/>
                <a:gd name="connsiteX228" fmla="*/ 363534 w 788970"/>
                <a:gd name="connsiteY228" fmla="*/ 288449 h 433449"/>
                <a:gd name="connsiteX229" fmla="*/ 362888 w 788970"/>
                <a:gd name="connsiteY229" fmla="*/ 289612 h 433449"/>
                <a:gd name="connsiteX230" fmla="*/ 361854 w 788970"/>
                <a:gd name="connsiteY230" fmla="*/ 294006 h 433449"/>
                <a:gd name="connsiteX231" fmla="*/ 361854 w 788970"/>
                <a:gd name="connsiteY231" fmla="*/ 300468 h 433449"/>
                <a:gd name="connsiteX232" fmla="*/ 361854 w 788970"/>
                <a:gd name="connsiteY232" fmla="*/ 305250 h 433449"/>
                <a:gd name="connsiteX233" fmla="*/ 361854 w 788970"/>
                <a:gd name="connsiteY233" fmla="*/ 314167 h 433449"/>
                <a:gd name="connsiteX234" fmla="*/ 361854 w 788970"/>
                <a:gd name="connsiteY234" fmla="*/ 327865 h 433449"/>
                <a:gd name="connsiteX235" fmla="*/ 361725 w 788970"/>
                <a:gd name="connsiteY235" fmla="*/ 341693 h 433449"/>
                <a:gd name="connsiteX236" fmla="*/ 361725 w 788970"/>
                <a:gd name="connsiteY236" fmla="*/ 355392 h 433449"/>
                <a:gd name="connsiteX237" fmla="*/ 361725 w 788970"/>
                <a:gd name="connsiteY237" fmla="*/ 369220 h 433449"/>
                <a:gd name="connsiteX238" fmla="*/ 361595 w 788970"/>
                <a:gd name="connsiteY238" fmla="*/ 382919 h 433449"/>
                <a:gd name="connsiteX239" fmla="*/ 361595 w 788970"/>
                <a:gd name="connsiteY239" fmla="*/ 396747 h 433449"/>
                <a:gd name="connsiteX240" fmla="*/ 361595 w 788970"/>
                <a:gd name="connsiteY240" fmla="*/ 410575 h 433449"/>
                <a:gd name="connsiteX241" fmla="*/ 361595 w 788970"/>
                <a:gd name="connsiteY241" fmla="*/ 419233 h 433449"/>
                <a:gd name="connsiteX242" fmla="*/ 370771 w 788970"/>
                <a:gd name="connsiteY242" fmla="*/ 411867 h 433449"/>
                <a:gd name="connsiteX243" fmla="*/ 373097 w 788970"/>
                <a:gd name="connsiteY243" fmla="*/ 411480 h 433449"/>
                <a:gd name="connsiteX244" fmla="*/ 375940 w 788970"/>
                <a:gd name="connsiteY244" fmla="*/ 413935 h 433449"/>
                <a:gd name="connsiteX245" fmla="*/ 380722 w 788970"/>
                <a:gd name="connsiteY245" fmla="*/ 419621 h 433449"/>
                <a:gd name="connsiteX246" fmla="*/ 383436 w 788970"/>
                <a:gd name="connsiteY246" fmla="*/ 422077 h 433449"/>
                <a:gd name="connsiteX247" fmla="*/ 388347 w 788970"/>
                <a:gd name="connsiteY247" fmla="*/ 424532 h 433449"/>
                <a:gd name="connsiteX248" fmla="*/ 393775 w 788970"/>
                <a:gd name="connsiteY248" fmla="*/ 425437 h 433449"/>
                <a:gd name="connsiteX249" fmla="*/ 399202 w 788970"/>
                <a:gd name="connsiteY249" fmla="*/ 425178 h 433449"/>
                <a:gd name="connsiteX250" fmla="*/ 404630 w 788970"/>
                <a:gd name="connsiteY250" fmla="*/ 424144 h 433449"/>
                <a:gd name="connsiteX251" fmla="*/ 408895 w 788970"/>
                <a:gd name="connsiteY251" fmla="*/ 422594 h 433449"/>
                <a:gd name="connsiteX252" fmla="*/ 434871 w 788970"/>
                <a:gd name="connsiteY252" fmla="*/ 409412 h 433449"/>
                <a:gd name="connsiteX253" fmla="*/ 439394 w 788970"/>
                <a:gd name="connsiteY253" fmla="*/ 409670 h 433449"/>
                <a:gd name="connsiteX254" fmla="*/ 441462 w 788970"/>
                <a:gd name="connsiteY254" fmla="*/ 410187 h 433449"/>
                <a:gd name="connsiteX255" fmla="*/ 443529 w 788970"/>
                <a:gd name="connsiteY255" fmla="*/ 410317 h 433449"/>
                <a:gd name="connsiteX256" fmla="*/ 447923 w 788970"/>
                <a:gd name="connsiteY256" fmla="*/ 410058 h 433449"/>
                <a:gd name="connsiteX257" fmla="*/ 450767 w 788970"/>
                <a:gd name="connsiteY257" fmla="*/ 410187 h 433449"/>
                <a:gd name="connsiteX258" fmla="*/ 452576 w 788970"/>
                <a:gd name="connsiteY258" fmla="*/ 410963 h 433449"/>
                <a:gd name="connsiteX259" fmla="*/ 456582 w 788970"/>
                <a:gd name="connsiteY259" fmla="*/ 413547 h 433449"/>
                <a:gd name="connsiteX260" fmla="*/ 460201 w 788970"/>
                <a:gd name="connsiteY260" fmla="*/ 414323 h 433449"/>
                <a:gd name="connsiteX261" fmla="*/ 473382 w 788970"/>
                <a:gd name="connsiteY261" fmla="*/ 412901 h 433449"/>
                <a:gd name="connsiteX262" fmla="*/ 475450 w 788970"/>
                <a:gd name="connsiteY262" fmla="*/ 412901 h 433449"/>
                <a:gd name="connsiteX263" fmla="*/ 483463 w 788970"/>
                <a:gd name="connsiteY263" fmla="*/ 413289 h 433449"/>
                <a:gd name="connsiteX264" fmla="*/ 487598 w 788970"/>
                <a:gd name="connsiteY264" fmla="*/ 412901 h 433449"/>
                <a:gd name="connsiteX265" fmla="*/ 494835 w 788970"/>
                <a:gd name="connsiteY265" fmla="*/ 411092 h 433449"/>
                <a:gd name="connsiteX266" fmla="*/ 498454 w 788970"/>
                <a:gd name="connsiteY266" fmla="*/ 411609 h 433449"/>
                <a:gd name="connsiteX267" fmla="*/ 501943 w 788970"/>
                <a:gd name="connsiteY267" fmla="*/ 412643 h 433449"/>
                <a:gd name="connsiteX268" fmla="*/ 505820 w 788970"/>
                <a:gd name="connsiteY268" fmla="*/ 413289 h 433449"/>
                <a:gd name="connsiteX269" fmla="*/ 511894 w 788970"/>
                <a:gd name="connsiteY269" fmla="*/ 413030 h 433449"/>
                <a:gd name="connsiteX270" fmla="*/ 520294 w 788970"/>
                <a:gd name="connsiteY270" fmla="*/ 414064 h 433449"/>
                <a:gd name="connsiteX271" fmla="*/ 524300 w 788970"/>
                <a:gd name="connsiteY271" fmla="*/ 414969 h 433449"/>
                <a:gd name="connsiteX272" fmla="*/ 527919 w 788970"/>
                <a:gd name="connsiteY272" fmla="*/ 414581 h 433449"/>
                <a:gd name="connsiteX273" fmla="*/ 529599 w 788970"/>
                <a:gd name="connsiteY273" fmla="*/ 414840 h 433449"/>
                <a:gd name="connsiteX274" fmla="*/ 537612 w 788970"/>
                <a:gd name="connsiteY274" fmla="*/ 418329 h 433449"/>
                <a:gd name="connsiteX275" fmla="*/ 537999 w 788970"/>
                <a:gd name="connsiteY275" fmla="*/ 418329 h 433449"/>
                <a:gd name="connsiteX276" fmla="*/ 539033 w 788970"/>
                <a:gd name="connsiteY276" fmla="*/ 418329 h 433449"/>
                <a:gd name="connsiteX277" fmla="*/ 539550 w 788970"/>
                <a:gd name="connsiteY277" fmla="*/ 418329 h 433449"/>
                <a:gd name="connsiteX278" fmla="*/ 542005 w 788970"/>
                <a:gd name="connsiteY278" fmla="*/ 418200 h 433449"/>
                <a:gd name="connsiteX279" fmla="*/ 547046 w 788970"/>
                <a:gd name="connsiteY279" fmla="*/ 419621 h 433449"/>
                <a:gd name="connsiteX280" fmla="*/ 549630 w 788970"/>
                <a:gd name="connsiteY280" fmla="*/ 419880 h 433449"/>
                <a:gd name="connsiteX281" fmla="*/ 552344 w 788970"/>
                <a:gd name="connsiteY281" fmla="*/ 419233 h 433449"/>
                <a:gd name="connsiteX282" fmla="*/ 555317 w 788970"/>
                <a:gd name="connsiteY282" fmla="*/ 418200 h 433449"/>
                <a:gd name="connsiteX283" fmla="*/ 558160 w 788970"/>
                <a:gd name="connsiteY283" fmla="*/ 417554 h 433449"/>
                <a:gd name="connsiteX284" fmla="*/ 561391 w 788970"/>
                <a:gd name="connsiteY284" fmla="*/ 418458 h 433449"/>
                <a:gd name="connsiteX285" fmla="*/ 563200 w 788970"/>
                <a:gd name="connsiteY285" fmla="*/ 419363 h 433449"/>
                <a:gd name="connsiteX286" fmla="*/ 561391 w 788970"/>
                <a:gd name="connsiteY286" fmla="*/ 421947 h 433449"/>
                <a:gd name="connsiteX287" fmla="*/ 560227 w 788970"/>
                <a:gd name="connsiteY287" fmla="*/ 424532 h 433449"/>
                <a:gd name="connsiteX288" fmla="*/ 559581 w 788970"/>
                <a:gd name="connsiteY288" fmla="*/ 427375 h 433449"/>
                <a:gd name="connsiteX289" fmla="*/ 560098 w 788970"/>
                <a:gd name="connsiteY289" fmla="*/ 431769 h 433449"/>
                <a:gd name="connsiteX290" fmla="*/ 560357 w 788970"/>
                <a:gd name="connsiteY290" fmla="*/ 432803 h 433449"/>
                <a:gd name="connsiteX291" fmla="*/ 561261 w 788970"/>
                <a:gd name="connsiteY291" fmla="*/ 433320 h 433449"/>
                <a:gd name="connsiteX292" fmla="*/ 563071 w 788970"/>
                <a:gd name="connsiteY292" fmla="*/ 433449 h 433449"/>
                <a:gd name="connsiteX293" fmla="*/ 578449 w 788970"/>
                <a:gd name="connsiteY293" fmla="*/ 430348 h 433449"/>
                <a:gd name="connsiteX294" fmla="*/ 581422 w 788970"/>
                <a:gd name="connsiteY294" fmla="*/ 428797 h 433449"/>
                <a:gd name="connsiteX295" fmla="*/ 586979 w 788970"/>
                <a:gd name="connsiteY295" fmla="*/ 424791 h 433449"/>
                <a:gd name="connsiteX296" fmla="*/ 591502 w 788970"/>
                <a:gd name="connsiteY296" fmla="*/ 423240 h 433449"/>
                <a:gd name="connsiteX297" fmla="*/ 593311 w 788970"/>
                <a:gd name="connsiteY297" fmla="*/ 422981 h 433449"/>
                <a:gd name="connsiteX298" fmla="*/ 595120 w 788970"/>
                <a:gd name="connsiteY298" fmla="*/ 422981 h 433449"/>
                <a:gd name="connsiteX299" fmla="*/ 596930 w 788970"/>
                <a:gd name="connsiteY299" fmla="*/ 423240 h 433449"/>
                <a:gd name="connsiteX300" fmla="*/ 598481 w 788970"/>
                <a:gd name="connsiteY300" fmla="*/ 422852 h 433449"/>
                <a:gd name="connsiteX301" fmla="*/ 601841 w 788970"/>
                <a:gd name="connsiteY301" fmla="*/ 419751 h 433449"/>
                <a:gd name="connsiteX302" fmla="*/ 603779 w 788970"/>
                <a:gd name="connsiteY302" fmla="*/ 418717 h 433449"/>
                <a:gd name="connsiteX303" fmla="*/ 608819 w 788970"/>
                <a:gd name="connsiteY303" fmla="*/ 418200 h 433449"/>
                <a:gd name="connsiteX304" fmla="*/ 610758 w 788970"/>
                <a:gd name="connsiteY304" fmla="*/ 417424 h 433449"/>
                <a:gd name="connsiteX305" fmla="*/ 612955 w 788970"/>
                <a:gd name="connsiteY305" fmla="*/ 415873 h 433449"/>
                <a:gd name="connsiteX306" fmla="*/ 614893 w 788970"/>
                <a:gd name="connsiteY306" fmla="*/ 413806 h 433449"/>
                <a:gd name="connsiteX307" fmla="*/ 616702 w 788970"/>
                <a:gd name="connsiteY307" fmla="*/ 411480 h 433449"/>
                <a:gd name="connsiteX308" fmla="*/ 618253 w 788970"/>
                <a:gd name="connsiteY308" fmla="*/ 409153 h 433449"/>
                <a:gd name="connsiteX309" fmla="*/ 620967 w 788970"/>
                <a:gd name="connsiteY309" fmla="*/ 402692 h 433449"/>
                <a:gd name="connsiteX310" fmla="*/ 622518 w 788970"/>
                <a:gd name="connsiteY310" fmla="*/ 400624 h 433449"/>
                <a:gd name="connsiteX311" fmla="*/ 628592 w 788970"/>
                <a:gd name="connsiteY311" fmla="*/ 394291 h 433449"/>
                <a:gd name="connsiteX312" fmla="*/ 632340 w 788970"/>
                <a:gd name="connsiteY312" fmla="*/ 387184 h 433449"/>
                <a:gd name="connsiteX313" fmla="*/ 633761 w 788970"/>
                <a:gd name="connsiteY313" fmla="*/ 385374 h 433449"/>
                <a:gd name="connsiteX314" fmla="*/ 636346 w 788970"/>
                <a:gd name="connsiteY314" fmla="*/ 383694 h 433449"/>
                <a:gd name="connsiteX315" fmla="*/ 639577 w 788970"/>
                <a:gd name="connsiteY315" fmla="*/ 382014 h 433449"/>
                <a:gd name="connsiteX316" fmla="*/ 641386 w 788970"/>
                <a:gd name="connsiteY316" fmla="*/ 381497 h 433449"/>
                <a:gd name="connsiteX317" fmla="*/ 643195 w 788970"/>
                <a:gd name="connsiteY317" fmla="*/ 381239 h 433449"/>
                <a:gd name="connsiteX318" fmla="*/ 646297 w 788970"/>
                <a:gd name="connsiteY318" fmla="*/ 381756 h 433449"/>
                <a:gd name="connsiteX319" fmla="*/ 658962 w 788970"/>
                <a:gd name="connsiteY319" fmla="*/ 381239 h 433449"/>
                <a:gd name="connsiteX320" fmla="*/ 660642 w 788970"/>
                <a:gd name="connsiteY320" fmla="*/ 381368 h 433449"/>
                <a:gd name="connsiteX321" fmla="*/ 662193 w 788970"/>
                <a:gd name="connsiteY321" fmla="*/ 381885 h 433449"/>
                <a:gd name="connsiteX322" fmla="*/ 664131 w 788970"/>
                <a:gd name="connsiteY322" fmla="*/ 383048 h 433449"/>
                <a:gd name="connsiteX323" fmla="*/ 668396 w 788970"/>
                <a:gd name="connsiteY323" fmla="*/ 386408 h 433449"/>
                <a:gd name="connsiteX324" fmla="*/ 670464 w 788970"/>
                <a:gd name="connsiteY324" fmla="*/ 387184 h 433449"/>
                <a:gd name="connsiteX325" fmla="*/ 674082 w 788970"/>
                <a:gd name="connsiteY325" fmla="*/ 386279 h 433449"/>
                <a:gd name="connsiteX326" fmla="*/ 675891 w 788970"/>
                <a:gd name="connsiteY326" fmla="*/ 383048 h 433449"/>
                <a:gd name="connsiteX327" fmla="*/ 676796 w 788970"/>
                <a:gd name="connsiteY327" fmla="*/ 379171 h 433449"/>
                <a:gd name="connsiteX328" fmla="*/ 678088 w 788970"/>
                <a:gd name="connsiteY328" fmla="*/ 375940 h 433449"/>
                <a:gd name="connsiteX329" fmla="*/ 679251 w 788970"/>
                <a:gd name="connsiteY329" fmla="*/ 374777 h 433449"/>
                <a:gd name="connsiteX330" fmla="*/ 682482 w 788970"/>
                <a:gd name="connsiteY330" fmla="*/ 372063 h 433449"/>
                <a:gd name="connsiteX331" fmla="*/ 683775 w 788970"/>
                <a:gd name="connsiteY331" fmla="*/ 370383 h 433449"/>
                <a:gd name="connsiteX332" fmla="*/ 685972 w 788970"/>
                <a:gd name="connsiteY332" fmla="*/ 367152 h 433449"/>
                <a:gd name="connsiteX333" fmla="*/ 687135 w 788970"/>
                <a:gd name="connsiteY333" fmla="*/ 365731 h 433449"/>
                <a:gd name="connsiteX334" fmla="*/ 688815 w 788970"/>
                <a:gd name="connsiteY334" fmla="*/ 364180 h 433449"/>
                <a:gd name="connsiteX335" fmla="*/ 690883 w 788970"/>
                <a:gd name="connsiteY335" fmla="*/ 363534 h 433449"/>
                <a:gd name="connsiteX336" fmla="*/ 694630 w 788970"/>
                <a:gd name="connsiteY336" fmla="*/ 361725 h 433449"/>
                <a:gd name="connsiteX337" fmla="*/ 699024 w 788970"/>
                <a:gd name="connsiteY337" fmla="*/ 360174 h 433449"/>
                <a:gd name="connsiteX338" fmla="*/ 701221 w 788970"/>
                <a:gd name="connsiteY338" fmla="*/ 358881 h 433449"/>
                <a:gd name="connsiteX339" fmla="*/ 703160 w 788970"/>
                <a:gd name="connsiteY339" fmla="*/ 357072 h 433449"/>
                <a:gd name="connsiteX340" fmla="*/ 704581 w 788970"/>
                <a:gd name="connsiteY340" fmla="*/ 355134 h 433449"/>
                <a:gd name="connsiteX341" fmla="*/ 705098 w 788970"/>
                <a:gd name="connsiteY341" fmla="*/ 353841 h 433449"/>
                <a:gd name="connsiteX342" fmla="*/ 705098 w 788970"/>
                <a:gd name="connsiteY342" fmla="*/ 352937 h 433449"/>
                <a:gd name="connsiteX343" fmla="*/ 705357 w 788970"/>
                <a:gd name="connsiteY343" fmla="*/ 352161 h 433449"/>
                <a:gd name="connsiteX344" fmla="*/ 706520 w 788970"/>
                <a:gd name="connsiteY344" fmla="*/ 351128 h 433449"/>
                <a:gd name="connsiteX345" fmla="*/ 707554 w 788970"/>
                <a:gd name="connsiteY345" fmla="*/ 350869 h 433449"/>
                <a:gd name="connsiteX346" fmla="*/ 712335 w 788970"/>
                <a:gd name="connsiteY346" fmla="*/ 350869 h 433449"/>
                <a:gd name="connsiteX347" fmla="*/ 713498 w 788970"/>
                <a:gd name="connsiteY347" fmla="*/ 350610 h 433449"/>
                <a:gd name="connsiteX348" fmla="*/ 714661 w 788970"/>
                <a:gd name="connsiteY348" fmla="*/ 350223 h 433449"/>
                <a:gd name="connsiteX349" fmla="*/ 715437 w 788970"/>
                <a:gd name="connsiteY349" fmla="*/ 349577 h 433449"/>
                <a:gd name="connsiteX350" fmla="*/ 715566 w 788970"/>
                <a:gd name="connsiteY350" fmla="*/ 348543 h 433449"/>
                <a:gd name="connsiteX351" fmla="*/ 715049 w 788970"/>
                <a:gd name="connsiteY351" fmla="*/ 346087 h 433449"/>
                <a:gd name="connsiteX352" fmla="*/ 715178 w 788970"/>
                <a:gd name="connsiteY352" fmla="*/ 345183 h 433449"/>
                <a:gd name="connsiteX353" fmla="*/ 716729 w 788970"/>
                <a:gd name="connsiteY353" fmla="*/ 344407 h 433449"/>
                <a:gd name="connsiteX354" fmla="*/ 719185 w 788970"/>
                <a:gd name="connsiteY354" fmla="*/ 344020 h 433449"/>
                <a:gd name="connsiteX355" fmla="*/ 723579 w 788970"/>
                <a:gd name="connsiteY355" fmla="*/ 343890 h 433449"/>
                <a:gd name="connsiteX356" fmla="*/ 725517 w 788970"/>
                <a:gd name="connsiteY356" fmla="*/ 344149 h 433449"/>
                <a:gd name="connsiteX357" fmla="*/ 729782 w 788970"/>
                <a:gd name="connsiteY357" fmla="*/ 345312 h 433449"/>
                <a:gd name="connsiteX358" fmla="*/ 731591 w 788970"/>
                <a:gd name="connsiteY358" fmla="*/ 345312 h 433449"/>
                <a:gd name="connsiteX359" fmla="*/ 732883 w 788970"/>
                <a:gd name="connsiteY359" fmla="*/ 344537 h 433449"/>
                <a:gd name="connsiteX360" fmla="*/ 733659 w 788970"/>
                <a:gd name="connsiteY360" fmla="*/ 343244 h 433449"/>
                <a:gd name="connsiteX361" fmla="*/ 734305 w 788970"/>
                <a:gd name="connsiteY361" fmla="*/ 342081 h 433449"/>
                <a:gd name="connsiteX362" fmla="*/ 735080 w 788970"/>
                <a:gd name="connsiteY362" fmla="*/ 341177 h 433449"/>
                <a:gd name="connsiteX363" fmla="*/ 736114 w 788970"/>
                <a:gd name="connsiteY363" fmla="*/ 340789 h 433449"/>
                <a:gd name="connsiteX364" fmla="*/ 738440 w 788970"/>
                <a:gd name="connsiteY364" fmla="*/ 340660 h 433449"/>
                <a:gd name="connsiteX365" fmla="*/ 739604 w 788970"/>
                <a:gd name="connsiteY365" fmla="*/ 340530 h 433449"/>
                <a:gd name="connsiteX366" fmla="*/ 744514 w 788970"/>
                <a:gd name="connsiteY366" fmla="*/ 337687 h 433449"/>
                <a:gd name="connsiteX367" fmla="*/ 761702 w 788970"/>
                <a:gd name="connsiteY367" fmla="*/ 319982 h 433449"/>
                <a:gd name="connsiteX368" fmla="*/ 775918 w 788970"/>
                <a:gd name="connsiteY368" fmla="*/ 309127 h 433449"/>
                <a:gd name="connsiteX369" fmla="*/ 777986 w 788970"/>
                <a:gd name="connsiteY369" fmla="*/ 308093 h 433449"/>
                <a:gd name="connsiteX370" fmla="*/ 786645 w 788970"/>
                <a:gd name="connsiteY370" fmla="*/ 304733 h 433449"/>
                <a:gd name="connsiteX371" fmla="*/ 787678 w 788970"/>
                <a:gd name="connsiteY371" fmla="*/ 304086 h 433449"/>
                <a:gd name="connsiteX372" fmla="*/ 788325 w 788970"/>
                <a:gd name="connsiteY372" fmla="*/ 303182 h 433449"/>
                <a:gd name="connsiteX373" fmla="*/ 788583 w 788970"/>
                <a:gd name="connsiteY373" fmla="*/ 302019 h 433449"/>
                <a:gd name="connsiteX374" fmla="*/ 788971 w 788970"/>
                <a:gd name="connsiteY374" fmla="*/ 300856 h 433449"/>
                <a:gd name="connsiteX375" fmla="*/ 788971 w 788970"/>
                <a:gd name="connsiteY375" fmla="*/ 300856 h 433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Lst>
              <a:rect l="l" t="t" r="r" b="b"/>
              <a:pathLst>
                <a:path w="788970" h="433449">
                  <a:moveTo>
                    <a:pt x="769456" y="292456"/>
                  </a:moveTo>
                  <a:lnTo>
                    <a:pt x="450896" y="143449"/>
                  </a:lnTo>
                  <a:lnTo>
                    <a:pt x="390415" y="111529"/>
                  </a:lnTo>
                  <a:lnTo>
                    <a:pt x="145129" y="50789"/>
                  </a:lnTo>
                  <a:lnTo>
                    <a:pt x="24037" y="517"/>
                  </a:lnTo>
                  <a:lnTo>
                    <a:pt x="22745" y="0"/>
                  </a:lnTo>
                  <a:lnTo>
                    <a:pt x="23133" y="905"/>
                  </a:lnTo>
                  <a:lnTo>
                    <a:pt x="30499" y="11502"/>
                  </a:lnTo>
                  <a:lnTo>
                    <a:pt x="31533" y="16025"/>
                  </a:lnTo>
                  <a:lnTo>
                    <a:pt x="32438" y="18093"/>
                  </a:lnTo>
                  <a:lnTo>
                    <a:pt x="32696" y="20031"/>
                  </a:lnTo>
                  <a:lnTo>
                    <a:pt x="31533" y="22228"/>
                  </a:lnTo>
                  <a:lnTo>
                    <a:pt x="29724" y="23133"/>
                  </a:lnTo>
                  <a:lnTo>
                    <a:pt x="27656" y="23520"/>
                  </a:lnTo>
                  <a:lnTo>
                    <a:pt x="23391" y="23391"/>
                  </a:lnTo>
                  <a:lnTo>
                    <a:pt x="20677" y="23520"/>
                  </a:lnTo>
                  <a:lnTo>
                    <a:pt x="18739" y="24167"/>
                  </a:lnTo>
                  <a:lnTo>
                    <a:pt x="14862" y="26493"/>
                  </a:lnTo>
                  <a:lnTo>
                    <a:pt x="12536" y="27398"/>
                  </a:lnTo>
                  <a:lnTo>
                    <a:pt x="10597" y="27268"/>
                  </a:lnTo>
                  <a:lnTo>
                    <a:pt x="6203" y="25588"/>
                  </a:lnTo>
                  <a:lnTo>
                    <a:pt x="3877" y="25588"/>
                  </a:lnTo>
                  <a:lnTo>
                    <a:pt x="4265" y="27527"/>
                  </a:lnTo>
                  <a:lnTo>
                    <a:pt x="7366" y="32696"/>
                  </a:lnTo>
                  <a:lnTo>
                    <a:pt x="8012" y="35410"/>
                  </a:lnTo>
                  <a:lnTo>
                    <a:pt x="7366" y="37219"/>
                  </a:lnTo>
                  <a:lnTo>
                    <a:pt x="6591" y="38899"/>
                  </a:lnTo>
                  <a:lnTo>
                    <a:pt x="6462" y="41096"/>
                  </a:lnTo>
                  <a:lnTo>
                    <a:pt x="5040" y="43552"/>
                  </a:lnTo>
                  <a:lnTo>
                    <a:pt x="3748" y="44069"/>
                  </a:lnTo>
                  <a:lnTo>
                    <a:pt x="0" y="45619"/>
                  </a:lnTo>
                  <a:lnTo>
                    <a:pt x="1034" y="47558"/>
                  </a:lnTo>
                  <a:lnTo>
                    <a:pt x="5299" y="50013"/>
                  </a:lnTo>
                  <a:lnTo>
                    <a:pt x="19256" y="64617"/>
                  </a:lnTo>
                  <a:lnTo>
                    <a:pt x="22228" y="66685"/>
                  </a:lnTo>
                  <a:lnTo>
                    <a:pt x="25588" y="68106"/>
                  </a:lnTo>
                  <a:lnTo>
                    <a:pt x="29594" y="69269"/>
                  </a:lnTo>
                  <a:lnTo>
                    <a:pt x="32825" y="71854"/>
                  </a:lnTo>
                  <a:lnTo>
                    <a:pt x="33859" y="76119"/>
                  </a:lnTo>
                  <a:lnTo>
                    <a:pt x="32696" y="80254"/>
                  </a:lnTo>
                  <a:lnTo>
                    <a:pt x="29207" y="82451"/>
                  </a:lnTo>
                  <a:lnTo>
                    <a:pt x="25588" y="81159"/>
                  </a:lnTo>
                  <a:lnTo>
                    <a:pt x="24037" y="81159"/>
                  </a:lnTo>
                  <a:lnTo>
                    <a:pt x="23908" y="83097"/>
                  </a:lnTo>
                  <a:lnTo>
                    <a:pt x="25071" y="88267"/>
                  </a:lnTo>
                  <a:lnTo>
                    <a:pt x="25717" y="89688"/>
                  </a:lnTo>
                  <a:lnTo>
                    <a:pt x="28948" y="92144"/>
                  </a:lnTo>
                  <a:lnTo>
                    <a:pt x="33471" y="93953"/>
                  </a:lnTo>
                  <a:lnTo>
                    <a:pt x="37607" y="96150"/>
                  </a:lnTo>
                  <a:lnTo>
                    <a:pt x="39287" y="99510"/>
                  </a:lnTo>
                  <a:lnTo>
                    <a:pt x="40062" y="101965"/>
                  </a:lnTo>
                  <a:lnTo>
                    <a:pt x="43552" y="106747"/>
                  </a:lnTo>
                  <a:lnTo>
                    <a:pt x="44715" y="109202"/>
                  </a:lnTo>
                  <a:lnTo>
                    <a:pt x="44844" y="111270"/>
                  </a:lnTo>
                  <a:lnTo>
                    <a:pt x="44198" y="115276"/>
                  </a:lnTo>
                  <a:lnTo>
                    <a:pt x="44456" y="117344"/>
                  </a:lnTo>
                  <a:lnTo>
                    <a:pt x="45878" y="119800"/>
                  </a:lnTo>
                  <a:lnTo>
                    <a:pt x="48980" y="123935"/>
                  </a:lnTo>
                  <a:lnTo>
                    <a:pt x="49884" y="126778"/>
                  </a:lnTo>
                  <a:lnTo>
                    <a:pt x="50401" y="131172"/>
                  </a:lnTo>
                  <a:lnTo>
                    <a:pt x="51176" y="133240"/>
                  </a:lnTo>
                  <a:lnTo>
                    <a:pt x="52727" y="134661"/>
                  </a:lnTo>
                  <a:lnTo>
                    <a:pt x="61257" y="139314"/>
                  </a:lnTo>
                  <a:lnTo>
                    <a:pt x="62420" y="140348"/>
                  </a:lnTo>
                  <a:lnTo>
                    <a:pt x="64100" y="142545"/>
                  </a:lnTo>
                  <a:lnTo>
                    <a:pt x="65134" y="143578"/>
                  </a:lnTo>
                  <a:lnTo>
                    <a:pt x="66168" y="143966"/>
                  </a:lnTo>
                  <a:lnTo>
                    <a:pt x="68494" y="144225"/>
                  </a:lnTo>
                  <a:lnTo>
                    <a:pt x="69398" y="144612"/>
                  </a:lnTo>
                  <a:lnTo>
                    <a:pt x="70949" y="146163"/>
                  </a:lnTo>
                  <a:lnTo>
                    <a:pt x="71725" y="148102"/>
                  </a:lnTo>
                  <a:lnTo>
                    <a:pt x="71854" y="150299"/>
                  </a:lnTo>
                  <a:lnTo>
                    <a:pt x="70820" y="155080"/>
                  </a:lnTo>
                  <a:lnTo>
                    <a:pt x="70820" y="157148"/>
                  </a:lnTo>
                  <a:lnTo>
                    <a:pt x="71595" y="158957"/>
                  </a:lnTo>
                  <a:lnTo>
                    <a:pt x="76119" y="164773"/>
                  </a:lnTo>
                  <a:lnTo>
                    <a:pt x="78057" y="166711"/>
                  </a:lnTo>
                  <a:lnTo>
                    <a:pt x="80254" y="167874"/>
                  </a:lnTo>
                  <a:lnTo>
                    <a:pt x="86457" y="169167"/>
                  </a:lnTo>
                  <a:lnTo>
                    <a:pt x="88525" y="170201"/>
                  </a:lnTo>
                  <a:lnTo>
                    <a:pt x="90334" y="172139"/>
                  </a:lnTo>
                  <a:lnTo>
                    <a:pt x="91627" y="174078"/>
                  </a:lnTo>
                  <a:lnTo>
                    <a:pt x="93436" y="178730"/>
                  </a:lnTo>
                  <a:lnTo>
                    <a:pt x="101707" y="190749"/>
                  </a:lnTo>
                  <a:lnTo>
                    <a:pt x="103387" y="192041"/>
                  </a:lnTo>
                  <a:lnTo>
                    <a:pt x="107264" y="194626"/>
                  </a:lnTo>
                  <a:lnTo>
                    <a:pt x="108685" y="196176"/>
                  </a:lnTo>
                  <a:lnTo>
                    <a:pt x="111658" y="200570"/>
                  </a:lnTo>
                  <a:lnTo>
                    <a:pt x="112304" y="202380"/>
                  </a:lnTo>
                  <a:lnTo>
                    <a:pt x="113467" y="211297"/>
                  </a:lnTo>
                  <a:lnTo>
                    <a:pt x="112950" y="214528"/>
                  </a:lnTo>
                  <a:lnTo>
                    <a:pt x="112045" y="216595"/>
                  </a:lnTo>
                  <a:lnTo>
                    <a:pt x="111012" y="218017"/>
                  </a:lnTo>
                  <a:lnTo>
                    <a:pt x="106101" y="221894"/>
                  </a:lnTo>
                  <a:lnTo>
                    <a:pt x="105971" y="224866"/>
                  </a:lnTo>
                  <a:lnTo>
                    <a:pt x="105455" y="226159"/>
                  </a:lnTo>
                  <a:lnTo>
                    <a:pt x="103904" y="226934"/>
                  </a:lnTo>
                  <a:lnTo>
                    <a:pt x="102224" y="227451"/>
                  </a:lnTo>
                  <a:lnTo>
                    <a:pt x="100673" y="227709"/>
                  </a:lnTo>
                  <a:lnTo>
                    <a:pt x="99381" y="228485"/>
                  </a:lnTo>
                  <a:lnTo>
                    <a:pt x="98217" y="230165"/>
                  </a:lnTo>
                  <a:lnTo>
                    <a:pt x="96537" y="233525"/>
                  </a:lnTo>
                  <a:lnTo>
                    <a:pt x="93953" y="236885"/>
                  </a:lnTo>
                  <a:lnTo>
                    <a:pt x="88396" y="242571"/>
                  </a:lnTo>
                  <a:lnTo>
                    <a:pt x="86070" y="246190"/>
                  </a:lnTo>
                  <a:lnTo>
                    <a:pt x="129104" y="246448"/>
                  </a:lnTo>
                  <a:lnTo>
                    <a:pt x="142028" y="249033"/>
                  </a:lnTo>
                  <a:lnTo>
                    <a:pt x="142674" y="249291"/>
                  </a:lnTo>
                  <a:lnTo>
                    <a:pt x="143578" y="250067"/>
                  </a:lnTo>
                  <a:lnTo>
                    <a:pt x="144225" y="250196"/>
                  </a:lnTo>
                  <a:lnTo>
                    <a:pt x="144612" y="250067"/>
                  </a:lnTo>
                  <a:lnTo>
                    <a:pt x="145517" y="249550"/>
                  </a:lnTo>
                  <a:lnTo>
                    <a:pt x="145905" y="249421"/>
                  </a:lnTo>
                  <a:lnTo>
                    <a:pt x="147972" y="249808"/>
                  </a:lnTo>
                  <a:lnTo>
                    <a:pt x="152366" y="251230"/>
                  </a:lnTo>
                  <a:lnTo>
                    <a:pt x="156760" y="253427"/>
                  </a:lnTo>
                  <a:lnTo>
                    <a:pt x="158828" y="254073"/>
                  </a:lnTo>
                  <a:lnTo>
                    <a:pt x="163610" y="254590"/>
                  </a:lnTo>
                  <a:lnTo>
                    <a:pt x="170071" y="254073"/>
                  </a:lnTo>
                  <a:lnTo>
                    <a:pt x="172268" y="254590"/>
                  </a:lnTo>
                  <a:lnTo>
                    <a:pt x="174336" y="255624"/>
                  </a:lnTo>
                  <a:lnTo>
                    <a:pt x="177308" y="258209"/>
                  </a:lnTo>
                  <a:lnTo>
                    <a:pt x="179247" y="259501"/>
                  </a:lnTo>
                  <a:lnTo>
                    <a:pt x="180281" y="259630"/>
                  </a:lnTo>
                  <a:lnTo>
                    <a:pt x="181573" y="259501"/>
                  </a:lnTo>
                  <a:lnTo>
                    <a:pt x="182607" y="259501"/>
                  </a:lnTo>
                  <a:lnTo>
                    <a:pt x="183253" y="260406"/>
                  </a:lnTo>
                  <a:lnTo>
                    <a:pt x="183382" y="261439"/>
                  </a:lnTo>
                  <a:lnTo>
                    <a:pt x="183253" y="264670"/>
                  </a:lnTo>
                  <a:lnTo>
                    <a:pt x="183512" y="266867"/>
                  </a:lnTo>
                  <a:lnTo>
                    <a:pt x="184545" y="268676"/>
                  </a:lnTo>
                  <a:lnTo>
                    <a:pt x="187518" y="272166"/>
                  </a:lnTo>
                  <a:lnTo>
                    <a:pt x="188164" y="274104"/>
                  </a:lnTo>
                  <a:lnTo>
                    <a:pt x="187776" y="276172"/>
                  </a:lnTo>
                  <a:lnTo>
                    <a:pt x="186484" y="280178"/>
                  </a:lnTo>
                  <a:lnTo>
                    <a:pt x="187776" y="284314"/>
                  </a:lnTo>
                  <a:lnTo>
                    <a:pt x="195272" y="288966"/>
                  </a:lnTo>
                  <a:lnTo>
                    <a:pt x="197469" y="293360"/>
                  </a:lnTo>
                  <a:lnTo>
                    <a:pt x="197857" y="294523"/>
                  </a:lnTo>
                  <a:lnTo>
                    <a:pt x="198632" y="296720"/>
                  </a:lnTo>
                  <a:lnTo>
                    <a:pt x="199020" y="297883"/>
                  </a:lnTo>
                  <a:lnTo>
                    <a:pt x="198761" y="299176"/>
                  </a:lnTo>
                  <a:lnTo>
                    <a:pt x="197081" y="301243"/>
                  </a:lnTo>
                  <a:lnTo>
                    <a:pt x="196435" y="302277"/>
                  </a:lnTo>
                  <a:lnTo>
                    <a:pt x="196306" y="304474"/>
                  </a:lnTo>
                  <a:lnTo>
                    <a:pt x="196435" y="306413"/>
                  </a:lnTo>
                  <a:lnTo>
                    <a:pt x="196306" y="308351"/>
                  </a:lnTo>
                  <a:lnTo>
                    <a:pt x="195143" y="310548"/>
                  </a:lnTo>
                  <a:lnTo>
                    <a:pt x="200958" y="310548"/>
                  </a:lnTo>
                  <a:lnTo>
                    <a:pt x="220085" y="310548"/>
                  </a:lnTo>
                  <a:lnTo>
                    <a:pt x="239082" y="310677"/>
                  </a:lnTo>
                  <a:lnTo>
                    <a:pt x="258209" y="310677"/>
                  </a:lnTo>
                  <a:lnTo>
                    <a:pt x="277335" y="310677"/>
                  </a:lnTo>
                  <a:lnTo>
                    <a:pt x="281212" y="310677"/>
                  </a:lnTo>
                  <a:lnTo>
                    <a:pt x="283151" y="310160"/>
                  </a:lnTo>
                  <a:lnTo>
                    <a:pt x="284185" y="309385"/>
                  </a:lnTo>
                  <a:lnTo>
                    <a:pt x="284701" y="308480"/>
                  </a:lnTo>
                  <a:lnTo>
                    <a:pt x="285218" y="307963"/>
                  </a:lnTo>
                  <a:lnTo>
                    <a:pt x="286769" y="307834"/>
                  </a:lnTo>
                  <a:lnTo>
                    <a:pt x="287932" y="308222"/>
                  </a:lnTo>
                  <a:lnTo>
                    <a:pt x="288708" y="308868"/>
                  </a:lnTo>
                  <a:lnTo>
                    <a:pt x="289612" y="309385"/>
                  </a:lnTo>
                  <a:lnTo>
                    <a:pt x="291034" y="309256"/>
                  </a:lnTo>
                  <a:lnTo>
                    <a:pt x="293231" y="308222"/>
                  </a:lnTo>
                  <a:lnTo>
                    <a:pt x="296979" y="305250"/>
                  </a:lnTo>
                  <a:lnTo>
                    <a:pt x="302148" y="303440"/>
                  </a:lnTo>
                  <a:lnTo>
                    <a:pt x="303570" y="301373"/>
                  </a:lnTo>
                  <a:lnTo>
                    <a:pt x="304603" y="298917"/>
                  </a:lnTo>
                  <a:lnTo>
                    <a:pt x="305896" y="296591"/>
                  </a:lnTo>
                  <a:lnTo>
                    <a:pt x="307705" y="295169"/>
                  </a:lnTo>
                  <a:lnTo>
                    <a:pt x="314942" y="292068"/>
                  </a:lnTo>
                  <a:lnTo>
                    <a:pt x="321533" y="290258"/>
                  </a:lnTo>
                  <a:lnTo>
                    <a:pt x="323472" y="288708"/>
                  </a:lnTo>
                  <a:lnTo>
                    <a:pt x="324247" y="287545"/>
                  </a:lnTo>
                  <a:lnTo>
                    <a:pt x="325539" y="284831"/>
                  </a:lnTo>
                  <a:lnTo>
                    <a:pt x="326444" y="283538"/>
                  </a:lnTo>
                  <a:lnTo>
                    <a:pt x="327736" y="282504"/>
                  </a:lnTo>
                  <a:lnTo>
                    <a:pt x="330450" y="280824"/>
                  </a:lnTo>
                  <a:lnTo>
                    <a:pt x="331742" y="279791"/>
                  </a:lnTo>
                  <a:lnTo>
                    <a:pt x="334715" y="275267"/>
                  </a:lnTo>
                  <a:lnTo>
                    <a:pt x="336524" y="273329"/>
                  </a:lnTo>
                  <a:lnTo>
                    <a:pt x="341823" y="270357"/>
                  </a:lnTo>
                  <a:lnTo>
                    <a:pt x="344020" y="268676"/>
                  </a:lnTo>
                  <a:lnTo>
                    <a:pt x="348026" y="264670"/>
                  </a:lnTo>
                  <a:lnTo>
                    <a:pt x="350223" y="262990"/>
                  </a:lnTo>
                  <a:lnTo>
                    <a:pt x="357331" y="258984"/>
                  </a:lnTo>
                  <a:lnTo>
                    <a:pt x="359398" y="257045"/>
                  </a:lnTo>
                  <a:lnTo>
                    <a:pt x="363146" y="252393"/>
                  </a:lnTo>
                  <a:lnTo>
                    <a:pt x="365343" y="250455"/>
                  </a:lnTo>
                  <a:lnTo>
                    <a:pt x="367411" y="249550"/>
                  </a:lnTo>
                  <a:lnTo>
                    <a:pt x="369479" y="249033"/>
                  </a:lnTo>
                  <a:lnTo>
                    <a:pt x="374002" y="248516"/>
                  </a:lnTo>
                  <a:lnTo>
                    <a:pt x="374131" y="249938"/>
                  </a:lnTo>
                  <a:lnTo>
                    <a:pt x="374002" y="250325"/>
                  </a:lnTo>
                  <a:lnTo>
                    <a:pt x="372839" y="252135"/>
                  </a:lnTo>
                  <a:lnTo>
                    <a:pt x="372580" y="253944"/>
                  </a:lnTo>
                  <a:lnTo>
                    <a:pt x="372063" y="255365"/>
                  </a:lnTo>
                  <a:lnTo>
                    <a:pt x="370125" y="256141"/>
                  </a:lnTo>
                  <a:lnTo>
                    <a:pt x="370254" y="256529"/>
                  </a:lnTo>
                  <a:lnTo>
                    <a:pt x="370513" y="257304"/>
                  </a:lnTo>
                  <a:lnTo>
                    <a:pt x="370771" y="257692"/>
                  </a:lnTo>
                  <a:lnTo>
                    <a:pt x="369479" y="258079"/>
                  </a:lnTo>
                  <a:lnTo>
                    <a:pt x="368574" y="259113"/>
                  </a:lnTo>
                  <a:lnTo>
                    <a:pt x="368316" y="260535"/>
                  </a:lnTo>
                  <a:lnTo>
                    <a:pt x="369737" y="263119"/>
                  </a:lnTo>
                  <a:lnTo>
                    <a:pt x="368833" y="263378"/>
                  </a:lnTo>
                  <a:lnTo>
                    <a:pt x="367282" y="263119"/>
                  </a:lnTo>
                  <a:lnTo>
                    <a:pt x="366765" y="262861"/>
                  </a:lnTo>
                  <a:lnTo>
                    <a:pt x="363922" y="262990"/>
                  </a:lnTo>
                  <a:lnTo>
                    <a:pt x="363405" y="263119"/>
                  </a:lnTo>
                  <a:lnTo>
                    <a:pt x="364439" y="265058"/>
                  </a:lnTo>
                  <a:lnTo>
                    <a:pt x="365214" y="268547"/>
                  </a:lnTo>
                  <a:lnTo>
                    <a:pt x="365860" y="270615"/>
                  </a:lnTo>
                  <a:lnTo>
                    <a:pt x="367152" y="272166"/>
                  </a:lnTo>
                  <a:lnTo>
                    <a:pt x="370254" y="274750"/>
                  </a:lnTo>
                  <a:lnTo>
                    <a:pt x="371546" y="276301"/>
                  </a:lnTo>
                  <a:lnTo>
                    <a:pt x="372193" y="278498"/>
                  </a:lnTo>
                  <a:lnTo>
                    <a:pt x="372063" y="280437"/>
                  </a:lnTo>
                  <a:lnTo>
                    <a:pt x="371159" y="282375"/>
                  </a:lnTo>
                  <a:lnTo>
                    <a:pt x="369866" y="284185"/>
                  </a:lnTo>
                  <a:lnTo>
                    <a:pt x="369608" y="284831"/>
                  </a:lnTo>
                  <a:lnTo>
                    <a:pt x="369349" y="286123"/>
                  </a:lnTo>
                  <a:lnTo>
                    <a:pt x="368703" y="286769"/>
                  </a:lnTo>
                  <a:lnTo>
                    <a:pt x="368186" y="286769"/>
                  </a:lnTo>
                  <a:lnTo>
                    <a:pt x="367023" y="286123"/>
                  </a:lnTo>
                  <a:lnTo>
                    <a:pt x="366506" y="286123"/>
                  </a:lnTo>
                  <a:lnTo>
                    <a:pt x="365343" y="286769"/>
                  </a:lnTo>
                  <a:lnTo>
                    <a:pt x="364309" y="287545"/>
                  </a:lnTo>
                  <a:lnTo>
                    <a:pt x="363534" y="288449"/>
                  </a:lnTo>
                  <a:lnTo>
                    <a:pt x="362888" y="289612"/>
                  </a:lnTo>
                  <a:lnTo>
                    <a:pt x="361854" y="294006"/>
                  </a:lnTo>
                  <a:lnTo>
                    <a:pt x="361854" y="300468"/>
                  </a:lnTo>
                  <a:lnTo>
                    <a:pt x="361854" y="305250"/>
                  </a:lnTo>
                  <a:lnTo>
                    <a:pt x="361854" y="314167"/>
                  </a:lnTo>
                  <a:lnTo>
                    <a:pt x="361854" y="327865"/>
                  </a:lnTo>
                  <a:lnTo>
                    <a:pt x="361725" y="341693"/>
                  </a:lnTo>
                  <a:lnTo>
                    <a:pt x="361725" y="355392"/>
                  </a:lnTo>
                  <a:lnTo>
                    <a:pt x="361725" y="369220"/>
                  </a:lnTo>
                  <a:lnTo>
                    <a:pt x="361595" y="382919"/>
                  </a:lnTo>
                  <a:lnTo>
                    <a:pt x="361595" y="396747"/>
                  </a:lnTo>
                  <a:lnTo>
                    <a:pt x="361595" y="410575"/>
                  </a:lnTo>
                  <a:lnTo>
                    <a:pt x="361595" y="419233"/>
                  </a:lnTo>
                  <a:lnTo>
                    <a:pt x="370771" y="411867"/>
                  </a:lnTo>
                  <a:lnTo>
                    <a:pt x="373097" y="411480"/>
                  </a:lnTo>
                  <a:lnTo>
                    <a:pt x="375940" y="413935"/>
                  </a:lnTo>
                  <a:lnTo>
                    <a:pt x="380722" y="419621"/>
                  </a:lnTo>
                  <a:lnTo>
                    <a:pt x="383436" y="422077"/>
                  </a:lnTo>
                  <a:lnTo>
                    <a:pt x="388347" y="424532"/>
                  </a:lnTo>
                  <a:lnTo>
                    <a:pt x="393775" y="425437"/>
                  </a:lnTo>
                  <a:lnTo>
                    <a:pt x="399202" y="425178"/>
                  </a:lnTo>
                  <a:lnTo>
                    <a:pt x="404630" y="424144"/>
                  </a:lnTo>
                  <a:lnTo>
                    <a:pt x="408895" y="422594"/>
                  </a:lnTo>
                  <a:lnTo>
                    <a:pt x="434871" y="409412"/>
                  </a:lnTo>
                  <a:lnTo>
                    <a:pt x="439394" y="409670"/>
                  </a:lnTo>
                  <a:lnTo>
                    <a:pt x="441462" y="410187"/>
                  </a:lnTo>
                  <a:lnTo>
                    <a:pt x="443529" y="410317"/>
                  </a:lnTo>
                  <a:lnTo>
                    <a:pt x="447923" y="410058"/>
                  </a:lnTo>
                  <a:lnTo>
                    <a:pt x="450767" y="410187"/>
                  </a:lnTo>
                  <a:lnTo>
                    <a:pt x="452576" y="410963"/>
                  </a:lnTo>
                  <a:lnTo>
                    <a:pt x="456582" y="413547"/>
                  </a:lnTo>
                  <a:lnTo>
                    <a:pt x="460201" y="414323"/>
                  </a:lnTo>
                  <a:lnTo>
                    <a:pt x="473382" y="412901"/>
                  </a:lnTo>
                  <a:lnTo>
                    <a:pt x="475450" y="412901"/>
                  </a:lnTo>
                  <a:lnTo>
                    <a:pt x="483463" y="413289"/>
                  </a:lnTo>
                  <a:lnTo>
                    <a:pt x="487598" y="412901"/>
                  </a:lnTo>
                  <a:lnTo>
                    <a:pt x="494835" y="411092"/>
                  </a:lnTo>
                  <a:lnTo>
                    <a:pt x="498454" y="411609"/>
                  </a:lnTo>
                  <a:lnTo>
                    <a:pt x="501943" y="412643"/>
                  </a:lnTo>
                  <a:lnTo>
                    <a:pt x="505820" y="413289"/>
                  </a:lnTo>
                  <a:lnTo>
                    <a:pt x="511894" y="413030"/>
                  </a:lnTo>
                  <a:lnTo>
                    <a:pt x="520294" y="414064"/>
                  </a:lnTo>
                  <a:lnTo>
                    <a:pt x="524300" y="414969"/>
                  </a:lnTo>
                  <a:lnTo>
                    <a:pt x="527919" y="414581"/>
                  </a:lnTo>
                  <a:lnTo>
                    <a:pt x="529599" y="414840"/>
                  </a:lnTo>
                  <a:lnTo>
                    <a:pt x="537612" y="418329"/>
                  </a:lnTo>
                  <a:lnTo>
                    <a:pt x="537999" y="418329"/>
                  </a:lnTo>
                  <a:lnTo>
                    <a:pt x="539033" y="418329"/>
                  </a:lnTo>
                  <a:lnTo>
                    <a:pt x="539550" y="418329"/>
                  </a:lnTo>
                  <a:lnTo>
                    <a:pt x="542005" y="418200"/>
                  </a:lnTo>
                  <a:lnTo>
                    <a:pt x="547046" y="419621"/>
                  </a:lnTo>
                  <a:lnTo>
                    <a:pt x="549630" y="419880"/>
                  </a:lnTo>
                  <a:lnTo>
                    <a:pt x="552344" y="419233"/>
                  </a:lnTo>
                  <a:lnTo>
                    <a:pt x="555317" y="418200"/>
                  </a:lnTo>
                  <a:lnTo>
                    <a:pt x="558160" y="417554"/>
                  </a:lnTo>
                  <a:lnTo>
                    <a:pt x="561391" y="418458"/>
                  </a:lnTo>
                  <a:lnTo>
                    <a:pt x="563200" y="419363"/>
                  </a:lnTo>
                  <a:lnTo>
                    <a:pt x="561391" y="421947"/>
                  </a:lnTo>
                  <a:lnTo>
                    <a:pt x="560227" y="424532"/>
                  </a:lnTo>
                  <a:lnTo>
                    <a:pt x="559581" y="427375"/>
                  </a:lnTo>
                  <a:lnTo>
                    <a:pt x="560098" y="431769"/>
                  </a:lnTo>
                  <a:lnTo>
                    <a:pt x="560357" y="432803"/>
                  </a:lnTo>
                  <a:lnTo>
                    <a:pt x="561261" y="433320"/>
                  </a:lnTo>
                  <a:lnTo>
                    <a:pt x="563071" y="433449"/>
                  </a:lnTo>
                  <a:lnTo>
                    <a:pt x="578449" y="430348"/>
                  </a:lnTo>
                  <a:lnTo>
                    <a:pt x="581422" y="428797"/>
                  </a:lnTo>
                  <a:lnTo>
                    <a:pt x="586979" y="424791"/>
                  </a:lnTo>
                  <a:lnTo>
                    <a:pt x="591502" y="423240"/>
                  </a:lnTo>
                  <a:lnTo>
                    <a:pt x="593311" y="422981"/>
                  </a:lnTo>
                  <a:lnTo>
                    <a:pt x="595120" y="422981"/>
                  </a:lnTo>
                  <a:lnTo>
                    <a:pt x="596930" y="423240"/>
                  </a:lnTo>
                  <a:lnTo>
                    <a:pt x="598481" y="422852"/>
                  </a:lnTo>
                  <a:lnTo>
                    <a:pt x="601841" y="419751"/>
                  </a:lnTo>
                  <a:lnTo>
                    <a:pt x="603779" y="418717"/>
                  </a:lnTo>
                  <a:lnTo>
                    <a:pt x="608819" y="418200"/>
                  </a:lnTo>
                  <a:lnTo>
                    <a:pt x="610758" y="417424"/>
                  </a:lnTo>
                  <a:lnTo>
                    <a:pt x="612955" y="415873"/>
                  </a:lnTo>
                  <a:lnTo>
                    <a:pt x="614893" y="413806"/>
                  </a:lnTo>
                  <a:lnTo>
                    <a:pt x="616702" y="411480"/>
                  </a:lnTo>
                  <a:lnTo>
                    <a:pt x="618253" y="409153"/>
                  </a:lnTo>
                  <a:lnTo>
                    <a:pt x="620967" y="402692"/>
                  </a:lnTo>
                  <a:lnTo>
                    <a:pt x="622518" y="400624"/>
                  </a:lnTo>
                  <a:lnTo>
                    <a:pt x="628592" y="394291"/>
                  </a:lnTo>
                  <a:lnTo>
                    <a:pt x="632340" y="387184"/>
                  </a:lnTo>
                  <a:lnTo>
                    <a:pt x="633761" y="385374"/>
                  </a:lnTo>
                  <a:lnTo>
                    <a:pt x="636346" y="383694"/>
                  </a:lnTo>
                  <a:lnTo>
                    <a:pt x="639577" y="382014"/>
                  </a:lnTo>
                  <a:lnTo>
                    <a:pt x="641386" y="381497"/>
                  </a:lnTo>
                  <a:lnTo>
                    <a:pt x="643195" y="381239"/>
                  </a:lnTo>
                  <a:lnTo>
                    <a:pt x="646297" y="381756"/>
                  </a:lnTo>
                  <a:lnTo>
                    <a:pt x="658962" y="381239"/>
                  </a:lnTo>
                  <a:lnTo>
                    <a:pt x="660642" y="381368"/>
                  </a:lnTo>
                  <a:lnTo>
                    <a:pt x="662193" y="381885"/>
                  </a:lnTo>
                  <a:lnTo>
                    <a:pt x="664131" y="383048"/>
                  </a:lnTo>
                  <a:lnTo>
                    <a:pt x="668396" y="386408"/>
                  </a:lnTo>
                  <a:lnTo>
                    <a:pt x="670464" y="387184"/>
                  </a:lnTo>
                  <a:lnTo>
                    <a:pt x="674082" y="386279"/>
                  </a:lnTo>
                  <a:lnTo>
                    <a:pt x="675891" y="383048"/>
                  </a:lnTo>
                  <a:lnTo>
                    <a:pt x="676796" y="379171"/>
                  </a:lnTo>
                  <a:lnTo>
                    <a:pt x="678088" y="375940"/>
                  </a:lnTo>
                  <a:lnTo>
                    <a:pt x="679251" y="374777"/>
                  </a:lnTo>
                  <a:lnTo>
                    <a:pt x="682482" y="372063"/>
                  </a:lnTo>
                  <a:lnTo>
                    <a:pt x="683775" y="370383"/>
                  </a:lnTo>
                  <a:lnTo>
                    <a:pt x="685972" y="367152"/>
                  </a:lnTo>
                  <a:lnTo>
                    <a:pt x="687135" y="365731"/>
                  </a:lnTo>
                  <a:lnTo>
                    <a:pt x="688815" y="364180"/>
                  </a:lnTo>
                  <a:lnTo>
                    <a:pt x="690883" y="363534"/>
                  </a:lnTo>
                  <a:lnTo>
                    <a:pt x="694630" y="361725"/>
                  </a:lnTo>
                  <a:lnTo>
                    <a:pt x="699024" y="360174"/>
                  </a:lnTo>
                  <a:lnTo>
                    <a:pt x="701221" y="358881"/>
                  </a:lnTo>
                  <a:lnTo>
                    <a:pt x="703160" y="357072"/>
                  </a:lnTo>
                  <a:lnTo>
                    <a:pt x="704581" y="355134"/>
                  </a:lnTo>
                  <a:lnTo>
                    <a:pt x="705098" y="353841"/>
                  </a:lnTo>
                  <a:lnTo>
                    <a:pt x="705098" y="352937"/>
                  </a:lnTo>
                  <a:lnTo>
                    <a:pt x="705357" y="352161"/>
                  </a:lnTo>
                  <a:lnTo>
                    <a:pt x="706520" y="351128"/>
                  </a:lnTo>
                  <a:lnTo>
                    <a:pt x="707554" y="350869"/>
                  </a:lnTo>
                  <a:lnTo>
                    <a:pt x="712335" y="350869"/>
                  </a:lnTo>
                  <a:lnTo>
                    <a:pt x="713498" y="350610"/>
                  </a:lnTo>
                  <a:lnTo>
                    <a:pt x="714661" y="350223"/>
                  </a:lnTo>
                  <a:lnTo>
                    <a:pt x="715437" y="349577"/>
                  </a:lnTo>
                  <a:lnTo>
                    <a:pt x="715566" y="348543"/>
                  </a:lnTo>
                  <a:lnTo>
                    <a:pt x="715049" y="346087"/>
                  </a:lnTo>
                  <a:lnTo>
                    <a:pt x="715178" y="345183"/>
                  </a:lnTo>
                  <a:lnTo>
                    <a:pt x="716729" y="344407"/>
                  </a:lnTo>
                  <a:lnTo>
                    <a:pt x="719185" y="344020"/>
                  </a:lnTo>
                  <a:lnTo>
                    <a:pt x="723579" y="343890"/>
                  </a:lnTo>
                  <a:lnTo>
                    <a:pt x="725517" y="344149"/>
                  </a:lnTo>
                  <a:lnTo>
                    <a:pt x="729782" y="345312"/>
                  </a:lnTo>
                  <a:lnTo>
                    <a:pt x="731591" y="345312"/>
                  </a:lnTo>
                  <a:lnTo>
                    <a:pt x="732883" y="344537"/>
                  </a:lnTo>
                  <a:lnTo>
                    <a:pt x="733659" y="343244"/>
                  </a:lnTo>
                  <a:lnTo>
                    <a:pt x="734305" y="342081"/>
                  </a:lnTo>
                  <a:lnTo>
                    <a:pt x="735080" y="341177"/>
                  </a:lnTo>
                  <a:lnTo>
                    <a:pt x="736114" y="340789"/>
                  </a:lnTo>
                  <a:lnTo>
                    <a:pt x="738440" y="340660"/>
                  </a:lnTo>
                  <a:lnTo>
                    <a:pt x="739604" y="340530"/>
                  </a:lnTo>
                  <a:lnTo>
                    <a:pt x="744514" y="337687"/>
                  </a:lnTo>
                  <a:lnTo>
                    <a:pt x="761702" y="319982"/>
                  </a:lnTo>
                  <a:lnTo>
                    <a:pt x="775918" y="309127"/>
                  </a:lnTo>
                  <a:lnTo>
                    <a:pt x="777986" y="308093"/>
                  </a:lnTo>
                  <a:lnTo>
                    <a:pt x="786645" y="304733"/>
                  </a:lnTo>
                  <a:lnTo>
                    <a:pt x="787678" y="304086"/>
                  </a:lnTo>
                  <a:lnTo>
                    <a:pt x="788325" y="303182"/>
                  </a:lnTo>
                  <a:lnTo>
                    <a:pt x="788583" y="302019"/>
                  </a:lnTo>
                  <a:lnTo>
                    <a:pt x="788971" y="300856"/>
                  </a:lnTo>
                  <a:lnTo>
                    <a:pt x="788971" y="300856"/>
                  </a:lnTo>
                  <a:close/>
                </a:path>
              </a:pathLst>
            </a:custGeom>
            <a:grpFill/>
            <a:ln w="3810" cap="rnd">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grpSp>
    </p:spTree>
    <p:extLst>
      <p:ext uri="{BB962C8B-B14F-4D97-AF65-F5344CB8AC3E}">
        <p14:creationId xmlns:p14="http://schemas.microsoft.com/office/powerpoint/2010/main" val="24789725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8196CB-7F77-920A-E9F7-9AF2D9DA0F65}"/>
              </a:ext>
            </a:extLst>
          </p:cNvPr>
          <p:cNvGraphicFramePr>
            <a:graphicFrameLocks noChangeAspect="1"/>
          </p:cNvGraphicFramePr>
          <p:nvPr userDrawn="1">
            <p:custDataLst>
              <p:tags r:id="rId1"/>
            </p:custDataLst>
            <p:extLst>
              <p:ext uri="{D42A27DB-BD31-4B8C-83A1-F6EECF244321}">
                <p14:modId xmlns:p14="http://schemas.microsoft.com/office/powerpoint/2010/main" val="41647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368196CB-7F77-920A-E9F7-9AF2D9DA0F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984569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ente Título">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F3C9E7-E9A3-883E-CD78-03B926666E9D}"/>
              </a:ext>
            </a:extLst>
          </p:cNvPr>
          <p:cNvGraphicFramePr>
            <a:graphicFrameLocks noChangeAspect="1"/>
          </p:cNvGraphicFramePr>
          <p:nvPr userDrawn="1">
            <p:custDataLst>
              <p:tags r:id="rId1"/>
            </p:custDataLst>
            <p:extLst>
              <p:ext uri="{D42A27DB-BD31-4B8C-83A1-F6EECF244321}">
                <p14:modId xmlns:p14="http://schemas.microsoft.com/office/powerpoint/2010/main" val="4202550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6" name="think-cell data - do not delete" hidden="1">
                        <a:extLst>
                          <a:ext uri="{FF2B5EF4-FFF2-40B4-BE49-F238E27FC236}">
                            <a16:creationId xmlns:a16="http://schemas.microsoft.com/office/drawing/2014/main" id="{1EF3C9E7-E9A3-883E-CD78-03B92666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072389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Em Branco">
    <p:bg>
      <p:bgPr>
        <a:solidFill>
          <a:srgbClr val="EEF6F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4703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1_Em Branc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84190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de Título">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5CD3BB-5BCC-5F30-5EC7-595E38B16A7E}"/>
              </a:ext>
            </a:extLst>
          </p:cNvPr>
          <p:cNvGraphicFramePr>
            <a:graphicFrameLocks noChangeAspect="1"/>
          </p:cNvGraphicFramePr>
          <p:nvPr userDrawn="1">
            <p:custDataLst>
              <p:tags r:id="rId1"/>
            </p:custDataLst>
            <p:extLst>
              <p:ext uri="{D42A27DB-BD31-4B8C-83A1-F6EECF244321}">
                <p14:modId xmlns:p14="http://schemas.microsoft.com/office/powerpoint/2010/main" val="183477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7" name="think-cell data - do not delete" hidden="1">
                        <a:extLst>
                          <a:ext uri="{FF2B5EF4-FFF2-40B4-BE49-F238E27FC236}">
                            <a16:creationId xmlns:a16="http://schemas.microsoft.com/office/drawing/2014/main" id="{CC5CD3BB-5BCC-5F30-5EC7-595E38B16A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606031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68196CB-7F77-920A-E9F7-9AF2D9DA0F65}"/>
              </a:ext>
            </a:extLst>
          </p:cNvPr>
          <p:cNvGraphicFramePr>
            <a:graphicFrameLocks noChangeAspect="1"/>
          </p:cNvGraphicFramePr>
          <p:nvPr userDrawn="1">
            <p:custDataLst>
              <p:tags r:id="rId1"/>
            </p:custDataLst>
            <p:extLst>
              <p:ext uri="{D42A27DB-BD31-4B8C-83A1-F6EECF244321}">
                <p14:modId xmlns:p14="http://schemas.microsoft.com/office/powerpoint/2010/main" val="41647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368196CB-7F77-920A-E9F7-9AF2D9DA0F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91383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mente Título">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F3C9E7-E9A3-883E-CD78-03B926666E9D}"/>
              </a:ext>
            </a:extLst>
          </p:cNvPr>
          <p:cNvGraphicFramePr>
            <a:graphicFrameLocks noChangeAspect="1"/>
          </p:cNvGraphicFramePr>
          <p:nvPr userDrawn="1">
            <p:custDataLst>
              <p:tags r:id="rId1"/>
            </p:custDataLst>
            <p:extLst>
              <p:ext uri="{D42A27DB-BD31-4B8C-83A1-F6EECF244321}">
                <p14:modId xmlns:p14="http://schemas.microsoft.com/office/powerpoint/2010/main" val="4202550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6" name="think-cell data - do not delete" hidden="1">
                        <a:extLst>
                          <a:ext uri="{FF2B5EF4-FFF2-40B4-BE49-F238E27FC236}">
                            <a16:creationId xmlns:a16="http://schemas.microsoft.com/office/drawing/2014/main" id="{1EF3C9E7-E9A3-883E-CD78-03B92666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226460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 Branco">
    <p:bg>
      <p:bgPr>
        <a:solidFill>
          <a:srgbClr val="EEF6F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2759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ags" Target="../tags/tag6.xml"/><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EF6F9"/>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7C2C864-45BD-A171-1E16-D27BE0787EAC}"/>
              </a:ext>
            </a:extLst>
          </p:cNvPr>
          <p:cNvGraphicFramePr>
            <a:graphicFrameLocks noChangeAspect="1"/>
          </p:cNvGraphicFramePr>
          <p:nvPr userDrawn="1">
            <p:custDataLst>
              <p:tags r:id="rId7"/>
            </p:custDataLst>
            <p:extLst>
              <p:ext uri="{D42A27DB-BD31-4B8C-83A1-F6EECF244321}">
                <p14:modId xmlns:p14="http://schemas.microsoft.com/office/powerpoint/2010/main" val="3080505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8" progId="TCLayout.ActiveDocument.1">
                  <p:embed/>
                </p:oleObj>
              </mc:Choice>
              <mc:Fallback>
                <p:oleObj name="think-cell Slide" r:id="rId8" imgW="306" imgH="308" progId="TCLayout.ActiveDocument.1">
                  <p:embed/>
                  <p:pic>
                    <p:nvPicPr>
                      <p:cNvPr id="8" name="think-cell data - do not delete" hidden="1">
                        <a:extLst>
                          <a:ext uri="{FF2B5EF4-FFF2-40B4-BE49-F238E27FC236}">
                            <a16:creationId xmlns:a16="http://schemas.microsoft.com/office/drawing/2014/main" id="{87C2C864-45BD-A171-1E16-D27BE0787EA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6E640EE1-FBA4-E208-B239-6AC76EE079A8}"/>
              </a:ext>
            </a:extLst>
          </p:cNvPr>
          <p:cNvSpPr/>
          <p:nvPr userDrawn="1"/>
        </p:nvSpPr>
        <p:spPr>
          <a:xfrm>
            <a:off x="1168400" y="-787400"/>
            <a:ext cx="584200" cy="584200"/>
          </a:xfrm>
          <a:prstGeom prst="rect">
            <a:avLst/>
          </a:prstGeom>
          <a:solidFill>
            <a:srgbClr val="445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3" name="Rectangle 52">
            <a:extLst>
              <a:ext uri="{FF2B5EF4-FFF2-40B4-BE49-F238E27FC236}">
                <a16:creationId xmlns:a16="http://schemas.microsoft.com/office/drawing/2014/main" id="{FFDF260D-C4B1-53D8-445B-5C2EB8C4E599}"/>
              </a:ext>
            </a:extLst>
          </p:cNvPr>
          <p:cNvSpPr/>
          <p:nvPr userDrawn="1"/>
        </p:nvSpPr>
        <p:spPr>
          <a:xfrm>
            <a:off x="1896533" y="-787400"/>
            <a:ext cx="584200" cy="584200"/>
          </a:xfrm>
          <a:prstGeom prst="rect">
            <a:avLst/>
          </a:prstGeom>
          <a:solidFill>
            <a:srgbClr val="493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4" name="Rectangle 53">
            <a:extLst>
              <a:ext uri="{FF2B5EF4-FFF2-40B4-BE49-F238E27FC236}">
                <a16:creationId xmlns:a16="http://schemas.microsoft.com/office/drawing/2014/main" id="{B61050C1-BA69-C637-BE7C-584E73892D8A}"/>
              </a:ext>
            </a:extLst>
          </p:cNvPr>
          <p:cNvSpPr/>
          <p:nvPr userDrawn="1"/>
        </p:nvSpPr>
        <p:spPr>
          <a:xfrm>
            <a:off x="2624666" y="-787400"/>
            <a:ext cx="584200" cy="584200"/>
          </a:xfrm>
          <a:prstGeom prst="rect">
            <a:avLst/>
          </a:prstGeom>
          <a:solidFill>
            <a:srgbClr val="8FC6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5" name="Rectangle 54">
            <a:extLst>
              <a:ext uri="{FF2B5EF4-FFF2-40B4-BE49-F238E27FC236}">
                <a16:creationId xmlns:a16="http://schemas.microsoft.com/office/drawing/2014/main" id="{0A0FAE2A-6865-C93F-BF8F-0691D33F924D}"/>
              </a:ext>
            </a:extLst>
          </p:cNvPr>
          <p:cNvSpPr/>
          <p:nvPr userDrawn="1"/>
        </p:nvSpPr>
        <p:spPr>
          <a:xfrm>
            <a:off x="3352800" y="-787400"/>
            <a:ext cx="584200" cy="584200"/>
          </a:xfrm>
          <a:prstGeom prst="rect">
            <a:avLst/>
          </a:prstGeom>
          <a:solidFill>
            <a:srgbClr val="3698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4587042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5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EF6F9"/>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7C2C864-45BD-A171-1E16-D27BE0787EAC}"/>
              </a:ext>
            </a:extLst>
          </p:cNvPr>
          <p:cNvGraphicFramePr>
            <a:graphicFrameLocks noChangeAspect="1"/>
          </p:cNvGraphicFramePr>
          <p:nvPr userDrawn="1">
            <p:custDataLst>
              <p:tags r:id="rId11"/>
            </p:custDataLst>
            <p:extLst>
              <p:ext uri="{D42A27DB-BD31-4B8C-83A1-F6EECF244321}">
                <p14:modId xmlns:p14="http://schemas.microsoft.com/office/powerpoint/2010/main" val="3080505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06" imgH="308" progId="TCLayout.ActiveDocument.1">
                  <p:embed/>
                </p:oleObj>
              </mc:Choice>
              <mc:Fallback>
                <p:oleObj name="think-cell Slide" r:id="rId12" imgW="306" imgH="308" progId="TCLayout.ActiveDocument.1">
                  <p:embed/>
                  <p:pic>
                    <p:nvPicPr>
                      <p:cNvPr id="8" name="think-cell data - do not delete" hidden="1">
                        <a:extLst>
                          <a:ext uri="{FF2B5EF4-FFF2-40B4-BE49-F238E27FC236}">
                            <a16:creationId xmlns:a16="http://schemas.microsoft.com/office/drawing/2014/main" id="{87C2C864-45BD-A171-1E16-D27BE0787EA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6E640EE1-FBA4-E208-B239-6AC76EE079A8}"/>
              </a:ext>
            </a:extLst>
          </p:cNvPr>
          <p:cNvSpPr/>
          <p:nvPr userDrawn="1"/>
        </p:nvSpPr>
        <p:spPr>
          <a:xfrm>
            <a:off x="1168400" y="-787400"/>
            <a:ext cx="584200" cy="584200"/>
          </a:xfrm>
          <a:prstGeom prst="rect">
            <a:avLst/>
          </a:prstGeom>
          <a:solidFill>
            <a:srgbClr val="445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3" name="Rectangle 52">
            <a:extLst>
              <a:ext uri="{FF2B5EF4-FFF2-40B4-BE49-F238E27FC236}">
                <a16:creationId xmlns:a16="http://schemas.microsoft.com/office/drawing/2014/main" id="{FFDF260D-C4B1-53D8-445B-5C2EB8C4E599}"/>
              </a:ext>
            </a:extLst>
          </p:cNvPr>
          <p:cNvSpPr/>
          <p:nvPr userDrawn="1"/>
        </p:nvSpPr>
        <p:spPr>
          <a:xfrm>
            <a:off x="1896533" y="-787400"/>
            <a:ext cx="584200" cy="584200"/>
          </a:xfrm>
          <a:prstGeom prst="rect">
            <a:avLst/>
          </a:prstGeom>
          <a:solidFill>
            <a:srgbClr val="493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4" name="Rectangle 53">
            <a:extLst>
              <a:ext uri="{FF2B5EF4-FFF2-40B4-BE49-F238E27FC236}">
                <a16:creationId xmlns:a16="http://schemas.microsoft.com/office/drawing/2014/main" id="{B61050C1-BA69-C637-BE7C-584E73892D8A}"/>
              </a:ext>
            </a:extLst>
          </p:cNvPr>
          <p:cNvSpPr/>
          <p:nvPr userDrawn="1"/>
        </p:nvSpPr>
        <p:spPr>
          <a:xfrm>
            <a:off x="2624666" y="-787400"/>
            <a:ext cx="584200" cy="584200"/>
          </a:xfrm>
          <a:prstGeom prst="rect">
            <a:avLst/>
          </a:prstGeom>
          <a:solidFill>
            <a:srgbClr val="8FC6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5" name="Rectangle 54">
            <a:extLst>
              <a:ext uri="{FF2B5EF4-FFF2-40B4-BE49-F238E27FC236}">
                <a16:creationId xmlns:a16="http://schemas.microsoft.com/office/drawing/2014/main" id="{0A0FAE2A-6865-C93F-BF8F-0691D33F924D}"/>
              </a:ext>
            </a:extLst>
          </p:cNvPr>
          <p:cNvSpPr/>
          <p:nvPr userDrawn="1"/>
        </p:nvSpPr>
        <p:spPr>
          <a:xfrm>
            <a:off x="3352800" y="-787400"/>
            <a:ext cx="584200" cy="584200"/>
          </a:xfrm>
          <a:prstGeom prst="rect">
            <a:avLst/>
          </a:prstGeom>
          <a:solidFill>
            <a:srgbClr val="3698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761359958"/>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www.revistas.usp.br/rmrp" TargetMode="External"/><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10.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2.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3.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3.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4.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5.emf"/><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6.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Imagem 10">
            <a:extLst>
              <a:ext uri="{FF2B5EF4-FFF2-40B4-BE49-F238E27FC236}">
                <a16:creationId xmlns:a16="http://schemas.microsoft.com/office/drawing/2014/main" id="{37B5A8BD-A999-9992-82F3-E89FA5786725}"/>
              </a:ext>
            </a:extLst>
          </p:cNvPr>
          <p:cNvPicPr>
            <a:picLocks noChangeAspect="1"/>
          </p:cNvPicPr>
          <p:nvPr/>
        </p:nvPicPr>
        <p:blipFill>
          <a:blip r:embed="rId3"/>
          <a:stretch>
            <a:fillRect/>
          </a:stretch>
        </p:blipFill>
        <p:spPr>
          <a:xfrm>
            <a:off x="0" y="5963336"/>
            <a:ext cx="12192000" cy="894664"/>
          </a:xfrm>
          <a:prstGeom prst="rect">
            <a:avLst/>
          </a:prstGeom>
        </p:spPr>
      </p:pic>
      <p:grpSp>
        <p:nvGrpSpPr>
          <p:cNvPr id="55" name="Group 54">
            <a:extLst>
              <a:ext uri="{FF2B5EF4-FFF2-40B4-BE49-F238E27FC236}">
                <a16:creationId xmlns:a16="http://schemas.microsoft.com/office/drawing/2014/main" id="{05E544A2-8418-1A4B-D2A8-D7FB2089DE48}"/>
              </a:ext>
            </a:extLst>
          </p:cNvPr>
          <p:cNvGrpSpPr/>
          <p:nvPr/>
        </p:nvGrpSpPr>
        <p:grpSpPr>
          <a:xfrm>
            <a:off x="5713112" y="4423387"/>
            <a:ext cx="5865016" cy="1254913"/>
            <a:chOff x="6337535" y="4856398"/>
            <a:chExt cx="5409389" cy="1254913"/>
          </a:xfrm>
        </p:grpSpPr>
        <p:sp>
          <p:nvSpPr>
            <p:cNvPr id="13" name="Título 1">
              <a:extLst>
                <a:ext uri="{FF2B5EF4-FFF2-40B4-BE49-F238E27FC236}">
                  <a16:creationId xmlns:a16="http://schemas.microsoft.com/office/drawing/2014/main" id="{51FBB5EF-E660-F3DC-7A81-EB4D798D6D57}"/>
                </a:ext>
              </a:extLst>
            </p:cNvPr>
            <p:cNvSpPr txBox="1">
              <a:spLocks/>
            </p:cNvSpPr>
            <p:nvPr/>
          </p:nvSpPr>
          <p:spPr>
            <a:xfrm>
              <a:off x="6669476" y="4856398"/>
              <a:ext cx="5077448" cy="1254913"/>
            </a:xfrm>
            <a:prstGeom prst="rect">
              <a:avLst/>
            </a:prstGeom>
            <a:effectLst/>
          </p:spPr>
          <p:txBody>
            <a:bodyPr vert="horz" lIns="91440" tIns="45720" rIns="91440" bIns="45720" rtlCol="0" anchor="ctr">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pt-BR" sz="5100" b="1" kern="1200" noProof="1">
                  <a:solidFill>
                    <a:srgbClr val="FFFFFF"/>
                  </a:solidFill>
                  <a:latin typeface="+mn-lt"/>
                  <a:ea typeface="+mj-ea"/>
                  <a:cs typeface="+mj-cs"/>
                </a:rPr>
                <a:t>Seleção</a:t>
              </a:r>
              <a:r>
                <a:rPr lang="pt-BR" sz="5100" b="1" kern="1200" dirty="0">
                  <a:solidFill>
                    <a:srgbClr val="FFFFFF"/>
                  </a:solidFill>
                  <a:latin typeface="+mn-lt"/>
                  <a:ea typeface="+mj-ea"/>
                  <a:cs typeface="+mj-cs"/>
                </a:rPr>
                <a:t> do tubo orotraqueal e Cuidados com fixação</a:t>
              </a:r>
              <a:endParaRPr lang="pt-BR" sz="5100" b="1" dirty="0"/>
            </a:p>
            <a:p>
              <a:pPr algn="l"/>
              <a:endParaRPr lang="en-US" sz="4800" b="1" dirty="0">
                <a:solidFill>
                  <a:schemeClr val="bg1"/>
                </a:solidFill>
                <a:latin typeface="Century Gothic" panose="020B0502020202020204" pitchFamily="34" charset="0"/>
                <a:cs typeface="Calibri"/>
              </a:endParaRPr>
            </a:p>
          </p:txBody>
        </p:sp>
        <p:sp>
          <p:nvSpPr>
            <p:cNvPr id="54" name="Título 1">
              <a:extLst>
                <a:ext uri="{FF2B5EF4-FFF2-40B4-BE49-F238E27FC236}">
                  <a16:creationId xmlns:a16="http://schemas.microsoft.com/office/drawing/2014/main" id="{C932A6A2-490D-BDFB-385C-AD82FC517806}"/>
                </a:ext>
              </a:extLst>
            </p:cNvPr>
            <p:cNvSpPr txBox="1">
              <a:spLocks/>
            </p:cNvSpPr>
            <p:nvPr/>
          </p:nvSpPr>
          <p:spPr>
            <a:xfrm>
              <a:off x="6337535" y="4856398"/>
              <a:ext cx="4002547" cy="648661"/>
            </a:xfrm>
            <a:prstGeom prst="rect">
              <a:avLst/>
            </a:prstGeom>
            <a:effectLst/>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US" sz="3600" dirty="0">
                <a:solidFill>
                  <a:schemeClr val="bg1"/>
                </a:solidFill>
                <a:latin typeface="Century Gothic" panose="020B0502020202020204" pitchFamily="34" charset="0"/>
                <a:ea typeface="Calibri"/>
                <a:cs typeface="Calibri"/>
              </a:endParaRPr>
            </a:p>
          </p:txBody>
        </p:sp>
      </p:grpSp>
      <p:grpSp>
        <p:nvGrpSpPr>
          <p:cNvPr id="102" name="Group 101">
            <a:extLst>
              <a:ext uri="{FF2B5EF4-FFF2-40B4-BE49-F238E27FC236}">
                <a16:creationId xmlns:a16="http://schemas.microsoft.com/office/drawing/2014/main" id="{8935E77D-9569-EA94-9832-4DC95AA538FA}"/>
              </a:ext>
            </a:extLst>
          </p:cNvPr>
          <p:cNvGrpSpPr/>
          <p:nvPr/>
        </p:nvGrpSpPr>
        <p:grpSpPr>
          <a:xfrm>
            <a:off x="892174" y="1370174"/>
            <a:ext cx="2943225" cy="3254052"/>
            <a:chOff x="930275" y="2289175"/>
            <a:chExt cx="2153792" cy="2381249"/>
          </a:xfrm>
        </p:grpSpPr>
        <p:sp>
          <p:nvSpPr>
            <p:cNvPr id="59" name="Freeform: Shape 58">
              <a:extLst>
                <a:ext uri="{FF2B5EF4-FFF2-40B4-BE49-F238E27FC236}">
                  <a16:creationId xmlns:a16="http://schemas.microsoft.com/office/drawing/2014/main" id="{8A990761-0099-39D5-B134-F1569F6C37F4}"/>
                </a:ext>
              </a:extLst>
            </p:cNvPr>
            <p:cNvSpPr/>
            <p:nvPr/>
          </p:nvSpPr>
          <p:spPr>
            <a:xfrm>
              <a:off x="930275" y="3651630"/>
              <a:ext cx="364521" cy="474630"/>
            </a:xfrm>
            <a:custGeom>
              <a:avLst/>
              <a:gdLst>
                <a:gd name="connsiteX0" fmla="*/ 195834 w 364521"/>
                <a:gd name="connsiteY0" fmla="*/ 474631 h 474630"/>
                <a:gd name="connsiteX1" fmla="*/ 92297 w 364521"/>
                <a:gd name="connsiteY1" fmla="*/ 456533 h 474630"/>
                <a:gd name="connsiteX2" fmla="*/ 0 w 364521"/>
                <a:gd name="connsiteY2" fmla="*/ 400812 h 474630"/>
                <a:gd name="connsiteX3" fmla="*/ 60008 w 364521"/>
                <a:gd name="connsiteY3" fmla="*/ 328994 h 474630"/>
                <a:gd name="connsiteX4" fmla="*/ 124968 w 364521"/>
                <a:gd name="connsiteY4" fmla="*/ 369856 h 474630"/>
                <a:gd name="connsiteX5" fmla="*/ 197834 w 364521"/>
                <a:gd name="connsiteY5" fmla="*/ 385001 h 474630"/>
                <a:gd name="connsiteX6" fmla="*/ 246983 w 364521"/>
                <a:gd name="connsiteY6" fmla="*/ 373475 h 474630"/>
                <a:gd name="connsiteX7" fmla="*/ 264414 w 364521"/>
                <a:gd name="connsiteY7" fmla="*/ 341471 h 474630"/>
                <a:gd name="connsiteX8" fmla="*/ 264414 w 364521"/>
                <a:gd name="connsiteY8" fmla="*/ 340138 h 474630"/>
                <a:gd name="connsiteX9" fmla="*/ 260794 w 364521"/>
                <a:gd name="connsiteY9" fmla="*/ 322707 h 474630"/>
                <a:gd name="connsiteX10" fmla="*/ 246888 w 364521"/>
                <a:gd name="connsiteY10" fmla="*/ 308515 h 474630"/>
                <a:gd name="connsiteX11" fmla="*/ 218504 w 364521"/>
                <a:gd name="connsiteY11" fmla="*/ 295370 h 474630"/>
                <a:gd name="connsiteX12" fmla="*/ 171260 w 364521"/>
                <a:gd name="connsiteY12" fmla="*/ 281559 h 474630"/>
                <a:gd name="connsiteX13" fmla="*/ 107823 w 364521"/>
                <a:gd name="connsiteY13" fmla="*/ 262414 h 474630"/>
                <a:gd name="connsiteX14" fmla="*/ 59531 w 364521"/>
                <a:gd name="connsiteY14" fmla="*/ 236411 h 474630"/>
                <a:gd name="connsiteX15" fmla="*/ 28766 w 364521"/>
                <a:gd name="connsiteY15" fmla="*/ 197834 h 474630"/>
                <a:gd name="connsiteX16" fmla="*/ 17812 w 364521"/>
                <a:gd name="connsiteY16" fmla="*/ 140494 h 474630"/>
                <a:gd name="connsiteX17" fmla="*/ 17812 w 364521"/>
                <a:gd name="connsiteY17" fmla="*/ 139160 h 474630"/>
                <a:gd name="connsiteX18" fmla="*/ 29623 w 364521"/>
                <a:gd name="connsiteY18" fmla="*/ 82106 h 474630"/>
                <a:gd name="connsiteX19" fmla="*/ 62675 w 364521"/>
                <a:gd name="connsiteY19" fmla="*/ 38291 h 474630"/>
                <a:gd name="connsiteX20" fmla="*/ 113538 w 364521"/>
                <a:gd name="connsiteY20" fmla="*/ 9906 h 474630"/>
                <a:gd name="connsiteX21" fmla="*/ 178689 w 364521"/>
                <a:gd name="connsiteY21" fmla="*/ 0 h 474630"/>
                <a:gd name="connsiteX22" fmla="*/ 271939 w 364521"/>
                <a:gd name="connsiteY22" fmla="*/ 15145 h 474630"/>
                <a:gd name="connsiteX23" fmla="*/ 350044 w 364521"/>
                <a:gd name="connsiteY23" fmla="*/ 58674 h 474630"/>
                <a:gd name="connsiteX24" fmla="*/ 297275 w 364521"/>
                <a:gd name="connsiteY24" fmla="*/ 135160 h 474630"/>
                <a:gd name="connsiteX25" fmla="*/ 236601 w 364521"/>
                <a:gd name="connsiteY25" fmla="*/ 101822 h 474630"/>
                <a:gd name="connsiteX26" fmla="*/ 177260 w 364521"/>
                <a:gd name="connsiteY26" fmla="*/ 89630 h 474630"/>
                <a:gd name="connsiteX27" fmla="*/ 132779 w 364521"/>
                <a:gd name="connsiteY27" fmla="*/ 101156 h 474630"/>
                <a:gd name="connsiteX28" fmla="*/ 117920 w 364521"/>
                <a:gd name="connsiteY28" fmla="*/ 129826 h 474630"/>
                <a:gd name="connsiteX29" fmla="*/ 117920 w 364521"/>
                <a:gd name="connsiteY29" fmla="*/ 131159 h 474630"/>
                <a:gd name="connsiteX30" fmla="*/ 122206 w 364521"/>
                <a:gd name="connsiteY30" fmla="*/ 150590 h 474630"/>
                <a:gd name="connsiteX31" fmla="*/ 137732 w 364521"/>
                <a:gd name="connsiteY31" fmla="*/ 165449 h 474630"/>
                <a:gd name="connsiteX32" fmla="*/ 168497 w 364521"/>
                <a:gd name="connsiteY32" fmla="*/ 177927 h 474630"/>
                <a:gd name="connsiteX33" fmla="*/ 217742 w 364521"/>
                <a:gd name="connsiteY33" fmla="*/ 191738 h 474630"/>
                <a:gd name="connsiteX34" fmla="*/ 280226 w 364521"/>
                <a:gd name="connsiteY34" fmla="*/ 212503 h 474630"/>
                <a:gd name="connsiteX35" fmla="*/ 326517 w 364521"/>
                <a:gd name="connsiteY35" fmla="*/ 240221 h 474630"/>
                <a:gd name="connsiteX36" fmla="*/ 354901 w 364521"/>
                <a:gd name="connsiteY36" fmla="*/ 278130 h 474630"/>
                <a:gd name="connsiteX37" fmla="*/ 364522 w 364521"/>
                <a:gd name="connsiteY37" fmla="*/ 330232 h 474630"/>
                <a:gd name="connsiteX38" fmla="*/ 364522 w 364521"/>
                <a:gd name="connsiteY38" fmla="*/ 331565 h 474630"/>
                <a:gd name="connsiteX39" fmla="*/ 352044 w 364521"/>
                <a:gd name="connsiteY39" fmla="*/ 392525 h 474630"/>
                <a:gd name="connsiteX40" fmla="*/ 317373 w 364521"/>
                <a:gd name="connsiteY40" fmla="*/ 437388 h 474630"/>
                <a:gd name="connsiteX41" fmla="*/ 264224 w 364521"/>
                <a:gd name="connsiteY41" fmla="*/ 465106 h 474630"/>
                <a:gd name="connsiteX42" fmla="*/ 195739 w 364521"/>
                <a:gd name="connsiteY42" fmla="*/ 474631 h 47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4521" h="474630">
                  <a:moveTo>
                    <a:pt x="195834" y="474631"/>
                  </a:moveTo>
                  <a:cubicBezTo>
                    <a:pt x="160687" y="474631"/>
                    <a:pt x="126206" y="468630"/>
                    <a:pt x="92297" y="456533"/>
                  </a:cubicBezTo>
                  <a:cubicBezTo>
                    <a:pt x="58484" y="444437"/>
                    <a:pt x="27718" y="425863"/>
                    <a:pt x="0" y="400812"/>
                  </a:cubicBezTo>
                  <a:lnTo>
                    <a:pt x="60008" y="328994"/>
                  </a:lnTo>
                  <a:cubicBezTo>
                    <a:pt x="81058" y="346139"/>
                    <a:pt x="102775" y="359759"/>
                    <a:pt x="124968" y="369856"/>
                  </a:cubicBezTo>
                  <a:cubicBezTo>
                    <a:pt x="147161" y="379952"/>
                    <a:pt x="171450" y="385001"/>
                    <a:pt x="197834" y="385001"/>
                  </a:cubicBezTo>
                  <a:cubicBezTo>
                    <a:pt x="218885" y="385001"/>
                    <a:pt x="235268" y="381191"/>
                    <a:pt x="246983" y="373475"/>
                  </a:cubicBezTo>
                  <a:cubicBezTo>
                    <a:pt x="258604" y="365760"/>
                    <a:pt x="264414" y="355092"/>
                    <a:pt x="264414" y="341471"/>
                  </a:cubicBezTo>
                  <a:lnTo>
                    <a:pt x="264414" y="340138"/>
                  </a:lnTo>
                  <a:cubicBezTo>
                    <a:pt x="264414" y="333566"/>
                    <a:pt x="263176" y="327755"/>
                    <a:pt x="260794" y="322707"/>
                  </a:cubicBezTo>
                  <a:cubicBezTo>
                    <a:pt x="258318" y="317659"/>
                    <a:pt x="253746" y="312896"/>
                    <a:pt x="246888" y="308515"/>
                  </a:cubicBezTo>
                  <a:cubicBezTo>
                    <a:pt x="240030" y="304133"/>
                    <a:pt x="230600" y="299752"/>
                    <a:pt x="218504" y="295370"/>
                  </a:cubicBezTo>
                  <a:cubicBezTo>
                    <a:pt x="206407" y="290989"/>
                    <a:pt x="190595" y="286322"/>
                    <a:pt x="171260" y="281559"/>
                  </a:cubicBezTo>
                  <a:cubicBezTo>
                    <a:pt x="147923" y="275844"/>
                    <a:pt x="126778" y="269462"/>
                    <a:pt x="107823" y="262414"/>
                  </a:cubicBezTo>
                  <a:cubicBezTo>
                    <a:pt x="88868" y="255365"/>
                    <a:pt x="72771" y="246698"/>
                    <a:pt x="59531" y="236411"/>
                  </a:cubicBezTo>
                  <a:cubicBezTo>
                    <a:pt x="46292" y="226124"/>
                    <a:pt x="36100" y="213265"/>
                    <a:pt x="28766" y="197834"/>
                  </a:cubicBezTo>
                  <a:cubicBezTo>
                    <a:pt x="21431" y="182404"/>
                    <a:pt x="17812" y="163354"/>
                    <a:pt x="17812" y="140494"/>
                  </a:cubicBezTo>
                  <a:lnTo>
                    <a:pt x="17812" y="139160"/>
                  </a:lnTo>
                  <a:cubicBezTo>
                    <a:pt x="17812" y="118110"/>
                    <a:pt x="21717" y="99060"/>
                    <a:pt x="29623" y="82106"/>
                  </a:cubicBezTo>
                  <a:cubicBezTo>
                    <a:pt x="37529" y="65151"/>
                    <a:pt x="48482" y="50578"/>
                    <a:pt x="62675" y="38291"/>
                  </a:cubicBezTo>
                  <a:cubicBezTo>
                    <a:pt x="76867" y="26003"/>
                    <a:pt x="93821" y="16574"/>
                    <a:pt x="113538" y="9906"/>
                  </a:cubicBezTo>
                  <a:cubicBezTo>
                    <a:pt x="133255" y="3334"/>
                    <a:pt x="154972" y="0"/>
                    <a:pt x="178689" y="0"/>
                  </a:cubicBezTo>
                  <a:cubicBezTo>
                    <a:pt x="212503" y="0"/>
                    <a:pt x="243650" y="5048"/>
                    <a:pt x="271939" y="15145"/>
                  </a:cubicBezTo>
                  <a:cubicBezTo>
                    <a:pt x="300323" y="25241"/>
                    <a:pt x="326326" y="39719"/>
                    <a:pt x="350044" y="58674"/>
                  </a:cubicBezTo>
                  <a:lnTo>
                    <a:pt x="297275" y="135160"/>
                  </a:lnTo>
                  <a:cubicBezTo>
                    <a:pt x="276606" y="121063"/>
                    <a:pt x="256413" y="110014"/>
                    <a:pt x="236601" y="101822"/>
                  </a:cubicBezTo>
                  <a:cubicBezTo>
                    <a:pt x="216789" y="93726"/>
                    <a:pt x="197072" y="89630"/>
                    <a:pt x="177260" y="89630"/>
                  </a:cubicBezTo>
                  <a:cubicBezTo>
                    <a:pt x="157448" y="89630"/>
                    <a:pt x="142685" y="93440"/>
                    <a:pt x="132779" y="101156"/>
                  </a:cubicBezTo>
                  <a:cubicBezTo>
                    <a:pt x="122873" y="108871"/>
                    <a:pt x="117920" y="118396"/>
                    <a:pt x="117920" y="129826"/>
                  </a:cubicBezTo>
                  <a:lnTo>
                    <a:pt x="117920" y="131159"/>
                  </a:lnTo>
                  <a:cubicBezTo>
                    <a:pt x="117920" y="138684"/>
                    <a:pt x="119348" y="145161"/>
                    <a:pt x="122206" y="150590"/>
                  </a:cubicBezTo>
                  <a:cubicBezTo>
                    <a:pt x="125063" y="156115"/>
                    <a:pt x="130207" y="161068"/>
                    <a:pt x="137732" y="165449"/>
                  </a:cubicBezTo>
                  <a:cubicBezTo>
                    <a:pt x="145256" y="169831"/>
                    <a:pt x="155448" y="174022"/>
                    <a:pt x="168497" y="177927"/>
                  </a:cubicBezTo>
                  <a:cubicBezTo>
                    <a:pt x="181547" y="181928"/>
                    <a:pt x="197930" y="186500"/>
                    <a:pt x="217742" y="191738"/>
                  </a:cubicBezTo>
                  <a:cubicBezTo>
                    <a:pt x="241078" y="197930"/>
                    <a:pt x="261938" y="204788"/>
                    <a:pt x="280226" y="212503"/>
                  </a:cubicBezTo>
                  <a:cubicBezTo>
                    <a:pt x="298514" y="220218"/>
                    <a:pt x="313944" y="229457"/>
                    <a:pt x="326517" y="240221"/>
                  </a:cubicBezTo>
                  <a:cubicBezTo>
                    <a:pt x="339090" y="250984"/>
                    <a:pt x="348520" y="263652"/>
                    <a:pt x="354901" y="278130"/>
                  </a:cubicBezTo>
                  <a:cubicBezTo>
                    <a:pt x="361283" y="292608"/>
                    <a:pt x="364522" y="310039"/>
                    <a:pt x="364522" y="330232"/>
                  </a:cubicBezTo>
                  <a:lnTo>
                    <a:pt x="364522" y="331565"/>
                  </a:lnTo>
                  <a:cubicBezTo>
                    <a:pt x="364522" y="354425"/>
                    <a:pt x="360331" y="374714"/>
                    <a:pt x="352044" y="392525"/>
                  </a:cubicBezTo>
                  <a:cubicBezTo>
                    <a:pt x="343757" y="410337"/>
                    <a:pt x="332137" y="425291"/>
                    <a:pt x="317373" y="437388"/>
                  </a:cubicBezTo>
                  <a:cubicBezTo>
                    <a:pt x="302514" y="449485"/>
                    <a:pt x="284798" y="458724"/>
                    <a:pt x="264224" y="465106"/>
                  </a:cubicBezTo>
                  <a:cubicBezTo>
                    <a:pt x="243650" y="471488"/>
                    <a:pt x="220790" y="474631"/>
                    <a:pt x="195739" y="474631"/>
                  </a:cubicBezTo>
                  <a:close/>
                </a:path>
              </a:pathLst>
            </a:custGeom>
            <a:solidFill>
              <a:srgbClr val="43505E"/>
            </a:solidFill>
            <a:ln w="9525" cap="flat">
              <a:noFill/>
              <a:prstDash val="solid"/>
              <a:miter/>
            </a:ln>
          </p:spPr>
          <p:txBody>
            <a:bodyPr rtlCol="0" anchor="ctr"/>
            <a:lstStyle/>
            <a:p>
              <a:endParaRPr lang="pt-BR"/>
            </a:p>
          </p:txBody>
        </p:sp>
        <p:sp>
          <p:nvSpPr>
            <p:cNvPr id="60" name="Freeform: Shape 59">
              <a:extLst>
                <a:ext uri="{FF2B5EF4-FFF2-40B4-BE49-F238E27FC236}">
                  <a16:creationId xmlns:a16="http://schemas.microsoft.com/office/drawing/2014/main" id="{9FD6BADD-63BC-6AB2-16A0-67E8E3230EA9}"/>
                </a:ext>
              </a:extLst>
            </p:cNvPr>
            <p:cNvSpPr/>
            <p:nvPr/>
          </p:nvSpPr>
          <p:spPr>
            <a:xfrm>
              <a:off x="1293463" y="3654869"/>
              <a:ext cx="489203" cy="464819"/>
            </a:xfrm>
            <a:custGeom>
              <a:avLst/>
              <a:gdLst>
                <a:gd name="connsiteX0" fmla="*/ 197834 w 489203"/>
                <a:gd name="connsiteY0" fmla="*/ 0 h 464819"/>
                <a:gd name="connsiteX1" fmla="*/ 291465 w 489203"/>
                <a:gd name="connsiteY1" fmla="*/ 0 h 464819"/>
                <a:gd name="connsiteX2" fmla="*/ 489204 w 489203"/>
                <a:gd name="connsiteY2" fmla="*/ 464820 h 464819"/>
                <a:gd name="connsiteX3" fmla="*/ 383095 w 489203"/>
                <a:gd name="connsiteY3" fmla="*/ 464820 h 464819"/>
                <a:gd name="connsiteX4" fmla="*/ 340900 w 489203"/>
                <a:gd name="connsiteY4" fmla="*/ 361283 h 464819"/>
                <a:gd name="connsiteX5" fmla="*/ 145733 w 489203"/>
                <a:gd name="connsiteY5" fmla="*/ 361283 h 464819"/>
                <a:gd name="connsiteX6" fmla="*/ 103537 w 489203"/>
                <a:gd name="connsiteY6" fmla="*/ 464820 h 464819"/>
                <a:gd name="connsiteX7" fmla="*/ 0 w 489203"/>
                <a:gd name="connsiteY7" fmla="*/ 464820 h 464819"/>
                <a:gd name="connsiteX8" fmla="*/ 197834 w 489203"/>
                <a:gd name="connsiteY8" fmla="*/ 0 h 464819"/>
                <a:gd name="connsiteX9" fmla="*/ 304610 w 489203"/>
                <a:gd name="connsiteY9" fmla="*/ 271653 h 464819"/>
                <a:gd name="connsiteX10" fmla="*/ 243268 w 489203"/>
                <a:gd name="connsiteY10" fmla="*/ 122015 h 464819"/>
                <a:gd name="connsiteX11" fmla="*/ 181927 w 489203"/>
                <a:gd name="connsiteY11" fmla="*/ 271653 h 464819"/>
                <a:gd name="connsiteX12" fmla="*/ 304610 w 489203"/>
                <a:gd name="connsiteY12" fmla="*/ 271653 h 46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9203" h="464819">
                  <a:moveTo>
                    <a:pt x="197834" y="0"/>
                  </a:moveTo>
                  <a:lnTo>
                    <a:pt x="291465" y="0"/>
                  </a:lnTo>
                  <a:lnTo>
                    <a:pt x="489204" y="464820"/>
                  </a:lnTo>
                  <a:lnTo>
                    <a:pt x="383095" y="464820"/>
                  </a:lnTo>
                  <a:lnTo>
                    <a:pt x="340900" y="361283"/>
                  </a:lnTo>
                  <a:lnTo>
                    <a:pt x="145733" y="361283"/>
                  </a:lnTo>
                  <a:lnTo>
                    <a:pt x="103537" y="464820"/>
                  </a:lnTo>
                  <a:lnTo>
                    <a:pt x="0" y="464820"/>
                  </a:lnTo>
                  <a:lnTo>
                    <a:pt x="197834" y="0"/>
                  </a:lnTo>
                  <a:close/>
                  <a:moveTo>
                    <a:pt x="304610" y="271653"/>
                  </a:moveTo>
                  <a:lnTo>
                    <a:pt x="243268" y="122015"/>
                  </a:lnTo>
                  <a:lnTo>
                    <a:pt x="181927" y="271653"/>
                  </a:lnTo>
                  <a:lnTo>
                    <a:pt x="304610" y="271653"/>
                  </a:lnTo>
                  <a:close/>
                </a:path>
              </a:pathLst>
            </a:custGeom>
            <a:solidFill>
              <a:srgbClr val="43505E"/>
            </a:solidFill>
            <a:ln w="9525" cap="flat">
              <a:noFill/>
              <a:prstDash val="solid"/>
              <a:miter/>
            </a:ln>
          </p:spPr>
          <p:txBody>
            <a:bodyPr rtlCol="0" anchor="ctr"/>
            <a:lstStyle/>
            <a:p>
              <a:endParaRPr lang="pt-BR"/>
            </a:p>
          </p:txBody>
        </p:sp>
        <p:sp>
          <p:nvSpPr>
            <p:cNvPr id="61" name="Freeform: Shape 60">
              <a:extLst>
                <a:ext uri="{FF2B5EF4-FFF2-40B4-BE49-F238E27FC236}">
                  <a16:creationId xmlns:a16="http://schemas.microsoft.com/office/drawing/2014/main" id="{2380AE8D-C2F3-2EE9-16DE-D1F73AFBE93B}"/>
                </a:ext>
              </a:extLst>
            </p:cNvPr>
            <p:cNvSpPr/>
            <p:nvPr/>
          </p:nvSpPr>
          <p:spPr>
            <a:xfrm>
              <a:off x="1796478" y="3508565"/>
              <a:ext cx="402145" cy="618362"/>
            </a:xfrm>
            <a:custGeom>
              <a:avLst/>
              <a:gdLst>
                <a:gd name="connsiteX0" fmla="*/ 199834 w 402145"/>
                <a:gd name="connsiteY0" fmla="*/ 618363 h 618362"/>
                <a:gd name="connsiteX1" fmla="*/ 53435 w 402145"/>
                <a:gd name="connsiteY1" fmla="*/ 566928 h 618362"/>
                <a:gd name="connsiteX2" fmla="*/ 0 w 402145"/>
                <a:gd name="connsiteY2" fmla="*/ 413290 h 618362"/>
                <a:gd name="connsiteX3" fmla="*/ 0 w 402145"/>
                <a:gd name="connsiteY3" fmla="*/ 149542 h 618362"/>
                <a:gd name="connsiteX4" fmla="*/ 101536 w 402145"/>
                <a:gd name="connsiteY4" fmla="*/ 149542 h 618362"/>
                <a:gd name="connsiteX5" fmla="*/ 101536 w 402145"/>
                <a:gd name="connsiteY5" fmla="*/ 410623 h 618362"/>
                <a:gd name="connsiteX6" fmla="*/ 127921 w 402145"/>
                <a:gd name="connsiteY6" fmla="*/ 495967 h 618362"/>
                <a:gd name="connsiteX7" fmla="*/ 201073 w 402145"/>
                <a:gd name="connsiteY7" fmla="*/ 524637 h 618362"/>
                <a:gd name="connsiteX8" fmla="*/ 274225 w 402145"/>
                <a:gd name="connsiteY8" fmla="*/ 496919 h 618362"/>
                <a:gd name="connsiteX9" fmla="*/ 300609 w 402145"/>
                <a:gd name="connsiteY9" fmla="*/ 413861 h 618362"/>
                <a:gd name="connsiteX10" fmla="*/ 300609 w 402145"/>
                <a:gd name="connsiteY10" fmla="*/ 149447 h 618362"/>
                <a:gd name="connsiteX11" fmla="*/ 402146 w 402145"/>
                <a:gd name="connsiteY11" fmla="*/ 149447 h 618362"/>
                <a:gd name="connsiteX12" fmla="*/ 402146 w 402145"/>
                <a:gd name="connsiteY12" fmla="*/ 409861 h 618362"/>
                <a:gd name="connsiteX13" fmla="*/ 387953 w 402145"/>
                <a:gd name="connsiteY13" fmla="*/ 501491 h 618362"/>
                <a:gd name="connsiteX14" fmla="*/ 347377 w 402145"/>
                <a:gd name="connsiteY14" fmla="*/ 566452 h 618362"/>
                <a:gd name="connsiteX15" fmla="*/ 283464 w 402145"/>
                <a:gd name="connsiteY15" fmla="*/ 605314 h 618362"/>
                <a:gd name="connsiteX16" fmla="*/ 199739 w 402145"/>
                <a:gd name="connsiteY16" fmla="*/ 618172 h 618362"/>
                <a:gd name="connsiteX17" fmla="*/ 230124 w 402145"/>
                <a:gd name="connsiteY17" fmla="*/ 0 h 618362"/>
                <a:gd name="connsiteX18" fmla="*/ 316516 w 402145"/>
                <a:gd name="connsiteY18" fmla="*/ 37624 h 618362"/>
                <a:gd name="connsiteX19" fmla="*/ 232124 w 402145"/>
                <a:gd name="connsiteY19" fmla="*/ 116776 h 618362"/>
                <a:gd name="connsiteX20" fmla="*/ 155638 w 402145"/>
                <a:gd name="connsiteY20" fmla="*/ 116776 h 618362"/>
                <a:gd name="connsiteX21" fmla="*/ 230124 w 402145"/>
                <a:gd name="connsiteY21" fmla="*/ 95 h 61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2145" h="618362">
                  <a:moveTo>
                    <a:pt x="199834" y="618363"/>
                  </a:moveTo>
                  <a:cubicBezTo>
                    <a:pt x="137827" y="618363"/>
                    <a:pt x="89059" y="601218"/>
                    <a:pt x="53435" y="566928"/>
                  </a:cubicBezTo>
                  <a:cubicBezTo>
                    <a:pt x="17812" y="532638"/>
                    <a:pt x="0" y="481489"/>
                    <a:pt x="0" y="413290"/>
                  </a:cubicBezTo>
                  <a:lnTo>
                    <a:pt x="0" y="149542"/>
                  </a:lnTo>
                  <a:lnTo>
                    <a:pt x="101536" y="149542"/>
                  </a:lnTo>
                  <a:lnTo>
                    <a:pt x="101536" y="410623"/>
                  </a:lnTo>
                  <a:cubicBezTo>
                    <a:pt x="101536" y="448437"/>
                    <a:pt x="110299" y="476917"/>
                    <a:pt x="127921" y="495967"/>
                  </a:cubicBezTo>
                  <a:cubicBezTo>
                    <a:pt x="145447" y="515112"/>
                    <a:pt x="169926" y="524637"/>
                    <a:pt x="201073" y="524637"/>
                  </a:cubicBezTo>
                  <a:cubicBezTo>
                    <a:pt x="232219" y="524637"/>
                    <a:pt x="256699" y="515398"/>
                    <a:pt x="274225" y="496919"/>
                  </a:cubicBezTo>
                  <a:cubicBezTo>
                    <a:pt x="291751" y="478441"/>
                    <a:pt x="300609" y="450818"/>
                    <a:pt x="300609" y="413861"/>
                  </a:cubicBezTo>
                  <a:lnTo>
                    <a:pt x="300609" y="149447"/>
                  </a:lnTo>
                  <a:lnTo>
                    <a:pt x="402146" y="149447"/>
                  </a:lnTo>
                  <a:lnTo>
                    <a:pt x="402146" y="409861"/>
                  </a:lnTo>
                  <a:cubicBezTo>
                    <a:pt x="402146" y="445008"/>
                    <a:pt x="397383" y="475583"/>
                    <a:pt x="387953" y="501491"/>
                  </a:cubicBezTo>
                  <a:cubicBezTo>
                    <a:pt x="378523" y="527399"/>
                    <a:pt x="364998" y="549116"/>
                    <a:pt x="347377" y="566452"/>
                  </a:cubicBezTo>
                  <a:cubicBezTo>
                    <a:pt x="329755" y="583787"/>
                    <a:pt x="308515" y="596741"/>
                    <a:pt x="283464" y="605314"/>
                  </a:cubicBezTo>
                  <a:cubicBezTo>
                    <a:pt x="258413" y="613886"/>
                    <a:pt x="230505" y="618172"/>
                    <a:pt x="199739" y="618172"/>
                  </a:cubicBezTo>
                  <a:close/>
                  <a:moveTo>
                    <a:pt x="230124" y="0"/>
                  </a:moveTo>
                  <a:lnTo>
                    <a:pt x="316516" y="37624"/>
                  </a:lnTo>
                  <a:lnTo>
                    <a:pt x="232124" y="116776"/>
                  </a:lnTo>
                  <a:lnTo>
                    <a:pt x="155638" y="116776"/>
                  </a:lnTo>
                  <a:lnTo>
                    <a:pt x="230124" y="95"/>
                  </a:lnTo>
                  <a:close/>
                </a:path>
              </a:pathLst>
            </a:custGeom>
            <a:solidFill>
              <a:srgbClr val="43505E"/>
            </a:solidFill>
            <a:ln w="9525" cap="flat">
              <a:noFill/>
              <a:prstDash val="solid"/>
              <a:miter/>
            </a:ln>
          </p:spPr>
          <p:txBody>
            <a:bodyPr rtlCol="0" anchor="ctr"/>
            <a:lstStyle/>
            <a:p>
              <a:endParaRPr lang="pt-BR"/>
            </a:p>
          </p:txBody>
        </p:sp>
        <p:sp>
          <p:nvSpPr>
            <p:cNvPr id="62" name="Freeform: Shape 61">
              <a:extLst>
                <a:ext uri="{FF2B5EF4-FFF2-40B4-BE49-F238E27FC236}">
                  <a16:creationId xmlns:a16="http://schemas.microsoft.com/office/drawing/2014/main" id="{0087EB24-97AE-B724-C389-1BE38D5B0843}"/>
                </a:ext>
              </a:extLst>
            </p:cNvPr>
            <p:cNvSpPr/>
            <p:nvPr/>
          </p:nvSpPr>
          <p:spPr>
            <a:xfrm>
              <a:off x="2252154" y="3658203"/>
              <a:ext cx="425291" cy="461486"/>
            </a:xfrm>
            <a:custGeom>
              <a:avLst/>
              <a:gdLst>
                <a:gd name="connsiteX0" fmla="*/ 0 w 425291"/>
                <a:gd name="connsiteY0" fmla="*/ 0 h 461486"/>
                <a:gd name="connsiteX1" fmla="*/ 180022 w 425291"/>
                <a:gd name="connsiteY1" fmla="*/ 0 h 461486"/>
                <a:gd name="connsiteX2" fmla="*/ 279273 w 425291"/>
                <a:gd name="connsiteY2" fmla="*/ 17431 h 461486"/>
                <a:gd name="connsiteX3" fmla="*/ 357092 w 425291"/>
                <a:gd name="connsiteY3" fmla="*/ 65913 h 461486"/>
                <a:gd name="connsiteX4" fmla="*/ 407480 w 425291"/>
                <a:gd name="connsiteY4" fmla="*/ 138779 h 461486"/>
                <a:gd name="connsiteX5" fmla="*/ 425291 w 425291"/>
                <a:gd name="connsiteY5" fmla="*/ 229457 h 461486"/>
                <a:gd name="connsiteX6" fmla="*/ 425291 w 425291"/>
                <a:gd name="connsiteY6" fmla="*/ 230791 h 461486"/>
                <a:gd name="connsiteX7" fmla="*/ 407480 w 425291"/>
                <a:gd name="connsiteY7" fmla="*/ 321755 h 461486"/>
                <a:gd name="connsiteX8" fmla="*/ 357092 w 425291"/>
                <a:gd name="connsiteY8" fmla="*/ 394907 h 461486"/>
                <a:gd name="connsiteX9" fmla="*/ 279273 w 425291"/>
                <a:gd name="connsiteY9" fmla="*/ 443675 h 461486"/>
                <a:gd name="connsiteX10" fmla="*/ 180022 w 425291"/>
                <a:gd name="connsiteY10" fmla="*/ 461486 h 461486"/>
                <a:gd name="connsiteX11" fmla="*/ 0 w 425291"/>
                <a:gd name="connsiteY11" fmla="*/ 461486 h 461486"/>
                <a:gd name="connsiteX12" fmla="*/ 0 w 425291"/>
                <a:gd name="connsiteY12" fmla="*/ 0 h 461486"/>
                <a:gd name="connsiteX13" fmla="*/ 180022 w 425291"/>
                <a:gd name="connsiteY13" fmla="*/ 369856 h 461486"/>
                <a:gd name="connsiteX14" fmla="*/ 236696 w 425291"/>
                <a:gd name="connsiteY14" fmla="*/ 359950 h 461486"/>
                <a:gd name="connsiteX15" fmla="*/ 280511 w 425291"/>
                <a:gd name="connsiteY15" fmla="*/ 331565 h 461486"/>
                <a:gd name="connsiteX16" fmla="*/ 308896 w 425291"/>
                <a:gd name="connsiteY16" fmla="*/ 288036 h 461486"/>
                <a:gd name="connsiteX17" fmla="*/ 319088 w 425291"/>
                <a:gd name="connsiteY17" fmla="*/ 232029 h 461486"/>
                <a:gd name="connsiteX18" fmla="*/ 319088 w 425291"/>
                <a:gd name="connsiteY18" fmla="*/ 230696 h 461486"/>
                <a:gd name="connsiteX19" fmla="*/ 308896 w 425291"/>
                <a:gd name="connsiteY19" fmla="*/ 174689 h 461486"/>
                <a:gd name="connsiteX20" fmla="*/ 280511 w 425291"/>
                <a:gd name="connsiteY20" fmla="*/ 130492 h 461486"/>
                <a:gd name="connsiteX21" fmla="*/ 236696 w 425291"/>
                <a:gd name="connsiteY21" fmla="*/ 101822 h 461486"/>
                <a:gd name="connsiteX22" fmla="*/ 180022 w 425291"/>
                <a:gd name="connsiteY22" fmla="*/ 91631 h 461486"/>
                <a:gd name="connsiteX23" fmla="*/ 101537 w 425291"/>
                <a:gd name="connsiteY23" fmla="*/ 91631 h 461486"/>
                <a:gd name="connsiteX24" fmla="*/ 101537 w 425291"/>
                <a:gd name="connsiteY24" fmla="*/ 369856 h 461486"/>
                <a:gd name="connsiteX25" fmla="*/ 180022 w 425291"/>
                <a:gd name="connsiteY25" fmla="*/ 369856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5291" h="461486">
                  <a:moveTo>
                    <a:pt x="0" y="0"/>
                  </a:moveTo>
                  <a:lnTo>
                    <a:pt x="180022" y="0"/>
                  </a:lnTo>
                  <a:cubicBezTo>
                    <a:pt x="216027" y="0"/>
                    <a:pt x="249174" y="5810"/>
                    <a:pt x="279273" y="17431"/>
                  </a:cubicBezTo>
                  <a:cubicBezTo>
                    <a:pt x="309372" y="29051"/>
                    <a:pt x="335280" y="45244"/>
                    <a:pt x="357092" y="65913"/>
                  </a:cubicBezTo>
                  <a:cubicBezTo>
                    <a:pt x="378905" y="86582"/>
                    <a:pt x="395669" y="110871"/>
                    <a:pt x="407480" y="138779"/>
                  </a:cubicBezTo>
                  <a:cubicBezTo>
                    <a:pt x="419386" y="166688"/>
                    <a:pt x="425291" y="196882"/>
                    <a:pt x="425291" y="229457"/>
                  </a:cubicBezTo>
                  <a:lnTo>
                    <a:pt x="425291" y="230791"/>
                  </a:lnTo>
                  <a:cubicBezTo>
                    <a:pt x="425291" y="263366"/>
                    <a:pt x="419386" y="293656"/>
                    <a:pt x="407480" y="321755"/>
                  </a:cubicBezTo>
                  <a:cubicBezTo>
                    <a:pt x="395573" y="349853"/>
                    <a:pt x="378809" y="374237"/>
                    <a:pt x="357092" y="394907"/>
                  </a:cubicBezTo>
                  <a:cubicBezTo>
                    <a:pt x="335375" y="415576"/>
                    <a:pt x="309372" y="431864"/>
                    <a:pt x="279273" y="443675"/>
                  </a:cubicBezTo>
                  <a:cubicBezTo>
                    <a:pt x="249174" y="455581"/>
                    <a:pt x="216122" y="461486"/>
                    <a:pt x="180022" y="461486"/>
                  </a:cubicBezTo>
                  <a:lnTo>
                    <a:pt x="0" y="461486"/>
                  </a:lnTo>
                  <a:lnTo>
                    <a:pt x="0" y="0"/>
                  </a:lnTo>
                  <a:close/>
                  <a:moveTo>
                    <a:pt x="180022" y="369856"/>
                  </a:moveTo>
                  <a:cubicBezTo>
                    <a:pt x="200692" y="369856"/>
                    <a:pt x="219551" y="366522"/>
                    <a:pt x="236696" y="359950"/>
                  </a:cubicBezTo>
                  <a:cubicBezTo>
                    <a:pt x="253841" y="353378"/>
                    <a:pt x="268415" y="343948"/>
                    <a:pt x="280511" y="331565"/>
                  </a:cubicBezTo>
                  <a:cubicBezTo>
                    <a:pt x="292608" y="319278"/>
                    <a:pt x="302038" y="304800"/>
                    <a:pt x="308896" y="288036"/>
                  </a:cubicBezTo>
                  <a:cubicBezTo>
                    <a:pt x="315659" y="271367"/>
                    <a:pt x="319088" y="252698"/>
                    <a:pt x="319088" y="232029"/>
                  </a:cubicBezTo>
                  <a:lnTo>
                    <a:pt x="319088" y="230696"/>
                  </a:lnTo>
                  <a:cubicBezTo>
                    <a:pt x="319088" y="210503"/>
                    <a:pt x="315659" y="191834"/>
                    <a:pt x="308896" y="174689"/>
                  </a:cubicBezTo>
                  <a:cubicBezTo>
                    <a:pt x="302038" y="157544"/>
                    <a:pt x="292608" y="142780"/>
                    <a:pt x="280511" y="130492"/>
                  </a:cubicBezTo>
                  <a:cubicBezTo>
                    <a:pt x="268415" y="118205"/>
                    <a:pt x="253841" y="108680"/>
                    <a:pt x="236696" y="101822"/>
                  </a:cubicBezTo>
                  <a:cubicBezTo>
                    <a:pt x="219551" y="95060"/>
                    <a:pt x="200692" y="91631"/>
                    <a:pt x="180022" y="91631"/>
                  </a:cubicBezTo>
                  <a:lnTo>
                    <a:pt x="101537" y="91631"/>
                  </a:lnTo>
                  <a:lnTo>
                    <a:pt x="101537" y="369856"/>
                  </a:lnTo>
                  <a:lnTo>
                    <a:pt x="180022" y="369856"/>
                  </a:lnTo>
                  <a:close/>
                </a:path>
              </a:pathLst>
            </a:custGeom>
            <a:solidFill>
              <a:srgbClr val="43505E"/>
            </a:solidFill>
            <a:ln w="9525" cap="flat">
              <a:noFill/>
              <a:prstDash val="solid"/>
              <a:miter/>
            </a:ln>
          </p:spPr>
          <p:txBody>
            <a:bodyPr rtlCol="0" anchor="ctr"/>
            <a:lstStyle/>
            <a:p>
              <a:endParaRPr lang="pt-BR"/>
            </a:p>
          </p:txBody>
        </p:sp>
        <p:sp>
          <p:nvSpPr>
            <p:cNvPr id="63" name="Freeform: Shape 62">
              <a:extLst>
                <a:ext uri="{FF2B5EF4-FFF2-40B4-BE49-F238E27FC236}">
                  <a16:creationId xmlns:a16="http://schemas.microsoft.com/office/drawing/2014/main" id="{B49DF0E8-69C2-D5BA-B27A-9DD77683CB29}"/>
                </a:ext>
              </a:extLst>
            </p:cNvPr>
            <p:cNvSpPr/>
            <p:nvPr/>
          </p:nvSpPr>
          <p:spPr>
            <a:xfrm>
              <a:off x="2717545" y="3658108"/>
              <a:ext cx="350710" cy="461486"/>
            </a:xfrm>
            <a:custGeom>
              <a:avLst/>
              <a:gdLst>
                <a:gd name="connsiteX0" fmla="*/ 0 w 350710"/>
                <a:gd name="connsiteY0" fmla="*/ 95 h 461486"/>
                <a:gd name="connsiteX1" fmla="*/ 347472 w 350710"/>
                <a:gd name="connsiteY1" fmla="*/ 95 h 461486"/>
                <a:gd name="connsiteX2" fmla="*/ 347472 w 350710"/>
                <a:gd name="connsiteY2" fmla="*/ 90392 h 461486"/>
                <a:gd name="connsiteX3" fmla="*/ 100203 w 350710"/>
                <a:gd name="connsiteY3" fmla="*/ 90392 h 461486"/>
                <a:gd name="connsiteX4" fmla="*/ 100203 w 350710"/>
                <a:gd name="connsiteY4" fmla="*/ 184023 h 461486"/>
                <a:gd name="connsiteX5" fmla="*/ 317754 w 350710"/>
                <a:gd name="connsiteY5" fmla="*/ 184023 h 461486"/>
                <a:gd name="connsiteX6" fmla="*/ 317754 w 350710"/>
                <a:gd name="connsiteY6" fmla="*/ 274320 h 461486"/>
                <a:gd name="connsiteX7" fmla="*/ 100203 w 350710"/>
                <a:gd name="connsiteY7" fmla="*/ 274320 h 461486"/>
                <a:gd name="connsiteX8" fmla="*/ 100203 w 350710"/>
                <a:gd name="connsiteY8" fmla="*/ 371189 h 461486"/>
                <a:gd name="connsiteX9" fmla="*/ 350711 w 350710"/>
                <a:gd name="connsiteY9" fmla="*/ 371189 h 461486"/>
                <a:gd name="connsiteX10" fmla="*/ 350711 w 350710"/>
                <a:gd name="connsiteY10" fmla="*/ 461486 h 461486"/>
                <a:gd name="connsiteX11" fmla="*/ 0 w 350710"/>
                <a:gd name="connsiteY11" fmla="*/ 461486 h 461486"/>
                <a:gd name="connsiteX12" fmla="*/ 0 w 350710"/>
                <a:gd name="connsiteY12" fmla="*/ 0 h 46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710" h="461486">
                  <a:moveTo>
                    <a:pt x="0" y="95"/>
                  </a:moveTo>
                  <a:lnTo>
                    <a:pt x="347472" y="95"/>
                  </a:lnTo>
                  <a:lnTo>
                    <a:pt x="347472" y="90392"/>
                  </a:lnTo>
                  <a:lnTo>
                    <a:pt x="100203" y="90392"/>
                  </a:lnTo>
                  <a:lnTo>
                    <a:pt x="100203" y="184023"/>
                  </a:lnTo>
                  <a:lnTo>
                    <a:pt x="317754" y="184023"/>
                  </a:lnTo>
                  <a:lnTo>
                    <a:pt x="317754" y="274320"/>
                  </a:lnTo>
                  <a:lnTo>
                    <a:pt x="100203" y="274320"/>
                  </a:lnTo>
                  <a:lnTo>
                    <a:pt x="100203" y="371189"/>
                  </a:lnTo>
                  <a:lnTo>
                    <a:pt x="350711" y="371189"/>
                  </a:lnTo>
                  <a:lnTo>
                    <a:pt x="350711" y="461486"/>
                  </a:lnTo>
                  <a:lnTo>
                    <a:pt x="0" y="461486"/>
                  </a:lnTo>
                  <a:lnTo>
                    <a:pt x="0" y="0"/>
                  </a:lnTo>
                  <a:close/>
                </a:path>
              </a:pathLst>
            </a:custGeom>
            <a:solidFill>
              <a:srgbClr val="43505E"/>
            </a:solidFill>
            <a:ln w="9525" cap="flat">
              <a:noFill/>
              <a:prstDash val="solid"/>
              <a:miter/>
            </a:ln>
          </p:spPr>
          <p:txBody>
            <a:bodyPr rtlCol="0" anchor="ctr"/>
            <a:lstStyle/>
            <a:p>
              <a:endParaRPr lang="pt-BR"/>
            </a:p>
          </p:txBody>
        </p:sp>
        <p:sp>
          <p:nvSpPr>
            <p:cNvPr id="64" name="Freeform: Shape 63">
              <a:extLst>
                <a:ext uri="{FF2B5EF4-FFF2-40B4-BE49-F238E27FC236}">
                  <a16:creationId xmlns:a16="http://schemas.microsoft.com/office/drawing/2014/main" id="{F508CC40-4024-0B4D-2413-EEFD7A30F224}"/>
                </a:ext>
              </a:extLst>
            </p:cNvPr>
            <p:cNvSpPr/>
            <p:nvPr/>
          </p:nvSpPr>
          <p:spPr>
            <a:xfrm>
              <a:off x="942181" y="4227226"/>
              <a:ext cx="133540" cy="144017"/>
            </a:xfrm>
            <a:custGeom>
              <a:avLst/>
              <a:gdLst>
                <a:gd name="connsiteX0" fmla="*/ 70866 w 133540"/>
                <a:gd name="connsiteY0" fmla="*/ 144018 h 144017"/>
                <a:gd name="connsiteX1" fmla="*/ 43053 w 133540"/>
                <a:gd name="connsiteY1" fmla="*/ 138779 h 144017"/>
                <a:gd name="connsiteX2" fmla="*/ 20574 w 133540"/>
                <a:gd name="connsiteY2" fmla="*/ 124111 h 144017"/>
                <a:gd name="connsiteX3" fmla="*/ 5525 w 133540"/>
                <a:gd name="connsiteY3" fmla="*/ 101537 h 144017"/>
                <a:gd name="connsiteX4" fmla="*/ 0 w 133540"/>
                <a:gd name="connsiteY4" fmla="*/ 72390 h 144017"/>
                <a:gd name="connsiteX5" fmla="*/ 0 w 133540"/>
                <a:gd name="connsiteY5" fmla="*/ 71914 h 144017"/>
                <a:gd name="connsiteX6" fmla="*/ 4953 w 133540"/>
                <a:gd name="connsiteY6" fmla="*/ 43910 h 144017"/>
                <a:gd name="connsiteX7" fmla="*/ 18955 w 133540"/>
                <a:gd name="connsiteY7" fmla="*/ 21050 h 144017"/>
                <a:gd name="connsiteX8" fmla="*/ 40291 w 133540"/>
                <a:gd name="connsiteY8" fmla="*/ 5620 h 144017"/>
                <a:gd name="connsiteX9" fmla="*/ 67437 w 133540"/>
                <a:gd name="connsiteY9" fmla="*/ 0 h 144017"/>
                <a:gd name="connsiteX10" fmla="*/ 96298 w 133540"/>
                <a:gd name="connsiteY10" fmla="*/ 6001 h 144017"/>
                <a:gd name="connsiteX11" fmla="*/ 116967 w 133540"/>
                <a:gd name="connsiteY11" fmla="*/ 22193 h 144017"/>
                <a:gd name="connsiteX12" fmla="*/ 129350 w 133540"/>
                <a:gd name="connsiteY12" fmla="*/ 45815 h 144017"/>
                <a:gd name="connsiteX13" fmla="*/ 133541 w 133540"/>
                <a:gd name="connsiteY13" fmla="*/ 74200 h 144017"/>
                <a:gd name="connsiteX14" fmla="*/ 133445 w 133540"/>
                <a:gd name="connsiteY14" fmla="*/ 78486 h 144017"/>
                <a:gd name="connsiteX15" fmla="*/ 133064 w 133540"/>
                <a:gd name="connsiteY15" fmla="*/ 83058 h 144017"/>
                <a:gd name="connsiteX16" fmla="*/ 31623 w 133540"/>
                <a:gd name="connsiteY16" fmla="*/ 83058 h 144017"/>
                <a:gd name="connsiteX17" fmla="*/ 45053 w 133540"/>
                <a:gd name="connsiteY17" fmla="*/ 109061 h 144017"/>
                <a:gd name="connsiteX18" fmla="*/ 71342 w 133540"/>
                <a:gd name="connsiteY18" fmla="*/ 118110 h 144017"/>
                <a:gd name="connsiteX19" fmla="*/ 91726 w 133540"/>
                <a:gd name="connsiteY19" fmla="*/ 113919 h 144017"/>
                <a:gd name="connsiteX20" fmla="*/ 108680 w 133540"/>
                <a:gd name="connsiteY20" fmla="*/ 101632 h 144017"/>
                <a:gd name="connsiteX21" fmla="*/ 127254 w 133540"/>
                <a:gd name="connsiteY21" fmla="*/ 118110 h 144017"/>
                <a:gd name="connsiteX22" fmla="*/ 103632 w 133540"/>
                <a:gd name="connsiteY22" fmla="*/ 136970 h 144017"/>
                <a:gd name="connsiteX23" fmla="*/ 70866 w 133540"/>
                <a:gd name="connsiteY23" fmla="*/ 144018 h 144017"/>
                <a:gd name="connsiteX24" fmla="*/ 102203 w 133540"/>
                <a:gd name="connsiteY24" fmla="*/ 62198 h 144017"/>
                <a:gd name="connsiteX25" fmla="*/ 98774 w 133540"/>
                <a:gd name="connsiteY25" fmla="*/ 47911 h 144017"/>
                <a:gd name="connsiteX26" fmla="*/ 91726 w 133540"/>
                <a:gd name="connsiteY26" fmla="*/ 36385 h 144017"/>
                <a:gd name="connsiteX27" fmla="*/ 81153 w 133540"/>
                <a:gd name="connsiteY27" fmla="*/ 28670 h 144017"/>
                <a:gd name="connsiteX28" fmla="*/ 67151 w 133540"/>
                <a:gd name="connsiteY28" fmla="*/ 25813 h 144017"/>
                <a:gd name="connsiteX29" fmla="*/ 42958 w 133540"/>
                <a:gd name="connsiteY29" fmla="*/ 35909 h 144017"/>
                <a:gd name="connsiteX30" fmla="*/ 31337 w 133540"/>
                <a:gd name="connsiteY30" fmla="*/ 62198 h 144017"/>
                <a:gd name="connsiteX31" fmla="*/ 102108 w 133540"/>
                <a:gd name="connsiteY31" fmla="*/ 62198 h 14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540" h="144017">
                  <a:moveTo>
                    <a:pt x="70866" y="144018"/>
                  </a:moveTo>
                  <a:cubicBezTo>
                    <a:pt x="60960" y="144018"/>
                    <a:pt x="51626" y="142304"/>
                    <a:pt x="43053" y="138779"/>
                  </a:cubicBezTo>
                  <a:cubicBezTo>
                    <a:pt x="34385" y="135255"/>
                    <a:pt x="26956" y="130397"/>
                    <a:pt x="20574" y="124111"/>
                  </a:cubicBezTo>
                  <a:cubicBezTo>
                    <a:pt x="14192" y="117824"/>
                    <a:pt x="9239" y="110300"/>
                    <a:pt x="5525" y="101537"/>
                  </a:cubicBezTo>
                  <a:cubicBezTo>
                    <a:pt x="1905" y="92774"/>
                    <a:pt x="0" y="83058"/>
                    <a:pt x="0" y="72390"/>
                  </a:cubicBezTo>
                  <a:lnTo>
                    <a:pt x="0" y="71914"/>
                  </a:lnTo>
                  <a:cubicBezTo>
                    <a:pt x="0" y="62008"/>
                    <a:pt x="1619" y="52673"/>
                    <a:pt x="4953" y="43910"/>
                  </a:cubicBezTo>
                  <a:cubicBezTo>
                    <a:pt x="8287" y="35242"/>
                    <a:pt x="12954" y="27622"/>
                    <a:pt x="18955" y="21050"/>
                  </a:cubicBezTo>
                  <a:cubicBezTo>
                    <a:pt x="24955" y="14478"/>
                    <a:pt x="32099" y="9430"/>
                    <a:pt x="40291" y="5620"/>
                  </a:cubicBezTo>
                  <a:cubicBezTo>
                    <a:pt x="48482" y="1905"/>
                    <a:pt x="57531" y="0"/>
                    <a:pt x="67437" y="0"/>
                  </a:cubicBezTo>
                  <a:cubicBezTo>
                    <a:pt x="78391" y="0"/>
                    <a:pt x="88011" y="2000"/>
                    <a:pt x="96298" y="6001"/>
                  </a:cubicBezTo>
                  <a:cubicBezTo>
                    <a:pt x="104584" y="10001"/>
                    <a:pt x="111443" y="15430"/>
                    <a:pt x="116967" y="22193"/>
                  </a:cubicBezTo>
                  <a:cubicBezTo>
                    <a:pt x="122492" y="28956"/>
                    <a:pt x="126587" y="36862"/>
                    <a:pt x="129350" y="45815"/>
                  </a:cubicBezTo>
                  <a:cubicBezTo>
                    <a:pt x="132112" y="54769"/>
                    <a:pt x="133541" y="64199"/>
                    <a:pt x="133541" y="74200"/>
                  </a:cubicBezTo>
                  <a:cubicBezTo>
                    <a:pt x="133541" y="75629"/>
                    <a:pt x="133541" y="77057"/>
                    <a:pt x="133445" y="78486"/>
                  </a:cubicBezTo>
                  <a:cubicBezTo>
                    <a:pt x="133445" y="80010"/>
                    <a:pt x="133255" y="81534"/>
                    <a:pt x="133064" y="83058"/>
                  </a:cubicBezTo>
                  <a:lnTo>
                    <a:pt x="31623" y="83058"/>
                  </a:lnTo>
                  <a:cubicBezTo>
                    <a:pt x="33338" y="94393"/>
                    <a:pt x="37814" y="103060"/>
                    <a:pt x="45053" y="109061"/>
                  </a:cubicBezTo>
                  <a:cubicBezTo>
                    <a:pt x="52292" y="115062"/>
                    <a:pt x="61055" y="118110"/>
                    <a:pt x="71342" y="118110"/>
                  </a:cubicBezTo>
                  <a:cubicBezTo>
                    <a:pt x="79153" y="118110"/>
                    <a:pt x="86011" y="116681"/>
                    <a:pt x="91726" y="113919"/>
                  </a:cubicBezTo>
                  <a:cubicBezTo>
                    <a:pt x="97441" y="111157"/>
                    <a:pt x="103156" y="107061"/>
                    <a:pt x="108680" y="101632"/>
                  </a:cubicBezTo>
                  <a:lnTo>
                    <a:pt x="127254" y="118110"/>
                  </a:lnTo>
                  <a:cubicBezTo>
                    <a:pt x="120587" y="125921"/>
                    <a:pt x="112776" y="132207"/>
                    <a:pt x="103632" y="136970"/>
                  </a:cubicBezTo>
                  <a:cubicBezTo>
                    <a:pt x="94488" y="141637"/>
                    <a:pt x="83534" y="144018"/>
                    <a:pt x="70866" y="144018"/>
                  </a:cubicBezTo>
                  <a:close/>
                  <a:moveTo>
                    <a:pt x="102203" y="62198"/>
                  </a:moveTo>
                  <a:cubicBezTo>
                    <a:pt x="101727" y="57150"/>
                    <a:pt x="100584" y="52388"/>
                    <a:pt x="98774" y="47911"/>
                  </a:cubicBezTo>
                  <a:cubicBezTo>
                    <a:pt x="97060" y="43434"/>
                    <a:pt x="94678" y="39624"/>
                    <a:pt x="91726" y="36385"/>
                  </a:cubicBezTo>
                  <a:cubicBezTo>
                    <a:pt x="88773" y="33147"/>
                    <a:pt x="85249" y="30575"/>
                    <a:pt x="81153" y="28670"/>
                  </a:cubicBezTo>
                  <a:cubicBezTo>
                    <a:pt x="77057" y="26765"/>
                    <a:pt x="72390" y="25813"/>
                    <a:pt x="67151" y="25813"/>
                  </a:cubicBezTo>
                  <a:cubicBezTo>
                    <a:pt x="57436" y="25813"/>
                    <a:pt x="49340" y="29146"/>
                    <a:pt x="42958" y="35909"/>
                  </a:cubicBezTo>
                  <a:cubicBezTo>
                    <a:pt x="36576" y="42577"/>
                    <a:pt x="32766" y="51340"/>
                    <a:pt x="31337" y="62198"/>
                  </a:cubicBezTo>
                  <a:lnTo>
                    <a:pt x="102108" y="62198"/>
                  </a:lnTo>
                  <a:close/>
                </a:path>
              </a:pathLst>
            </a:custGeom>
            <a:solidFill>
              <a:srgbClr val="43505E"/>
            </a:solidFill>
            <a:ln w="9525" cap="flat">
              <a:noFill/>
              <a:prstDash val="solid"/>
              <a:miter/>
            </a:ln>
          </p:spPr>
          <p:txBody>
            <a:bodyPr rtlCol="0" anchor="ctr"/>
            <a:lstStyle/>
            <a:p>
              <a:endParaRPr lang="pt-BR"/>
            </a:p>
          </p:txBody>
        </p:sp>
        <p:sp>
          <p:nvSpPr>
            <p:cNvPr id="65" name="Freeform: Shape 64">
              <a:extLst>
                <a:ext uri="{FF2B5EF4-FFF2-40B4-BE49-F238E27FC236}">
                  <a16:creationId xmlns:a16="http://schemas.microsoft.com/office/drawing/2014/main" id="{43EBAD35-BCD1-86A8-12A7-BFBBE92BE4D4}"/>
                </a:ext>
              </a:extLst>
            </p:cNvPr>
            <p:cNvSpPr/>
            <p:nvPr/>
          </p:nvSpPr>
          <p:spPr>
            <a:xfrm>
              <a:off x="1107630" y="4227226"/>
              <a:ext cx="210121" cy="140970"/>
            </a:xfrm>
            <a:custGeom>
              <a:avLst/>
              <a:gdLst>
                <a:gd name="connsiteX0" fmla="*/ 0 w 210121"/>
                <a:gd name="connsiteY0" fmla="*/ 2858 h 140970"/>
                <a:gd name="connsiteX1" fmla="*/ 31909 w 210121"/>
                <a:gd name="connsiteY1" fmla="*/ 2858 h 140970"/>
                <a:gd name="connsiteX2" fmla="*/ 31909 w 210121"/>
                <a:gd name="connsiteY2" fmla="*/ 24003 h 140970"/>
                <a:gd name="connsiteX3" fmla="*/ 39243 w 210121"/>
                <a:gd name="connsiteY3" fmla="*/ 15050 h 140970"/>
                <a:gd name="connsiteX4" fmla="*/ 48196 w 210121"/>
                <a:gd name="connsiteY4" fmla="*/ 7429 h 140970"/>
                <a:gd name="connsiteX5" fmla="*/ 59626 w 210121"/>
                <a:gd name="connsiteY5" fmla="*/ 2000 h 140970"/>
                <a:gd name="connsiteX6" fmla="*/ 73819 w 210121"/>
                <a:gd name="connsiteY6" fmla="*/ 0 h 140970"/>
                <a:gd name="connsiteX7" fmla="*/ 98965 w 210121"/>
                <a:gd name="connsiteY7" fmla="*/ 6763 h 140970"/>
                <a:gd name="connsiteX8" fmla="*/ 114681 w 210121"/>
                <a:gd name="connsiteY8" fmla="*/ 24575 h 140970"/>
                <a:gd name="connsiteX9" fmla="*/ 134493 w 210121"/>
                <a:gd name="connsiteY9" fmla="*/ 6763 h 140970"/>
                <a:gd name="connsiteX10" fmla="*/ 161639 w 210121"/>
                <a:gd name="connsiteY10" fmla="*/ 0 h 140970"/>
                <a:gd name="connsiteX11" fmla="*/ 197263 w 210121"/>
                <a:gd name="connsiteY11" fmla="*/ 13716 h 140970"/>
                <a:gd name="connsiteX12" fmla="*/ 210122 w 210121"/>
                <a:gd name="connsiteY12" fmla="*/ 52768 h 140970"/>
                <a:gd name="connsiteX13" fmla="*/ 210122 w 210121"/>
                <a:gd name="connsiteY13" fmla="*/ 140875 h 140970"/>
                <a:gd name="connsiteX14" fmla="*/ 178213 w 210121"/>
                <a:gd name="connsiteY14" fmla="*/ 140875 h 140970"/>
                <a:gd name="connsiteX15" fmla="*/ 178213 w 210121"/>
                <a:gd name="connsiteY15" fmla="*/ 62675 h 140970"/>
                <a:gd name="connsiteX16" fmla="*/ 170974 w 210121"/>
                <a:gd name="connsiteY16" fmla="*/ 37624 h 140970"/>
                <a:gd name="connsiteX17" fmla="*/ 150400 w 210121"/>
                <a:gd name="connsiteY17" fmla="*/ 29051 h 140970"/>
                <a:gd name="connsiteX18" fmla="*/ 129254 w 210121"/>
                <a:gd name="connsiteY18" fmla="*/ 37814 h 140970"/>
                <a:gd name="connsiteX19" fmla="*/ 121063 w 210121"/>
                <a:gd name="connsiteY19" fmla="*/ 63246 h 140970"/>
                <a:gd name="connsiteX20" fmla="*/ 121063 w 210121"/>
                <a:gd name="connsiteY20" fmla="*/ 140970 h 140970"/>
                <a:gd name="connsiteX21" fmla="*/ 89154 w 210121"/>
                <a:gd name="connsiteY21" fmla="*/ 140970 h 140970"/>
                <a:gd name="connsiteX22" fmla="*/ 89154 w 210121"/>
                <a:gd name="connsiteY22" fmla="*/ 62484 h 140970"/>
                <a:gd name="connsiteX23" fmla="*/ 81915 w 210121"/>
                <a:gd name="connsiteY23" fmla="*/ 37719 h 140970"/>
                <a:gd name="connsiteX24" fmla="*/ 61341 w 210121"/>
                <a:gd name="connsiteY24" fmla="*/ 29146 h 140970"/>
                <a:gd name="connsiteX25" fmla="*/ 40005 w 210121"/>
                <a:gd name="connsiteY25" fmla="*/ 38291 h 140970"/>
                <a:gd name="connsiteX26" fmla="*/ 31909 w 210121"/>
                <a:gd name="connsiteY26" fmla="*/ 63532 h 140970"/>
                <a:gd name="connsiteX27" fmla="*/ 31909 w 210121"/>
                <a:gd name="connsiteY27" fmla="*/ 140970 h 140970"/>
                <a:gd name="connsiteX28" fmla="*/ 0 w 210121"/>
                <a:gd name="connsiteY28" fmla="*/ 140970 h 140970"/>
                <a:gd name="connsiteX29" fmla="*/ 0 w 210121"/>
                <a:gd name="connsiteY29" fmla="*/ 3048 h 14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0121" h="140970">
                  <a:moveTo>
                    <a:pt x="0" y="2858"/>
                  </a:moveTo>
                  <a:lnTo>
                    <a:pt x="31909" y="2858"/>
                  </a:lnTo>
                  <a:lnTo>
                    <a:pt x="31909" y="24003"/>
                  </a:lnTo>
                  <a:cubicBezTo>
                    <a:pt x="34195" y="20860"/>
                    <a:pt x="36576" y="17812"/>
                    <a:pt x="39243" y="15050"/>
                  </a:cubicBezTo>
                  <a:cubicBezTo>
                    <a:pt x="41815" y="12287"/>
                    <a:pt x="44863" y="9716"/>
                    <a:pt x="48196" y="7429"/>
                  </a:cubicBezTo>
                  <a:cubicBezTo>
                    <a:pt x="51626" y="5143"/>
                    <a:pt x="55435" y="3334"/>
                    <a:pt x="59626" y="2000"/>
                  </a:cubicBezTo>
                  <a:cubicBezTo>
                    <a:pt x="63913" y="667"/>
                    <a:pt x="68580" y="0"/>
                    <a:pt x="73819" y="0"/>
                  </a:cubicBezTo>
                  <a:cubicBezTo>
                    <a:pt x="83725" y="0"/>
                    <a:pt x="92107" y="2286"/>
                    <a:pt x="98965" y="6763"/>
                  </a:cubicBezTo>
                  <a:cubicBezTo>
                    <a:pt x="105823" y="11239"/>
                    <a:pt x="111062" y="17145"/>
                    <a:pt x="114681" y="24575"/>
                  </a:cubicBezTo>
                  <a:cubicBezTo>
                    <a:pt x="120301" y="17240"/>
                    <a:pt x="126873" y="11239"/>
                    <a:pt x="134493" y="6763"/>
                  </a:cubicBezTo>
                  <a:cubicBezTo>
                    <a:pt x="142113" y="2286"/>
                    <a:pt x="151162" y="0"/>
                    <a:pt x="161639" y="0"/>
                  </a:cubicBezTo>
                  <a:cubicBezTo>
                    <a:pt x="176879" y="0"/>
                    <a:pt x="188690" y="4572"/>
                    <a:pt x="197263" y="13716"/>
                  </a:cubicBezTo>
                  <a:cubicBezTo>
                    <a:pt x="205835" y="22860"/>
                    <a:pt x="210122" y="35909"/>
                    <a:pt x="210122" y="52768"/>
                  </a:cubicBezTo>
                  <a:lnTo>
                    <a:pt x="210122" y="140875"/>
                  </a:lnTo>
                  <a:lnTo>
                    <a:pt x="178213" y="140875"/>
                  </a:lnTo>
                  <a:lnTo>
                    <a:pt x="178213" y="62675"/>
                  </a:lnTo>
                  <a:cubicBezTo>
                    <a:pt x="178213" y="51721"/>
                    <a:pt x="175832" y="43339"/>
                    <a:pt x="170974" y="37624"/>
                  </a:cubicBezTo>
                  <a:cubicBezTo>
                    <a:pt x="166116" y="31909"/>
                    <a:pt x="159258" y="29051"/>
                    <a:pt x="150400" y="29051"/>
                  </a:cubicBezTo>
                  <a:cubicBezTo>
                    <a:pt x="141541" y="29051"/>
                    <a:pt x="134683" y="32004"/>
                    <a:pt x="129254" y="37814"/>
                  </a:cubicBezTo>
                  <a:cubicBezTo>
                    <a:pt x="123825" y="43625"/>
                    <a:pt x="121063" y="52102"/>
                    <a:pt x="121063" y="63246"/>
                  </a:cubicBezTo>
                  <a:lnTo>
                    <a:pt x="121063" y="140970"/>
                  </a:lnTo>
                  <a:lnTo>
                    <a:pt x="89154" y="140970"/>
                  </a:lnTo>
                  <a:lnTo>
                    <a:pt x="89154" y="62484"/>
                  </a:lnTo>
                  <a:cubicBezTo>
                    <a:pt x="89154" y="51721"/>
                    <a:pt x="86677" y="43434"/>
                    <a:pt x="81915" y="37719"/>
                  </a:cubicBezTo>
                  <a:cubicBezTo>
                    <a:pt x="77057" y="32004"/>
                    <a:pt x="70199" y="29146"/>
                    <a:pt x="61341" y="29146"/>
                  </a:cubicBezTo>
                  <a:cubicBezTo>
                    <a:pt x="52483" y="29146"/>
                    <a:pt x="45434" y="32195"/>
                    <a:pt x="40005" y="38291"/>
                  </a:cubicBezTo>
                  <a:cubicBezTo>
                    <a:pt x="34671" y="44387"/>
                    <a:pt x="31909" y="52768"/>
                    <a:pt x="31909" y="63532"/>
                  </a:cubicBezTo>
                  <a:lnTo>
                    <a:pt x="31909" y="140970"/>
                  </a:lnTo>
                  <a:lnTo>
                    <a:pt x="0" y="140970"/>
                  </a:lnTo>
                  <a:lnTo>
                    <a:pt x="0" y="3048"/>
                  </a:lnTo>
                  <a:close/>
                </a:path>
              </a:pathLst>
            </a:custGeom>
            <a:solidFill>
              <a:srgbClr val="43505E"/>
            </a:solidFill>
            <a:ln w="9525" cap="flat">
              <a:noFill/>
              <a:prstDash val="solid"/>
              <a:miter/>
            </a:ln>
          </p:spPr>
          <p:txBody>
            <a:bodyPr rtlCol="0" anchor="ctr"/>
            <a:lstStyle/>
            <a:p>
              <a:endParaRPr lang="pt-BR"/>
            </a:p>
          </p:txBody>
        </p:sp>
        <p:sp>
          <p:nvSpPr>
            <p:cNvPr id="66" name="Freeform: Shape 65">
              <a:extLst>
                <a:ext uri="{FF2B5EF4-FFF2-40B4-BE49-F238E27FC236}">
                  <a16:creationId xmlns:a16="http://schemas.microsoft.com/office/drawing/2014/main" id="{64FC5502-733E-AED8-B543-3731E4FA93D1}"/>
                </a:ext>
              </a:extLst>
            </p:cNvPr>
            <p:cNvSpPr/>
            <p:nvPr/>
          </p:nvSpPr>
          <p:spPr>
            <a:xfrm>
              <a:off x="1434147" y="4227131"/>
              <a:ext cx="123920" cy="140874"/>
            </a:xfrm>
            <a:custGeom>
              <a:avLst/>
              <a:gdLst>
                <a:gd name="connsiteX0" fmla="*/ 95 w 123920"/>
                <a:gd name="connsiteY0" fmla="*/ 2953 h 140874"/>
                <a:gd name="connsiteX1" fmla="*/ 32004 w 123920"/>
                <a:gd name="connsiteY1" fmla="*/ 2953 h 140874"/>
                <a:gd name="connsiteX2" fmla="*/ 32004 w 123920"/>
                <a:gd name="connsiteY2" fmla="*/ 24574 h 140874"/>
                <a:gd name="connsiteX3" fmla="*/ 39433 w 123920"/>
                <a:gd name="connsiteY3" fmla="*/ 15240 h 140874"/>
                <a:gd name="connsiteX4" fmla="*/ 48768 w 123920"/>
                <a:gd name="connsiteY4" fmla="*/ 7429 h 140874"/>
                <a:gd name="connsiteX5" fmla="*/ 60484 w 123920"/>
                <a:gd name="connsiteY5" fmla="*/ 2000 h 140874"/>
                <a:gd name="connsiteX6" fmla="*/ 74962 w 123920"/>
                <a:gd name="connsiteY6" fmla="*/ 0 h 140874"/>
                <a:gd name="connsiteX7" fmla="*/ 111157 w 123920"/>
                <a:gd name="connsiteY7" fmla="*/ 14383 h 140874"/>
                <a:gd name="connsiteX8" fmla="*/ 123920 w 123920"/>
                <a:gd name="connsiteY8" fmla="*/ 53054 h 140874"/>
                <a:gd name="connsiteX9" fmla="*/ 123920 w 123920"/>
                <a:gd name="connsiteY9" fmla="*/ 140875 h 140874"/>
                <a:gd name="connsiteX10" fmla="*/ 92012 w 123920"/>
                <a:gd name="connsiteY10" fmla="*/ 140875 h 140874"/>
                <a:gd name="connsiteX11" fmla="*/ 92012 w 123920"/>
                <a:gd name="connsiteY11" fmla="*/ 62674 h 140874"/>
                <a:gd name="connsiteX12" fmla="*/ 84391 w 123920"/>
                <a:gd name="connsiteY12" fmla="*/ 37814 h 140874"/>
                <a:gd name="connsiteX13" fmla="*/ 62770 w 123920"/>
                <a:gd name="connsiteY13" fmla="*/ 29051 h 140874"/>
                <a:gd name="connsiteX14" fmla="*/ 40481 w 123920"/>
                <a:gd name="connsiteY14" fmla="*/ 38005 h 140874"/>
                <a:gd name="connsiteX15" fmla="*/ 31909 w 123920"/>
                <a:gd name="connsiteY15" fmla="*/ 63151 h 140874"/>
                <a:gd name="connsiteX16" fmla="*/ 31909 w 123920"/>
                <a:gd name="connsiteY16" fmla="*/ 140875 h 140874"/>
                <a:gd name="connsiteX17" fmla="*/ 0 w 123920"/>
                <a:gd name="connsiteY17" fmla="*/ 140875 h 140874"/>
                <a:gd name="connsiteX18" fmla="*/ 0 w 123920"/>
                <a:gd name="connsiteY18" fmla="*/ 2953 h 14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920" h="140874">
                  <a:moveTo>
                    <a:pt x="95" y="2953"/>
                  </a:moveTo>
                  <a:lnTo>
                    <a:pt x="32004" y="2953"/>
                  </a:lnTo>
                  <a:lnTo>
                    <a:pt x="32004" y="24574"/>
                  </a:lnTo>
                  <a:cubicBezTo>
                    <a:pt x="34290" y="21241"/>
                    <a:pt x="36766" y="18097"/>
                    <a:pt x="39433" y="15240"/>
                  </a:cubicBezTo>
                  <a:cubicBezTo>
                    <a:pt x="42100" y="12382"/>
                    <a:pt x="45244" y="9715"/>
                    <a:pt x="48768" y="7429"/>
                  </a:cubicBezTo>
                  <a:cubicBezTo>
                    <a:pt x="52292" y="5143"/>
                    <a:pt x="56293" y="3334"/>
                    <a:pt x="60484" y="2000"/>
                  </a:cubicBezTo>
                  <a:cubicBezTo>
                    <a:pt x="64675" y="667"/>
                    <a:pt x="69532" y="0"/>
                    <a:pt x="74962" y="0"/>
                  </a:cubicBezTo>
                  <a:cubicBezTo>
                    <a:pt x="90583" y="0"/>
                    <a:pt x="102679" y="4763"/>
                    <a:pt x="111157" y="14383"/>
                  </a:cubicBezTo>
                  <a:cubicBezTo>
                    <a:pt x="119634" y="24003"/>
                    <a:pt x="123920" y="36862"/>
                    <a:pt x="123920" y="53054"/>
                  </a:cubicBezTo>
                  <a:lnTo>
                    <a:pt x="123920" y="140875"/>
                  </a:lnTo>
                  <a:lnTo>
                    <a:pt x="92012" y="140875"/>
                  </a:lnTo>
                  <a:lnTo>
                    <a:pt x="92012" y="62674"/>
                  </a:lnTo>
                  <a:cubicBezTo>
                    <a:pt x="92012" y="51911"/>
                    <a:pt x="89440" y="43624"/>
                    <a:pt x="84391" y="37814"/>
                  </a:cubicBezTo>
                  <a:cubicBezTo>
                    <a:pt x="79343" y="32004"/>
                    <a:pt x="72104" y="29051"/>
                    <a:pt x="62770" y="29051"/>
                  </a:cubicBezTo>
                  <a:cubicBezTo>
                    <a:pt x="53435" y="29051"/>
                    <a:pt x="46196" y="32099"/>
                    <a:pt x="40481" y="38005"/>
                  </a:cubicBezTo>
                  <a:cubicBezTo>
                    <a:pt x="34766" y="44005"/>
                    <a:pt x="31909" y="52388"/>
                    <a:pt x="31909" y="63151"/>
                  </a:cubicBezTo>
                  <a:lnTo>
                    <a:pt x="31909" y="140875"/>
                  </a:lnTo>
                  <a:lnTo>
                    <a:pt x="0" y="140875"/>
                  </a:lnTo>
                  <a:lnTo>
                    <a:pt x="0" y="2953"/>
                  </a:lnTo>
                  <a:close/>
                </a:path>
              </a:pathLst>
            </a:custGeom>
            <a:solidFill>
              <a:srgbClr val="43505E"/>
            </a:solidFill>
            <a:ln w="9525" cap="flat">
              <a:noFill/>
              <a:prstDash val="solid"/>
              <a:miter/>
            </a:ln>
          </p:spPr>
          <p:txBody>
            <a:bodyPr rtlCol="0" anchor="ctr"/>
            <a:lstStyle/>
            <a:p>
              <a:endParaRPr lang="pt-BR"/>
            </a:p>
          </p:txBody>
        </p:sp>
        <p:sp>
          <p:nvSpPr>
            <p:cNvPr id="67" name="Freeform: Shape 66">
              <a:extLst>
                <a:ext uri="{FF2B5EF4-FFF2-40B4-BE49-F238E27FC236}">
                  <a16:creationId xmlns:a16="http://schemas.microsoft.com/office/drawing/2014/main" id="{0F91486B-363F-3D0D-587D-1C3FA5F8F429}"/>
                </a:ext>
              </a:extLst>
            </p:cNvPr>
            <p:cNvSpPr/>
            <p:nvPr/>
          </p:nvSpPr>
          <p:spPr>
            <a:xfrm>
              <a:off x="1588643" y="4227321"/>
              <a:ext cx="147161" cy="143922"/>
            </a:xfrm>
            <a:custGeom>
              <a:avLst/>
              <a:gdLst>
                <a:gd name="connsiteX0" fmla="*/ 73152 w 147161"/>
                <a:gd name="connsiteY0" fmla="*/ 143923 h 143922"/>
                <a:gd name="connsiteX1" fmla="*/ 44005 w 147161"/>
                <a:gd name="connsiteY1" fmla="*/ 138303 h 143922"/>
                <a:gd name="connsiteX2" fmla="*/ 20765 w 147161"/>
                <a:gd name="connsiteY2" fmla="*/ 123063 h 143922"/>
                <a:gd name="connsiteX3" fmla="*/ 5524 w 147161"/>
                <a:gd name="connsiteY3" fmla="*/ 100298 h 143922"/>
                <a:gd name="connsiteX4" fmla="*/ 0 w 147161"/>
                <a:gd name="connsiteY4" fmla="*/ 72581 h 143922"/>
                <a:gd name="connsiteX5" fmla="*/ 0 w 147161"/>
                <a:gd name="connsiteY5" fmla="*/ 72104 h 143922"/>
                <a:gd name="connsiteX6" fmla="*/ 5620 w 147161"/>
                <a:gd name="connsiteY6" fmla="*/ 44101 h 143922"/>
                <a:gd name="connsiteX7" fmla="*/ 21050 w 147161"/>
                <a:gd name="connsiteY7" fmla="*/ 21241 h 143922"/>
                <a:gd name="connsiteX8" fmla="*/ 44291 w 147161"/>
                <a:gd name="connsiteY8" fmla="*/ 5715 h 143922"/>
                <a:gd name="connsiteX9" fmla="*/ 73723 w 147161"/>
                <a:gd name="connsiteY9" fmla="*/ 0 h 143922"/>
                <a:gd name="connsiteX10" fmla="*/ 103156 w 147161"/>
                <a:gd name="connsiteY10" fmla="*/ 5620 h 143922"/>
                <a:gd name="connsiteX11" fmla="*/ 126397 w 147161"/>
                <a:gd name="connsiteY11" fmla="*/ 21050 h 143922"/>
                <a:gd name="connsiteX12" fmla="*/ 141637 w 147161"/>
                <a:gd name="connsiteY12" fmla="*/ 43815 h 143922"/>
                <a:gd name="connsiteX13" fmla="*/ 147161 w 147161"/>
                <a:gd name="connsiteY13" fmla="*/ 71628 h 143922"/>
                <a:gd name="connsiteX14" fmla="*/ 147161 w 147161"/>
                <a:gd name="connsiteY14" fmla="*/ 72104 h 143922"/>
                <a:gd name="connsiteX15" fmla="*/ 141542 w 147161"/>
                <a:gd name="connsiteY15" fmla="*/ 99822 h 143922"/>
                <a:gd name="connsiteX16" fmla="*/ 126111 w 147161"/>
                <a:gd name="connsiteY16" fmla="*/ 122682 h 143922"/>
                <a:gd name="connsiteX17" fmla="*/ 102679 w 147161"/>
                <a:gd name="connsiteY17" fmla="*/ 138208 h 143922"/>
                <a:gd name="connsiteX18" fmla="*/ 73152 w 147161"/>
                <a:gd name="connsiteY18" fmla="*/ 143923 h 143922"/>
                <a:gd name="connsiteX19" fmla="*/ 73723 w 147161"/>
                <a:gd name="connsiteY19" fmla="*/ 116491 h 143922"/>
                <a:gd name="connsiteX20" fmla="*/ 90964 w 147161"/>
                <a:gd name="connsiteY20" fmla="*/ 112967 h 143922"/>
                <a:gd name="connsiteX21" fmla="*/ 104108 w 147161"/>
                <a:gd name="connsiteY21" fmla="*/ 103442 h 143922"/>
                <a:gd name="connsiteX22" fmla="*/ 112395 w 147161"/>
                <a:gd name="connsiteY22" fmla="*/ 89440 h 143922"/>
                <a:gd name="connsiteX23" fmla="*/ 115252 w 147161"/>
                <a:gd name="connsiteY23" fmla="*/ 72581 h 143922"/>
                <a:gd name="connsiteX24" fmla="*/ 115252 w 147161"/>
                <a:gd name="connsiteY24" fmla="*/ 72104 h 143922"/>
                <a:gd name="connsiteX25" fmla="*/ 112109 w 147161"/>
                <a:gd name="connsiteY25" fmla="*/ 54864 h 143922"/>
                <a:gd name="connsiteX26" fmla="*/ 103442 w 147161"/>
                <a:gd name="connsiteY26" fmla="*/ 40767 h 143922"/>
                <a:gd name="connsiteX27" fmla="*/ 90202 w 147161"/>
                <a:gd name="connsiteY27" fmla="*/ 31242 h 143922"/>
                <a:gd name="connsiteX28" fmla="*/ 73152 w 147161"/>
                <a:gd name="connsiteY28" fmla="*/ 27718 h 143922"/>
                <a:gd name="connsiteX29" fmla="*/ 56102 w 147161"/>
                <a:gd name="connsiteY29" fmla="*/ 31242 h 143922"/>
                <a:gd name="connsiteX30" fmla="*/ 42958 w 147161"/>
                <a:gd name="connsiteY30" fmla="*/ 40672 h 143922"/>
                <a:gd name="connsiteX31" fmla="*/ 34671 w 147161"/>
                <a:gd name="connsiteY31" fmla="*/ 54674 h 143922"/>
                <a:gd name="connsiteX32" fmla="*/ 31813 w 147161"/>
                <a:gd name="connsiteY32" fmla="*/ 71628 h 143922"/>
                <a:gd name="connsiteX33" fmla="*/ 31813 w 147161"/>
                <a:gd name="connsiteY33" fmla="*/ 72104 h 143922"/>
                <a:gd name="connsiteX34" fmla="*/ 34957 w 147161"/>
                <a:gd name="connsiteY34" fmla="*/ 89249 h 143922"/>
                <a:gd name="connsiteX35" fmla="*/ 43624 w 147161"/>
                <a:gd name="connsiteY35" fmla="*/ 103346 h 143922"/>
                <a:gd name="connsiteX36" fmla="*/ 56864 w 147161"/>
                <a:gd name="connsiteY36" fmla="*/ 112967 h 143922"/>
                <a:gd name="connsiteX37" fmla="*/ 73628 w 147161"/>
                <a:gd name="connsiteY37" fmla="*/ 116491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7161" h="143922">
                  <a:moveTo>
                    <a:pt x="73152" y="143923"/>
                  </a:moveTo>
                  <a:cubicBezTo>
                    <a:pt x="62674" y="143923"/>
                    <a:pt x="52959" y="142018"/>
                    <a:pt x="44005" y="138303"/>
                  </a:cubicBezTo>
                  <a:cubicBezTo>
                    <a:pt x="35052" y="134588"/>
                    <a:pt x="27242" y="129445"/>
                    <a:pt x="20765" y="123063"/>
                  </a:cubicBezTo>
                  <a:cubicBezTo>
                    <a:pt x="14288" y="116681"/>
                    <a:pt x="9144" y="109061"/>
                    <a:pt x="5524" y="100298"/>
                  </a:cubicBezTo>
                  <a:cubicBezTo>
                    <a:pt x="1905" y="91631"/>
                    <a:pt x="0" y="82391"/>
                    <a:pt x="0" y="72581"/>
                  </a:cubicBezTo>
                  <a:lnTo>
                    <a:pt x="0" y="72104"/>
                  </a:lnTo>
                  <a:cubicBezTo>
                    <a:pt x="0" y="62198"/>
                    <a:pt x="1905" y="52864"/>
                    <a:pt x="5620" y="44101"/>
                  </a:cubicBezTo>
                  <a:cubicBezTo>
                    <a:pt x="9334" y="35433"/>
                    <a:pt x="14478" y="27813"/>
                    <a:pt x="21050" y="21241"/>
                  </a:cubicBezTo>
                  <a:cubicBezTo>
                    <a:pt x="27622" y="14669"/>
                    <a:pt x="35338" y="9525"/>
                    <a:pt x="44291" y="5715"/>
                  </a:cubicBezTo>
                  <a:cubicBezTo>
                    <a:pt x="53245" y="1905"/>
                    <a:pt x="63055" y="0"/>
                    <a:pt x="73723" y="0"/>
                  </a:cubicBezTo>
                  <a:cubicBezTo>
                    <a:pt x="84392" y="0"/>
                    <a:pt x="94107" y="1905"/>
                    <a:pt x="103156" y="5620"/>
                  </a:cubicBezTo>
                  <a:cubicBezTo>
                    <a:pt x="112109" y="9335"/>
                    <a:pt x="119920" y="14478"/>
                    <a:pt x="126397" y="21050"/>
                  </a:cubicBezTo>
                  <a:cubicBezTo>
                    <a:pt x="132969" y="27623"/>
                    <a:pt x="138017" y="35147"/>
                    <a:pt x="141637" y="43815"/>
                  </a:cubicBezTo>
                  <a:cubicBezTo>
                    <a:pt x="145256" y="52483"/>
                    <a:pt x="147161" y="61722"/>
                    <a:pt x="147161" y="71628"/>
                  </a:cubicBezTo>
                  <a:lnTo>
                    <a:pt x="147161" y="72104"/>
                  </a:lnTo>
                  <a:cubicBezTo>
                    <a:pt x="147161" y="81820"/>
                    <a:pt x="145256" y="91059"/>
                    <a:pt x="141542" y="99822"/>
                  </a:cubicBezTo>
                  <a:cubicBezTo>
                    <a:pt x="137827" y="108585"/>
                    <a:pt x="132683" y="116110"/>
                    <a:pt x="126111" y="122682"/>
                  </a:cubicBezTo>
                  <a:cubicBezTo>
                    <a:pt x="119539" y="129254"/>
                    <a:pt x="111823" y="134398"/>
                    <a:pt x="102679" y="138208"/>
                  </a:cubicBezTo>
                  <a:cubicBezTo>
                    <a:pt x="93631" y="142018"/>
                    <a:pt x="83725" y="143923"/>
                    <a:pt x="73152" y="143923"/>
                  </a:cubicBezTo>
                  <a:close/>
                  <a:moveTo>
                    <a:pt x="73723" y="116491"/>
                  </a:moveTo>
                  <a:cubicBezTo>
                    <a:pt x="80105" y="116491"/>
                    <a:pt x="85915" y="115348"/>
                    <a:pt x="90964" y="112967"/>
                  </a:cubicBezTo>
                  <a:cubicBezTo>
                    <a:pt x="96107" y="110585"/>
                    <a:pt x="100489" y="107442"/>
                    <a:pt x="104108" y="103442"/>
                  </a:cubicBezTo>
                  <a:cubicBezTo>
                    <a:pt x="107728" y="99441"/>
                    <a:pt x="110490" y="94774"/>
                    <a:pt x="112395" y="89440"/>
                  </a:cubicBezTo>
                  <a:cubicBezTo>
                    <a:pt x="114300" y="84106"/>
                    <a:pt x="115252" y="78486"/>
                    <a:pt x="115252" y="72581"/>
                  </a:cubicBezTo>
                  <a:lnTo>
                    <a:pt x="115252" y="72104"/>
                  </a:lnTo>
                  <a:cubicBezTo>
                    <a:pt x="115252" y="66008"/>
                    <a:pt x="114205" y="60293"/>
                    <a:pt x="112109" y="54864"/>
                  </a:cubicBezTo>
                  <a:cubicBezTo>
                    <a:pt x="110014" y="49435"/>
                    <a:pt x="107156" y="44767"/>
                    <a:pt x="103442" y="40767"/>
                  </a:cubicBezTo>
                  <a:cubicBezTo>
                    <a:pt x="99727" y="36767"/>
                    <a:pt x="95345" y="33623"/>
                    <a:pt x="90202" y="31242"/>
                  </a:cubicBezTo>
                  <a:cubicBezTo>
                    <a:pt x="85058" y="28861"/>
                    <a:pt x="79438" y="27718"/>
                    <a:pt x="73152" y="27718"/>
                  </a:cubicBezTo>
                  <a:cubicBezTo>
                    <a:pt x="66865" y="27718"/>
                    <a:pt x="61246" y="28861"/>
                    <a:pt x="56102" y="31242"/>
                  </a:cubicBezTo>
                  <a:cubicBezTo>
                    <a:pt x="50959" y="33623"/>
                    <a:pt x="46577" y="36767"/>
                    <a:pt x="42958" y="40672"/>
                  </a:cubicBezTo>
                  <a:cubicBezTo>
                    <a:pt x="39338" y="44577"/>
                    <a:pt x="36576" y="49244"/>
                    <a:pt x="34671" y="54674"/>
                  </a:cubicBezTo>
                  <a:cubicBezTo>
                    <a:pt x="32766" y="60103"/>
                    <a:pt x="31813" y="65723"/>
                    <a:pt x="31813" y="71628"/>
                  </a:cubicBezTo>
                  <a:lnTo>
                    <a:pt x="31813" y="72104"/>
                  </a:lnTo>
                  <a:cubicBezTo>
                    <a:pt x="31813" y="78200"/>
                    <a:pt x="32861" y="83915"/>
                    <a:pt x="34957" y="89249"/>
                  </a:cubicBezTo>
                  <a:cubicBezTo>
                    <a:pt x="37052" y="94583"/>
                    <a:pt x="39910" y="99250"/>
                    <a:pt x="43624" y="103346"/>
                  </a:cubicBezTo>
                  <a:cubicBezTo>
                    <a:pt x="47339" y="107442"/>
                    <a:pt x="51721" y="110681"/>
                    <a:pt x="56864" y="112967"/>
                  </a:cubicBezTo>
                  <a:cubicBezTo>
                    <a:pt x="62008" y="115348"/>
                    <a:pt x="67532" y="116491"/>
                    <a:pt x="73628" y="116491"/>
                  </a:cubicBezTo>
                  <a:close/>
                </a:path>
              </a:pathLst>
            </a:custGeom>
            <a:solidFill>
              <a:srgbClr val="43505E"/>
            </a:solidFill>
            <a:ln w="9525" cap="flat">
              <a:noFill/>
              <a:prstDash val="solid"/>
              <a:miter/>
            </a:ln>
          </p:spPr>
          <p:txBody>
            <a:bodyPr rtlCol="0" anchor="ctr"/>
            <a:lstStyle/>
            <a:p>
              <a:endParaRPr lang="pt-BR"/>
            </a:p>
          </p:txBody>
        </p:sp>
        <p:sp>
          <p:nvSpPr>
            <p:cNvPr id="68" name="Freeform: Shape 67">
              <a:extLst>
                <a:ext uri="{FF2B5EF4-FFF2-40B4-BE49-F238E27FC236}">
                  <a16:creationId xmlns:a16="http://schemas.microsoft.com/office/drawing/2014/main" id="{FB9D595E-DB4B-EE13-4478-EB6738A9292E}"/>
                </a:ext>
              </a:extLst>
            </p:cNvPr>
            <p:cNvSpPr/>
            <p:nvPr/>
          </p:nvSpPr>
          <p:spPr>
            <a:xfrm>
              <a:off x="1756568" y="4227893"/>
              <a:ext cx="109823" cy="142970"/>
            </a:xfrm>
            <a:custGeom>
              <a:avLst/>
              <a:gdLst>
                <a:gd name="connsiteX0" fmla="*/ 58579 w 109823"/>
                <a:gd name="connsiteY0" fmla="*/ 142780 h 142970"/>
                <a:gd name="connsiteX1" fmla="*/ 28385 w 109823"/>
                <a:gd name="connsiteY1" fmla="*/ 137541 h 142970"/>
                <a:gd name="connsiteX2" fmla="*/ 0 w 109823"/>
                <a:gd name="connsiteY2" fmla="*/ 121920 h 142970"/>
                <a:gd name="connsiteX3" fmla="*/ 14097 w 109823"/>
                <a:gd name="connsiteY3" fmla="*/ 100489 h 142970"/>
                <a:gd name="connsiteX4" fmla="*/ 36957 w 109823"/>
                <a:gd name="connsiteY4" fmla="*/ 113157 h 142970"/>
                <a:gd name="connsiteX5" fmla="*/ 59341 w 109823"/>
                <a:gd name="connsiteY5" fmla="*/ 117443 h 142970"/>
                <a:gd name="connsiteX6" fmla="*/ 75152 w 109823"/>
                <a:gd name="connsiteY6" fmla="*/ 113443 h 142970"/>
                <a:gd name="connsiteX7" fmla="*/ 80772 w 109823"/>
                <a:gd name="connsiteY7" fmla="*/ 102584 h 142970"/>
                <a:gd name="connsiteX8" fmla="*/ 80772 w 109823"/>
                <a:gd name="connsiteY8" fmla="*/ 102108 h 142970"/>
                <a:gd name="connsiteX9" fmla="*/ 78296 w 109823"/>
                <a:gd name="connsiteY9" fmla="*/ 95345 h 142970"/>
                <a:gd name="connsiteX10" fmla="*/ 71533 w 109823"/>
                <a:gd name="connsiteY10" fmla="*/ 90392 h 142970"/>
                <a:gd name="connsiteX11" fmla="*/ 61627 w 109823"/>
                <a:gd name="connsiteY11" fmla="*/ 86487 h 142970"/>
                <a:gd name="connsiteX12" fmla="*/ 50006 w 109823"/>
                <a:gd name="connsiteY12" fmla="*/ 82868 h 142970"/>
                <a:gd name="connsiteX13" fmla="*/ 34671 w 109823"/>
                <a:gd name="connsiteY13" fmla="*/ 77915 h 142970"/>
                <a:gd name="connsiteX14" fmla="*/ 20860 w 109823"/>
                <a:gd name="connsiteY14" fmla="*/ 70485 h 142970"/>
                <a:gd name="connsiteX15" fmla="*/ 10763 w 109823"/>
                <a:gd name="connsiteY15" fmla="*/ 59150 h 142970"/>
                <a:gd name="connsiteX16" fmla="*/ 6858 w 109823"/>
                <a:gd name="connsiteY16" fmla="*/ 42482 h 142970"/>
                <a:gd name="connsiteX17" fmla="*/ 6858 w 109823"/>
                <a:gd name="connsiteY17" fmla="*/ 42005 h 142970"/>
                <a:gd name="connsiteX18" fmla="*/ 10668 w 109823"/>
                <a:gd name="connsiteY18" fmla="*/ 24575 h 142970"/>
                <a:gd name="connsiteX19" fmla="*/ 21146 w 109823"/>
                <a:gd name="connsiteY19" fmla="*/ 11240 h 142970"/>
                <a:gd name="connsiteX20" fmla="*/ 36862 w 109823"/>
                <a:gd name="connsiteY20" fmla="*/ 2858 h 142970"/>
                <a:gd name="connsiteX21" fmla="*/ 56102 w 109823"/>
                <a:gd name="connsiteY21" fmla="*/ 0 h 142970"/>
                <a:gd name="connsiteX22" fmla="*/ 82487 w 109823"/>
                <a:gd name="connsiteY22" fmla="*/ 4191 h 142970"/>
                <a:gd name="connsiteX23" fmla="*/ 106775 w 109823"/>
                <a:gd name="connsiteY23" fmla="*/ 15812 h 142970"/>
                <a:gd name="connsiteX24" fmla="*/ 94202 w 109823"/>
                <a:gd name="connsiteY24" fmla="*/ 38386 h 142970"/>
                <a:gd name="connsiteX25" fmla="*/ 74104 w 109823"/>
                <a:gd name="connsiteY25" fmla="*/ 28861 h 142970"/>
                <a:gd name="connsiteX26" fmla="*/ 55245 w 109823"/>
                <a:gd name="connsiteY26" fmla="*/ 25337 h 142970"/>
                <a:gd name="connsiteX27" fmla="*/ 40958 w 109823"/>
                <a:gd name="connsiteY27" fmla="*/ 29242 h 142970"/>
                <a:gd name="connsiteX28" fmla="*/ 35909 w 109823"/>
                <a:gd name="connsiteY28" fmla="*/ 39148 h 142970"/>
                <a:gd name="connsiteX29" fmla="*/ 35909 w 109823"/>
                <a:gd name="connsiteY29" fmla="*/ 39719 h 142970"/>
                <a:gd name="connsiteX30" fmla="*/ 38481 w 109823"/>
                <a:gd name="connsiteY30" fmla="*/ 46101 h 142970"/>
                <a:gd name="connsiteX31" fmla="*/ 45434 w 109823"/>
                <a:gd name="connsiteY31" fmla="*/ 51054 h 142970"/>
                <a:gd name="connsiteX32" fmla="*/ 55340 w 109823"/>
                <a:gd name="connsiteY32" fmla="*/ 55245 h 142970"/>
                <a:gd name="connsiteX33" fmla="*/ 66961 w 109823"/>
                <a:gd name="connsiteY33" fmla="*/ 59055 h 142970"/>
                <a:gd name="connsiteX34" fmla="*/ 82106 w 109823"/>
                <a:gd name="connsiteY34" fmla="*/ 64484 h 142970"/>
                <a:gd name="connsiteX35" fmla="*/ 95821 w 109823"/>
                <a:gd name="connsiteY35" fmla="*/ 72200 h 142970"/>
                <a:gd name="connsiteX36" fmla="*/ 105918 w 109823"/>
                <a:gd name="connsiteY36" fmla="*/ 83249 h 142970"/>
                <a:gd name="connsiteX37" fmla="*/ 109823 w 109823"/>
                <a:gd name="connsiteY37" fmla="*/ 99155 h 142970"/>
                <a:gd name="connsiteX38" fmla="*/ 109823 w 109823"/>
                <a:gd name="connsiteY38" fmla="*/ 99632 h 142970"/>
                <a:gd name="connsiteX39" fmla="*/ 105918 w 109823"/>
                <a:gd name="connsiteY39" fmla="*/ 118682 h 142970"/>
                <a:gd name="connsiteX40" fmla="*/ 95060 w 109823"/>
                <a:gd name="connsiteY40" fmla="*/ 132112 h 142970"/>
                <a:gd name="connsiteX41" fmla="*/ 78772 w 109823"/>
                <a:gd name="connsiteY41" fmla="*/ 140208 h 142970"/>
                <a:gd name="connsiteX42" fmla="*/ 58674 w 109823"/>
                <a:gd name="connsiteY42" fmla="*/ 142970 h 14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823" h="142970">
                  <a:moveTo>
                    <a:pt x="58579" y="142780"/>
                  </a:moveTo>
                  <a:cubicBezTo>
                    <a:pt x="48673" y="142780"/>
                    <a:pt x="38576" y="140970"/>
                    <a:pt x="28385" y="137541"/>
                  </a:cubicBezTo>
                  <a:cubicBezTo>
                    <a:pt x="18193" y="134017"/>
                    <a:pt x="8763" y="128873"/>
                    <a:pt x="0" y="121920"/>
                  </a:cubicBezTo>
                  <a:lnTo>
                    <a:pt x="14097" y="100489"/>
                  </a:lnTo>
                  <a:cubicBezTo>
                    <a:pt x="21622" y="106108"/>
                    <a:pt x="29242" y="110300"/>
                    <a:pt x="36957" y="113157"/>
                  </a:cubicBezTo>
                  <a:cubicBezTo>
                    <a:pt x="44672" y="116015"/>
                    <a:pt x="52197" y="117443"/>
                    <a:pt x="59341" y="117443"/>
                  </a:cubicBezTo>
                  <a:cubicBezTo>
                    <a:pt x="66485" y="117443"/>
                    <a:pt x="71438" y="116110"/>
                    <a:pt x="75152" y="113443"/>
                  </a:cubicBezTo>
                  <a:cubicBezTo>
                    <a:pt x="78867" y="110776"/>
                    <a:pt x="80772" y="107156"/>
                    <a:pt x="80772" y="102584"/>
                  </a:cubicBezTo>
                  <a:lnTo>
                    <a:pt x="80772" y="102108"/>
                  </a:lnTo>
                  <a:cubicBezTo>
                    <a:pt x="80772" y="99536"/>
                    <a:pt x="79915" y="97250"/>
                    <a:pt x="78296" y="95345"/>
                  </a:cubicBezTo>
                  <a:cubicBezTo>
                    <a:pt x="76676" y="93440"/>
                    <a:pt x="74390" y="91821"/>
                    <a:pt x="71533" y="90392"/>
                  </a:cubicBezTo>
                  <a:cubicBezTo>
                    <a:pt x="68675" y="88964"/>
                    <a:pt x="65342" y="87725"/>
                    <a:pt x="61627" y="86487"/>
                  </a:cubicBezTo>
                  <a:cubicBezTo>
                    <a:pt x="57912" y="85249"/>
                    <a:pt x="54007" y="84011"/>
                    <a:pt x="50006" y="82868"/>
                  </a:cubicBezTo>
                  <a:cubicBezTo>
                    <a:pt x="44958" y="81439"/>
                    <a:pt x="39815" y="79820"/>
                    <a:pt x="34671" y="77915"/>
                  </a:cubicBezTo>
                  <a:cubicBezTo>
                    <a:pt x="29527" y="76010"/>
                    <a:pt x="24956" y="73533"/>
                    <a:pt x="20860" y="70485"/>
                  </a:cubicBezTo>
                  <a:cubicBezTo>
                    <a:pt x="16764" y="67437"/>
                    <a:pt x="13430" y="63627"/>
                    <a:pt x="10763" y="59150"/>
                  </a:cubicBezTo>
                  <a:cubicBezTo>
                    <a:pt x="8096" y="54674"/>
                    <a:pt x="6858" y="49054"/>
                    <a:pt x="6858" y="42482"/>
                  </a:cubicBezTo>
                  <a:lnTo>
                    <a:pt x="6858" y="42005"/>
                  </a:lnTo>
                  <a:cubicBezTo>
                    <a:pt x="6858" y="35624"/>
                    <a:pt x="8096" y="29718"/>
                    <a:pt x="10668" y="24575"/>
                  </a:cubicBezTo>
                  <a:cubicBezTo>
                    <a:pt x="13144" y="19336"/>
                    <a:pt x="16669" y="14954"/>
                    <a:pt x="21146" y="11240"/>
                  </a:cubicBezTo>
                  <a:cubicBezTo>
                    <a:pt x="25622" y="7620"/>
                    <a:pt x="30766" y="4763"/>
                    <a:pt x="36862" y="2858"/>
                  </a:cubicBezTo>
                  <a:cubicBezTo>
                    <a:pt x="42863" y="953"/>
                    <a:pt x="49244" y="0"/>
                    <a:pt x="56102" y="0"/>
                  </a:cubicBezTo>
                  <a:cubicBezTo>
                    <a:pt x="64770" y="0"/>
                    <a:pt x="73628" y="1429"/>
                    <a:pt x="82487" y="4191"/>
                  </a:cubicBezTo>
                  <a:cubicBezTo>
                    <a:pt x="91345" y="6953"/>
                    <a:pt x="99441" y="10858"/>
                    <a:pt x="106775" y="15812"/>
                  </a:cubicBezTo>
                  <a:lnTo>
                    <a:pt x="94202" y="38386"/>
                  </a:lnTo>
                  <a:cubicBezTo>
                    <a:pt x="87535" y="34385"/>
                    <a:pt x="80867" y="31242"/>
                    <a:pt x="74104" y="28861"/>
                  </a:cubicBezTo>
                  <a:cubicBezTo>
                    <a:pt x="67342" y="26480"/>
                    <a:pt x="61055" y="25337"/>
                    <a:pt x="55245" y="25337"/>
                  </a:cubicBezTo>
                  <a:cubicBezTo>
                    <a:pt x="49149" y="25337"/>
                    <a:pt x="44387" y="26670"/>
                    <a:pt x="40958" y="29242"/>
                  </a:cubicBezTo>
                  <a:cubicBezTo>
                    <a:pt x="37529" y="31814"/>
                    <a:pt x="35909" y="35147"/>
                    <a:pt x="35909" y="39148"/>
                  </a:cubicBezTo>
                  <a:lnTo>
                    <a:pt x="35909" y="39719"/>
                  </a:lnTo>
                  <a:cubicBezTo>
                    <a:pt x="35909" y="42101"/>
                    <a:pt x="36767" y="44291"/>
                    <a:pt x="38481" y="46101"/>
                  </a:cubicBezTo>
                  <a:cubicBezTo>
                    <a:pt x="40196" y="47911"/>
                    <a:pt x="42481" y="49625"/>
                    <a:pt x="45434" y="51054"/>
                  </a:cubicBezTo>
                  <a:cubicBezTo>
                    <a:pt x="48387" y="52483"/>
                    <a:pt x="51625" y="53912"/>
                    <a:pt x="55340" y="55245"/>
                  </a:cubicBezTo>
                  <a:cubicBezTo>
                    <a:pt x="59055" y="56579"/>
                    <a:pt x="62960" y="57817"/>
                    <a:pt x="66961" y="59055"/>
                  </a:cubicBezTo>
                  <a:cubicBezTo>
                    <a:pt x="72009" y="60579"/>
                    <a:pt x="77057" y="62484"/>
                    <a:pt x="82106" y="64484"/>
                  </a:cubicBezTo>
                  <a:cubicBezTo>
                    <a:pt x="87154" y="66580"/>
                    <a:pt x="91726" y="69152"/>
                    <a:pt x="95821" y="72200"/>
                  </a:cubicBezTo>
                  <a:cubicBezTo>
                    <a:pt x="99917" y="75248"/>
                    <a:pt x="103251" y="78962"/>
                    <a:pt x="105918" y="83249"/>
                  </a:cubicBezTo>
                  <a:cubicBezTo>
                    <a:pt x="108585" y="87535"/>
                    <a:pt x="109823" y="92869"/>
                    <a:pt x="109823" y="99155"/>
                  </a:cubicBezTo>
                  <a:lnTo>
                    <a:pt x="109823" y="99632"/>
                  </a:lnTo>
                  <a:cubicBezTo>
                    <a:pt x="109823" y="106966"/>
                    <a:pt x="108490" y="113252"/>
                    <a:pt x="105918" y="118682"/>
                  </a:cubicBezTo>
                  <a:cubicBezTo>
                    <a:pt x="103346" y="124111"/>
                    <a:pt x="99727" y="128588"/>
                    <a:pt x="95060" y="132112"/>
                  </a:cubicBezTo>
                  <a:cubicBezTo>
                    <a:pt x="90392" y="135636"/>
                    <a:pt x="84963" y="138398"/>
                    <a:pt x="78772" y="140208"/>
                  </a:cubicBezTo>
                  <a:cubicBezTo>
                    <a:pt x="72485" y="142018"/>
                    <a:pt x="65818" y="142970"/>
                    <a:pt x="58674" y="142970"/>
                  </a:cubicBezTo>
                  <a:close/>
                </a:path>
              </a:pathLst>
            </a:custGeom>
            <a:solidFill>
              <a:srgbClr val="43505E"/>
            </a:solidFill>
            <a:ln w="9525" cap="flat">
              <a:noFill/>
              <a:prstDash val="solid"/>
              <a:miter/>
            </a:ln>
          </p:spPr>
          <p:txBody>
            <a:bodyPr rtlCol="0" anchor="ctr"/>
            <a:lstStyle/>
            <a:p>
              <a:endParaRPr lang="pt-BR"/>
            </a:p>
          </p:txBody>
        </p:sp>
        <p:sp>
          <p:nvSpPr>
            <p:cNvPr id="69" name="Freeform: Shape 68">
              <a:extLst>
                <a:ext uri="{FF2B5EF4-FFF2-40B4-BE49-F238E27FC236}">
                  <a16:creationId xmlns:a16="http://schemas.microsoft.com/office/drawing/2014/main" id="{0D1ED81C-02E8-7556-D650-8D7AA7ADC56D}"/>
                </a:ext>
              </a:extLst>
            </p:cNvPr>
            <p:cNvSpPr/>
            <p:nvPr/>
          </p:nvSpPr>
          <p:spPr>
            <a:xfrm>
              <a:off x="1887251" y="4227893"/>
              <a:ext cx="109823" cy="142970"/>
            </a:xfrm>
            <a:custGeom>
              <a:avLst/>
              <a:gdLst>
                <a:gd name="connsiteX0" fmla="*/ 58579 w 109823"/>
                <a:gd name="connsiteY0" fmla="*/ 142780 h 142970"/>
                <a:gd name="connsiteX1" fmla="*/ 28384 w 109823"/>
                <a:gd name="connsiteY1" fmla="*/ 137541 h 142970"/>
                <a:gd name="connsiteX2" fmla="*/ 0 w 109823"/>
                <a:gd name="connsiteY2" fmla="*/ 121920 h 142970"/>
                <a:gd name="connsiteX3" fmla="*/ 14097 w 109823"/>
                <a:gd name="connsiteY3" fmla="*/ 100489 h 142970"/>
                <a:gd name="connsiteX4" fmla="*/ 36957 w 109823"/>
                <a:gd name="connsiteY4" fmla="*/ 113157 h 142970"/>
                <a:gd name="connsiteX5" fmla="*/ 59341 w 109823"/>
                <a:gd name="connsiteY5" fmla="*/ 117443 h 142970"/>
                <a:gd name="connsiteX6" fmla="*/ 75152 w 109823"/>
                <a:gd name="connsiteY6" fmla="*/ 113443 h 142970"/>
                <a:gd name="connsiteX7" fmla="*/ 80772 w 109823"/>
                <a:gd name="connsiteY7" fmla="*/ 102584 h 142970"/>
                <a:gd name="connsiteX8" fmla="*/ 80772 w 109823"/>
                <a:gd name="connsiteY8" fmla="*/ 102108 h 142970"/>
                <a:gd name="connsiteX9" fmla="*/ 78296 w 109823"/>
                <a:gd name="connsiteY9" fmla="*/ 95345 h 142970"/>
                <a:gd name="connsiteX10" fmla="*/ 71533 w 109823"/>
                <a:gd name="connsiteY10" fmla="*/ 90392 h 142970"/>
                <a:gd name="connsiteX11" fmla="*/ 61627 w 109823"/>
                <a:gd name="connsiteY11" fmla="*/ 86487 h 142970"/>
                <a:gd name="connsiteX12" fmla="*/ 50006 w 109823"/>
                <a:gd name="connsiteY12" fmla="*/ 82868 h 142970"/>
                <a:gd name="connsiteX13" fmla="*/ 34671 w 109823"/>
                <a:gd name="connsiteY13" fmla="*/ 77915 h 142970"/>
                <a:gd name="connsiteX14" fmla="*/ 20860 w 109823"/>
                <a:gd name="connsiteY14" fmla="*/ 70485 h 142970"/>
                <a:gd name="connsiteX15" fmla="*/ 10763 w 109823"/>
                <a:gd name="connsiteY15" fmla="*/ 59150 h 142970"/>
                <a:gd name="connsiteX16" fmla="*/ 6858 w 109823"/>
                <a:gd name="connsiteY16" fmla="*/ 42482 h 142970"/>
                <a:gd name="connsiteX17" fmla="*/ 6858 w 109823"/>
                <a:gd name="connsiteY17" fmla="*/ 42005 h 142970"/>
                <a:gd name="connsiteX18" fmla="*/ 10668 w 109823"/>
                <a:gd name="connsiteY18" fmla="*/ 24575 h 142970"/>
                <a:gd name="connsiteX19" fmla="*/ 21146 w 109823"/>
                <a:gd name="connsiteY19" fmla="*/ 11240 h 142970"/>
                <a:gd name="connsiteX20" fmla="*/ 36862 w 109823"/>
                <a:gd name="connsiteY20" fmla="*/ 2858 h 142970"/>
                <a:gd name="connsiteX21" fmla="*/ 56102 w 109823"/>
                <a:gd name="connsiteY21" fmla="*/ 0 h 142970"/>
                <a:gd name="connsiteX22" fmla="*/ 82486 w 109823"/>
                <a:gd name="connsiteY22" fmla="*/ 4191 h 142970"/>
                <a:gd name="connsiteX23" fmla="*/ 106775 w 109823"/>
                <a:gd name="connsiteY23" fmla="*/ 15812 h 142970"/>
                <a:gd name="connsiteX24" fmla="*/ 94202 w 109823"/>
                <a:gd name="connsiteY24" fmla="*/ 38386 h 142970"/>
                <a:gd name="connsiteX25" fmla="*/ 74104 w 109823"/>
                <a:gd name="connsiteY25" fmla="*/ 28861 h 142970"/>
                <a:gd name="connsiteX26" fmla="*/ 55245 w 109823"/>
                <a:gd name="connsiteY26" fmla="*/ 25337 h 142970"/>
                <a:gd name="connsiteX27" fmla="*/ 40957 w 109823"/>
                <a:gd name="connsiteY27" fmla="*/ 29242 h 142970"/>
                <a:gd name="connsiteX28" fmla="*/ 35909 w 109823"/>
                <a:gd name="connsiteY28" fmla="*/ 39148 h 142970"/>
                <a:gd name="connsiteX29" fmla="*/ 35909 w 109823"/>
                <a:gd name="connsiteY29" fmla="*/ 39719 h 142970"/>
                <a:gd name="connsiteX30" fmla="*/ 38481 w 109823"/>
                <a:gd name="connsiteY30" fmla="*/ 46101 h 142970"/>
                <a:gd name="connsiteX31" fmla="*/ 45434 w 109823"/>
                <a:gd name="connsiteY31" fmla="*/ 51054 h 142970"/>
                <a:gd name="connsiteX32" fmla="*/ 55340 w 109823"/>
                <a:gd name="connsiteY32" fmla="*/ 55245 h 142970"/>
                <a:gd name="connsiteX33" fmla="*/ 66961 w 109823"/>
                <a:gd name="connsiteY33" fmla="*/ 59055 h 142970"/>
                <a:gd name="connsiteX34" fmla="*/ 82105 w 109823"/>
                <a:gd name="connsiteY34" fmla="*/ 64484 h 142970"/>
                <a:gd name="connsiteX35" fmla="*/ 95821 w 109823"/>
                <a:gd name="connsiteY35" fmla="*/ 72200 h 142970"/>
                <a:gd name="connsiteX36" fmla="*/ 105918 w 109823"/>
                <a:gd name="connsiteY36" fmla="*/ 83249 h 142970"/>
                <a:gd name="connsiteX37" fmla="*/ 109823 w 109823"/>
                <a:gd name="connsiteY37" fmla="*/ 99155 h 142970"/>
                <a:gd name="connsiteX38" fmla="*/ 109823 w 109823"/>
                <a:gd name="connsiteY38" fmla="*/ 99632 h 142970"/>
                <a:gd name="connsiteX39" fmla="*/ 105918 w 109823"/>
                <a:gd name="connsiteY39" fmla="*/ 118682 h 142970"/>
                <a:gd name="connsiteX40" fmla="*/ 95059 w 109823"/>
                <a:gd name="connsiteY40" fmla="*/ 132112 h 142970"/>
                <a:gd name="connsiteX41" fmla="*/ 78772 w 109823"/>
                <a:gd name="connsiteY41" fmla="*/ 140208 h 142970"/>
                <a:gd name="connsiteX42" fmla="*/ 58674 w 109823"/>
                <a:gd name="connsiteY42" fmla="*/ 142970 h 14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823" h="142970">
                  <a:moveTo>
                    <a:pt x="58579" y="142780"/>
                  </a:moveTo>
                  <a:cubicBezTo>
                    <a:pt x="48673" y="142780"/>
                    <a:pt x="38576" y="140970"/>
                    <a:pt x="28384" y="137541"/>
                  </a:cubicBezTo>
                  <a:cubicBezTo>
                    <a:pt x="18193" y="134017"/>
                    <a:pt x="8763" y="128873"/>
                    <a:pt x="0" y="121920"/>
                  </a:cubicBezTo>
                  <a:lnTo>
                    <a:pt x="14097" y="100489"/>
                  </a:lnTo>
                  <a:cubicBezTo>
                    <a:pt x="21622" y="106108"/>
                    <a:pt x="29242" y="110300"/>
                    <a:pt x="36957" y="113157"/>
                  </a:cubicBezTo>
                  <a:cubicBezTo>
                    <a:pt x="44672" y="116015"/>
                    <a:pt x="52197" y="117443"/>
                    <a:pt x="59341" y="117443"/>
                  </a:cubicBezTo>
                  <a:cubicBezTo>
                    <a:pt x="66484" y="117443"/>
                    <a:pt x="71438" y="116110"/>
                    <a:pt x="75152" y="113443"/>
                  </a:cubicBezTo>
                  <a:cubicBezTo>
                    <a:pt x="78867" y="110776"/>
                    <a:pt x="80772" y="107156"/>
                    <a:pt x="80772" y="102584"/>
                  </a:cubicBezTo>
                  <a:lnTo>
                    <a:pt x="80772" y="102108"/>
                  </a:lnTo>
                  <a:cubicBezTo>
                    <a:pt x="80772" y="99536"/>
                    <a:pt x="79915" y="97250"/>
                    <a:pt x="78296" y="95345"/>
                  </a:cubicBezTo>
                  <a:cubicBezTo>
                    <a:pt x="76676" y="93440"/>
                    <a:pt x="74390" y="91821"/>
                    <a:pt x="71533" y="90392"/>
                  </a:cubicBezTo>
                  <a:cubicBezTo>
                    <a:pt x="68675" y="88964"/>
                    <a:pt x="65342" y="87725"/>
                    <a:pt x="61627" y="86487"/>
                  </a:cubicBezTo>
                  <a:cubicBezTo>
                    <a:pt x="57912" y="85249"/>
                    <a:pt x="54007" y="84011"/>
                    <a:pt x="50006" y="82868"/>
                  </a:cubicBezTo>
                  <a:cubicBezTo>
                    <a:pt x="44958" y="81439"/>
                    <a:pt x="39815" y="79820"/>
                    <a:pt x="34671" y="77915"/>
                  </a:cubicBezTo>
                  <a:cubicBezTo>
                    <a:pt x="29527" y="76010"/>
                    <a:pt x="24955" y="73533"/>
                    <a:pt x="20860" y="70485"/>
                  </a:cubicBezTo>
                  <a:cubicBezTo>
                    <a:pt x="16764" y="67437"/>
                    <a:pt x="13430" y="63627"/>
                    <a:pt x="10763" y="59150"/>
                  </a:cubicBezTo>
                  <a:cubicBezTo>
                    <a:pt x="8096" y="54674"/>
                    <a:pt x="6858" y="49054"/>
                    <a:pt x="6858" y="42482"/>
                  </a:cubicBezTo>
                  <a:lnTo>
                    <a:pt x="6858" y="42005"/>
                  </a:lnTo>
                  <a:cubicBezTo>
                    <a:pt x="6858" y="35624"/>
                    <a:pt x="8096" y="29718"/>
                    <a:pt x="10668" y="24575"/>
                  </a:cubicBezTo>
                  <a:cubicBezTo>
                    <a:pt x="13144" y="19336"/>
                    <a:pt x="16669" y="14954"/>
                    <a:pt x="21146" y="11240"/>
                  </a:cubicBezTo>
                  <a:cubicBezTo>
                    <a:pt x="25622" y="7620"/>
                    <a:pt x="30766" y="4763"/>
                    <a:pt x="36862" y="2858"/>
                  </a:cubicBezTo>
                  <a:cubicBezTo>
                    <a:pt x="42863" y="953"/>
                    <a:pt x="49244" y="0"/>
                    <a:pt x="56102" y="0"/>
                  </a:cubicBezTo>
                  <a:cubicBezTo>
                    <a:pt x="64770" y="0"/>
                    <a:pt x="73628" y="1429"/>
                    <a:pt x="82486" y="4191"/>
                  </a:cubicBezTo>
                  <a:cubicBezTo>
                    <a:pt x="91345" y="6953"/>
                    <a:pt x="99441" y="10858"/>
                    <a:pt x="106775" y="15812"/>
                  </a:cubicBezTo>
                  <a:lnTo>
                    <a:pt x="94202" y="38386"/>
                  </a:lnTo>
                  <a:cubicBezTo>
                    <a:pt x="87535" y="34385"/>
                    <a:pt x="80867" y="31242"/>
                    <a:pt x="74104" y="28861"/>
                  </a:cubicBezTo>
                  <a:cubicBezTo>
                    <a:pt x="67342" y="26480"/>
                    <a:pt x="61055" y="25337"/>
                    <a:pt x="55245" y="25337"/>
                  </a:cubicBezTo>
                  <a:cubicBezTo>
                    <a:pt x="49149" y="25337"/>
                    <a:pt x="44386" y="26670"/>
                    <a:pt x="40957" y="29242"/>
                  </a:cubicBezTo>
                  <a:cubicBezTo>
                    <a:pt x="37529" y="31814"/>
                    <a:pt x="35909" y="35147"/>
                    <a:pt x="35909" y="39148"/>
                  </a:cubicBezTo>
                  <a:lnTo>
                    <a:pt x="35909" y="39719"/>
                  </a:lnTo>
                  <a:cubicBezTo>
                    <a:pt x="35909" y="42101"/>
                    <a:pt x="36767" y="44291"/>
                    <a:pt x="38481" y="46101"/>
                  </a:cubicBezTo>
                  <a:cubicBezTo>
                    <a:pt x="40196" y="47911"/>
                    <a:pt x="42481" y="49625"/>
                    <a:pt x="45434" y="51054"/>
                  </a:cubicBezTo>
                  <a:cubicBezTo>
                    <a:pt x="48387" y="52483"/>
                    <a:pt x="51625" y="53912"/>
                    <a:pt x="55340" y="55245"/>
                  </a:cubicBezTo>
                  <a:cubicBezTo>
                    <a:pt x="59055" y="56579"/>
                    <a:pt x="62960" y="57817"/>
                    <a:pt x="66961" y="59055"/>
                  </a:cubicBezTo>
                  <a:cubicBezTo>
                    <a:pt x="72009" y="60579"/>
                    <a:pt x="77057" y="62484"/>
                    <a:pt x="82105" y="64484"/>
                  </a:cubicBezTo>
                  <a:cubicBezTo>
                    <a:pt x="87154" y="66580"/>
                    <a:pt x="91726" y="69152"/>
                    <a:pt x="95821" y="72200"/>
                  </a:cubicBezTo>
                  <a:cubicBezTo>
                    <a:pt x="99917" y="75248"/>
                    <a:pt x="103251" y="78962"/>
                    <a:pt x="105918" y="83249"/>
                  </a:cubicBezTo>
                  <a:cubicBezTo>
                    <a:pt x="108585" y="87535"/>
                    <a:pt x="109823" y="92869"/>
                    <a:pt x="109823" y="99155"/>
                  </a:cubicBezTo>
                  <a:lnTo>
                    <a:pt x="109823" y="99632"/>
                  </a:lnTo>
                  <a:cubicBezTo>
                    <a:pt x="109823" y="106966"/>
                    <a:pt x="108490" y="113252"/>
                    <a:pt x="105918" y="118682"/>
                  </a:cubicBezTo>
                  <a:cubicBezTo>
                    <a:pt x="103346" y="124111"/>
                    <a:pt x="99727" y="128588"/>
                    <a:pt x="95059" y="132112"/>
                  </a:cubicBezTo>
                  <a:cubicBezTo>
                    <a:pt x="90392" y="135636"/>
                    <a:pt x="84963" y="138398"/>
                    <a:pt x="78772" y="140208"/>
                  </a:cubicBezTo>
                  <a:cubicBezTo>
                    <a:pt x="72485" y="142018"/>
                    <a:pt x="65818" y="142970"/>
                    <a:pt x="58674" y="142970"/>
                  </a:cubicBezTo>
                  <a:close/>
                </a:path>
              </a:pathLst>
            </a:custGeom>
            <a:solidFill>
              <a:srgbClr val="43505E"/>
            </a:solidFill>
            <a:ln w="9525" cap="flat">
              <a:noFill/>
              <a:prstDash val="solid"/>
              <a:miter/>
            </a:ln>
          </p:spPr>
          <p:txBody>
            <a:bodyPr rtlCol="0" anchor="ctr"/>
            <a:lstStyle/>
            <a:p>
              <a:endParaRPr lang="pt-BR"/>
            </a:p>
          </p:txBody>
        </p:sp>
        <p:sp>
          <p:nvSpPr>
            <p:cNvPr id="70" name="Freeform: Shape 69">
              <a:extLst>
                <a:ext uri="{FF2B5EF4-FFF2-40B4-BE49-F238E27FC236}">
                  <a16:creationId xmlns:a16="http://schemas.microsoft.com/office/drawing/2014/main" id="{05B52692-A211-ED96-105B-945707C1E166}"/>
                </a:ext>
              </a:extLst>
            </p:cNvPr>
            <p:cNvSpPr/>
            <p:nvPr/>
          </p:nvSpPr>
          <p:spPr>
            <a:xfrm>
              <a:off x="2019839" y="4228179"/>
              <a:ext cx="125158" cy="142779"/>
            </a:xfrm>
            <a:custGeom>
              <a:avLst/>
              <a:gdLst>
                <a:gd name="connsiteX0" fmla="*/ 93726 w 125158"/>
                <a:gd name="connsiteY0" fmla="*/ 139922 h 142779"/>
                <a:gd name="connsiteX1" fmla="*/ 93726 w 125158"/>
                <a:gd name="connsiteY1" fmla="*/ 122968 h 142779"/>
                <a:gd name="connsiteX2" fmla="*/ 75724 w 125158"/>
                <a:gd name="connsiteY2" fmla="*/ 137065 h 142779"/>
                <a:gd name="connsiteX3" fmla="*/ 49054 w 125158"/>
                <a:gd name="connsiteY3" fmla="*/ 142780 h 142779"/>
                <a:gd name="connsiteX4" fmla="*/ 30290 w 125158"/>
                <a:gd name="connsiteY4" fmla="*/ 140017 h 142779"/>
                <a:gd name="connsiteX5" fmla="*/ 14764 w 125158"/>
                <a:gd name="connsiteY5" fmla="*/ 131921 h 142779"/>
                <a:gd name="connsiteX6" fmla="*/ 4096 w 125158"/>
                <a:gd name="connsiteY6" fmla="*/ 118586 h 142779"/>
                <a:gd name="connsiteX7" fmla="*/ 0 w 125158"/>
                <a:gd name="connsiteY7" fmla="*/ 100203 h 142779"/>
                <a:gd name="connsiteX8" fmla="*/ 0 w 125158"/>
                <a:gd name="connsiteY8" fmla="*/ 99727 h 142779"/>
                <a:gd name="connsiteX9" fmla="*/ 4191 w 125158"/>
                <a:gd name="connsiteY9" fmla="*/ 79724 h 142779"/>
                <a:gd name="connsiteX10" fmla="*/ 15812 w 125158"/>
                <a:gd name="connsiteY10" fmla="*/ 65627 h 142779"/>
                <a:gd name="connsiteX11" fmla="*/ 33623 w 125158"/>
                <a:gd name="connsiteY11" fmla="*/ 57245 h 142779"/>
                <a:gd name="connsiteX12" fmla="*/ 56007 w 125158"/>
                <a:gd name="connsiteY12" fmla="*/ 54483 h 142779"/>
                <a:gd name="connsiteX13" fmla="*/ 77343 w 125158"/>
                <a:gd name="connsiteY13" fmla="*/ 56102 h 142779"/>
                <a:gd name="connsiteX14" fmla="*/ 94202 w 125158"/>
                <a:gd name="connsiteY14" fmla="*/ 60293 h 142779"/>
                <a:gd name="connsiteX15" fmla="*/ 94202 w 125158"/>
                <a:gd name="connsiteY15" fmla="*/ 57721 h 142779"/>
                <a:gd name="connsiteX16" fmla="*/ 85439 w 125158"/>
                <a:gd name="connsiteY16" fmla="*/ 35814 h 142779"/>
                <a:gd name="connsiteX17" fmla="*/ 60198 w 125158"/>
                <a:gd name="connsiteY17" fmla="*/ 28194 h 142779"/>
                <a:gd name="connsiteX18" fmla="*/ 39338 w 125158"/>
                <a:gd name="connsiteY18" fmla="*/ 30575 h 142779"/>
                <a:gd name="connsiteX19" fmla="*/ 20765 w 125158"/>
                <a:gd name="connsiteY19" fmla="*/ 36862 h 142779"/>
                <a:gd name="connsiteX20" fmla="*/ 12097 w 125158"/>
                <a:gd name="connsiteY20" fmla="*/ 11525 h 142779"/>
                <a:gd name="connsiteX21" fmla="*/ 35623 w 125158"/>
                <a:gd name="connsiteY21" fmla="*/ 3143 h 142779"/>
                <a:gd name="connsiteX22" fmla="*/ 64579 w 125158"/>
                <a:gd name="connsiteY22" fmla="*/ 0 h 142779"/>
                <a:gd name="connsiteX23" fmla="*/ 110300 w 125158"/>
                <a:gd name="connsiteY23" fmla="*/ 15335 h 142779"/>
                <a:gd name="connsiteX24" fmla="*/ 125158 w 125158"/>
                <a:gd name="connsiteY24" fmla="*/ 58293 h 142779"/>
                <a:gd name="connsiteX25" fmla="*/ 125158 w 125158"/>
                <a:gd name="connsiteY25" fmla="*/ 140113 h 142779"/>
                <a:gd name="connsiteX26" fmla="*/ 93821 w 125158"/>
                <a:gd name="connsiteY26" fmla="*/ 140113 h 142779"/>
                <a:gd name="connsiteX27" fmla="*/ 94488 w 125158"/>
                <a:gd name="connsiteY27" fmla="*/ 82201 h 142779"/>
                <a:gd name="connsiteX28" fmla="*/ 80200 w 125158"/>
                <a:gd name="connsiteY28" fmla="*/ 78295 h 142779"/>
                <a:gd name="connsiteX29" fmla="*/ 62865 w 125158"/>
                <a:gd name="connsiteY29" fmla="*/ 76676 h 142779"/>
                <a:gd name="connsiteX30" fmla="*/ 39624 w 125158"/>
                <a:gd name="connsiteY30" fmla="*/ 82391 h 142779"/>
                <a:gd name="connsiteX31" fmla="*/ 31242 w 125158"/>
                <a:gd name="connsiteY31" fmla="*/ 98107 h 142779"/>
                <a:gd name="connsiteX32" fmla="*/ 31242 w 125158"/>
                <a:gd name="connsiteY32" fmla="*/ 98679 h 142779"/>
                <a:gd name="connsiteX33" fmla="*/ 38957 w 125158"/>
                <a:gd name="connsiteY33" fmla="*/ 113824 h 142779"/>
                <a:gd name="connsiteX34" fmla="*/ 57912 w 125158"/>
                <a:gd name="connsiteY34" fmla="*/ 119063 h 142779"/>
                <a:gd name="connsiteX35" fmla="*/ 72390 w 125158"/>
                <a:gd name="connsiteY35" fmla="*/ 116967 h 142779"/>
                <a:gd name="connsiteX36" fmla="*/ 84011 w 125158"/>
                <a:gd name="connsiteY36" fmla="*/ 111061 h 142779"/>
                <a:gd name="connsiteX37" fmla="*/ 91726 w 125158"/>
                <a:gd name="connsiteY37" fmla="*/ 101917 h 142779"/>
                <a:gd name="connsiteX38" fmla="*/ 94488 w 125158"/>
                <a:gd name="connsiteY38" fmla="*/ 90011 h 142779"/>
                <a:gd name="connsiteX39" fmla="*/ 94488 w 125158"/>
                <a:gd name="connsiteY39" fmla="*/ 82201 h 14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5158" h="142779">
                  <a:moveTo>
                    <a:pt x="93726" y="139922"/>
                  </a:moveTo>
                  <a:lnTo>
                    <a:pt x="93726" y="122968"/>
                  </a:lnTo>
                  <a:cubicBezTo>
                    <a:pt x="89059" y="128588"/>
                    <a:pt x="83058" y="133255"/>
                    <a:pt x="75724" y="137065"/>
                  </a:cubicBezTo>
                  <a:cubicBezTo>
                    <a:pt x="68390" y="140875"/>
                    <a:pt x="59531" y="142780"/>
                    <a:pt x="49054" y="142780"/>
                  </a:cubicBezTo>
                  <a:cubicBezTo>
                    <a:pt x="42481" y="142780"/>
                    <a:pt x="36195" y="141827"/>
                    <a:pt x="30290" y="140017"/>
                  </a:cubicBezTo>
                  <a:cubicBezTo>
                    <a:pt x="24384" y="138208"/>
                    <a:pt x="19145" y="135445"/>
                    <a:pt x="14764" y="131921"/>
                  </a:cubicBezTo>
                  <a:cubicBezTo>
                    <a:pt x="10287" y="128397"/>
                    <a:pt x="6763" y="123920"/>
                    <a:pt x="4096" y="118586"/>
                  </a:cubicBezTo>
                  <a:cubicBezTo>
                    <a:pt x="1429" y="113252"/>
                    <a:pt x="0" y="107156"/>
                    <a:pt x="0" y="100203"/>
                  </a:cubicBezTo>
                  <a:lnTo>
                    <a:pt x="0" y="99727"/>
                  </a:lnTo>
                  <a:cubicBezTo>
                    <a:pt x="0" y="92107"/>
                    <a:pt x="1429" y="85439"/>
                    <a:pt x="4191" y="79724"/>
                  </a:cubicBezTo>
                  <a:cubicBezTo>
                    <a:pt x="6953" y="74104"/>
                    <a:pt x="10858" y="69342"/>
                    <a:pt x="15812" y="65627"/>
                  </a:cubicBezTo>
                  <a:cubicBezTo>
                    <a:pt x="20765" y="61913"/>
                    <a:pt x="26670" y="59055"/>
                    <a:pt x="33623" y="57245"/>
                  </a:cubicBezTo>
                  <a:cubicBezTo>
                    <a:pt x="40481" y="55435"/>
                    <a:pt x="47911" y="54483"/>
                    <a:pt x="56007" y="54483"/>
                  </a:cubicBezTo>
                  <a:cubicBezTo>
                    <a:pt x="64103" y="54483"/>
                    <a:pt x="71438" y="55054"/>
                    <a:pt x="77343" y="56102"/>
                  </a:cubicBezTo>
                  <a:cubicBezTo>
                    <a:pt x="83248" y="57150"/>
                    <a:pt x="88773" y="58579"/>
                    <a:pt x="94202" y="60293"/>
                  </a:cubicBezTo>
                  <a:lnTo>
                    <a:pt x="94202" y="57721"/>
                  </a:lnTo>
                  <a:cubicBezTo>
                    <a:pt x="94202" y="48196"/>
                    <a:pt x="91250" y="40862"/>
                    <a:pt x="85439" y="35814"/>
                  </a:cubicBezTo>
                  <a:cubicBezTo>
                    <a:pt x="79629" y="30766"/>
                    <a:pt x="71152" y="28194"/>
                    <a:pt x="60198" y="28194"/>
                  </a:cubicBezTo>
                  <a:cubicBezTo>
                    <a:pt x="52388" y="28194"/>
                    <a:pt x="45434" y="28956"/>
                    <a:pt x="39338" y="30575"/>
                  </a:cubicBezTo>
                  <a:cubicBezTo>
                    <a:pt x="33242" y="32194"/>
                    <a:pt x="27051" y="34195"/>
                    <a:pt x="20765" y="36862"/>
                  </a:cubicBezTo>
                  <a:lnTo>
                    <a:pt x="12097" y="11525"/>
                  </a:lnTo>
                  <a:cubicBezTo>
                    <a:pt x="19717" y="8001"/>
                    <a:pt x="27623" y="5239"/>
                    <a:pt x="35623" y="3143"/>
                  </a:cubicBezTo>
                  <a:cubicBezTo>
                    <a:pt x="43625" y="1048"/>
                    <a:pt x="53340" y="0"/>
                    <a:pt x="64579" y="0"/>
                  </a:cubicBezTo>
                  <a:cubicBezTo>
                    <a:pt x="85154" y="0"/>
                    <a:pt x="100394" y="5143"/>
                    <a:pt x="110300" y="15335"/>
                  </a:cubicBezTo>
                  <a:cubicBezTo>
                    <a:pt x="120206" y="25527"/>
                    <a:pt x="125158" y="39814"/>
                    <a:pt x="125158" y="58293"/>
                  </a:cubicBezTo>
                  <a:lnTo>
                    <a:pt x="125158" y="140113"/>
                  </a:lnTo>
                  <a:lnTo>
                    <a:pt x="93821" y="140113"/>
                  </a:lnTo>
                  <a:close/>
                  <a:moveTo>
                    <a:pt x="94488" y="82201"/>
                  </a:moveTo>
                  <a:cubicBezTo>
                    <a:pt x="90488" y="80581"/>
                    <a:pt x="85725" y="79343"/>
                    <a:pt x="80200" y="78295"/>
                  </a:cubicBezTo>
                  <a:cubicBezTo>
                    <a:pt x="74676" y="77248"/>
                    <a:pt x="68961" y="76676"/>
                    <a:pt x="62865" y="76676"/>
                  </a:cubicBezTo>
                  <a:cubicBezTo>
                    <a:pt x="52959" y="76676"/>
                    <a:pt x="45148" y="78581"/>
                    <a:pt x="39624" y="82391"/>
                  </a:cubicBezTo>
                  <a:cubicBezTo>
                    <a:pt x="34100" y="86201"/>
                    <a:pt x="31242" y="91440"/>
                    <a:pt x="31242" y="98107"/>
                  </a:cubicBezTo>
                  <a:lnTo>
                    <a:pt x="31242" y="98679"/>
                  </a:lnTo>
                  <a:cubicBezTo>
                    <a:pt x="31242" y="105346"/>
                    <a:pt x="33814" y="110395"/>
                    <a:pt x="38957" y="113824"/>
                  </a:cubicBezTo>
                  <a:cubicBezTo>
                    <a:pt x="44101" y="117348"/>
                    <a:pt x="50387" y="119063"/>
                    <a:pt x="57912" y="119063"/>
                  </a:cubicBezTo>
                  <a:cubicBezTo>
                    <a:pt x="63151" y="119063"/>
                    <a:pt x="68008" y="118396"/>
                    <a:pt x="72390" y="116967"/>
                  </a:cubicBezTo>
                  <a:cubicBezTo>
                    <a:pt x="76867" y="115538"/>
                    <a:pt x="80677" y="113633"/>
                    <a:pt x="84011" y="111061"/>
                  </a:cubicBezTo>
                  <a:cubicBezTo>
                    <a:pt x="87344" y="108585"/>
                    <a:pt x="89916" y="105537"/>
                    <a:pt x="91726" y="101917"/>
                  </a:cubicBezTo>
                  <a:cubicBezTo>
                    <a:pt x="93536" y="98298"/>
                    <a:pt x="94488" y="94393"/>
                    <a:pt x="94488" y="90011"/>
                  </a:cubicBezTo>
                  <a:lnTo>
                    <a:pt x="94488" y="82201"/>
                  </a:lnTo>
                  <a:close/>
                </a:path>
              </a:pathLst>
            </a:custGeom>
            <a:solidFill>
              <a:srgbClr val="43505E"/>
            </a:solidFill>
            <a:ln w="9525" cap="flat">
              <a:noFill/>
              <a:prstDash val="solid"/>
              <a:miter/>
            </a:ln>
          </p:spPr>
          <p:txBody>
            <a:bodyPr rtlCol="0" anchor="ctr"/>
            <a:lstStyle/>
            <a:p>
              <a:endParaRPr lang="pt-BR"/>
            </a:p>
          </p:txBody>
        </p:sp>
        <p:sp>
          <p:nvSpPr>
            <p:cNvPr id="71" name="Freeform: Shape 70">
              <a:extLst>
                <a:ext uri="{FF2B5EF4-FFF2-40B4-BE49-F238E27FC236}">
                  <a16:creationId xmlns:a16="http://schemas.microsoft.com/office/drawing/2014/main" id="{64A6B5D7-88A8-5F15-91CF-A1557C325822}"/>
                </a:ext>
              </a:extLst>
            </p:cNvPr>
            <p:cNvSpPr/>
            <p:nvPr/>
          </p:nvSpPr>
          <p:spPr>
            <a:xfrm>
              <a:off x="2171287" y="4227893"/>
              <a:ext cx="109823" cy="142970"/>
            </a:xfrm>
            <a:custGeom>
              <a:avLst/>
              <a:gdLst>
                <a:gd name="connsiteX0" fmla="*/ 58579 w 109823"/>
                <a:gd name="connsiteY0" fmla="*/ 142780 h 142970"/>
                <a:gd name="connsiteX1" fmla="*/ 28385 w 109823"/>
                <a:gd name="connsiteY1" fmla="*/ 137541 h 142970"/>
                <a:gd name="connsiteX2" fmla="*/ 0 w 109823"/>
                <a:gd name="connsiteY2" fmla="*/ 121920 h 142970"/>
                <a:gd name="connsiteX3" fmla="*/ 14097 w 109823"/>
                <a:gd name="connsiteY3" fmla="*/ 100489 h 142970"/>
                <a:gd name="connsiteX4" fmla="*/ 36957 w 109823"/>
                <a:gd name="connsiteY4" fmla="*/ 113157 h 142970"/>
                <a:gd name="connsiteX5" fmla="*/ 59246 w 109823"/>
                <a:gd name="connsiteY5" fmla="*/ 117443 h 142970"/>
                <a:gd name="connsiteX6" fmla="*/ 75057 w 109823"/>
                <a:gd name="connsiteY6" fmla="*/ 113443 h 142970"/>
                <a:gd name="connsiteX7" fmla="*/ 80677 w 109823"/>
                <a:gd name="connsiteY7" fmla="*/ 102584 h 142970"/>
                <a:gd name="connsiteX8" fmla="*/ 80677 w 109823"/>
                <a:gd name="connsiteY8" fmla="*/ 102108 h 142970"/>
                <a:gd name="connsiteX9" fmla="*/ 78200 w 109823"/>
                <a:gd name="connsiteY9" fmla="*/ 95345 h 142970"/>
                <a:gd name="connsiteX10" fmla="*/ 71438 w 109823"/>
                <a:gd name="connsiteY10" fmla="*/ 90392 h 142970"/>
                <a:gd name="connsiteX11" fmla="*/ 61532 w 109823"/>
                <a:gd name="connsiteY11" fmla="*/ 86487 h 142970"/>
                <a:gd name="connsiteX12" fmla="*/ 49911 w 109823"/>
                <a:gd name="connsiteY12" fmla="*/ 82868 h 142970"/>
                <a:gd name="connsiteX13" fmla="*/ 34671 w 109823"/>
                <a:gd name="connsiteY13" fmla="*/ 77915 h 142970"/>
                <a:gd name="connsiteX14" fmla="*/ 20860 w 109823"/>
                <a:gd name="connsiteY14" fmla="*/ 70485 h 142970"/>
                <a:gd name="connsiteX15" fmla="*/ 10763 w 109823"/>
                <a:gd name="connsiteY15" fmla="*/ 59150 h 142970"/>
                <a:gd name="connsiteX16" fmla="*/ 6858 w 109823"/>
                <a:gd name="connsiteY16" fmla="*/ 42482 h 142970"/>
                <a:gd name="connsiteX17" fmla="*/ 6858 w 109823"/>
                <a:gd name="connsiteY17" fmla="*/ 42005 h 142970"/>
                <a:gd name="connsiteX18" fmla="*/ 10668 w 109823"/>
                <a:gd name="connsiteY18" fmla="*/ 24575 h 142970"/>
                <a:gd name="connsiteX19" fmla="*/ 21146 w 109823"/>
                <a:gd name="connsiteY19" fmla="*/ 11240 h 142970"/>
                <a:gd name="connsiteX20" fmla="*/ 36862 w 109823"/>
                <a:gd name="connsiteY20" fmla="*/ 2858 h 142970"/>
                <a:gd name="connsiteX21" fmla="*/ 56102 w 109823"/>
                <a:gd name="connsiteY21" fmla="*/ 0 h 142970"/>
                <a:gd name="connsiteX22" fmla="*/ 82487 w 109823"/>
                <a:gd name="connsiteY22" fmla="*/ 4191 h 142970"/>
                <a:gd name="connsiteX23" fmla="*/ 106775 w 109823"/>
                <a:gd name="connsiteY23" fmla="*/ 15812 h 142970"/>
                <a:gd name="connsiteX24" fmla="*/ 94202 w 109823"/>
                <a:gd name="connsiteY24" fmla="*/ 38386 h 142970"/>
                <a:gd name="connsiteX25" fmla="*/ 74105 w 109823"/>
                <a:gd name="connsiteY25" fmla="*/ 28861 h 142970"/>
                <a:gd name="connsiteX26" fmla="*/ 55340 w 109823"/>
                <a:gd name="connsiteY26" fmla="*/ 25337 h 142970"/>
                <a:gd name="connsiteX27" fmla="*/ 41053 w 109823"/>
                <a:gd name="connsiteY27" fmla="*/ 29242 h 142970"/>
                <a:gd name="connsiteX28" fmla="*/ 35909 w 109823"/>
                <a:gd name="connsiteY28" fmla="*/ 39148 h 142970"/>
                <a:gd name="connsiteX29" fmla="*/ 35909 w 109823"/>
                <a:gd name="connsiteY29" fmla="*/ 39719 h 142970"/>
                <a:gd name="connsiteX30" fmla="*/ 38481 w 109823"/>
                <a:gd name="connsiteY30" fmla="*/ 46101 h 142970"/>
                <a:gd name="connsiteX31" fmla="*/ 45434 w 109823"/>
                <a:gd name="connsiteY31" fmla="*/ 51054 h 142970"/>
                <a:gd name="connsiteX32" fmla="*/ 55340 w 109823"/>
                <a:gd name="connsiteY32" fmla="*/ 55245 h 142970"/>
                <a:gd name="connsiteX33" fmla="*/ 66961 w 109823"/>
                <a:gd name="connsiteY33" fmla="*/ 59055 h 142970"/>
                <a:gd name="connsiteX34" fmla="*/ 82106 w 109823"/>
                <a:gd name="connsiteY34" fmla="*/ 64484 h 142970"/>
                <a:gd name="connsiteX35" fmla="*/ 95822 w 109823"/>
                <a:gd name="connsiteY35" fmla="*/ 72200 h 142970"/>
                <a:gd name="connsiteX36" fmla="*/ 105918 w 109823"/>
                <a:gd name="connsiteY36" fmla="*/ 83249 h 142970"/>
                <a:gd name="connsiteX37" fmla="*/ 109823 w 109823"/>
                <a:gd name="connsiteY37" fmla="*/ 99155 h 142970"/>
                <a:gd name="connsiteX38" fmla="*/ 109823 w 109823"/>
                <a:gd name="connsiteY38" fmla="*/ 99632 h 142970"/>
                <a:gd name="connsiteX39" fmla="*/ 105918 w 109823"/>
                <a:gd name="connsiteY39" fmla="*/ 118682 h 142970"/>
                <a:gd name="connsiteX40" fmla="*/ 95060 w 109823"/>
                <a:gd name="connsiteY40" fmla="*/ 132112 h 142970"/>
                <a:gd name="connsiteX41" fmla="*/ 78772 w 109823"/>
                <a:gd name="connsiteY41" fmla="*/ 140208 h 142970"/>
                <a:gd name="connsiteX42" fmla="*/ 58674 w 109823"/>
                <a:gd name="connsiteY42" fmla="*/ 142970 h 14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823" h="142970">
                  <a:moveTo>
                    <a:pt x="58579" y="142780"/>
                  </a:moveTo>
                  <a:cubicBezTo>
                    <a:pt x="48673" y="142780"/>
                    <a:pt x="38576" y="140970"/>
                    <a:pt x="28385" y="137541"/>
                  </a:cubicBezTo>
                  <a:cubicBezTo>
                    <a:pt x="18193" y="134017"/>
                    <a:pt x="8763" y="128873"/>
                    <a:pt x="0" y="121920"/>
                  </a:cubicBezTo>
                  <a:lnTo>
                    <a:pt x="14097" y="100489"/>
                  </a:lnTo>
                  <a:cubicBezTo>
                    <a:pt x="21622" y="106108"/>
                    <a:pt x="29242" y="110300"/>
                    <a:pt x="36957" y="113157"/>
                  </a:cubicBezTo>
                  <a:cubicBezTo>
                    <a:pt x="44672" y="116015"/>
                    <a:pt x="52102" y="117443"/>
                    <a:pt x="59246" y="117443"/>
                  </a:cubicBezTo>
                  <a:cubicBezTo>
                    <a:pt x="66389" y="117443"/>
                    <a:pt x="71342" y="116110"/>
                    <a:pt x="75057" y="113443"/>
                  </a:cubicBezTo>
                  <a:cubicBezTo>
                    <a:pt x="78772" y="110776"/>
                    <a:pt x="80677" y="107156"/>
                    <a:pt x="80677" y="102584"/>
                  </a:cubicBezTo>
                  <a:lnTo>
                    <a:pt x="80677" y="102108"/>
                  </a:lnTo>
                  <a:cubicBezTo>
                    <a:pt x="80677" y="99536"/>
                    <a:pt x="79820" y="97250"/>
                    <a:pt x="78200" y="95345"/>
                  </a:cubicBezTo>
                  <a:cubicBezTo>
                    <a:pt x="76581" y="93440"/>
                    <a:pt x="74295" y="91821"/>
                    <a:pt x="71438" y="90392"/>
                  </a:cubicBezTo>
                  <a:cubicBezTo>
                    <a:pt x="68580" y="88964"/>
                    <a:pt x="65246" y="87725"/>
                    <a:pt x="61532" y="86487"/>
                  </a:cubicBezTo>
                  <a:cubicBezTo>
                    <a:pt x="57817" y="85249"/>
                    <a:pt x="53912" y="84011"/>
                    <a:pt x="49911" y="82868"/>
                  </a:cubicBezTo>
                  <a:cubicBezTo>
                    <a:pt x="44863" y="81439"/>
                    <a:pt x="39719" y="79820"/>
                    <a:pt x="34671" y="77915"/>
                  </a:cubicBezTo>
                  <a:cubicBezTo>
                    <a:pt x="29528" y="76010"/>
                    <a:pt x="24956" y="73533"/>
                    <a:pt x="20860" y="70485"/>
                  </a:cubicBezTo>
                  <a:cubicBezTo>
                    <a:pt x="16764" y="67437"/>
                    <a:pt x="13430" y="63627"/>
                    <a:pt x="10763" y="59150"/>
                  </a:cubicBezTo>
                  <a:cubicBezTo>
                    <a:pt x="8192" y="54674"/>
                    <a:pt x="6858" y="49054"/>
                    <a:pt x="6858" y="42482"/>
                  </a:cubicBezTo>
                  <a:lnTo>
                    <a:pt x="6858" y="42005"/>
                  </a:lnTo>
                  <a:cubicBezTo>
                    <a:pt x="6858" y="35624"/>
                    <a:pt x="8096" y="29718"/>
                    <a:pt x="10668" y="24575"/>
                  </a:cubicBezTo>
                  <a:cubicBezTo>
                    <a:pt x="13240" y="19336"/>
                    <a:pt x="16669" y="14954"/>
                    <a:pt x="21146" y="11240"/>
                  </a:cubicBezTo>
                  <a:cubicBezTo>
                    <a:pt x="25622" y="7620"/>
                    <a:pt x="30766" y="4763"/>
                    <a:pt x="36862" y="2858"/>
                  </a:cubicBezTo>
                  <a:cubicBezTo>
                    <a:pt x="42863" y="953"/>
                    <a:pt x="49244" y="0"/>
                    <a:pt x="56102" y="0"/>
                  </a:cubicBezTo>
                  <a:cubicBezTo>
                    <a:pt x="64770" y="0"/>
                    <a:pt x="73628" y="1429"/>
                    <a:pt x="82487" y="4191"/>
                  </a:cubicBezTo>
                  <a:cubicBezTo>
                    <a:pt x="91345" y="6953"/>
                    <a:pt x="99441" y="10858"/>
                    <a:pt x="106775" y="15812"/>
                  </a:cubicBezTo>
                  <a:lnTo>
                    <a:pt x="94202" y="38386"/>
                  </a:lnTo>
                  <a:cubicBezTo>
                    <a:pt x="87535" y="34385"/>
                    <a:pt x="80867" y="31242"/>
                    <a:pt x="74105" y="28861"/>
                  </a:cubicBezTo>
                  <a:cubicBezTo>
                    <a:pt x="67342" y="26480"/>
                    <a:pt x="61055" y="25337"/>
                    <a:pt x="55340" y="25337"/>
                  </a:cubicBezTo>
                  <a:cubicBezTo>
                    <a:pt x="49244" y="25337"/>
                    <a:pt x="44482" y="26670"/>
                    <a:pt x="41053" y="29242"/>
                  </a:cubicBezTo>
                  <a:cubicBezTo>
                    <a:pt x="37624" y="31814"/>
                    <a:pt x="35909" y="35147"/>
                    <a:pt x="35909" y="39148"/>
                  </a:cubicBezTo>
                  <a:lnTo>
                    <a:pt x="35909" y="39719"/>
                  </a:lnTo>
                  <a:cubicBezTo>
                    <a:pt x="35909" y="42101"/>
                    <a:pt x="36767" y="44291"/>
                    <a:pt x="38481" y="46101"/>
                  </a:cubicBezTo>
                  <a:cubicBezTo>
                    <a:pt x="40196" y="47911"/>
                    <a:pt x="42482" y="49625"/>
                    <a:pt x="45434" y="51054"/>
                  </a:cubicBezTo>
                  <a:cubicBezTo>
                    <a:pt x="48387" y="52483"/>
                    <a:pt x="51626" y="53912"/>
                    <a:pt x="55340" y="55245"/>
                  </a:cubicBezTo>
                  <a:cubicBezTo>
                    <a:pt x="59055" y="56579"/>
                    <a:pt x="62960" y="57817"/>
                    <a:pt x="66961" y="59055"/>
                  </a:cubicBezTo>
                  <a:cubicBezTo>
                    <a:pt x="72009" y="60579"/>
                    <a:pt x="77057" y="62484"/>
                    <a:pt x="82106" y="64484"/>
                  </a:cubicBezTo>
                  <a:cubicBezTo>
                    <a:pt x="87154" y="66580"/>
                    <a:pt x="91726" y="69152"/>
                    <a:pt x="95822" y="72200"/>
                  </a:cubicBezTo>
                  <a:cubicBezTo>
                    <a:pt x="99917" y="75248"/>
                    <a:pt x="103251" y="78962"/>
                    <a:pt x="105918" y="83249"/>
                  </a:cubicBezTo>
                  <a:cubicBezTo>
                    <a:pt x="108490" y="87630"/>
                    <a:pt x="109823" y="92869"/>
                    <a:pt x="109823" y="99155"/>
                  </a:cubicBezTo>
                  <a:lnTo>
                    <a:pt x="109823" y="99632"/>
                  </a:lnTo>
                  <a:cubicBezTo>
                    <a:pt x="109823" y="106966"/>
                    <a:pt x="108490" y="113252"/>
                    <a:pt x="105918" y="118682"/>
                  </a:cubicBezTo>
                  <a:cubicBezTo>
                    <a:pt x="103346" y="124111"/>
                    <a:pt x="99727" y="128588"/>
                    <a:pt x="95060" y="132112"/>
                  </a:cubicBezTo>
                  <a:cubicBezTo>
                    <a:pt x="90392" y="135636"/>
                    <a:pt x="84963" y="138398"/>
                    <a:pt x="78772" y="140208"/>
                  </a:cubicBezTo>
                  <a:cubicBezTo>
                    <a:pt x="72581" y="142018"/>
                    <a:pt x="65818" y="142970"/>
                    <a:pt x="58674" y="142970"/>
                  </a:cubicBezTo>
                  <a:close/>
                </a:path>
              </a:pathLst>
            </a:custGeom>
            <a:solidFill>
              <a:srgbClr val="43505E"/>
            </a:solidFill>
            <a:ln w="9525" cap="flat">
              <a:noFill/>
              <a:prstDash val="solid"/>
              <a:miter/>
            </a:ln>
          </p:spPr>
          <p:txBody>
            <a:bodyPr rtlCol="0" anchor="ctr"/>
            <a:lstStyle/>
            <a:p>
              <a:endParaRPr lang="pt-BR"/>
            </a:p>
          </p:txBody>
        </p:sp>
        <p:sp>
          <p:nvSpPr>
            <p:cNvPr id="72" name="Freeform: Shape 71">
              <a:extLst>
                <a:ext uri="{FF2B5EF4-FFF2-40B4-BE49-F238E27FC236}">
                  <a16:creationId xmlns:a16="http://schemas.microsoft.com/office/drawing/2014/main" id="{7BFD6A6E-3B61-4D04-729B-C75A69345F5E}"/>
                </a:ext>
              </a:extLst>
            </p:cNvPr>
            <p:cNvSpPr/>
            <p:nvPr/>
          </p:nvSpPr>
          <p:spPr>
            <a:xfrm>
              <a:off x="2391600" y="4227226"/>
              <a:ext cx="210121" cy="140970"/>
            </a:xfrm>
            <a:custGeom>
              <a:avLst/>
              <a:gdLst>
                <a:gd name="connsiteX0" fmla="*/ 0 w 210121"/>
                <a:gd name="connsiteY0" fmla="*/ 2858 h 140970"/>
                <a:gd name="connsiteX1" fmla="*/ 31909 w 210121"/>
                <a:gd name="connsiteY1" fmla="*/ 2858 h 140970"/>
                <a:gd name="connsiteX2" fmla="*/ 31909 w 210121"/>
                <a:gd name="connsiteY2" fmla="*/ 24003 h 140970"/>
                <a:gd name="connsiteX3" fmla="*/ 39243 w 210121"/>
                <a:gd name="connsiteY3" fmla="*/ 15050 h 140970"/>
                <a:gd name="connsiteX4" fmla="*/ 48196 w 210121"/>
                <a:gd name="connsiteY4" fmla="*/ 7429 h 140970"/>
                <a:gd name="connsiteX5" fmla="*/ 59626 w 210121"/>
                <a:gd name="connsiteY5" fmla="*/ 2000 h 140970"/>
                <a:gd name="connsiteX6" fmla="*/ 73819 w 210121"/>
                <a:gd name="connsiteY6" fmla="*/ 0 h 140970"/>
                <a:gd name="connsiteX7" fmla="*/ 98965 w 210121"/>
                <a:gd name="connsiteY7" fmla="*/ 6763 h 140970"/>
                <a:gd name="connsiteX8" fmla="*/ 114681 w 210121"/>
                <a:gd name="connsiteY8" fmla="*/ 24575 h 140970"/>
                <a:gd name="connsiteX9" fmla="*/ 134493 w 210121"/>
                <a:gd name="connsiteY9" fmla="*/ 6763 h 140970"/>
                <a:gd name="connsiteX10" fmla="*/ 161639 w 210121"/>
                <a:gd name="connsiteY10" fmla="*/ 0 h 140970"/>
                <a:gd name="connsiteX11" fmla="*/ 197263 w 210121"/>
                <a:gd name="connsiteY11" fmla="*/ 13716 h 140970"/>
                <a:gd name="connsiteX12" fmla="*/ 210121 w 210121"/>
                <a:gd name="connsiteY12" fmla="*/ 52768 h 140970"/>
                <a:gd name="connsiteX13" fmla="*/ 210121 w 210121"/>
                <a:gd name="connsiteY13" fmla="*/ 140875 h 140970"/>
                <a:gd name="connsiteX14" fmla="*/ 178213 w 210121"/>
                <a:gd name="connsiteY14" fmla="*/ 140875 h 140970"/>
                <a:gd name="connsiteX15" fmla="*/ 178213 w 210121"/>
                <a:gd name="connsiteY15" fmla="*/ 62675 h 140970"/>
                <a:gd name="connsiteX16" fmla="*/ 170974 w 210121"/>
                <a:gd name="connsiteY16" fmla="*/ 37624 h 140970"/>
                <a:gd name="connsiteX17" fmla="*/ 150400 w 210121"/>
                <a:gd name="connsiteY17" fmla="*/ 29051 h 140970"/>
                <a:gd name="connsiteX18" fmla="*/ 129254 w 210121"/>
                <a:gd name="connsiteY18" fmla="*/ 37814 h 140970"/>
                <a:gd name="connsiteX19" fmla="*/ 121063 w 210121"/>
                <a:gd name="connsiteY19" fmla="*/ 63246 h 140970"/>
                <a:gd name="connsiteX20" fmla="*/ 121063 w 210121"/>
                <a:gd name="connsiteY20" fmla="*/ 140970 h 140970"/>
                <a:gd name="connsiteX21" fmla="*/ 89154 w 210121"/>
                <a:gd name="connsiteY21" fmla="*/ 140970 h 140970"/>
                <a:gd name="connsiteX22" fmla="*/ 89154 w 210121"/>
                <a:gd name="connsiteY22" fmla="*/ 62484 h 140970"/>
                <a:gd name="connsiteX23" fmla="*/ 81915 w 210121"/>
                <a:gd name="connsiteY23" fmla="*/ 37719 h 140970"/>
                <a:gd name="connsiteX24" fmla="*/ 61341 w 210121"/>
                <a:gd name="connsiteY24" fmla="*/ 29146 h 140970"/>
                <a:gd name="connsiteX25" fmla="*/ 40005 w 210121"/>
                <a:gd name="connsiteY25" fmla="*/ 38291 h 140970"/>
                <a:gd name="connsiteX26" fmla="*/ 31909 w 210121"/>
                <a:gd name="connsiteY26" fmla="*/ 63532 h 140970"/>
                <a:gd name="connsiteX27" fmla="*/ 31909 w 210121"/>
                <a:gd name="connsiteY27" fmla="*/ 140970 h 140970"/>
                <a:gd name="connsiteX28" fmla="*/ 0 w 210121"/>
                <a:gd name="connsiteY28" fmla="*/ 140970 h 140970"/>
                <a:gd name="connsiteX29" fmla="*/ 0 w 210121"/>
                <a:gd name="connsiteY29" fmla="*/ 3048 h 14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0121" h="140970">
                  <a:moveTo>
                    <a:pt x="0" y="2858"/>
                  </a:moveTo>
                  <a:lnTo>
                    <a:pt x="31909" y="2858"/>
                  </a:lnTo>
                  <a:lnTo>
                    <a:pt x="31909" y="24003"/>
                  </a:lnTo>
                  <a:cubicBezTo>
                    <a:pt x="34195" y="20860"/>
                    <a:pt x="36576" y="17812"/>
                    <a:pt x="39243" y="15050"/>
                  </a:cubicBezTo>
                  <a:cubicBezTo>
                    <a:pt x="41815" y="12287"/>
                    <a:pt x="44863" y="9716"/>
                    <a:pt x="48196" y="7429"/>
                  </a:cubicBezTo>
                  <a:cubicBezTo>
                    <a:pt x="51625" y="5143"/>
                    <a:pt x="55436" y="3334"/>
                    <a:pt x="59626" y="2000"/>
                  </a:cubicBezTo>
                  <a:cubicBezTo>
                    <a:pt x="63913" y="667"/>
                    <a:pt x="68580" y="0"/>
                    <a:pt x="73819" y="0"/>
                  </a:cubicBezTo>
                  <a:cubicBezTo>
                    <a:pt x="83725" y="0"/>
                    <a:pt x="92107" y="2286"/>
                    <a:pt x="98965" y="6763"/>
                  </a:cubicBezTo>
                  <a:cubicBezTo>
                    <a:pt x="105823" y="11239"/>
                    <a:pt x="111062" y="17145"/>
                    <a:pt x="114681" y="24575"/>
                  </a:cubicBezTo>
                  <a:cubicBezTo>
                    <a:pt x="120301" y="17240"/>
                    <a:pt x="126873" y="11239"/>
                    <a:pt x="134493" y="6763"/>
                  </a:cubicBezTo>
                  <a:cubicBezTo>
                    <a:pt x="142113" y="2286"/>
                    <a:pt x="151162" y="0"/>
                    <a:pt x="161639" y="0"/>
                  </a:cubicBezTo>
                  <a:cubicBezTo>
                    <a:pt x="176879" y="0"/>
                    <a:pt x="188690" y="4572"/>
                    <a:pt x="197263" y="13716"/>
                  </a:cubicBezTo>
                  <a:cubicBezTo>
                    <a:pt x="205835" y="22860"/>
                    <a:pt x="210121" y="35909"/>
                    <a:pt x="210121" y="52768"/>
                  </a:cubicBezTo>
                  <a:lnTo>
                    <a:pt x="210121" y="140875"/>
                  </a:lnTo>
                  <a:lnTo>
                    <a:pt x="178213" y="140875"/>
                  </a:lnTo>
                  <a:lnTo>
                    <a:pt x="178213" y="62675"/>
                  </a:lnTo>
                  <a:cubicBezTo>
                    <a:pt x="178213" y="51721"/>
                    <a:pt x="175832" y="43339"/>
                    <a:pt x="170974" y="37624"/>
                  </a:cubicBezTo>
                  <a:cubicBezTo>
                    <a:pt x="166116" y="31909"/>
                    <a:pt x="159258" y="29051"/>
                    <a:pt x="150400" y="29051"/>
                  </a:cubicBezTo>
                  <a:cubicBezTo>
                    <a:pt x="141542" y="29051"/>
                    <a:pt x="134684" y="32004"/>
                    <a:pt x="129254" y="37814"/>
                  </a:cubicBezTo>
                  <a:cubicBezTo>
                    <a:pt x="123825" y="43625"/>
                    <a:pt x="121063" y="52102"/>
                    <a:pt x="121063" y="63246"/>
                  </a:cubicBezTo>
                  <a:lnTo>
                    <a:pt x="121063" y="140970"/>
                  </a:lnTo>
                  <a:lnTo>
                    <a:pt x="89154" y="140970"/>
                  </a:lnTo>
                  <a:lnTo>
                    <a:pt x="89154" y="62484"/>
                  </a:lnTo>
                  <a:cubicBezTo>
                    <a:pt x="89154" y="51721"/>
                    <a:pt x="86678" y="43434"/>
                    <a:pt x="81915" y="37719"/>
                  </a:cubicBezTo>
                  <a:cubicBezTo>
                    <a:pt x="77057" y="32004"/>
                    <a:pt x="70199" y="29146"/>
                    <a:pt x="61341" y="29146"/>
                  </a:cubicBezTo>
                  <a:cubicBezTo>
                    <a:pt x="52483" y="29146"/>
                    <a:pt x="45434" y="32195"/>
                    <a:pt x="40005" y="38291"/>
                  </a:cubicBezTo>
                  <a:cubicBezTo>
                    <a:pt x="34671" y="44387"/>
                    <a:pt x="31909" y="52768"/>
                    <a:pt x="31909" y="63532"/>
                  </a:cubicBezTo>
                  <a:lnTo>
                    <a:pt x="31909" y="140970"/>
                  </a:lnTo>
                  <a:lnTo>
                    <a:pt x="0" y="140970"/>
                  </a:lnTo>
                  <a:lnTo>
                    <a:pt x="0" y="3048"/>
                  </a:lnTo>
                  <a:close/>
                </a:path>
              </a:pathLst>
            </a:custGeom>
            <a:solidFill>
              <a:srgbClr val="43505E"/>
            </a:solidFill>
            <a:ln w="9525" cap="flat">
              <a:noFill/>
              <a:prstDash val="solid"/>
              <a:miter/>
            </a:ln>
          </p:spPr>
          <p:txBody>
            <a:bodyPr rtlCol="0" anchor="ctr"/>
            <a:lstStyle/>
            <a:p>
              <a:endParaRPr lang="pt-BR"/>
            </a:p>
          </p:txBody>
        </p:sp>
        <p:sp>
          <p:nvSpPr>
            <p:cNvPr id="73" name="Freeform: Shape 72">
              <a:extLst>
                <a:ext uri="{FF2B5EF4-FFF2-40B4-BE49-F238E27FC236}">
                  <a16:creationId xmlns:a16="http://schemas.microsoft.com/office/drawing/2014/main" id="{0EB0EB75-069A-3F12-F838-1C1EBAC11DBB}"/>
                </a:ext>
              </a:extLst>
            </p:cNvPr>
            <p:cNvSpPr/>
            <p:nvPr/>
          </p:nvSpPr>
          <p:spPr>
            <a:xfrm>
              <a:off x="2630487" y="4174648"/>
              <a:ext cx="125158" cy="196310"/>
            </a:xfrm>
            <a:custGeom>
              <a:avLst/>
              <a:gdLst>
                <a:gd name="connsiteX0" fmla="*/ 93726 w 125158"/>
                <a:gd name="connsiteY0" fmla="*/ 193453 h 196310"/>
                <a:gd name="connsiteX1" fmla="*/ 93726 w 125158"/>
                <a:gd name="connsiteY1" fmla="*/ 176498 h 196310"/>
                <a:gd name="connsiteX2" fmla="*/ 75724 w 125158"/>
                <a:gd name="connsiteY2" fmla="*/ 190595 h 196310"/>
                <a:gd name="connsiteX3" fmla="*/ 49054 w 125158"/>
                <a:gd name="connsiteY3" fmla="*/ 196310 h 196310"/>
                <a:gd name="connsiteX4" fmla="*/ 30289 w 125158"/>
                <a:gd name="connsiteY4" fmla="*/ 193548 h 196310"/>
                <a:gd name="connsiteX5" fmla="*/ 14764 w 125158"/>
                <a:gd name="connsiteY5" fmla="*/ 185452 h 196310"/>
                <a:gd name="connsiteX6" fmla="*/ 4096 w 125158"/>
                <a:gd name="connsiteY6" fmla="*/ 172117 h 196310"/>
                <a:gd name="connsiteX7" fmla="*/ 0 w 125158"/>
                <a:gd name="connsiteY7" fmla="*/ 153734 h 196310"/>
                <a:gd name="connsiteX8" fmla="*/ 0 w 125158"/>
                <a:gd name="connsiteY8" fmla="*/ 153257 h 196310"/>
                <a:gd name="connsiteX9" fmla="*/ 4191 w 125158"/>
                <a:gd name="connsiteY9" fmla="*/ 133255 h 196310"/>
                <a:gd name="connsiteX10" fmla="*/ 15812 w 125158"/>
                <a:gd name="connsiteY10" fmla="*/ 119158 h 196310"/>
                <a:gd name="connsiteX11" fmla="*/ 33623 w 125158"/>
                <a:gd name="connsiteY11" fmla="*/ 110776 h 196310"/>
                <a:gd name="connsiteX12" fmla="*/ 56007 w 125158"/>
                <a:gd name="connsiteY12" fmla="*/ 108013 h 196310"/>
                <a:gd name="connsiteX13" fmla="*/ 77343 w 125158"/>
                <a:gd name="connsiteY13" fmla="*/ 109633 h 196310"/>
                <a:gd name="connsiteX14" fmla="*/ 94202 w 125158"/>
                <a:gd name="connsiteY14" fmla="*/ 113824 h 196310"/>
                <a:gd name="connsiteX15" fmla="*/ 94202 w 125158"/>
                <a:gd name="connsiteY15" fmla="*/ 111252 h 196310"/>
                <a:gd name="connsiteX16" fmla="*/ 85439 w 125158"/>
                <a:gd name="connsiteY16" fmla="*/ 89345 h 196310"/>
                <a:gd name="connsiteX17" fmla="*/ 60198 w 125158"/>
                <a:gd name="connsiteY17" fmla="*/ 81725 h 196310"/>
                <a:gd name="connsiteX18" fmla="*/ 39338 w 125158"/>
                <a:gd name="connsiteY18" fmla="*/ 84106 h 196310"/>
                <a:gd name="connsiteX19" fmla="*/ 20764 w 125158"/>
                <a:gd name="connsiteY19" fmla="*/ 90392 h 196310"/>
                <a:gd name="connsiteX20" fmla="*/ 12097 w 125158"/>
                <a:gd name="connsiteY20" fmla="*/ 65056 h 196310"/>
                <a:gd name="connsiteX21" fmla="*/ 35624 w 125158"/>
                <a:gd name="connsiteY21" fmla="*/ 56674 h 196310"/>
                <a:gd name="connsiteX22" fmla="*/ 64579 w 125158"/>
                <a:gd name="connsiteY22" fmla="*/ 53531 h 196310"/>
                <a:gd name="connsiteX23" fmla="*/ 110300 w 125158"/>
                <a:gd name="connsiteY23" fmla="*/ 68866 h 196310"/>
                <a:gd name="connsiteX24" fmla="*/ 125158 w 125158"/>
                <a:gd name="connsiteY24" fmla="*/ 111824 h 196310"/>
                <a:gd name="connsiteX25" fmla="*/ 125158 w 125158"/>
                <a:gd name="connsiteY25" fmla="*/ 193643 h 196310"/>
                <a:gd name="connsiteX26" fmla="*/ 93821 w 125158"/>
                <a:gd name="connsiteY26" fmla="*/ 193643 h 196310"/>
                <a:gd name="connsiteX27" fmla="*/ 16859 w 125158"/>
                <a:gd name="connsiteY27" fmla="*/ 35338 h 196310"/>
                <a:gd name="connsiteX28" fmla="*/ 27718 w 125158"/>
                <a:gd name="connsiteY28" fmla="*/ 11049 h 196310"/>
                <a:gd name="connsiteX29" fmla="*/ 46101 w 125158"/>
                <a:gd name="connsiteY29" fmla="*/ 2667 h 196310"/>
                <a:gd name="connsiteX30" fmla="*/ 56769 w 125158"/>
                <a:gd name="connsiteY30" fmla="*/ 4382 h 196310"/>
                <a:gd name="connsiteX31" fmla="*/ 66866 w 125158"/>
                <a:gd name="connsiteY31" fmla="*/ 8001 h 196310"/>
                <a:gd name="connsiteX32" fmla="*/ 75914 w 125158"/>
                <a:gd name="connsiteY32" fmla="*/ 11525 h 196310"/>
                <a:gd name="connsiteX33" fmla="*/ 83725 w 125158"/>
                <a:gd name="connsiteY33" fmla="*/ 13049 h 196310"/>
                <a:gd name="connsiteX34" fmla="*/ 92392 w 125158"/>
                <a:gd name="connsiteY34" fmla="*/ 9906 h 196310"/>
                <a:gd name="connsiteX35" fmla="*/ 98108 w 125158"/>
                <a:gd name="connsiteY35" fmla="*/ 0 h 196310"/>
                <a:gd name="connsiteX36" fmla="*/ 115633 w 125158"/>
                <a:gd name="connsiteY36" fmla="*/ 5525 h 196310"/>
                <a:gd name="connsiteX37" fmla="*/ 104775 w 125158"/>
                <a:gd name="connsiteY37" fmla="*/ 29528 h 196310"/>
                <a:gd name="connsiteX38" fmla="*/ 86392 w 125158"/>
                <a:gd name="connsiteY38" fmla="*/ 37909 h 196310"/>
                <a:gd name="connsiteX39" fmla="*/ 75724 w 125158"/>
                <a:gd name="connsiteY39" fmla="*/ 36386 h 196310"/>
                <a:gd name="connsiteX40" fmla="*/ 65627 w 125158"/>
                <a:gd name="connsiteY40" fmla="*/ 32861 h 196310"/>
                <a:gd name="connsiteX41" fmla="*/ 56483 w 125158"/>
                <a:gd name="connsiteY41" fmla="*/ 29242 h 196310"/>
                <a:gd name="connsiteX42" fmla="*/ 48768 w 125158"/>
                <a:gd name="connsiteY42" fmla="*/ 27527 h 196310"/>
                <a:gd name="connsiteX43" fmla="*/ 40100 w 125158"/>
                <a:gd name="connsiteY43" fmla="*/ 30671 h 196310"/>
                <a:gd name="connsiteX44" fmla="*/ 34385 w 125158"/>
                <a:gd name="connsiteY44" fmla="*/ 40577 h 196310"/>
                <a:gd name="connsiteX45" fmla="*/ 16859 w 125158"/>
                <a:gd name="connsiteY45" fmla="*/ 35338 h 196310"/>
                <a:gd name="connsiteX46" fmla="*/ 94488 w 125158"/>
                <a:gd name="connsiteY46" fmla="*/ 135636 h 196310"/>
                <a:gd name="connsiteX47" fmla="*/ 80200 w 125158"/>
                <a:gd name="connsiteY47" fmla="*/ 131731 h 196310"/>
                <a:gd name="connsiteX48" fmla="*/ 62865 w 125158"/>
                <a:gd name="connsiteY48" fmla="*/ 130112 h 196310"/>
                <a:gd name="connsiteX49" fmla="*/ 39624 w 125158"/>
                <a:gd name="connsiteY49" fmla="*/ 135827 h 196310"/>
                <a:gd name="connsiteX50" fmla="*/ 31242 w 125158"/>
                <a:gd name="connsiteY50" fmla="*/ 151543 h 196310"/>
                <a:gd name="connsiteX51" fmla="*/ 31242 w 125158"/>
                <a:gd name="connsiteY51" fmla="*/ 152114 h 196310"/>
                <a:gd name="connsiteX52" fmla="*/ 38957 w 125158"/>
                <a:gd name="connsiteY52" fmla="*/ 167259 h 196310"/>
                <a:gd name="connsiteX53" fmla="*/ 57912 w 125158"/>
                <a:gd name="connsiteY53" fmla="*/ 172498 h 196310"/>
                <a:gd name="connsiteX54" fmla="*/ 72390 w 125158"/>
                <a:gd name="connsiteY54" fmla="*/ 170402 h 196310"/>
                <a:gd name="connsiteX55" fmla="*/ 84011 w 125158"/>
                <a:gd name="connsiteY55" fmla="*/ 164497 h 196310"/>
                <a:gd name="connsiteX56" fmla="*/ 91726 w 125158"/>
                <a:gd name="connsiteY56" fmla="*/ 155353 h 196310"/>
                <a:gd name="connsiteX57" fmla="*/ 94488 w 125158"/>
                <a:gd name="connsiteY57" fmla="*/ 143446 h 196310"/>
                <a:gd name="connsiteX58" fmla="*/ 94488 w 125158"/>
                <a:gd name="connsiteY58" fmla="*/ 135636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25158" h="196310">
                  <a:moveTo>
                    <a:pt x="93726" y="193453"/>
                  </a:moveTo>
                  <a:lnTo>
                    <a:pt x="93726" y="176498"/>
                  </a:lnTo>
                  <a:cubicBezTo>
                    <a:pt x="89059" y="182118"/>
                    <a:pt x="83058" y="186785"/>
                    <a:pt x="75724" y="190595"/>
                  </a:cubicBezTo>
                  <a:cubicBezTo>
                    <a:pt x="68389" y="194405"/>
                    <a:pt x="59531" y="196310"/>
                    <a:pt x="49054" y="196310"/>
                  </a:cubicBezTo>
                  <a:cubicBezTo>
                    <a:pt x="42482" y="196310"/>
                    <a:pt x="36195" y="195358"/>
                    <a:pt x="30289" y="193548"/>
                  </a:cubicBezTo>
                  <a:cubicBezTo>
                    <a:pt x="24384" y="191738"/>
                    <a:pt x="19145" y="188976"/>
                    <a:pt x="14764" y="185452"/>
                  </a:cubicBezTo>
                  <a:cubicBezTo>
                    <a:pt x="10287" y="181928"/>
                    <a:pt x="6763" y="177451"/>
                    <a:pt x="4096" y="172117"/>
                  </a:cubicBezTo>
                  <a:cubicBezTo>
                    <a:pt x="1429" y="166783"/>
                    <a:pt x="0" y="160687"/>
                    <a:pt x="0" y="153734"/>
                  </a:cubicBezTo>
                  <a:lnTo>
                    <a:pt x="0" y="153257"/>
                  </a:lnTo>
                  <a:cubicBezTo>
                    <a:pt x="0" y="145637"/>
                    <a:pt x="1429" y="138970"/>
                    <a:pt x="4191" y="133255"/>
                  </a:cubicBezTo>
                  <a:cubicBezTo>
                    <a:pt x="6953" y="127635"/>
                    <a:pt x="10858" y="122873"/>
                    <a:pt x="15812" y="119158"/>
                  </a:cubicBezTo>
                  <a:cubicBezTo>
                    <a:pt x="20764" y="115443"/>
                    <a:pt x="26670" y="112586"/>
                    <a:pt x="33623" y="110776"/>
                  </a:cubicBezTo>
                  <a:cubicBezTo>
                    <a:pt x="40481" y="108966"/>
                    <a:pt x="47911" y="108013"/>
                    <a:pt x="56007" y="108013"/>
                  </a:cubicBezTo>
                  <a:cubicBezTo>
                    <a:pt x="64103" y="108013"/>
                    <a:pt x="71438" y="108585"/>
                    <a:pt x="77343" y="109633"/>
                  </a:cubicBezTo>
                  <a:cubicBezTo>
                    <a:pt x="83249" y="110681"/>
                    <a:pt x="88773" y="112109"/>
                    <a:pt x="94202" y="113824"/>
                  </a:cubicBezTo>
                  <a:lnTo>
                    <a:pt x="94202" y="111252"/>
                  </a:lnTo>
                  <a:cubicBezTo>
                    <a:pt x="94202" y="101727"/>
                    <a:pt x="91250" y="94393"/>
                    <a:pt x="85439" y="89345"/>
                  </a:cubicBezTo>
                  <a:cubicBezTo>
                    <a:pt x="79629" y="84296"/>
                    <a:pt x="71152" y="81725"/>
                    <a:pt x="60198" y="81725"/>
                  </a:cubicBezTo>
                  <a:cubicBezTo>
                    <a:pt x="52388" y="81725"/>
                    <a:pt x="45434" y="82487"/>
                    <a:pt x="39338" y="84106"/>
                  </a:cubicBezTo>
                  <a:cubicBezTo>
                    <a:pt x="33242" y="85725"/>
                    <a:pt x="27051" y="87725"/>
                    <a:pt x="20764" y="90392"/>
                  </a:cubicBezTo>
                  <a:lnTo>
                    <a:pt x="12097" y="65056"/>
                  </a:lnTo>
                  <a:cubicBezTo>
                    <a:pt x="19717" y="61532"/>
                    <a:pt x="27622" y="58769"/>
                    <a:pt x="35624" y="56674"/>
                  </a:cubicBezTo>
                  <a:cubicBezTo>
                    <a:pt x="43625" y="54578"/>
                    <a:pt x="53340" y="53531"/>
                    <a:pt x="64579" y="53531"/>
                  </a:cubicBezTo>
                  <a:cubicBezTo>
                    <a:pt x="85154" y="53531"/>
                    <a:pt x="100393" y="58674"/>
                    <a:pt x="110300" y="68866"/>
                  </a:cubicBezTo>
                  <a:cubicBezTo>
                    <a:pt x="120205" y="79058"/>
                    <a:pt x="125158" y="93345"/>
                    <a:pt x="125158" y="111824"/>
                  </a:cubicBezTo>
                  <a:lnTo>
                    <a:pt x="125158" y="193643"/>
                  </a:lnTo>
                  <a:lnTo>
                    <a:pt x="93821" y="193643"/>
                  </a:lnTo>
                  <a:close/>
                  <a:moveTo>
                    <a:pt x="16859" y="35338"/>
                  </a:moveTo>
                  <a:cubicBezTo>
                    <a:pt x="19812" y="24670"/>
                    <a:pt x="23432" y="16574"/>
                    <a:pt x="27718" y="11049"/>
                  </a:cubicBezTo>
                  <a:cubicBezTo>
                    <a:pt x="32004" y="5525"/>
                    <a:pt x="38100" y="2667"/>
                    <a:pt x="46101" y="2667"/>
                  </a:cubicBezTo>
                  <a:cubicBezTo>
                    <a:pt x="49721" y="2667"/>
                    <a:pt x="53340" y="3238"/>
                    <a:pt x="56769" y="4382"/>
                  </a:cubicBezTo>
                  <a:cubicBezTo>
                    <a:pt x="60293" y="5525"/>
                    <a:pt x="63627" y="6763"/>
                    <a:pt x="66866" y="8001"/>
                  </a:cubicBezTo>
                  <a:cubicBezTo>
                    <a:pt x="70104" y="9334"/>
                    <a:pt x="73057" y="10478"/>
                    <a:pt x="75914" y="11525"/>
                  </a:cubicBezTo>
                  <a:cubicBezTo>
                    <a:pt x="78676" y="12573"/>
                    <a:pt x="81343" y="13049"/>
                    <a:pt x="83725" y="13049"/>
                  </a:cubicBezTo>
                  <a:cubicBezTo>
                    <a:pt x="87535" y="13049"/>
                    <a:pt x="90392" y="12002"/>
                    <a:pt x="92392" y="9906"/>
                  </a:cubicBezTo>
                  <a:cubicBezTo>
                    <a:pt x="94297" y="7811"/>
                    <a:pt x="96203" y="4477"/>
                    <a:pt x="98108" y="0"/>
                  </a:cubicBezTo>
                  <a:lnTo>
                    <a:pt x="115633" y="5525"/>
                  </a:lnTo>
                  <a:cubicBezTo>
                    <a:pt x="112681" y="16002"/>
                    <a:pt x="109061" y="24003"/>
                    <a:pt x="104775" y="29528"/>
                  </a:cubicBezTo>
                  <a:cubicBezTo>
                    <a:pt x="100489" y="35147"/>
                    <a:pt x="94393" y="37909"/>
                    <a:pt x="86392" y="37909"/>
                  </a:cubicBezTo>
                  <a:cubicBezTo>
                    <a:pt x="82772" y="37909"/>
                    <a:pt x="79153" y="37433"/>
                    <a:pt x="75724" y="36386"/>
                  </a:cubicBezTo>
                  <a:cubicBezTo>
                    <a:pt x="72200" y="35338"/>
                    <a:pt x="68866" y="34195"/>
                    <a:pt x="65627" y="32861"/>
                  </a:cubicBezTo>
                  <a:cubicBezTo>
                    <a:pt x="62389" y="31528"/>
                    <a:pt x="59341" y="30385"/>
                    <a:pt x="56483" y="29242"/>
                  </a:cubicBezTo>
                  <a:cubicBezTo>
                    <a:pt x="53626" y="28099"/>
                    <a:pt x="51054" y="27527"/>
                    <a:pt x="48768" y="27527"/>
                  </a:cubicBezTo>
                  <a:cubicBezTo>
                    <a:pt x="44958" y="27527"/>
                    <a:pt x="42100" y="28575"/>
                    <a:pt x="40100" y="30671"/>
                  </a:cubicBezTo>
                  <a:cubicBezTo>
                    <a:pt x="38195" y="32766"/>
                    <a:pt x="36290" y="36100"/>
                    <a:pt x="34385" y="40577"/>
                  </a:cubicBezTo>
                  <a:lnTo>
                    <a:pt x="16859" y="35338"/>
                  </a:lnTo>
                  <a:close/>
                  <a:moveTo>
                    <a:pt x="94488" y="135636"/>
                  </a:moveTo>
                  <a:cubicBezTo>
                    <a:pt x="90488" y="134017"/>
                    <a:pt x="85725" y="132779"/>
                    <a:pt x="80200" y="131731"/>
                  </a:cubicBezTo>
                  <a:cubicBezTo>
                    <a:pt x="74676" y="130683"/>
                    <a:pt x="68961" y="130112"/>
                    <a:pt x="62865" y="130112"/>
                  </a:cubicBezTo>
                  <a:cubicBezTo>
                    <a:pt x="52959" y="130112"/>
                    <a:pt x="45149" y="132017"/>
                    <a:pt x="39624" y="135827"/>
                  </a:cubicBezTo>
                  <a:cubicBezTo>
                    <a:pt x="34100" y="139637"/>
                    <a:pt x="31242" y="144875"/>
                    <a:pt x="31242" y="151543"/>
                  </a:cubicBezTo>
                  <a:lnTo>
                    <a:pt x="31242" y="152114"/>
                  </a:lnTo>
                  <a:cubicBezTo>
                    <a:pt x="31242" y="158782"/>
                    <a:pt x="33814" y="163830"/>
                    <a:pt x="38957" y="167259"/>
                  </a:cubicBezTo>
                  <a:cubicBezTo>
                    <a:pt x="44101" y="170783"/>
                    <a:pt x="50387" y="172498"/>
                    <a:pt x="57912" y="172498"/>
                  </a:cubicBezTo>
                  <a:cubicBezTo>
                    <a:pt x="63151" y="172498"/>
                    <a:pt x="68008" y="171831"/>
                    <a:pt x="72390" y="170402"/>
                  </a:cubicBezTo>
                  <a:cubicBezTo>
                    <a:pt x="76867" y="168974"/>
                    <a:pt x="80677" y="167069"/>
                    <a:pt x="84011" y="164497"/>
                  </a:cubicBezTo>
                  <a:cubicBezTo>
                    <a:pt x="87344" y="162020"/>
                    <a:pt x="89916" y="158972"/>
                    <a:pt x="91726" y="155353"/>
                  </a:cubicBezTo>
                  <a:cubicBezTo>
                    <a:pt x="93536" y="151733"/>
                    <a:pt x="94488" y="147828"/>
                    <a:pt x="94488" y="143446"/>
                  </a:cubicBezTo>
                  <a:lnTo>
                    <a:pt x="94488" y="135636"/>
                  </a:lnTo>
                  <a:close/>
                </a:path>
              </a:pathLst>
            </a:custGeom>
            <a:solidFill>
              <a:srgbClr val="43505E"/>
            </a:solidFill>
            <a:ln w="9525" cap="flat">
              <a:noFill/>
              <a:prstDash val="solid"/>
              <a:miter/>
            </a:ln>
          </p:spPr>
          <p:txBody>
            <a:bodyPr rtlCol="0" anchor="ctr"/>
            <a:lstStyle/>
            <a:p>
              <a:endParaRPr lang="pt-BR"/>
            </a:p>
          </p:txBody>
        </p:sp>
        <p:sp>
          <p:nvSpPr>
            <p:cNvPr id="74" name="Freeform: Shape 73">
              <a:extLst>
                <a:ext uri="{FF2B5EF4-FFF2-40B4-BE49-F238E27FC236}">
                  <a16:creationId xmlns:a16="http://schemas.microsoft.com/office/drawing/2014/main" id="{D5F62AB1-EFFD-942E-82BD-36A7859B4034}"/>
                </a:ext>
              </a:extLst>
            </p:cNvPr>
            <p:cNvSpPr/>
            <p:nvPr/>
          </p:nvSpPr>
          <p:spPr>
            <a:xfrm>
              <a:off x="2785554" y="4227321"/>
              <a:ext cx="147161" cy="143922"/>
            </a:xfrm>
            <a:custGeom>
              <a:avLst/>
              <a:gdLst>
                <a:gd name="connsiteX0" fmla="*/ 73152 w 147161"/>
                <a:gd name="connsiteY0" fmla="*/ 143923 h 143922"/>
                <a:gd name="connsiteX1" fmla="*/ 44005 w 147161"/>
                <a:gd name="connsiteY1" fmla="*/ 138303 h 143922"/>
                <a:gd name="connsiteX2" fmla="*/ 20765 w 147161"/>
                <a:gd name="connsiteY2" fmla="*/ 123063 h 143922"/>
                <a:gd name="connsiteX3" fmla="*/ 5525 w 147161"/>
                <a:gd name="connsiteY3" fmla="*/ 100298 h 143922"/>
                <a:gd name="connsiteX4" fmla="*/ 0 w 147161"/>
                <a:gd name="connsiteY4" fmla="*/ 72581 h 143922"/>
                <a:gd name="connsiteX5" fmla="*/ 0 w 147161"/>
                <a:gd name="connsiteY5" fmla="*/ 72104 h 143922"/>
                <a:gd name="connsiteX6" fmla="*/ 5620 w 147161"/>
                <a:gd name="connsiteY6" fmla="*/ 44101 h 143922"/>
                <a:gd name="connsiteX7" fmla="*/ 21050 w 147161"/>
                <a:gd name="connsiteY7" fmla="*/ 21241 h 143922"/>
                <a:gd name="connsiteX8" fmla="*/ 44291 w 147161"/>
                <a:gd name="connsiteY8" fmla="*/ 5715 h 143922"/>
                <a:gd name="connsiteX9" fmla="*/ 73724 w 147161"/>
                <a:gd name="connsiteY9" fmla="*/ 0 h 143922"/>
                <a:gd name="connsiteX10" fmla="*/ 103156 w 147161"/>
                <a:gd name="connsiteY10" fmla="*/ 5620 h 143922"/>
                <a:gd name="connsiteX11" fmla="*/ 126397 w 147161"/>
                <a:gd name="connsiteY11" fmla="*/ 21050 h 143922"/>
                <a:gd name="connsiteX12" fmla="*/ 141637 w 147161"/>
                <a:gd name="connsiteY12" fmla="*/ 43815 h 143922"/>
                <a:gd name="connsiteX13" fmla="*/ 147161 w 147161"/>
                <a:gd name="connsiteY13" fmla="*/ 71628 h 143922"/>
                <a:gd name="connsiteX14" fmla="*/ 147161 w 147161"/>
                <a:gd name="connsiteY14" fmla="*/ 72104 h 143922"/>
                <a:gd name="connsiteX15" fmla="*/ 141542 w 147161"/>
                <a:gd name="connsiteY15" fmla="*/ 99822 h 143922"/>
                <a:gd name="connsiteX16" fmla="*/ 126111 w 147161"/>
                <a:gd name="connsiteY16" fmla="*/ 122682 h 143922"/>
                <a:gd name="connsiteX17" fmla="*/ 102679 w 147161"/>
                <a:gd name="connsiteY17" fmla="*/ 138208 h 143922"/>
                <a:gd name="connsiteX18" fmla="*/ 73152 w 147161"/>
                <a:gd name="connsiteY18" fmla="*/ 143923 h 143922"/>
                <a:gd name="connsiteX19" fmla="*/ 73724 w 147161"/>
                <a:gd name="connsiteY19" fmla="*/ 116491 h 143922"/>
                <a:gd name="connsiteX20" fmla="*/ 90964 w 147161"/>
                <a:gd name="connsiteY20" fmla="*/ 112967 h 143922"/>
                <a:gd name="connsiteX21" fmla="*/ 104108 w 147161"/>
                <a:gd name="connsiteY21" fmla="*/ 103442 h 143922"/>
                <a:gd name="connsiteX22" fmla="*/ 112395 w 147161"/>
                <a:gd name="connsiteY22" fmla="*/ 89440 h 143922"/>
                <a:gd name="connsiteX23" fmla="*/ 115253 w 147161"/>
                <a:gd name="connsiteY23" fmla="*/ 72581 h 143922"/>
                <a:gd name="connsiteX24" fmla="*/ 115253 w 147161"/>
                <a:gd name="connsiteY24" fmla="*/ 72104 h 143922"/>
                <a:gd name="connsiteX25" fmla="*/ 112109 w 147161"/>
                <a:gd name="connsiteY25" fmla="*/ 54864 h 143922"/>
                <a:gd name="connsiteX26" fmla="*/ 103442 w 147161"/>
                <a:gd name="connsiteY26" fmla="*/ 40767 h 143922"/>
                <a:gd name="connsiteX27" fmla="*/ 90202 w 147161"/>
                <a:gd name="connsiteY27" fmla="*/ 31242 h 143922"/>
                <a:gd name="connsiteX28" fmla="*/ 73152 w 147161"/>
                <a:gd name="connsiteY28" fmla="*/ 27718 h 143922"/>
                <a:gd name="connsiteX29" fmla="*/ 56102 w 147161"/>
                <a:gd name="connsiteY29" fmla="*/ 31242 h 143922"/>
                <a:gd name="connsiteX30" fmla="*/ 42958 w 147161"/>
                <a:gd name="connsiteY30" fmla="*/ 40672 h 143922"/>
                <a:gd name="connsiteX31" fmla="*/ 34671 w 147161"/>
                <a:gd name="connsiteY31" fmla="*/ 54674 h 143922"/>
                <a:gd name="connsiteX32" fmla="*/ 31813 w 147161"/>
                <a:gd name="connsiteY32" fmla="*/ 71628 h 143922"/>
                <a:gd name="connsiteX33" fmla="*/ 31813 w 147161"/>
                <a:gd name="connsiteY33" fmla="*/ 72104 h 143922"/>
                <a:gd name="connsiteX34" fmla="*/ 34957 w 147161"/>
                <a:gd name="connsiteY34" fmla="*/ 89249 h 143922"/>
                <a:gd name="connsiteX35" fmla="*/ 43625 w 147161"/>
                <a:gd name="connsiteY35" fmla="*/ 103346 h 143922"/>
                <a:gd name="connsiteX36" fmla="*/ 56864 w 147161"/>
                <a:gd name="connsiteY36" fmla="*/ 112967 h 143922"/>
                <a:gd name="connsiteX37" fmla="*/ 73628 w 147161"/>
                <a:gd name="connsiteY37" fmla="*/ 116491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7161" h="143922">
                  <a:moveTo>
                    <a:pt x="73152" y="143923"/>
                  </a:moveTo>
                  <a:cubicBezTo>
                    <a:pt x="62675" y="143923"/>
                    <a:pt x="52959" y="142018"/>
                    <a:pt x="44005" y="138303"/>
                  </a:cubicBezTo>
                  <a:cubicBezTo>
                    <a:pt x="35052" y="134588"/>
                    <a:pt x="27242" y="129445"/>
                    <a:pt x="20765" y="123063"/>
                  </a:cubicBezTo>
                  <a:cubicBezTo>
                    <a:pt x="14288" y="116681"/>
                    <a:pt x="9144" y="109061"/>
                    <a:pt x="5525" y="100298"/>
                  </a:cubicBezTo>
                  <a:cubicBezTo>
                    <a:pt x="1905" y="91631"/>
                    <a:pt x="0" y="82391"/>
                    <a:pt x="0" y="72581"/>
                  </a:cubicBezTo>
                  <a:lnTo>
                    <a:pt x="0" y="72104"/>
                  </a:lnTo>
                  <a:cubicBezTo>
                    <a:pt x="0" y="62198"/>
                    <a:pt x="1905" y="52864"/>
                    <a:pt x="5620" y="44101"/>
                  </a:cubicBezTo>
                  <a:cubicBezTo>
                    <a:pt x="9334" y="35433"/>
                    <a:pt x="14478" y="27813"/>
                    <a:pt x="21050" y="21241"/>
                  </a:cubicBezTo>
                  <a:cubicBezTo>
                    <a:pt x="27622" y="14669"/>
                    <a:pt x="35338" y="9525"/>
                    <a:pt x="44291" y="5715"/>
                  </a:cubicBezTo>
                  <a:cubicBezTo>
                    <a:pt x="53245" y="1905"/>
                    <a:pt x="63055" y="0"/>
                    <a:pt x="73724" y="0"/>
                  </a:cubicBezTo>
                  <a:cubicBezTo>
                    <a:pt x="84392" y="0"/>
                    <a:pt x="94107" y="1905"/>
                    <a:pt x="103156" y="5620"/>
                  </a:cubicBezTo>
                  <a:cubicBezTo>
                    <a:pt x="112109" y="9335"/>
                    <a:pt x="119920" y="14478"/>
                    <a:pt x="126397" y="21050"/>
                  </a:cubicBezTo>
                  <a:cubicBezTo>
                    <a:pt x="132969" y="27623"/>
                    <a:pt x="138017" y="35147"/>
                    <a:pt x="141637" y="43815"/>
                  </a:cubicBezTo>
                  <a:cubicBezTo>
                    <a:pt x="145256" y="52483"/>
                    <a:pt x="147161" y="61722"/>
                    <a:pt x="147161" y="71628"/>
                  </a:cubicBezTo>
                  <a:lnTo>
                    <a:pt x="147161" y="72104"/>
                  </a:lnTo>
                  <a:cubicBezTo>
                    <a:pt x="147161" y="81820"/>
                    <a:pt x="145256" y="91059"/>
                    <a:pt x="141542" y="99822"/>
                  </a:cubicBezTo>
                  <a:cubicBezTo>
                    <a:pt x="137827" y="108585"/>
                    <a:pt x="132683" y="116110"/>
                    <a:pt x="126111" y="122682"/>
                  </a:cubicBezTo>
                  <a:cubicBezTo>
                    <a:pt x="119539" y="129254"/>
                    <a:pt x="111824" y="134398"/>
                    <a:pt x="102679" y="138208"/>
                  </a:cubicBezTo>
                  <a:cubicBezTo>
                    <a:pt x="93631" y="142018"/>
                    <a:pt x="83725" y="143923"/>
                    <a:pt x="73152" y="143923"/>
                  </a:cubicBezTo>
                  <a:close/>
                  <a:moveTo>
                    <a:pt x="73724" y="116491"/>
                  </a:moveTo>
                  <a:cubicBezTo>
                    <a:pt x="80105" y="116491"/>
                    <a:pt x="85916" y="115348"/>
                    <a:pt x="90964" y="112967"/>
                  </a:cubicBezTo>
                  <a:cubicBezTo>
                    <a:pt x="96107" y="110585"/>
                    <a:pt x="100489" y="107442"/>
                    <a:pt x="104108" y="103442"/>
                  </a:cubicBezTo>
                  <a:cubicBezTo>
                    <a:pt x="107728" y="99441"/>
                    <a:pt x="110490" y="94774"/>
                    <a:pt x="112395" y="89440"/>
                  </a:cubicBezTo>
                  <a:cubicBezTo>
                    <a:pt x="114300" y="84106"/>
                    <a:pt x="115253" y="78486"/>
                    <a:pt x="115253" y="72581"/>
                  </a:cubicBezTo>
                  <a:lnTo>
                    <a:pt x="115253" y="72104"/>
                  </a:lnTo>
                  <a:cubicBezTo>
                    <a:pt x="115253" y="66008"/>
                    <a:pt x="114205" y="60293"/>
                    <a:pt x="112109" y="54864"/>
                  </a:cubicBezTo>
                  <a:cubicBezTo>
                    <a:pt x="110014" y="49435"/>
                    <a:pt x="107156" y="44767"/>
                    <a:pt x="103442" y="40767"/>
                  </a:cubicBezTo>
                  <a:cubicBezTo>
                    <a:pt x="99727" y="36767"/>
                    <a:pt x="95345" y="33623"/>
                    <a:pt x="90202" y="31242"/>
                  </a:cubicBezTo>
                  <a:cubicBezTo>
                    <a:pt x="85058" y="28861"/>
                    <a:pt x="79438" y="27718"/>
                    <a:pt x="73152" y="27718"/>
                  </a:cubicBezTo>
                  <a:cubicBezTo>
                    <a:pt x="66866" y="27718"/>
                    <a:pt x="61246" y="28861"/>
                    <a:pt x="56102" y="31242"/>
                  </a:cubicBezTo>
                  <a:cubicBezTo>
                    <a:pt x="50959" y="33623"/>
                    <a:pt x="46577" y="36767"/>
                    <a:pt x="42958" y="40672"/>
                  </a:cubicBezTo>
                  <a:cubicBezTo>
                    <a:pt x="39338" y="44577"/>
                    <a:pt x="36576" y="49244"/>
                    <a:pt x="34671" y="54674"/>
                  </a:cubicBezTo>
                  <a:cubicBezTo>
                    <a:pt x="32766" y="60103"/>
                    <a:pt x="31813" y="65723"/>
                    <a:pt x="31813" y="71628"/>
                  </a:cubicBezTo>
                  <a:lnTo>
                    <a:pt x="31813" y="72104"/>
                  </a:lnTo>
                  <a:cubicBezTo>
                    <a:pt x="31813" y="78200"/>
                    <a:pt x="32861" y="83915"/>
                    <a:pt x="34957" y="89249"/>
                  </a:cubicBezTo>
                  <a:cubicBezTo>
                    <a:pt x="37052" y="94583"/>
                    <a:pt x="39910" y="99250"/>
                    <a:pt x="43625" y="103346"/>
                  </a:cubicBezTo>
                  <a:cubicBezTo>
                    <a:pt x="47339" y="107442"/>
                    <a:pt x="51721" y="110681"/>
                    <a:pt x="56864" y="112967"/>
                  </a:cubicBezTo>
                  <a:cubicBezTo>
                    <a:pt x="62008" y="115348"/>
                    <a:pt x="67532" y="116491"/>
                    <a:pt x="73628" y="116491"/>
                  </a:cubicBezTo>
                  <a:close/>
                </a:path>
              </a:pathLst>
            </a:custGeom>
            <a:solidFill>
              <a:srgbClr val="43505E"/>
            </a:solidFill>
            <a:ln w="9525" cap="flat">
              <a:noFill/>
              <a:prstDash val="solid"/>
              <a:miter/>
            </a:ln>
          </p:spPr>
          <p:txBody>
            <a:bodyPr rtlCol="0" anchor="ctr"/>
            <a:lstStyle/>
            <a:p>
              <a:endParaRPr lang="pt-BR"/>
            </a:p>
          </p:txBody>
        </p:sp>
        <p:sp>
          <p:nvSpPr>
            <p:cNvPr id="75" name="Freeform: Shape 74">
              <a:extLst>
                <a:ext uri="{FF2B5EF4-FFF2-40B4-BE49-F238E27FC236}">
                  <a16:creationId xmlns:a16="http://schemas.microsoft.com/office/drawing/2014/main" id="{A48F31B5-A193-BAB0-97F9-594DBD25BBE8}"/>
                </a:ext>
              </a:extLst>
            </p:cNvPr>
            <p:cNvSpPr/>
            <p:nvPr/>
          </p:nvSpPr>
          <p:spPr>
            <a:xfrm>
              <a:off x="2953575" y="4227893"/>
              <a:ext cx="109823" cy="142970"/>
            </a:xfrm>
            <a:custGeom>
              <a:avLst/>
              <a:gdLst>
                <a:gd name="connsiteX0" fmla="*/ 58579 w 109823"/>
                <a:gd name="connsiteY0" fmla="*/ 142780 h 142970"/>
                <a:gd name="connsiteX1" fmla="*/ 28384 w 109823"/>
                <a:gd name="connsiteY1" fmla="*/ 137541 h 142970"/>
                <a:gd name="connsiteX2" fmla="*/ 0 w 109823"/>
                <a:gd name="connsiteY2" fmla="*/ 121920 h 142970"/>
                <a:gd name="connsiteX3" fmla="*/ 14097 w 109823"/>
                <a:gd name="connsiteY3" fmla="*/ 100489 h 142970"/>
                <a:gd name="connsiteX4" fmla="*/ 36957 w 109823"/>
                <a:gd name="connsiteY4" fmla="*/ 113157 h 142970"/>
                <a:gd name="connsiteX5" fmla="*/ 59341 w 109823"/>
                <a:gd name="connsiteY5" fmla="*/ 117443 h 142970"/>
                <a:gd name="connsiteX6" fmla="*/ 75152 w 109823"/>
                <a:gd name="connsiteY6" fmla="*/ 113443 h 142970"/>
                <a:gd name="connsiteX7" fmla="*/ 80772 w 109823"/>
                <a:gd name="connsiteY7" fmla="*/ 102584 h 142970"/>
                <a:gd name="connsiteX8" fmla="*/ 80772 w 109823"/>
                <a:gd name="connsiteY8" fmla="*/ 102108 h 142970"/>
                <a:gd name="connsiteX9" fmla="*/ 78296 w 109823"/>
                <a:gd name="connsiteY9" fmla="*/ 95345 h 142970"/>
                <a:gd name="connsiteX10" fmla="*/ 71533 w 109823"/>
                <a:gd name="connsiteY10" fmla="*/ 90392 h 142970"/>
                <a:gd name="connsiteX11" fmla="*/ 61627 w 109823"/>
                <a:gd name="connsiteY11" fmla="*/ 86487 h 142970"/>
                <a:gd name="connsiteX12" fmla="*/ 50006 w 109823"/>
                <a:gd name="connsiteY12" fmla="*/ 82868 h 142970"/>
                <a:gd name="connsiteX13" fmla="*/ 34671 w 109823"/>
                <a:gd name="connsiteY13" fmla="*/ 77915 h 142970"/>
                <a:gd name="connsiteX14" fmla="*/ 20860 w 109823"/>
                <a:gd name="connsiteY14" fmla="*/ 70485 h 142970"/>
                <a:gd name="connsiteX15" fmla="*/ 10763 w 109823"/>
                <a:gd name="connsiteY15" fmla="*/ 59150 h 142970"/>
                <a:gd name="connsiteX16" fmla="*/ 6858 w 109823"/>
                <a:gd name="connsiteY16" fmla="*/ 42482 h 142970"/>
                <a:gd name="connsiteX17" fmla="*/ 6858 w 109823"/>
                <a:gd name="connsiteY17" fmla="*/ 42005 h 142970"/>
                <a:gd name="connsiteX18" fmla="*/ 10668 w 109823"/>
                <a:gd name="connsiteY18" fmla="*/ 24575 h 142970"/>
                <a:gd name="connsiteX19" fmla="*/ 21146 w 109823"/>
                <a:gd name="connsiteY19" fmla="*/ 11240 h 142970"/>
                <a:gd name="connsiteX20" fmla="*/ 36862 w 109823"/>
                <a:gd name="connsiteY20" fmla="*/ 2858 h 142970"/>
                <a:gd name="connsiteX21" fmla="*/ 56102 w 109823"/>
                <a:gd name="connsiteY21" fmla="*/ 0 h 142970"/>
                <a:gd name="connsiteX22" fmla="*/ 82487 w 109823"/>
                <a:gd name="connsiteY22" fmla="*/ 4191 h 142970"/>
                <a:gd name="connsiteX23" fmla="*/ 106775 w 109823"/>
                <a:gd name="connsiteY23" fmla="*/ 15812 h 142970"/>
                <a:gd name="connsiteX24" fmla="*/ 94202 w 109823"/>
                <a:gd name="connsiteY24" fmla="*/ 38386 h 142970"/>
                <a:gd name="connsiteX25" fmla="*/ 74104 w 109823"/>
                <a:gd name="connsiteY25" fmla="*/ 28861 h 142970"/>
                <a:gd name="connsiteX26" fmla="*/ 55245 w 109823"/>
                <a:gd name="connsiteY26" fmla="*/ 25337 h 142970"/>
                <a:gd name="connsiteX27" fmla="*/ 40958 w 109823"/>
                <a:gd name="connsiteY27" fmla="*/ 29242 h 142970"/>
                <a:gd name="connsiteX28" fmla="*/ 35909 w 109823"/>
                <a:gd name="connsiteY28" fmla="*/ 39148 h 142970"/>
                <a:gd name="connsiteX29" fmla="*/ 35909 w 109823"/>
                <a:gd name="connsiteY29" fmla="*/ 39719 h 142970"/>
                <a:gd name="connsiteX30" fmla="*/ 38481 w 109823"/>
                <a:gd name="connsiteY30" fmla="*/ 46101 h 142970"/>
                <a:gd name="connsiteX31" fmla="*/ 45434 w 109823"/>
                <a:gd name="connsiteY31" fmla="*/ 51054 h 142970"/>
                <a:gd name="connsiteX32" fmla="*/ 55340 w 109823"/>
                <a:gd name="connsiteY32" fmla="*/ 55245 h 142970"/>
                <a:gd name="connsiteX33" fmla="*/ 66961 w 109823"/>
                <a:gd name="connsiteY33" fmla="*/ 59055 h 142970"/>
                <a:gd name="connsiteX34" fmla="*/ 82105 w 109823"/>
                <a:gd name="connsiteY34" fmla="*/ 64484 h 142970"/>
                <a:gd name="connsiteX35" fmla="*/ 95821 w 109823"/>
                <a:gd name="connsiteY35" fmla="*/ 72200 h 142970"/>
                <a:gd name="connsiteX36" fmla="*/ 105918 w 109823"/>
                <a:gd name="connsiteY36" fmla="*/ 83249 h 142970"/>
                <a:gd name="connsiteX37" fmla="*/ 109823 w 109823"/>
                <a:gd name="connsiteY37" fmla="*/ 99155 h 142970"/>
                <a:gd name="connsiteX38" fmla="*/ 109823 w 109823"/>
                <a:gd name="connsiteY38" fmla="*/ 99632 h 142970"/>
                <a:gd name="connsiteX39" fmla="*/ 105918 w 109823"/>
                <a:gd name="connsiteY39" fmla="*/ 118682 h 142970"/>
                <a:gd name="connsiteX40" fmla="*/ 95059 w 109823"/>
                <a:gd name="connsiteY40" fmla="*/ 132112 h 142970"/>
                <a:gd name="connsiteX41" fmla="*/ 78772 w 109823"/>
                <a:gd name="connsiteY41" fmla="*/ 140208 h 142970"/>
                <a:gd name="connsiteX42" fmla="*/ 58674 w 109823"/>
                <a:gd name="connsiteY42" fmla="*/ 142970 h 14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823" h="142970">
                  <a:moveTo>
                    <a:pt x="58579" y="142780"/>
                  </a:moveTo>
                  <a:cubicBezTo>
                    <a:pt x="48673" y="142780"/>
                    <a:pt x="38576" y="140970"/>
                    <a:pt x="28384" y="137541"/>
                  </a:cubicBezTo>
                  <a:cubicBezTo>
                    <a:pt x="18193" y="134017"/>
                    <a:pt x="8763" y="128873"/>
                    <a:pt x="0" y="121920"/>
                  </a:cubicBezTo>
                  <a:lnTo>
                    <a:pt x="14097" y="100489"/>
                  </a:lnTo>
                  <a:cubicBezTo>
                    <a:pt x="21622" y="106108"/>
                    <a:pt x="29242" y="110300"/>
                    <a:pt x="36957" y="113157"/>
                  </a:cubicBezTo>
                  <a:cubicBezTo>
                    <a:pt x="44672" y="116015"/>
                    <a:pt x="52197" y="117443"/>
                    <a:pt x="59341" y="117443"/>
                  </a:cubicBezTo>
                  <a:cubicBezTo>
                    <a:pt x="66484" y="117443"/>
                    <a:pt x="71438" y="116110"/>
                    <a:pt x="75152" y="113443"/>
                  </a:cubicBezTo>
                  <a:cubicBezTo>
                    <a:pt x="78867" y="110776"/>
                    <a:pt x="80772" y="107156"/>
                    <a:pt x="80772" y="102584"/>
                  </a:cubicBezTo>
                  <a:lnTo>
                    <a:pt x="80772" y="102108"/>
                  </a:lnTo>
                  <a:cubicBezTo>
                    <a:pt x="80772" y="99536"/>
                    <a:pt x="79915" y="97250"/>
                    <a:pt x="78296" y="95345"/>
                  </a:cubicBezTo>
                  <a:cubicBezTo>
                    <a:pt x="76676" y="93440"/>
                    <a:pt x="74390" y="91821"/>
                    <a:pt x="71533" y="90392"/>
                  </a:cubicBezTo>
                  <a:cubicBezTo>
                    <a:pt x="68675" y="88964"/>
                    <a:pt x="65342" y="87725"/>
                    <a:pt x="61627" y="86487"/>
                  </a:cubicBezTo>
                  <a:cubicBezTo>
                    <a:pt x="57912" y="85249"/>
                    <a:pt x="54007" y="84011"/>
                    <a:pt x="50006" y="82868"/>
                  </a:cubicBezTo>
                  <a:cubicBezTo>
                    <a:pt x="44958" y="81439"/>
                    <a:pt x="39815" y="79820"/>
                    <a:pt x="34671" y="77915"/>
                  </a:cubicBezTo>
                  <a:cubicBezTo>
                    <a:pt x="29528" y="76010"/>
                    <a:pt x="24955" y="73533"/>
                    <a:pt x="20860" y="70485"/>
                  </a:cubicBezTo>
                  <a:cubicBezTo>
                    <a:pt x="16764" y="67437"/>
                    <a:pt x="13430" y="63627"/>
                    <a:pt x="10763" y="59150"/>
                  </a:cubicBezTo>
                  <a:cubicBezTo>
                    <a:pt x="8096" y="54674"/>
                    <a:pt x="6858" y="49054"/>
                    <a:pt x="6858" y="42482"/>
                  </a:cubicBezTo>
                  <a:lnTo>
                    <a:pt x="6858" y="42005"/>
                  </a:lnTo>
                  <a:cubicBezTo>
                    <a:pt x="6858" y="35624"/>
                    <a:pt x="8096" y="29718"/>
                    <a:pt x="10668" y="24575"/>
                  </a:cubicBezTo>
                  <a:cubicBezTo>
                    <a:pt x="13145" y="19336"/>
                    <a:pt x="16669" y="14954"/>
                    <a:pt x="21146" y="11240"/>
                  </a:cubicBezTo>
                  <a:cubicBezTo>
                    <a:pt x="25622" y="7620"/>
                    <a:pt x="30766" y="4763"/>
                    <a:pt x="36862" y="2858"/>
                  </a:cubicBezTo>
                  <a:cubicBezTo>
                    <a:pt x="42863" y="953"/>
                    <a:pt x="49244" y="0"/>
                    <a:pt x="56102" y="0"/>
                  </a:cubicBezTo>
                  <a:cubicBezTo>
                    <a:pt x="64770" y="0"/>
                    <a:pt x="73628" y="1429"/>
                    <a:pt x="82487" y="4191"/>
                  </a:cubicBezTo>
                  <a:cubicBezTo>
                    <a:pt x="91345" y="6953"/>
                    <a:pt x="99441" y="10858"/>
                    <a:pt x="106775" y="15812"/>
                  </a:cubicBezTo>
                  <a:lnTo>
                    <a:pt x="94202" y="38386"/>
                  </a:lnTo>
                  <a:cubicBezTo>
                    <a:pt x="87535" y="34385"/>
                    <a:pt x="80867" y="31242"/>
                    <a:pt x="74104" y="28861"/>
                  </a:cubicBezTo>
                  <a:cubicBezTo>
                    <a:pt x="67342" y="26480"/>
                    <a:pt x="61055" y="25337"/>
                    <a:pt x="55245" y="25337"/>
                  </a:cubicBezTo>
                  <a:cubicBezTo>
                    <a:pt x="49149" y="25337"/>
                    <a:pt x="44387" y="26670"/>
                    <a:pt x="40958" y="29242"/>
                  </a:cubicBezTo>
                  <a:cubicBezTo>
                    <a:pt x="37529" y="31814"/>
                    <a:pt x="35909" y="35147"/>
                    <a:pt x="35909" y="39148"/>
                  </a:cubicBezTo>
                  <a:lnTo>
                    <a:pt x="35909" y="39719"/>
                  </a:lnTo>
                  <a:cubicBezTo>
                    <a:pt x="35909" y="42101"/>
                    <a:pt x="36767" y="44291"/>
                    <a:pt x="38481" y="46101"/>
                  </a:cubicBezTo>
                  <a:cubicBezTo>
                    <a:pt x="40196" y="47911"/>
                    <a:pt x="42482" y="49625"/>
                    <a:pt x="45434" y="51054"/>
                  </a:cubicBezTo>
                  <a:cubicBezTo>
                    <a:pt x="48387" y="52483"/>
                    <a:pt x="51625" y="53912"/>
                    <a:pt x="55340" y="55245"/>
                  </a:cubicBezTo>
                  <a:cubicBezTo>
                    <a:pt x="59055" y="56579"/>
                    <a:pt x="62960" y="57817"/>
                    <a:pt x="66961" y="59055"/>
                  </a:cubicBezTo>
                  <a:cubicBezTo>
                    <a:pt x="72009" y="60579"/>
                    <a:pt x="77057" y="62484"/>
                    <a:pt x="82105" y="64484"/>
                  </a:cubicBezTo>
                  <a:cubicBezTo>
                    <a:pt x="87154" y="66580"/>
                    <a:pt x="91726" y="69152"/>
                    <a:pt x="95821" y="72200"/>
                  </a:cubicBezTo>
                  <a:cubicBezTo>
                    <a:pt x="99917" y="75248"/>
                    <a:pt x="103251" y="78962"/>
                    <a:pt x="105918" y="83249"/>
                  </a:cubicBezTo>
                  <a:cubicBezTo>
                    <a:pt x="108585" y="87535"/>
                    <a:pt x="109823" y="92869"/>
                    <a:pt x="109823" y="99155"/>
                  </a:cubicBezTo>
                  <a:lnTo>
                    <a:pt x="109823" y="99632"/>
                  </a:lnTo>
                  <a:cubicBezTo>
                    <a:pt x="109823" y="106966"/>
                    <a:pt x="108490" y="113252"/>
                    <a:pt x="105918" y="118682"/>
                  </a:cubicBezTo>
                  <a:cubicBezTo>
                    <a:pt x="103346" y="124111"/>
                    <a:pt x="99727" y="128588"/>
                    <a:pt x="95059" y="132112"/>
                  </a:cubicBezTo>
                  <a:cubicBezTo>
                    <a:pt x="90392" y="135636"/>
                    <a:pt x="84963" y="138398"/>
                    <a:pt x="78772" y="140208"/>
                  </a:cubicBezTo>
                  <a:cubicBezTo>
                    <a:pt x="72485" y="142018"/>
                    <a:pt x="65818" y="142970"/>
                    <a:pt x="58674" y="142970"/>
                  </a:cubicBezTo>
                  <a:close/>
                </a:path>
              </a:pathLst>
            </a:custGeom>
            <a:solidFill>
              <a:srgbClr val="43505E"/>
            </a:solidFill>
            <a:ln w="9525" cap="flat">
              <a:noFill/>
              <a:prstDash val="solid"/>
              <a:miter/>
            </a:ln>
          </p:spPr>
          <p:txBody>
            <a:bodyPr rtlCol="0" anchor="ctr"/>
            <a:lstStyle/>
            <a:p>
              <a:endParaRPr lang="pt-BR"/>
            </a:p>
          </p:txBody>
        </p:sp>
        <p:sp>
          <p:nvSpPr>
            <p:cNvPr id="76" name="Freeform: Shape 75">
              <a:extLst>
                <a:ext uri="{FF2B5EF4-FFF2-40B4-BE49-F238E27FC236}">
                  <a16:creationId xmlns:a16="http://schemas.microsoft.com/office/drawing/2014/main" id="{4027A97A-CEF8-AFD0-FAEF-31A6FF9CEBE4}"/>
                </a:ext>
              </a:extLst>
            </p:cNvPr>
            <p:cNvSpPr/>
            <p:nvPr/>
          </p:nvSpPr>
          <p:spPr>
            <a:xfrm>
              <a:off x="962469" y="4557267"/>
              <a:ext cx="75152" cy="88582"/>
            </a:xfrm>
            <a:custGeom>
              <a:avLst/>
              <a:gdLst>
                <a:gd name="connsiteX0" fmla="*/ 31813 w 75152"/>
                <a:gd name="connsiteY0" fmla="*/ 88487 h 88582"/>
                <a:gd name="connsiteX1" fmla="*/ 20098 w 75152"/>
                <a:gd name="connsiteY1" fmla="*/ 86868 h 88582"/>
                <a:gd name="connsiteX2" fmla="*/ 9906 w 75152"/>
                <a:gd name="connsiteY2" fmla="*/ 81820 h 88582"/>
                <a:gd name="connsiteX3" fmla="*/ 2762 w 75152"/>
                <a:gd name="connsiteY3" fmla="*/ 73438 h 88582"/>
                <a:gd name="connsiteX4" fmla="*/ 0 w 75152"/>
                <a:gd name="connsiteY4" fmla="*/ 61913 h 88582"/>
                <a:gd name="connsiteX5" fmla="*/ 0 w 75152"/>
                <a:gd name="connsiteY5" fmla="*/ 61532 h 88582"/>
                <a:gd name="connsiteX6" fmla="*/ 2667 w 75152"/>
                <a:gd name="connsiteY6" fmla="*/ 49435 h 88582"/>
                <a:gd name="connsiteX7" fmla="*/ 10192 w 75152"/>
                <a:gd name="connsiteY7" fmla="*/ 40767 h 88582"/>
                <a:gd name="connsiteX8" fmla="*/ 21717 w 75152"/>
                <a:gd name="connsiteY8" fmla="*/ 35528 h 88582"/>
                <a:gd name="connsiteX9" fmla="*/ 36481 w 75152"/>
                <a:gd name="connsiteY9" fmla="*/ 33719 h 88582"/>
                <a:gd name="connsiteX10" fmla="*/ 50768 w 75152"/>
                <a:gd name="connsiteY10" fmla="*/ 34671 h 88582"/>
                <a:gd name="connsiteX11" fmla="*/ 62579 w 75152"/>
                <a:gd name="connsiteY11" fmla="*/ 37338 h 88582"/>
                <a:gd name="connsiteX12" fmla="*/ 62579 w 75152"/>
                <a:gd name="connsiteY12" fmla="*/ 34671 h 88582"/>
                <a:gd name="connsiteX13" fmla="*/ 56007 w 75152"/>
                <a:gd name="connsiteY13" fmla="*/ 17526 h 88582"/>
                <a:gd name="connsiteX14" fmla="*/ 37338 w 75152"/>
                <a:gd name="connsiteY14" fmla="*/ 11716 h 88582"/>
                <a:gd name="connsiteX15" fmla="*/ 23527 w 75152"/>
                <a:gd name="connsiteY15" fmla="*/ 13335 h 88582"/>
                <a:gd name="connsiteX16" fmla="*/ 11430 w 75152"/>
                <a:gd name="connsiteY16" fmla="*/ 17812 h 88582"/>
                <a:gd name="connsiteX17" fmla="*/ 7620 w 75152"/>
                <a:gd name="connsiteY17" fmla="*/ 7334 h 88582"/>
                <a:gd name="connsiteX18" fmla="*/ 22003 w 75152"/>
                <a:gd name="connsiteY18" fmla="*/ 2000 h 88582"/>
                <a:gd name="connsiteX19" fmla="*/ 38672 w 75152"/>
                <a:gd name="connsiteY19" fmla="*/ 0 h 88582"/>
                <a:gd name="connsiteX20" fmla="*/ 66199 w 75152"/>
                <a:gd name="connsiteY20" fmla="*/ 9430 h 88582"/>
                <a:gd name="connsiteX21" fmla="*/ 75152 w 75152"/>
                <a:gd name="connsiteY21" fmla="*/ 34481 h 88582"/>
                <a:gd name="connsiteX22" fmla="*/ 75152 w 75152"/>
                <a:gd name="connsiteY22" fmla="*/ 86678 h 88582"/>
                <a:gd name="connsiteX23" fmla="*/ 62579 w 75152"/>
                <a:gd name="connsiteY23" fmla="*/ 86678 h 88582"/>
                <a:gd name="connsiteX24" fmla="*/ 62579 w 75152"/>
                <a:gd name="connsiteY24" fmla="*/ 74009 h 88582"/>
                <a:gd name="connsiteX25" fmla="*/ 50578 w 75152"/>
                <a:gd name="connsiteY25" fmla="*/ 84201 h 88582"/>
                <a:gd name="connsiteX26" fmla="*/ 31813 w 75152"/>
                <a:gd name="connsiteY26" fmla="*/ 88583 h 88582"/>
                <a:gd name="connsiteX27" fmla="*/ 34385 w 75152"/>
                <a:gd name="connsiteY27" fmla="*/ 78105 h 88582"/>
                <a:gd name="connsiteX28" fmla="*/ 45434 w 75152"/>
                <a:gd name="connsiteY28" fmla="*/ 76486 h 88582"/>
                <a:gd name="connsiteX29" fmla="*/ 54388 w 75152"/>
                <a:gd name="connsiteY29" fmla="*/ 71819 h 88582"/>
                <a:gd name="connsiteX30" fmla="*/ 60484 w 75152"/>
                <a:gd name="connsiteY30" fmla="*/ 64579 h 88582"/>
                <a:gd name="connsiteX31" fmla="*/ 62675 w 75152"/>
                <a:gd name="connsiteY31" fmla="*/ 55340 h 88582"/>
                <a:gd name="connsiteX32" fmla="*/ 62675 w 75152"/>
                <a:gd name="connsiteY32" fmla="*/ 47435 h 88582"/>
                <a:gd name="connsiteX33" fmla="*/ 51816 w 75152"/>
                <a:gd name="connsiteY33" fmla="*/ 44958 h 88582"/>
                <a:gd name="connsiteX34" fmla="*/ 37814 w 75152"/>
                <a:gd name="connsiteY34" fmla="*/ 43815 h 88582"/>
                <a:gd name="connsiteX35" fmla="*/ 19431 w 75152"/>
                <a:gd name="connsiteY35" fmla="*/ 48482 h 88582"/>
                <a:gd name="connsiteX36" fmla="*/ 12954 w 75152"/>
                <a:gd name="connsiteY36" fmla="*/ 60865 h 88582"/>
                <a:gd name="connsiteX37" fmla="*/ 12954 w 75152"/>
                <a:gd name="connsiteY37" fmla="*/ 61246 h 88582"/>
                <a:gd name="connsiteX38" fmla="*/ 14669 w 75152"/>
                <a:gd name="connsiteY38" fmla="*/ 68390 h 88582"/>
                <a:gd name="connsiteX39" fmla="*/ 19336 w 75152"/>
                <a:gd name="connsiteY39" fmla="*/ 73724 h 88582"/>
                <a:gd name="connsiteX40" fmla="*/ 26194 w 75152"/>
                <a:gd name="connsiteY40" fmla="*/ 76962 h 88582"/>
                <a:gd name="connsiteX41" fmla="*/ 34385 w 75152"/>
                <a:gd name="connsiteY41" fmla="*/ 78105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5152" h="88582">
                  <a:moveTo>
                    <a:pt x="31813" y="88487"/>
                  </a:moveTo>
                  <a:cubicBezTo>
                    <a:pt x="27813" y="88487"/>
                    <a:pt x="23908" y="87916"/>
                    <a:pt x="20098" y="86868"/>
                  </a:cubicBezTo>
                  <a:cubicBezTo>
                    <a:pt x="16288" y="85820"/>
                    <a:pt x="12859" y="84106"/>
                    <a:pt x="9906" y="81820"/>
                  </a:cubicBezTo>
                  <a:cubicBezTo>
                    <a:pt x="6953" y="79534"/>
                    <a:pt x="4572" y="76771"/>
                    <a:pt x="2762" y="73438"/>
                  </a:cubicBezTo>
                  <a:cubicBezTo>
                    <a:pt x="952" y="70104"/>
                    <a:pt x="0" y="66294"/>
                    <a:pt x="0" y="61913"/>
                  </a:cubicBezTo>
                  <a:lnTo>
                    <a:pt x="0" y="61532"/>
                  </a:lnTo>
                  <a:cubicBezTo>
                    <a:pt x="0" y="56864"/>
                    <a:pt x="857" y="52864"/>
                    <a:pt x="2667" y="49435"/>
                  </a:cubicBezTo>
                  <a:cubicBezTo>
                    <a:pt x="4477" y="46006"/>
                    <a:pt x="6953" y="43053"/>
                    <a:pt x="10192" y="40767"/>
                  </a:cubicBezTo>
                  <a:cubicBezTo>
                    <a:pt x="13430" y="38481"/>
                    <a:pt x="17335" y="36671"/>
                    <a:pt x="21717" y="35528"/>
                  </a:cubicBezTo>
                  <a:cubicBezTo>
                    <a:pt x="26098" y="34385"/>
                    <a:pt x="31147" y="33719"/>
                    <a:pt x="36481" y="33719"/>
                  </a:cubicBezTo>
                  <a:cubicBezTo>
                    <a:pt x="41815" y="33719"/>
                    <a:pt x="46768" y="34004"/>
                    <a:pt x="50768" y="34671"/>
                  </a:cubicBezTo>
                  <a:cubicBezTo>
                    <a:pt x="54769" y="35338"/>
                    <a:pt x="58674" y="36195"/>
                    <a:pt x="62579" y="37338"/>
                  </a:cubicBezTo>
                  <a:lnTo>
                    <a:pt x="62579" y="34671"/>
                  </a:lnTo>
                  <a:cubicBezTo>
                    <a:pt x="62579" y="27146"/>
                    <a:pt x="60389" y="21431"/>
                    <a:pt x="56007" y="17526"/>
                  </a:cubicBezTo>
                  <a:cubicBezTo>
                    <a:pt x="51626" y="13621"/>
                    <a:pt x="45339" y="11716"/>
                    <a:pt x="37338" y="11716"/>
                  </a:cubicBezTo>
                  <a:cubicBezTo>
                    <a:pt x="32290" y="11716"/>
                    <a:pt x="27718" y="12287"/>
                    <a:pt x="23527" y="13335"/>
                  </a:cubicBezTo>
                  <a:cubicBezTo>
                    <a:pt x="19431" y="14478"/>
                    <a:pt x="15335" y="15907"/>
                    <a:pt x="11430" y="17812"/>
                  </a:cubicBezTo>
                  <a:lnTo>
                    <a:pt x="7620" y="7334"/>
                  </a:lnTo>
                  <a:cubicBezTo>
                    <a:pt x="12382" y="5144"/>
                    <a:pt x="17145" y="3334"/>
                    <a:pt x="22003" y="2000"/>
                  </a:cubicBezTo>
                  <a:cubicBezTo>
                    <a:pt x="26860" y="667"/>
                    <a:pt x="32385" y="0"/>
                    <a:pt x="38672" y="0"/>
                  </a:cubicBezTo>
                  <a:cubicBezTo>
                    <a:pt x="50768" y="0"/>
                    <a:pt x="60008" y="3143"/>
                    <a:pt x="66199" y="9430"/>
                  </a:cubicBezTo>
                  <a:cubicBezTo>
                    <a:pt x="72104" y="15335"/>
                    <a:pt x="75152" y="23717"/>
                    <a:pt x="75152" y="34481"/>
                  </a:cubicBezTo>
                  <a:lnTo>
                    <a:pt x="75152" y="86678"/>
                  </a:lnTo>
                  <a:lnTo>
                    <a:pt x="62579" y="86678"/>
                  </a:lnTo>
                  <a:lnTo>
                    <a:pt x="62579" y="74009"/>
                  </a:lnTo>
                  <a:cubicBezTo>
                    <a:pt x="59627" y="77819"/>
                    <a:pt x="55626" y="81248"/>
                    <a:pt x="50578" y="84201"/>
                  </a:cubicBezTo>
                  <a:cubicBezTo>
                    <a:pt x="45529" y="87154"/>
                    <a:pt x="39338" y="88583"/>
                    <a:pt x="31813" y="88583"/>
                  </a:cubicBezTo>
                  <a:close/>
                  <a:moveTo>
                    <a:pt x="34385" y="78105"/>
                  </a:moveTo>
                  <a:cubicBezTo>
                    <a:pt x="38291" y="78105"/>
                    <a:pt x="42005" y="77533"/>
                    <a:pt x="45434" y="76486"/>
                  </a:cubicBezTo>
                  <a:cubicBezTo>
                    <a:pt x="48863" y="75343"/>
                    <a:pt x="51816" y="73819"/>
                    <a:pt x="54388" y="71819"/>
                  </a:cubicBezTo>
                  <a:cubicBezTo>
                    <a:pt x="56959" y="69818"/>
                    <a:pt x="58960" y="67342"/>
                    <a:pt x="60484" y="64579"/>
                  </a:cubicBezTo>
                  <a:cubicBezTo>
                    <a:pt x="62008" y="61817"/>
                    <a:pt x="62675" y="58674"/>
                    <a:pt x="62675" y="55340"/>
                  </a:cubicBezTo>
                  <a:lnTo>
                    <a:pt x="62675" y="47435"/>
                  </a:lnTo>
                  <a:cubicBezTo>
                    <a:pt x="59531" y="46577"/>
                    <a:pt x="55912" y="45720"/>
                    <a:pt x="51816" y="44958"/>
                  </a:cubicBezTo>
                  <a:cubicBezTo>
                    <a:pt x="47720" y="44196"/>
                    <a:pt x="43053" y="43815"/>
                    <a:pt x="37814" y="43815"/>
                  </a:cubicBezTo>
                  <a:cubicBezTo>
                    <a:pt x="29908" y="43815"/>
                    <a:pt x="23813" y="45339"/>
                    <a:pt x="19431" y="48482"/>
                  </a:cubicBezTo>
                  <a:cubicBezTo>
                    <a:pt x="15049" y="51625"/>
                    <a:pt x="12954" y="55721"/>
                    <a:pt x="12954" y="60865"/>
                  </a:cubicBezTo>
                  <a:lnTo>
                    <a:pt x="12954" y="61246"/>
                  </a:lnTo>
                  <a:cubicBezTo>
                    <a:pt x="12954" y="63913"/>
                    <a:pt x="13526" y="66294"/>
                    <a:pt x="14669" y="68390"/>
                  </a:cubicBezTo>
                  <a:cubicBezTo>
                    <a:pt x="15811" y="70485"/>
                    <a:pt x="17335" y="72295"/>
                    <a:pt x="19336" y="73724"/>
                  </a:cubicBezTo>
                  <a:cubicBezTo>
                    <a:pt x="21336" y="75152"/>
                    <a:pt x="23622" y="76200"/>
                    <a:pt x="26194" y="76962"/>
                  </a:cubicBezTo>
                  <a:cubicBezTo>
                    <a:pt x="28766" y="77724"/>
                    <a:pt x="31528" y="78105"/>
                    <a:pt x="34385" y="78105"/>
                  </a:cubicBezTo>
                  <a:close/>
                </a:path>
              </a:pathLst>
            </a:custGeom>
            <a:solidFill>
              <a:srgbClr val="43505E"/>
            </a:solidFill>
            <a:ln w="9525" cap="flat">
              <a:noFill/>
              <a:prstDash val="solid"/>
              <a:miter/>
            </a:ln>
          </p:spPr>
          <p:txBody>
            <a:bodyPr rtlCol="0" anchor="ctr"/>
            <a:lstStyle/>
            <a:p>
              <a:endParaRPr lang="pt-BR"/>
            </a:p>
          </p:txBody>
        </p:sp>
        <p:sp>
          <p:nvSpPr>
            <p:cNvPr id="77" name="Freeform: Shape 76">
              <a:extLst>
                <a:ext uri="{FF2B5EF4-FFF2-40B4-BE49-F238E27FC236}">
                  <a16:creationId xmlns:a16="http://schemas.microsoft.com/office/drawing/2014/main" id="{6DC29014-DF8C-90DD-1F4B-7AFC058EB75B}"/>
                </a:ext>
              </a:extLst>
            </p:cNvPr>
            <p:cNvSpPr/>
            <p:nvPr/>
          </p:nvSpPr>
          <p:spPr>
            <a:xfrm>
              <a:off x="1056862" y="4532883"/>
              <a:ext cx="51625" cy="112585"/>
            </a:xfrm>
            <a:custGeom>
              <a:avLst/>
              <a:gdLst>
                <a:gd name="connsiteX0" fmla="*/ 36100 w 51625"/>
                <a:gd name="connsiteY0" fmla="*/ 112586 h 112585"/>
                <a:gd name="connsiteX1" fmla="*/ 26479 w 51625"/>
                <a:gd name="connsiteY1" fmla="*/ 111252 h 112585"/>
                <a:gd name="connsiteX2" fmla="*/ 18764 w 51625"/>
                <a:gd name="connsiteY2" fmla="*/ 107061 h 112585"/>
                <a:gd name="connsiteX3" fmla="*/ 13716 w 51625"/>
                <a:gd name="connsiteY3" fmla="*/ 99536 h 112585"/>
                <a:gd name="connsiteX4" fmla="*/ 11906 w 51625"/>
                <a:gd name="connsiteY4" fmla="*/ 88487 h 112585"/>
                <a:gd name="connsiteX5" fmla="*/ 11906 w 51625"/>
                <a:gd name="connsiteY5" fmla="*/ 36957 h 112585"/>
                <a:gd name="connsiteX6" fmla="*/ 0 w 51625"/>
                <a:gd name="connsiteY6" fmla="*/ 36957 h 112585"/>
                <a:gd name="connsiteX7" fmla="*/ 0 w 51625"/>
                <a:gd name="connsiteY7" fmla="*/ 25717 h 112585"/>
                <a:gd name="connsiteX8" fmla="*/ 11906 w 51625"/>
                <a:gd name="connsiteY8" fmla="*/ 25717 h 112585"/>
                <a:gd name="connsiteX9" fmla="*/ 11906 w 51625"/>
                <a:gd name="connsiteY9" fmla="*/ 0 h 112585"/>
                <a:gd name="connsiteX10" fmla="*/ 24575 w 51625"/>
                <a:gd name="connsiteY10" fmla="*/ 0 h 112585"/>
                <a:gd name="connsiteX11" fmla="*/ 24575 w 51625"/>
                <a:gd name="connsiteY11" fmla="*/ 25717 h 112585"/>
                <a:gd name="connsiteX12" fmla="*/ 51625 w 51625"/>
                <a:gd name="connsiteY12" fmla="*/ 25717 h 112585"/>
                <a:gd name="connsiteX13" fmla="*/ 51625 w 51625"/>
                <a:gd name="connsiteY13" fmla="*/ 36957 h 112585"/>
                <a:gd name="connsiteX14" fmla="*/ 24575 w 51625"/>
                <a:gd name="connsiteY14" fmla="*/ 36957 h 112585"/>
                <a:gd name="connsiteX15" fmla="*/ 24575 w 51625"/>
                <a:gd name="connsiteY15" fmla="*/ 86678 h 112585"/>
                <a:gd name="connsiteX16" fmla="*/ 28575 w 51625"/>
                <a:gd name="connsiteY16" fmla="*/ 97727 h 112585"/>
                <a:gd name="connsiteX17" fmla="*/ 38957 w 51625"/>
                <a:gd name="connsiteY17" fmla="*/ 100870 h 112585"/>
                <a:gd name="connsiteX18" fmla="*/ 45149 w 51625"/>
                <a:gd name="connsiteY18" fmla="*/ 100203 h 112585"/>
                <a:gd name="connsiteX19" fmla="*/ 51340 w 51625"/>
                <a:gd name="connsiteY19" fmla="*/ 98012 h 112585"/>
                <a:gd name="connsiteX20" fmla="*/ 51340 w 51625"/>
                <a:gd name="connsiteY20" fmla="*/ 108871 h 112585"/>
                <a:gd name="connsiteX21" fmla="*/ 44291 w 51625"/>
                <a:gd name="connsiteY21" fmla="*/ 111633 h 112585"/>
                <a:gd name="connsiteX22" fmla="*/ 35909 w 51625"/>
                <a:gd name="connsiteY22" fmla="*/ 112586 h 11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625" h="112585">
                  <a:moveTo>
                    <a:pt x="36100" y="112586"/>
                  </a:moveTo>
                  <a:cubicBezTo>
                    <a:pt x="32671" y="112586"/>
                    <a:pt x="29527" y="112109"/>
                    <a:pt x="26479" y="111252"/>
                  </a:cubicBezTo>
                  <a:cubicBezTo>
                    <a:pt x="23527" y="110395"/>
                    <a:pt x="20955" y="108966"/>
                    <a:pt x="18764" y="107061"/>
                  </a:cubicBezTo>
                  <a:cubicBezTo>
                    <a:pt x="16669" y="105156"/>
                    <a:pt x="14954" y="102679"/>
                    <a:pt x="13716" y="99536"/>
                  </a:cubicBezTo>
                  <a:cubicBezTo>
                    <a:pt x="12478" y="96393"/>
                    <a:pt x="11906" y="92774"/>
                    <a:pt x="11906" y="88487"/>
                  </a:cubicBezTo>
                  <a:lnTo>
                    <a:pt x="11906" y="36957"/>
                  </a:lnTo>
                  <a:lnTo>
                    <a:pt x="0" y="36957"/>
                  </a:lnTo>
                  <a:lnTo>
                    <a:pt x="0" y="25717"/>
                  </a:lnTo>
                  <a:lnTo>
                    <a:pt x="11906" y="25717"/>
                  </a:lnTo>
                  <a:lnTo>
                    <a:pt x="11906" y="0"/>
                  </a:lnTo>
                  <a:lnTo>
                    <a:pt x="24575" y="0"/>
                  </a:lnTo>
                  <a:lnTo>
                    <a:pt x="24575" y="25717"/>
                  </a:lnTo>
                  <a:lnTo>
                    <a:pt x="51625" y="25717"/>
                  </a:lnTo>
                  <a:lnTo>
                    <a:pt x="51625" y="36957"/>
                  </a:lnTo>
                  <a:lnTo>
                    <a:pt x="24575" y="36957"/>
                  </a:lnTo>
                  <a:lnTo>
                    <a:pt x="24575" y="86678"/>
                  </a:lnTo>
                  <a:cubicBezTo>
                    <a:pt x="24575" y="91916"/>
                    <a:pt x="25908" y="95631"/>
                    <a:pt x="28575" y="97727"/>
                  </a:cubicBezTo>
                  <a:cubicBezTo>
                    <a:pt x="31242" y="99822"/>
                    <a:pt x="34671" y="100870"/>
                    <a:pt x="38957" y="100870"/>
                  </a:cubicBezTo>
                  <a:cubicBezTo>
                    <a:pt x="41148" y="100870"/>
                    <a:pt x="43244" y="100679"/>
                    <a:pt x="45149" y="100203"/>
                  </a:cubicBezTo>
                  <a:cubicBezTo>
                    <a:pt x="47053" y="99727"/>
                    <a:pt x="49149" y="99060"/>
                    <a:pt x="51340" y="98012"/>
                  </a:cubicBezTo>
                  <a:lnTo>
                    <a:pt x="51340" y="108871"/>
                  </a:lnTo>
                  <a:cubicBezTo>
                    <a:pt x="49149" y="110109"/>
                    <a:pt x="46768" y="110966"/>
                    <a:pt x="44291" y="111633"/>
                  </a:cubicBezTo>
                  <a:cubicBezTo>
                    <a:pt x="41815" y="112204"/>
                    <a:pt x="39052" y="112586"/>
                    <a:pt x="35909" y="112586"/>
                  </a:cubicBezTo>
                  <a:close/>
                </a:path>
              </a:pathLst>
            </a:custGeom>
            <a:solidFill>
              <a:srgbClr val="43505E"/>
            </a:solidFill>
            <a:ln w="9525" cap="flat">
              <a:noFill/>
              <a:prstDash val="solid"/>
              <a:miter/>
            </a:ln>
          </p:spPr>
          <p:txBody>
            <a:bodyPr rtlCol="0" anchor="ctr"/>
            <a:lstStyle/>
            <a:p>
              <a:endParaRPr lang="pt-BR"/>
            </a:p>
          </p:txBody>
        </p:sp>
        <p:sp>
          <p:nvSpPr>
            <p:cNvPr id="78" name="Freeform: Shape 77">
              <a:extLst>
                <a:ext uri="{FF2B5EF4-FFF2-40B4-BE49-F238E27FC236}">
                  <a16:creationId xmlns:a16="http://schemas.microsoft.com/office/drawing/2014/main" id="{425AE284-1D37-890D-0080-77B703F86988}"/>
                </a:ext>
              </a:extLst>
            </p:cNvPr>
            <p:cNvSpPr/>
            <p:nvPr/>
          </p:nvSpPr>
          <p:spPr>
            <a:xfrm>
              <a:off x="1131443" y="4525930"/>
              <a:ext cx="14477" cy="118014"/>
            </a:xfrm>
            <a:custGeom>
              <a:avLst/>
              <a:gdLst>
                <a:gd name="connsiteX0" fmla="*/ 0 w 14477"/>
                <a:gd name="connsiteY0" fmla="*/ 0 h 118014"/>
                <a:gd name="connsiteX1" fmla="*/ 14478 w 14477"/>
                <a:gd name="connsiteY1" fmla="*/ 0 h 118014"/>
                <a:gd name="connsiteX2" fmla="*/ 14478 w 14477"/>
                <a:gd name="connsiteY2" fmla="*/ 14002 h 118014"/>
                <a:gd name="connsiteX3" fmla="*/ 0 w 14477"/>
                <a:gd name="connsiteY3" fmla="*/ 14002 h 118014"/>
                <a:gd name="connsiteX4" fmla="*/ 0 w 14477"/>
                <a:gd name="connsiteY4" fmla="*/ 0 h 118014"/>
                <a:gd name="connsiteX5" fmla="*/ 857 w 14477"/>
                <a:gd name="connsiteY5" fmla="*/ 32671 h 118014"/>
                <a:gd name="connsiteX6" fmla="*/ 13526 w 14477"/>
                <a:gd name="connsiteY6" fmla="*/ 32671 h 118014"/>
                <a:gd name="connsiteX7" fmla="*/ 13526 w 14477"/>
                <a:gd name="connsiteY7" fmla="*/ 118015 h 118014"/>
                <a:gd name="connsiteX8" fmla="*/ 857 w 14477"/>
                <a:gd name="connsiteY8" fmla="*/ 118015 h 118014"/>
                <a:gd name="connsiteX9" fmla="*/ 857 w 14477"/>
                <a:gd name="connsiteY9" fmla="*/ 32671 h 1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77" h="118014">
                  <a:moveTo>
                    <a:pt x="0" y="0"/>
                  </a:moveTo>
                  <a:lnTo>
                    <a:pt x="14478" y="0"/>
                  </a:lnTo>
                  <a:lnTo>
                    <a:pt x="14478" y="14002"/>
                  </a:lnTo>
                  <a:lnTo>
                    <a:pt x="0" y="14002"/>
                  </a:lnTo>
                  <a:lnTo>
                    <a:pt x="0" y="0"/>
                  </a:lnTo>
                  <a:close/>
                  <a:moveTo>
                    <a:pt x="857" y="32671"/>
                  </a:moveTo>
                  <a:lnTo>
                    <a:pt x="13526" y="32671"/>
                  </a:lnTo>
                  <a:lnTo>
                    <a:pt x="13526" y="118015"/>
                  </a:lnTo>
                  <a:lnTo>
                    <a:pt x="857" y="118015"/>
                  </a:lnTo>
                  <a:lnTo>
                    <a:pt x="857" y="32671"/>
                  </a:lnTo>
                  <a:close/>
                </a:path>
              </a:pathLst>
            </a:custGeom>
            <a:solidFill>
              <a:srgbClr val="43505E"/>
            </a:solidFill>
            <a:ln w="9525" cap="flat">
              <a:noFill/>
              <a:prstDash val="solid"/>
              <a:miter/>
            </a:ln>
          </p:spPr>
          <p:txBody>
            <a:bodyPr rtlCol="0" anchor="ctr"/>
            <a:lstStyle/>
            <a:p>
              <a:endParaRPr lang="pt-BR"/>
            </a:p>
          </p:txBody>
        </p:sp>
        <p:sp>
          <p:nvSpPr>
            <p:cNvPr id="79" name="Freeform: Shape 78">
              <a:extLst>
                <a:ext uri="{FF2B5EF4-FFF2-40B4-BE49-F238E27FC236}">
                  <a16:creationId xmlns:a16="http://schemas.microsoft.com/office/drawing/2014/main" id="{06E86E8E-263C-1AA7-F6B1-38B6E4AAFED8}"/>
                </a:ext>
              </a:extLst>
            </p:cNvPr>
            <p:cNvSpPr/>
            <p:nvPr/>
          </p:nvSpPr>
          <p:spPr>
            <a:xfrm>
              <a:off x="1166971" y="4532883"/>
              <a:ext cx="51625" cy="112585"/>
            </a:xfrm>
            <a:custGeom>
              <a:avLst/>
              <a:gdLst>
                <a:gd name="connsiteX0" fmla="*/ 36004 w 51625"/>
                <a:gd name="connsiteY0" fmla="*/ 112586 h 112585"/>
                <a:gd name="connsiteX1" fmla="*/ 26479 w 51625"/>
                <a:gd name="connsiteY1" fmla="*/ 111252 h 112585"/>
                <a:gd name="connsiteX2" fmla="*/ 18764 w 51625"/>
                <a:gd name="connsiteY2" fmla="*/ 107061 h 112585"/>
                <a:gd name="connsiteX3" fmla="*/ 13716 w 51625"/>
                <a:gd name="connsiteY3" fmla="*/ 99536 h 112585"/>
                <a:gd name="connsiteX4" fmla="*/ 11906 w 51625"/>
                <a:gd name="connsiteY4" fmla="*/ 88487 h 112585"/>
                <a:gd name="connsiteX5" fmla="*/ 11906 w 51625"/>
                <a:gd name="connsiteY5" fmla="*/ 36957 h 112585"/>
                <a:gd name="connsiteX6" fmla="*/ 0 w 51625"/>
                <a:gd name="connsiteY6" fmla="*/ 36957 h 112585"/>
                <a:gd name="connsiteX7" fmla="*/ 0 w 51625"/>
                <a:gd name="connsiteY7" fmla="*/ 25717 h 112585"/>
                <a:gd name="connsiteX8" fmla="*/ 11906 w 51625"/>
                <a:gd name="connsiteY8" fmla="*/ 25717 h 112585"/>
                <a:gd name="connsiteX9" fmla="*/ 11906 w 51625"/>
                <a:gd name="connsiteY9" fmla="*/ 0 h 112585"/>
                <a:gd name="connsiteX10" fmla="*/ 24575 w 51625"/>
                <a:gd name="connsiteY10" fmla="*/ 0 h 112585"/>
                <a:gd name="connsiteX11" fmla="*/ 24575 w 51625"/>
                <a:gd name="connsiteY11" fmla="*/ 25717 h 112585"/>
                <a:gd name="connsiteX12" fmla="*/ 51626 w 51625"/>
                <a:gd name="connsiteY12" fmla="*/ 25717 h 112585"/>
                <a:gd name="connsiteX13" fmla="*/ 51626 w 51625"/>
                <a:gd name="connsiteY13" fmla="*/ 36957 h 112585"/>
                <a:gd name="connsiteX14" fmla="*/ 24575 w 51625"/>
                <a:gd name="connsiteY14" fmla="*/ 36957 h 112585"/>
                <a:gd name="connsiteX15" fmla="*/ 24575 w 51625"/>
                <a:gd name="connsiteY15" fmla="*/ 86678 h 112585"/>
                <a:gd name="connsiteX16" fmla="*/ 28575 w 51625"/>
                <a:gd name="connsiteY16" fmla="*/ 97727 h 112585"/>
                <a:gd name="connsiteX17" fmla="*/ 38957 w 51625"/>
                <a:gd name="connsiteY17" fmla="*/ 100870 h 112585"/>
                <a:gd name="connsiteX18" fmla="*/ 45148 w 51625"/>
                <a:gd name="connsiteY18" fmla="*/ 100203 h 112585"/>
                <a:gd name="connsiteX19" fmla="*/ 51340 w 51625"/>
                <a:gd name="connsiteY19" fmla="*/ 98012 h 112585"/>
                <a:gd name="connsiteX20" fmla="*/ 51340 w 51625"/>
                <a:gd name="connsiteY20" fmla="*/ 108871 h 112585"/>
                <a:gd name="connsiteX21" fmla="*/ 44291 w 51625"/>
                <a:gd name="connsiteY21" fmla="*/ 111633 h 112585"/>
                <a:gd name="connsiteX22" fmla="*/ 35909 w 51625"/>
                <a:gd name="connsiteY22" fmla="*/ 112586 h 11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625" h="112585">
                  <a:moveTo>
                    <a:pt x="36004" y="112586"/>
                  </a:moveTo>
                  <a:cubicBezTo>
                    <a:pt x="32576" y="112586"/>
                    <a:pt x="29432" y="112109"/>
                    <a:pt x="26479" y="111252"/>
                  </a:cubicBezTo>
                  <a:cubicBezTo>
                    <a:pt x="23527" y="110395"/>
                    <a:pt x="20955" y="108966"/>
                    <a:pt x="18764" y="107061"/>
                  </a:cubicBezTo>
                  <a:cubicBezTo>
                    <a:pt x="16573" y="105156"/>
                    <a:pt x="14954" y="102679"/>
                    <a:pt x="13716" y="99536"/>
                  </a:cubicBezTo>
                  <a:cubicBezTo>
                    <a:pt x="12478" y="96393"/>
                    <a:pt x="11906" y="92774"/>
                    <a:pt x="11906" y="88487"/>
                  </a:cubicBezTo>
                  <a:lnTo>
                    <a:pt x="11906" y="36957"/>
                  </a:lnTo>
                  <a:lnTo>
                    <a:pt x="0" y="36957"/>
                  </a:lnTo>
                  <a:lnTo>
                    <a:pt x="0" y="25717"/>
                  </a:lnTo>
                  <a:lnTo>
                    <a:pt x="11906" y="25717"/>
                  </a:lnTo>
                  <a:lnTo>
                    <a:pt x="11906" y="0"/>
                  </a:lnTo>
                  <a:lnTo>
                    <a:pt x="24575" y="0"/>
                  </a:lnTo>
                  <a:lnTo>
                    <a:pt x="24575" y="25717"/>
                  </a:lnTo>
                  <a:lnTo>
                    <a:pt x="51626" y="25717"/>
                  </a:lnTo>
                  <a:lnTo>
                    <a:pt x="51626" y="36957"/>
                  </a:lnTo>
                  <a:lnTo>
                    <a:pt x="24575" y="36957"/>
                  </a:lnTo>
                  <a:lnTo>
                    <a:pt x="24575" y="86678"/>
                  </a:lnTo>
                  <a:cubicBezTo>
                    <a:pt x="24575" y="91916"/>
                    <a:pt x="25908" y="95631"/>
                    <a:pt x="28575" y="97727"/>
                  </a:cubicBezTo>
                  <a:cubicBezTo>
                    <a:pt x="31242" y="99822"/>
                    <a:pt x="34671" y="100870"/>
                    <a:pt x="38957" y="100870"/>
                  </a:cubicBezTo>
                  <a:cubicBezTo>
                    <a:pt x="41148" y="100870"/>
                    <a:pt x="43243" y="100679"/>
                    <a:pt x="45148" y="100203"/>
                  </a:cubicBezTo>
                  <a:cubicBezTo>
                    <a:pt x="47054" y="99727"/>
                    <a:pt x="49149" y="99060"/>
                    <a:pt x="51340" y="98012"/>
                  </a:cubicBezTo>
                  <a:lnTo>
                    <a:pt x="51340" y="108871"/>
                  </a:lnTo>
                  <a:cubicBezTo>
                    <a:pt x="49149" y="110109"/>
                    <a:pt x="46768" y="110966"/>
                    <a:pt x="44291" y="111633"/>
                  </a:cubicBezTo>
                  <a:cubicBezTo>
                    <a:pt x="41815" y="112300"/>
                    <a:pt x="39053" y="112586"/>
                    <a:pt x="35909" y="112586"/>
                  </a:cubicBezTo>
                  <a:close/>
                </a:path>
              </a:pathLst>
            </a:custGeom>
            <a:solidFill>
              <a:srgbClr val="43505E"/>
            </a:solidFill>
            <a:ln w="9525" cap="flat">
              <a:noFill/>
              <a:prstDash val="solid"/>
              <a:miter/>
            </a:ln>
          </p:spPr>
          <p:txBody>
            <a:bodyPr rtlCol="0" anchor="ctr"/>
            <a:lstStyle/>
            <a:p>
              <a:endParaRPr lang="pt-BR"/>
            </a:p>
          </p:txBody>
        </p:sp>
        <p:sp>
          <p:nvSpPr>
            <p:cNvPr id="80" name="Freeform: Shape 79">
              <a:extLst>
                <a:ext uri="{FF2B5EF4-FFF2-40B4-BE49-F238E27FC236}">
                  <a16:creationId xmlns:a16="http://schemas.microsoft.com/office/drawing/2014/main" id="{01BBEAD9-8FF5-9564-8A93-0207E2BCFA59}"/>
                </a:ext>
              </a:extLst>
            </p:cNvPr>
            <p:cNvSpPr/>
            <p:nvPr/>
          </p:nvSpPr>
          <p:spPr>
            <a:xfrm>
              <a:off x="1239837" y="4558601"/>
              <a:ext cx="74485" cy="87153"/>
            </a:xfrm>
            <a:custGeom>
              <a:avLst/>
              <a:gdLst>
                <a:gd name="connsiteX0" fmla="*/ 32671 w 74485"/>
                <a:gd name="connsiteY0" fmla="*/ 87154 h 87153"/>
                <a:gd name="connsiteX1" fmla="*/ 18859 w 74485"/>
                <a:gd name="connsiteY1" fmla="*/ 84677 h 87153"/>
                <a:gd name="connsiteX2" fmla="*/ 8668 w 74485"/>
                <a:gd name="connsiteY2" fmla="*/ 77629 h 87153"/>
                <a:gd name="connsiteX3" fmla="*/ 2191 w 74485"/>
                <a:gd name="connsiteY3" fmla="*/ 66866 h 87153"/>
                <a:gd name="connsiteX4" fmla="*/ 0 w 74485"/>
                <a:gd name="connsiteY4" fmla="*/ 52959 h 87153"/>
                <a:gd name="connsiteX5" fmla="*/ 0 w 74485"/>
                <a:gd name="connsiteY5" fmla="*/ 0 h 87153"/>
                <a:gd name="connsiteX6" fmla="*/ 12668 w 74485"/>
                <a:gd name="connsiteY6" fmla="*/ 0 h 87153"/>
                <a:gd name="connsiteX7" fmla="*/ 12668 w 74485"/>
                <a:gd name="connsiteY7" fmla="*/ 49721 h 87153"/>
                <a:gd name="connsiteX8" fmla="*/ 18764 w 74485"/>
                <a:gd name="connsiteY8" fmla="*/ 68485 h 87153"/>
                <a:gd name="connsiteX9" fmla="*/ 36290 w 74485"/>
                <a:gd name="connsiteY9" fmla="*/ 75438 h 87153"/>
                <a:gd name="connsiteX10" fmla="*/ 46482 w 74485"/>
                <a:gd name="connsiteY10" fmla="*/ 73533 h 87153"/>
                <a:gd name="connsiteX11" fmla="*/ 54578 w 74485"/>
                <a:gd name="connsiteY11" fmla="*/ 68104 h 87153"/>
                <a:gd name="connsiteX12" fmla="*/ 59912 w 74485"/>
                <a:gd name="connsiteY12" fmla="*/ 59627 h 87153"/>
                <a:gd name="connsiteX13" fmla="*/ 61913 w 74485"/>
                <a:gd name="connsiteY13" fmla="*/ 48768 h 87153"/>
                <a:gd name="connsiteX14" fmla="*/ 61913 w 74485"/>
                <a:gd name="connsiteY14" fmla="*/ 0 h 87153"/>
                <a:gd name="connsiteX15" fmla="*/ 74486 w 74485"/>
                <a:gd name="connsiteY15" fmla="*/ 0 h 87153"/>
                <a:gd name="connsiteX16" fmla="*/ 74486 w 74485"/>
                <a:gd name="connsiteY16" fmla="*/ 85344 h 87153"/>
                <a:gd name="connsiteX17" fmla="*/ 61913 w 74485"/>
                <a:gd name="connsiteY17" fmla="*/ 85344 h 87153"/>
                <a:gd name="connsiteX18" fmla="*/ 61913 w 74485"/>
                <a:gd name="connsiteY18" fmla="*/ 70485 h 87153"/>
                <a:gd name="connsiteX19" fmla="*/ 50673 w 74485"/>
                <a:gd name="connsiteY19" fmla="*/ 82296 h 87153"/>
                <a:gd name="connsiteX20" fmla="*/ 32671 w 74485"/>
                <a:gd name="connsiteY20" fmla="*/ 87154 h 8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485" h="87153">
                  <a:moveTo>
                    <a:pt x="32671" y="87154"/>
                  </a:moveTo>
                  <a:cubicBezTo>
                    <a:pt x="27527" y="87154"/>
                    <a:pt x="22860" y="86297"/>
                    <a:pt x="18859" y="84677"/>
                  </a:cubicBezTo>
                  <a:cubicBezTo>
                    <a:pt x="14859" y="83058"/>
                    <a:pt x="11430" y="80677"/>
                    <a:pt x="8668" y="77629"/>
                  </a:cubicBezTo>
                  <a:cubicBezTo>
                    <a:pt x="5905" y="74581"/>
                    <a:pt x="3715" y="70961"/>
                    <a:pt x="2191" y="66866"/>
                  </a:cubicBezTo>
                  <a:cubicBezTo>
                    <a:pt x="667" y="62675"/>
                    <a:pt x="0" y="58103"/>
                    <a:pt x="0" y="52959"/>
                  </a:cubicBezTo>
                  <a:lnTo>
                    <a:pt x="0" y="0"/>
                  </a:lnTo>
                  <a:lnTo>
                    <a:pt x="12668" y="0"/>
                  </a:lnTo>
                  <a:lnTo>
                    <a:pt x="12668" y="49721"/>
                  </a:lnTo>
                  <a:cubicBezTo>
                    <a:pt x="12668" y="57626"/>
                    <a:pt x="14669" y="63913"/>
                    <a:pt x="18764" y="68485"/>
                  </a:cubicBezTo>
                  <a:cubicBezTo>
                    <a:pt x="22860" y="73057"/>
                    <a:pt x="28670" y="75438"/>
                    <a:pt x="36290" y="75438"/>
                  </a:cubicBezTo>
                  <a:cubicBezTo>
                    <a:pt x="39910" y="75438"/>
                    <a:pt x="43339" y="74771"/>
                    <a:pt x="46482" y="73533"/>
                  </a:cubicBezTo>
                  <a:cubicBezTo>
                    <a:pt x="49625" y="72295"/>
                    <a:pt x="52292" y="70485"/>
                    <a:pt x="54578" y="68104"/>
                  </a:cubicBezTo>
                  <a:cubicBezTo>
                    <a:pt x="56864" y="65723"/>
                    <a:pt x="58579" y="62960"/>
                    <a:pt x="59912" y="59627"/>
                  </a:cubicBezTo>
                  <a:cubicBezTo>
                    <a:pt x="61246" y="56293"/>
                    <a:pt x="61913" y="52673"/>
                    <a:pt x="61913" y="48768"/>
                  </a:cubicBezTo>
                  <a:lnTo>
                    <a:pt x="61913" y="0"/>
                  </a:lnTo>
                  <a:lnTo>
                    <a:pt x="74486" y="0"/>
                  </a:lnTo>
                  <a:lnTo>
                    <a:pt x="74486" y="85344"/>
                  </a:lnTo>
                  <a:lnTo>
                    <a:pt x="61913" y="85344"/>
                  </a:lnTo>
                  <a:lnTo>
                    <a:pt x="61913" y="70485"/>
                  </a:lnTo>
                  <a:cubicBezTo>
                    <a:pt x="59055" y="75152"/>
                    <a:pt x="55340" y="79058"/>
                    <a:pt x="50673" y="82296"/>
                  </a:cubicBezTo>
                  <a:cubicBezTo>
                    <a:pt x="46006" y="85535"/>
                    <a:pt x="40005" y="87154"/>
                    <a:pt x="32671" y="87154"/>
                  </a:cubicBezTo>
                  <a:close/>
                </a:path>
              </a:pathLst>
            </a:custGeom>
            <a:solidFill>
              <a:srgbClr val="43505E"/>
            </a:solidFill>
            <a:ln w="9525" cap="flat">
              <a:noFill/>
              <a:prstDash val="solid"/>
              <a:miter/>
            </a:ln>
          </p:spPr>
          <p:txBody>
            <a:bodyPr rtlCol="0" anchor="ctr"/>
            <a:lstStyle/>
            <a:p>
              <a:endParaRPr lang="pt-BR"/>
            </a:p>
          </p:txBody>
        </p:sp>
        <p:sp>
          <p:nvSpPr>
            <p:cNvPr id="81" name="Freeform: Shape 80">
              <a:extLst>
                <a:ext uri="{FF2B5EF4-FFF2-40B4-BE49-F238E27FC236}">
                  <a16:creationId xmlns:a16="http://schemas.microsoft.com/office/drawing/2014/main" id="{F7FC00DF-09CD-A8E6-D067-CB4999CB48EB}"/>
                </a:ext>
              </a:extLst>
            </p:cNvPr>
            <p:cNvSpPr/>
            <p:nvPr/>
          </p:nvSpPr>
          <p:spPr>
            <a:xfrm>
              <a:off x="1337849" y="4523549"/>
              <a:ext cx="86106" cy="122300"/>
            </a:xfrm>
            <a:custGeom>
              <a:avLst/>
              <a:gdLst>
                <a:gd name="connsiteX0" fmla="*/ 40767 w 86106"/>
                <a:gd name="connsiteY0" fmla="*/ 122206 h 122300"/>
                <a:gd name="connsiteX1" fmla="*/ 25718 w 86106"/>
                <a:gd name="connsiteY1" fmla="*/ 119253 h 122300"/>
                <a:gd name="connsiteX2" fmla="*/ 12668 w 86106"/>
                <a:gd name="connsiteY2" fmla="*/ 110585 h 122300"/>
                <a:gd name="connsiteX3" fmla="*/ 3429 w 86106"/>
                <a:gd name="connsiteY3" fmla="*/ 96679 h 122300"/>
                <a:gd name="connsiteX4" fmla="*/ 0 w 86106"/>
                <a:gd name="connsiteY4" fmla="*/ 77914 h 122300"/>
                <a:gd name="connsiteX5" fmla="*/ 0 w 86106"/>
                <a:gd name="connsiteY5" fmla="*/ 77629 h 122300"/>
                <a:gd name="connsiteX6" fmla="*/ 3429 w 86106"/>
                <a:gd name="connsiteY6" fmla="*/ 58960 h 122300"/>
                <a:gd name="connsiteX7" fmla="*/ 12668 w 86106"/>
                <a:gd name="connsiteY7" fmla="*/ 45053 h 122300"/>
                <a:gd name="connsiteX8" fmla="*/ 25718 w 86106"/>
                <a:gd name="connsiteY8" fmla="*/ 36290 h 122300"/>
                <a:gd name="connsiteX9" fmla="*/ 40767 w 86106"/>
                <a:gd name="connsiteY9" fmla="*/ 33242 h 122300"/>
                <a:gd name="connsiteX10" fmla="*/ 51625 w 86106"/>
                <a:gd name="connsiteY10" fmla="*/ 34766 h 122300"/>
                <a:gd name="connsiteX11" fmla="*/ 60579 w 86106"/>
                <a:gd name="connsiteY11" fmla="*/ 38767 h 122300"/>
                <a:gd name="connsiteX12" fmla="*/ 67723 w 86106"/>
                <a:gd name="connsiteY12" fmla="*/ 44577 h 122300"/>
                <a:gd name="connsiteX13" fmla="*/ 73438 w 86106"/>
                <a:gd name="connsiteY13" fmla="*/ 51530 h 122300"/>
                <a:gd name="connsiteX14" fmla="*/ 73438 w 86106"/>
                <a:gd name="connsiteY14" fmla="*/ 0 h 122300"/>
                <a:gd name="connsiteX15" fmla="*/ 86106 w 86106"/>
                <a:gd name="connsiteY15" fmla="*/ 0 h 122300"/>
                <a:gd name="connsiteX16" fmla="*/ 86106 w 86106"/>
                <a:gd name="connsiteY16" fmla="*/ 120491 h 122300"/>
                <a:gd name="connsiteX17" fmla="*/ 73438 w 86106"/>
                <a:gd name="connsiteY17" fmla="*/ 120491 h 122300"/>
                <a:gd name="connsiteX18" fmla="*/ 73438 w 86106"/>
                <a:gd name="connsiteY18" fmla="*/ 103346 h 122300"/>
                <a:gd name="connsiteX19" fmla="*/ 67532 w 86106"/>
                <a:gd name="connsiteY19" fmla="*/ 110585 h 122300"/>
                <a:gd name="connsiteX20" fmla="*/ 60389 w 86106"/>
                <a:gd name="connsiteY20" fmla="*/ 116681 h 122300"/>
                <a:gd name="connsiteX21" fmla="*/ 51530 w 86106"/>
                <a:gd name="connsiteY21" fmla="*/ 120777 h 122300"/>
                <a:gd name="connsiteX22" fmla="*/ 40767 w 86106"/>
                <a:gd name="connsiteY22" fmla="*/ 122301 h 122300"/>
                <a:gd name="connsiteX23" fmla="*/ 43053 w 86106"/>
                <a:gd name="connsiteY23" fmla="*/ 110776 h 122300"/>
                <a:gd name="connsiteX24" fmla="*/ 54483 w 86106"/>
                <a:gd name="connsiteY24" fmla="*/ 108395 h 122300"/>
                <a:gd name="connsiteX25" fmla="*/ 64389 w 86106"/>
                <a:gd name="connsiteY25" fmla="*/ 101632 h 122300"/>
                <a:gd name="connsiteX26" fmla="*/ 71342 w 86106"/>
                <a:gd name="connsiteY26" fmla="*/ 91250 h 122300"/>
                <a:gd name="connsiteX27" fmla="*/ 73914 w 86106"/>
                <a:gd name="connsiteY27" fmla="*/ 77819 h 122300"/>
                <a:gd name="connsiteX28" fmla="*/ 73914 w 86106"/>
                <a:gd name="connsiteY28" fmla="*/ 77533 h 122300"/>
                <a:gd name="connsiteX29" fmla="*/ 71342 w 86106"/>
                <a:gd name="connsiteY29" fmla="*/ 64103 h 122300"/>
                <a:gd name="connsiteX30" fmla="*/ 64389 w 86106"/>
                <a:gd name="connsiteY30" fmla="*/ 53816 h 122300"/>
                <a:gd name="connsiteX31" fmla="*/ 54483 w 86106"/>
                <a:gd name="connsiteY31" fmla="*/ 47149 h 122300"/>
                <a:gd name="connsiteX32" fmla="*/ 43053 w 86106"/>
                <a:gd name="connsiteY32" fmla="*/ 44767 h 122300"/>
                <a:gd name="connsiteX33" fmla="*/ 31337 w 86106"/>
                <a:gd name="connsiteY33" fmla="*/ 46958 h 122300"/>
                <a:gd name="connsiteX34" fmla="*/ 21812 w 86106"/>
                <a:gd name="connsiteY34" fmla="*/ 53435 h 122300"/>
                <a:gd name="connsiteX35" fmla="*/ 15335 w 86106"/>
                <a:gd name="connsiteY35" fmla="*/ 63722 h 122300"/>
                <a:gd name="connsiteX36" fmla="*/ 12954 w 86106"/>
                <a:gd name="connsiteY36" fmla="*/ 77629 h 122300"/>
                <a:gd name="connsiteX37" fmla="*/ 12954 w 86106"/>
                <a:gd name="connsiteY37" fmla="*/ 77914 h 122300"/>
                <a:gd name="connsiteX38" fmla="*/ 15335 w 86106"/>
                <a:gd name="connsiteY38" fmla="*/ 91630 h 122300"/>
                <a:gd name="connsiteX39" fmla="*/ 21812 w 86106"/>
                <a:gd name="connsiteY39" fmla="*/ 102013 h 122300"/>
                <a:gd name="connsiteX40" fmla="*/ 31337 w 86106"/>
                <a:gd name="connsiteY40" fmla="*/ 108585 h 122300"/>
                <a:gd name="connsiteX41" fmla="*/ 42863 w 86106"/>
                <a:gd name="connsiteY41" fmla="*/ 110871 h 1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6106" h="122300">
                  <a:moveTo>
                    <a:pt x="40767" y="122206"/>
                  </a:moveTo>
                  <a:cubicBezTo>
                    <a:pt x="35623" y="122206"/>
                    <a:pt x="30575" y="121253"/>
                    <a:pt x="25718" y="119253"/>
                  </a:cubicBezTo>
                  <a:cubicBezTo>
                    <a:pt x="20860" y="117253"/>
                    <a:pt x="16573" y="114395"/>
                    <a:pt x="12668" y="110585"/>
                  </a:cubicBezTo>
                  <a:cubicBezTo>
                    <a:pt x="8763" y="106775"/>
                    <a:pt x="5715" y="102203"/>
                    <a:pt x="3429" y="96679"/>
                  </a:cubicBezTo>
                  <a:cubicBezTo>
                    <a:pt x="1143" y="91250"/>
                    <a:pt x="0" y="84963"/>
                    <a:pt x="0" y="77914"/>
                  </a:cubicBezTo>
                  <a:lnTo>
                    <a:pt x="0" y="77629"/>
                  </a:lnTo>
                  <a:cubicBezTo>
                    <a:pt x="0" y="70675"/>
                    <a:pt x="1143" y="64484"/>
                    <a:pt x="3429" y="58960"/>
                  </a:cubicBezTo>
                  <a:cubicBezTo>
                    <a:pt x="5715" y="53435"/>
                    <a:pt x="8858" y="48768"/>
                    <a:pt x="12668" y="45053"/>
                  </a:cubicBezTo>
                  <a:cubicBezTo>
                    <a:pt x="16478" y="41243"/>
                    <a:pt x="20860" y="38291"/>
                    <a:pt x="25718" y="36290"/>
                  </a:cubicBezTo>
                  <a:cubicBezTo>
                    <a:pt x="30575" y="34290"/>
                    <a:pt x="35528" y="33242"/>
                    <a:pt x="40767" y="33242"/>
                  </a:cubicBezTo>
                  <a:cubicBezTo>
                    <a:pt x="44768" y="33242"/>
                    <a:pt x="48387" y="33718"/>
                    <a:pt x="51625" y="34766"/>
                  </a:cubicBezTo>
                  <a:cubicBezTo>
                    <a:pt x="54959" y="35719"/>
                    <a:pt x="57912" y="37052"/>
                    <a:pt x="60579" y="38767"/>
                  </a:cubicBezTo>
                  <a:cubicBezTo>
                    <a:pt x="63246" y="40386"/>
                    <a:pt x="65627" y="42386"/>
                    <a:pt x="67723" y="44577"/>
                  </a:cubicBezTo>
                  <a:cubicBezTo>
                    <a:pt x="69914" y="46768"/>
                    <a:pt x="71723" y="49054"/>
                    <a:pt x="73438" y="51530"/>
                  </a:cubicBezTo>
                  <a:lnTo>
                    <a:pt x="73438" y="0"/>
                  </a:lnTo>
                  <a:lnTo>
                    <a:pt x="86106" y="0"/>
                  </a:lnTo>
                  <a:lnTo>
                    <a:pt x="86106" y="120491"/>
                  </a:lnTo>
                  <a:lnTo>
                    <a:pt x="73438" y="120491"/>
                  </a:lnTo>
                  <a:lnTo>
                    <a:pt x="73438" y="103346"/>
                  </a:lnTo>
                  <a:cubicBezTo>
                    <a:pt x="71723" y="105918"/>
                    <a:pt x="69723" y="108299"/>
                    <a:pt x="67532" y="110585"/>
                  </a:cubicBezTo>
                  <a:cubicBezTo>
                    <a:pt x="65437" y="112871"/>
                    <a:pt x="62960" y="114967"/>
                    <a:pt x="60389" y="116681"/>
                  </a:cubicBezTo>
                  <a:cubicBezTo>
                    <a:pt x="57721" y="118396"/>
                    <a:pt x="54769" y="119825"/>
                    <a:pt x="51530" y="120777"/>
                  </a:cubicBezTo>
                  <a:cubicBezTo>
                    <a:pt x="48292" y="121729"/>
                    <a:pt x="44672" y="122301"/>
                    <a:pt x="40767" y="122301"/>
                  </a:cubicBezTo>
                  <a:close/>
                  <a:moveTo>
                    <a:pt x="43053" y="110776"/>
                  </a:moveTo>
                  <a:cubicBezTo>
                    <a:pt x="47053" y="110776"/>
                    <a:pt x="50864" y="110014"/>
                    <a:pt x="54483" y="108395"/>
                  </a:cubicBezTo>
                  <a:cubicBezTo>
                    <a:pt x="58198" y="106775"/>
                    <a:pt x="61436" y="104584"/>
                    <a:pt x="64389" y="101632"/>
                  </a:cubicBezTo>
                  <a:cubicBezTo>
                    <a:pt x="67342" y="98679"/>
                    <a:pt x="69628" y="95250"/>
                    <a:pt x="71342" y="91250"/>
                  </a:cubicBezTo>
                  <a:cubicBezTo>
                    <a:pt x="73057" y="87249"/>
                    <a:pt x="73914" y="82772"/>
                    <a:pt x="73914" y="77819"/>
                  </a:cubicBezTo>
                  <a:lnTo>
                    <a:pt x="73914" y="77533"/>
                  </a:lnTo>
                  <a:cubicBezTo>
                    <a:pt x="73914" y="72580"/>
                    <a:pt x="73057" y="68104"/>
                    <a:pt x="71342" y="64103"/>
                  </a:cubicBezTo>
                  <a:cubicBezTo>
                    <a:pt x="69628" y="60103"/>
                    <a:pt x="67342" y="56674"/>
                    <a:pt x="64389" y="53816"/>
                  </a:cubicBezTo>
                  <a:cubicBezTo>
                    <a:pt x="61436" y="50959"/>
                    <a:pt x="58198" y="48768"/>
                    <a:pt x="54483" y="47149"/>
                  </a:cubicBezTo>
                  <a:cubicBezTo>
                    <a:pt x="50768" y="45529"/>
                    <a:pt x="46958" y="44767"/>
                    <a:pt x="43053" y="44767"/>
                  </a:cubicBezTo>
                  <a:cubicBezTo>
                    <a:pt x="38862" y="44767"/>
                    <a:pt x="34957" y="45529"/>
                    <a:pt x="31337" y="46958"/>
                  </a:cubicBezTo>
                  <a:cubicBezTo>
                    <a:pt x="27718" y="48482"/>
                    <a:pt x="24574" y="50578"/>
                    <a:pt x="21812" y="53435"/>
                  </a:cubicBezTo>
                  <a:cubicBezTo>
                    <a:pt x="19145" y="56197"/>
                    <a:pt x="16954" y="59722"/>
                    <a:pt x="15335" y="63722"/>
                  </a:cubicBezTo>
                  <a:cubicBezTo>
                    <a:pt x="13716" y="67818"/>
                    <a:pt x="12954" y="72390"/>
                    <a:pt x="12954" y="77629"/>
                  </a:cubicBezTo>
                  <a:lnTo>
                    <a:pt x="12954" y="77914"/>
                  </a:lnTo>
                  <a:cubicBezTo>
                    <a:pt x="12954" y="82963"/>
                    <a:pt x="13716" y="87535"/>
                    <a:pt x="15335" y="91630"/>
                  </a:cubicBezTo>
                  <a:cubicBezTo>
                    <a:pt x="16954" y="95726"/>
                    <a:pt x="19145" y="99155"/>
                    <a:pt x="21812" y="102013"/>
                  </a:cubicBezTo>
                  <a:cubicBezTo>
                    <a:pt x="24574" y="104870"/>
                    <a:pt x="27718" y="107061"/>
                    <a:pt x="31337" y="108585"/>
                  </a:cubicBezTo>
                  <a:cubicBezTo>
                    <a:pt x="34957" y="110109"/>
                    <a:pt x="38862" y="110871"/>
                    <a:pt x="42863" y="110871"/>
                  </a:cubicBezTo>
                  <a:close/>
                </a:path>
              </a:pathLst>
            </a:custGeom>
            <a:solidFill>
              <a:srgbClr val="43505E"/>
            </a:solidFill>
            <a:ln w="9525" cap="flat">
              <a:noFill/>
              <a:prstDash val="solid"/>
              <a:miter/>
            </a:ln>
          </p:spPr>
          <p:txBody>
            <a:bodyPr rtlCol="0" anchor="ctr"/>
            <a:lstStyle/>
            <a:p>
              <a:endParaRPr lang="pt-BR"/>
            </a:p>
          </p:txBody>
        </p:sp>
        <p:sp>
          <p:nvSpPr>
            <p:cNvPr id="82" name="Freeform: Shape 81">
              <a:extLst>
                <a:ext uri="{FF2B5EF4-FFF2-40B4-BE49-F238E27FC236}">
                  <a16:creationId xmlns:a16="http://schemas.microsoft.com/office/drawing/2014/main" id="{1F15E550-F50D-CDD9-CB14-F8E2AFFE69B5}"/>
                </a:ext>
              </a:extLst>
            </p:cNvPr>
            <p:cNvSpPr/>
            <p:nvPr/>
          </p:nvSpPr>
          <p:spPr>
            <a:xfrm>
              <a:off x="1447101" y="4556887"/>
              <a:ext cx="80676" cy="89154"/>
            </a:xfrm>
            <a:custGeom>
              <a:avLst/>
              <a:gdLst>
                <a:gd name="connsiteX0" fmla="*/ 12859 w 80676"/>
                <a:gd name="connsiteY0" fmla="*/ 49625 h 89154"/>
                <a:gd name="connsiteX1" fmla="*/ 16193 w 80676"/>
                <a:gd name="connsiteY1" fmla="*/ 61722 h 89154"/>
                <a:gd name="connsiteX2" fmla="*/ 22955 w 80676"/>
                <a:gd name="connsiteY2" fmla="*/ 70675 h 89154"/>
                <a:gd name="connsiteX3" fmla="*/ 32195 w 80676"/>
                <a:gd name="connsiteY3" fmla="*/ 76200 h 89154"/>
                <a:gd name="connsiteX4" fmla="*/ 42958 w 80676"/>
                <a:gd name="connsiteY4" fmla="*/ 78105 h 89154"/>
                <a:gd name="connsiteX5" fmla="*/ 58198 w 80676"/>
                <a:gd name="connsiteY5" fmla="*/ 74771 h 89154"/>
                <a:gd name="connsiteX6" fmla="*/ 69818 w 80676"/>
                <a:gd name="connsiteY6" fmla="*/ 66008 h 89154"/>
                <a:gd name="connsiteX7" fmla="*/ 77724 w 80676"/>
                <a:gd name="connsiteY7" fmla="*/ 73152 h 89154"/>
                <a:gd name="connsiteX8" fmla="*/ 63056 w 80676"/>
                <a:gd name="connsiteY8" fmla="*/ 84772 h 89154"/>
                <a:gd name="connsiteX9" fmla="*/ 42577 w 80676"/>
                <a:gd name="connsiteY9" fmla="*/ 89154 h 89154"/>
                <a:gd name="connsiteX10" fmla="*/ 26099 w 80676"/>
                <a:gd name="connsiteY10" fmla="*/ 85916 h 89154"/>
                <a:gd name="connsiteX11" fmla="*/ 12573 w 80676"/>
                <a:gd name="connsiteY11" fmla="*/ 76867 h 89154"/>
                <a:gd name="connsiteX12" fmla="*/ 3429 w 80676"/>
                <a:gd name="connsiteY12" fmla="*/ 62770 h 89154"/>
                <a:gd name="connsiteX13" fmla="*/ 0 w 80676"/>
                <a:gd name="connsiteY13" fmla="*/ 44577 h 89154"/>
                <a:gd name="connsiteX14" fmla="*/ 3048 w 80676"/>
                <a:gd name="connsiteY14" fmla="*/ 27146 h 89154"/>
                <a:gd name="connsiteX15" fmla="*/ 11525 w 80676"/>
                <a:gd name="connsiteY15" fmla="*/ 12954 h 89154"/>
                <a:gd name="connsiteX16" fmla="*/ 24479 w 80676"/>
                <a:gd name="connsiteY16" fmla="*/ 3429 h 89154"/>
                <a:gd name="connsiteX17" fmla="*/ 40862 w 80676"/>
                <a:gd name="connsiteY17" fmla="*/ 0 h 89154"/>
                <a:gd name="connsiteX18" fmla="*/ 57722 w 80676"/>
                <a:gd name="connsiteY18" fmla="*/ 3524 h 89154"/>
                <a:gd name="connsiteX19" fmla="*/ 70295 w 80676"/>
                <a:gd name="connsiteY19" fmla="*/ 13145 h 89154"/>
                <a:gd name="connsiteX20" fmla="*/ 78010 w 80676"/>
                <a:gd name="connsiteY20" fmla="*/ 27527 h 89154"/>
                <a:gd name="connsiteX21" fmla="*/ 80677 w 80676"/>
                <a:gd name="connsiteY21" fmla="*/ 45149 h 89154"/>
                <a:gd name="connsiteX22" fmla="*/ 80677 w 80676"/>
                <a:gd name="connsiteY22" fmla="*/ 47054 h 89154"/>
                <a:gd name="connsiteX23" fmla="*/ 80486 w 80676"/>
                <a:gd name="connsiteY23" fmla="*/ 49625 h 89154"/>
                <a:gd name="connsiteX24" fmla="*/ 12859 w 80676"/>
                <a:gd name="connsiteY24" fmla="*/ 49625 h 89154"/>
                <a:gd name="connsiteX25" fmla="*/ 67818 w 80676"/>
                <a:gd name="connsiteY25" fmla="*/ 39243 h 89154"/>
                <a:gd name="connsiteX26" fmla="*/ 65342 w 80676"/>
                <a:gd name="connsiteY26" fmla="*/ 28289 h 89154"/>
                <a:gd name="connsiteX27" fmla="*/ 60008 w 80676"/>
                <a:gd name="connsiteY27" fmla="*/ 19145 h 89154"/>
                <a:gd name="connsiteX28" fmla="*/ 51721 w 80676"/>
                <a:gd name="connsiteY28" fmla="*/ 12859 h 89154"/>
                <a:gd name="connsiteX29" fmla="*/ 40577 w 80676"/>
                <a:gd name="connsiteY29" fmla="*/ 10573 h 89154"/>
                <a:gd name="connsiteX30" fmla="*/ 30290 w 80676"/>
                <a:gd name="connsiteY30" fmla="*/ 12668 h 89154"/>
                <a:gd name="connsiteX31" fmla="*/ 21908 w 80676"/>
                <a:gd name="connsiteY31" fmla="*/ 18669 h 89154"/>
                <a:gd name="connsiteX32" fmla="*/ 15907 w 80676"/>
                <a:gd name="connsiteY32" fmla="*/ 27813 h 89154"/>
                <a:gd name="connsiteX33" fmla="*/ 12859 w 80676"/>
                <a:gd name="connsiteY33" fmla="*/ 39148 h 89154"/>
                <a:gd name="connsiteX34" fmla="*/ 67818 w 80676"/>
                <a:gd name="connsiteY34" fmla="*/ 39148 h 8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676" h="89154">
                  <a:moveTo>
                    <a:pt x="12859" y="49625"/>
                  </a:moveTo>
                  <a:cubicBezTo>
                    <a:pt x="13335" y="54102"/>
                    <a:pt x="14383" y="58198"/>
                    <a:pt x="16193" y="61722"/>
                  </a:cubicBezTo>
                  <a:cubicBezTo>
                    <a:pt x="17907" y="65246"/>
                    <a:pt x="20193" y="68199"/>
                    <a:pt x="22955" y="70675"/>
                  </a:cubicBezTo>
                  <a:cubicBezTo>
                    <a:pt x="25718" y="73152"/>
                    <a:pt x="28766" y="74962"/>
                    <a:pt x="32195" y="76200"/>
                  </a:cubicBezTo>
                  <a:cubicBezTo>
                    <a:pt x="35624" y="77438"/>
                    <a:pt x="39148" y="78105"/>
                    <a:pt x="42958" y="78105"/>
                  </a:cubicBezTo>
                  <a:cubicBezTo>
                    <a:pt x="48863" y="78105"/>
                    <a:pt x="54007" y="76962"/>
                    <a:pt x="58198" y="74771"/>
                  </a:cubicBezTo>
                  <a:cubicBezTo>
                    <a:pt x="62389" y="72580"/>
                    <a:pt x="66294" y="69628"/>
                    <a:pt x="69818" y="66008"/>
                  </a:cubicBezTo>
                  <a:lnTo>
                    <a:pt x="77724" y="73152"/>
                  </a:lnTo>
                  <a:cubicBezTo>
                    <a:pt x="73438" y="78010"/>
                    <a:pt x="68580" y="81915"/>
                    <a:pt x="63056" y="84772"/>
                  </a:cubicBezTo>
                  <a:cubicBezTo>
                    <a:pt x="57531" y="87725"/>
                    <a:pt x="50768" y="89154"/>
                    <a:pt x="42577" y="89154"/>
                  </a:cubicBezTo>
                  <a:cubicBezTo>
                    <a:pt x="36767" y="89154"/>
                    <a:pt x="31242" y="88106"/>
                    <a:pt x="26099" y="85916"/>
                  </a:cubicBezTo>
                  <a:cubicBezTo>
                    <a:pt x="20955" y="83725"/>
                    <a:pt x="16383" y="80772"/>
                    <a:pt x="12573" y="76867"/>
                  </a:cubicBezTo>
                  <a:cubicBezTo>
                    <a:pt x="8763" y="72962"/>
                    <a:pt x="5715" y="68294"/>
                    <a:pt x="3429" y="62770"/>
                  </a:cubicBezTo>
                  <a:cubicBezTo>
                    <a:pt x="1143" y="57245"/>
                    <a:pt x="0" y="51245"/>
                    <a:pt x="0" y="44577"/>
                  </a:cubicBezTo>
                  <a:cubicBezTo>
                    <a:pt x="0" y="38386"/>
                    <a:pt x="1048" y="32575"/>
                    <a:pt x="3048" y="27146"/>
                  </a:cubicBezTo>
                  <a:cubicBezTo>
                    <a:pt x="5048" y="21717"/>
                    <a:pt x="7906" y="16954"/>
                    <a:pt x="11525" y="12954"/>
                  </a:cubicBezTo>
                  <a:cubicBezTo>
                    <a:pt x="15145" y="8954"/>
                    <a:pt x="19431" y="5810"/>
                    <a:pt x="24479" y="3429"/>
                  </a:cubicBezTo>
                  <a:cubicBezTo>
                    <a:pt x="29528" y="1143"/>
                    <a:pt x="34957" y="0"/>
                    <a:pt x="40862" y="0"/>
                  </a:cubicBezTo>
                  <a:cubicBezTo>
                    <a:pt x="47149" y="0"/>
                    <a:pt x="52769" y="1143"/>
                    <a:pt x="57722" y="3524"/>
                  </a:cubicBezTo>
                  <a:cubicBezTo>
                    <a:pt x="62675" y="5905"/>
                    <a:pt x="66866" y="9144"/>
                    <a:pt x="70295" y="13145"/>
                  </a:cubicBezTo>
                  <a:cubicBezTo>
                    <a:pt x="73724" y="17240"/>
                    <a:pt x="76295" y="22003"/>
                    <a:pt x="78010" y="27527"/>
                  </a:cubicBezTo>
                  <a:cubicBezTo>
                    <a:pt x="79724" y="33052"/>
                    <a:pt x="80677" y="38957"/>
                    <a:pt x="80677" y="45149"/>
                  </a:cubicBezTo>
                  <a:lnTo>
                    <a:pt x="80677" y="47054"/>
                  </a:lnTo>
                  <a:cubicBezTo>
                    <a:pt x="80677" y="47816"/>
                    <a:pt x="80677" y="48673"/>
                    <a:pt x="80486" y="49625"/>
                  </a:cubicBezTo>
                  <a:lnTo>
                    <a:pt x="12859" y="49625"/>
                  </a:lnTo>
                  <a:close/>
                  <a:moveTo>
                    <a:pt x="67818" y="39243"/>
                  </a:moveTo>
                  <a:cubicBezTo>
                    <a:pt x="67532" y="35433"/>
                    <a:pt x="66675" y="31813"/>
                    <a:pt x="65342" y="28289"/>
                  </a:cubicBezTo>
                  <a:cubicBezTo>
                    <a:pt x="64008" y="24860"/>
                    <a:pt x="62198" y="21812"/>
                    <a:pt x="60008" y="19145"/>
                  </a:cubicBezTo>
                  <a:cubicBezTo>
                    <a:pt x="57722" y="16478"/>
                    <a:pt x="54959" y="14478"/>
                    <a:pt x="51721" y="12859"/>
                  </a:cubicBezTo>
                  <a:cubicBezTo>
                    <a:pt x="48482" y="11335"/>
                    <a:pt x="44768" y="10573"/>
                    <a:pt x="40577" y="10573"/>
                  </a:cubicBezTo>
                  <a:cubicBezTo>
                    <a:pt x="36957" y="10573"/>
                    <a:pt x="33528" y="11335"/>
                    <a:pt x="30290" y="12668"/>
                  </a:cubicBezTo>
                  <a:cubicBezTo>
                    <a:pt x="27146" y="14097"/>
                    <a:pt x="24289" y="16097"/>
                    <a:pt x="21908" y="18669"/>
                  </a:cubicBezTo>
                  <a:cubicBezTo>
                    <a:pt x="19526" y="21241"/>
                    <a:pt x="17431" y="24289"/>
                    <a:pt x="15907" y="27813"/>
                  </a:cubicBezTo>
                  <a:cubicBezTo>
                    <a:pt x="14288" y="31337"/>
                    <a:pt x="13335" y="35052"/>
                    <a:pt x="12859" y="39148"/>
                  </a:cubicBezTo>
                  <a:lnTo>
                    <a:pt x="67818" y="39148"/>
                  </a:lnTo>
                  <a:close/>
                </a:path>
              </a:pathLst>
            </a:custGeom>
            <a:solidFill>
              <a:srgbClr val="43505E"/>
            </a:solidFill>
            <a:ln w="9525" cap="flat">
              <a:noFill/>
              <a:prstDash val="solid"/>
              <a:miter/>
            </a:ln>
          </p:spPr>
          <p:txBody>
            <a:bodyPr rtlCol="0" anchor="ctr"/>
            <a:lstStyle/>
            <a:p>
              <a:endParaRPr lang="pt-BR"/>
            </a:p>
          </p:txBody>
        </p:sp>
        <p:sp>
          <p:nvSpPr>
            <p:cNvPr id="83" name="Freeform: Shape 82">
              <a:extLst>
                <a:ext uri="{FF2B5EF4-FFF2-40B4-BE49-F238E27FC236}">
                  <a16:creationId xmlns:a16="http://schemas.microsoft.com/office/drawing/2014/main" id="{8E03D157-997D-AD71-C79D-F236ABA34D8D}"/>
                </a:ext>
              </a:extLst>
            </p:cNvPr>
            <p:cNvSpPr/>
            <p:nvPr/>
          </p:nvSpPr>
          <p:spPr>
            <a:xfrm>
              <a:off x="1543018" y="4557267"/>
              <a:ext cx="65722" cy="88582"/>
            </a:xfrm>
            <a:custGeom>
              <a:avLst/>
              <a:gdLst>
                <a:gd name="connsiteX0" fmla="*/ 35338 w 65722"/>
                <a:gd name="connsiteY0" fmla="*/ 88297 h 88582"/>
                <a:gd name="connsiteX1" fmla="*/ 16669 w 65722"/>
                <a:gd name="connsiteY1" fmla="*/ 84963 h 88582"/>
                <a:gd name="connsiteX2" fmla="*/ 0 w 65722"/>
                <a:gd name="connsiteY2" fmla="*/ 75819 h 88582"/>
                <a:gd name="connsiteX3" fmla="*/ 6477 w 65722"/>
                <a:gd name="connsiteY3" fmla="*/ 66770 h 88582"/>
                <a:gd name="connsiteX4" fmla="*/ 20955 w 65722"/>
                <a:gd name="connsiteY4" fmla="*/ 74867 h 88582"/>
                <a:gd name="connsiteX5" fmla="*/ 36004 w 65722"/>
                <a:gd name="connsiteY5" fmla="*/ 77629 h 88582"/>
                <a:gd name="connsiteX6" fmla="*/ 48673 w 65722"/>
                <a:gd name="connsiteY6" fmla="*/ 74009 h 88582"/>
                <a:gd name="connsiteX7" fmla="*/ 53626 w 65722"/>
                <a:gd name="connsiteY7" fmla="*/ 64103 h 88582"/>
                <a:gd name="connsiteX8" fmla="*/ 53626 w 65722"/>
                <a:gd name="connsiteY8" fmla="*/ 63818 h 88582"/>
                <a:gd name="connsiteX9" fmla="*/ 51911 w 65722"/>
                <a:gd name="connsiteY9" fmla="*/ 58388 h 88582"/>
                <a:gd name="connsiteX10" fmla="*/ 47244 w 65722"/>
                <a:gd name="connsiteY10" fmla="*/ 54388 h 88582"/>
                <a:gd name="connsiteX11" fmla="*/ 40386 w 65722"/>
                <a:gd name="connsiteY11" fmla="*/ 51340 h 88582"/>
                <a:gd name="connsiteX12" fmla="*/ 32385 w 65722"/>
                <a:gd name="connsiteY12" fmla="*/ 48863 h 88582"/>
                <a:gd name="connsiteX13" fmla="*/ 22384 w 65722"/>
                <a:gd name="connsiteY13" fmla="*/ 45625 h 88582"/>
                <a:gd name="connsiteX14" fmla="*/ 13335 w 65722"/>
                <a:gd name="connsiteY14" fmla="*/ 41243 h 88582"/>
                <a:gd name="connsiteX15" fmla="*/ 6763 w 65722"/>
                <a:gd name="connsiteY15" fmla="*/ 34671 h 88582"/>
                <a:gd name="connsiteX16" fmla="*/ 4191 w 65722"/>
                <a:gd name="connsiteY16" fmla="*/ 24765 h 88582"/>
                <a:gd name="connsiteX17" fmla="*/ 4191 w 65722"/>
                <a:gd name="connsiteY17" fmla="*/ 24384 h 88582"/>
                <a:gd name="connsiteX18" fmla="*/ 6286 w 65722"/>
                <a:gd name="connsiteY18" fmla="*/ 14383 h 88582"/>
                <a:gd name="connsiteX19" fmla="*/ 12287 w 65722"/>
                <a:gd name="connsiteY19" fmla="*/ 6668 h 88582"/>
                <a:gd name="connsiteX20" fmla="*/ 21526 w 65722"/>
                <a:gd name="connsiteY20" fmla="*/ 1715 h 88582"/>
                <a:gd name="connsiteX21" fmla="*/ 33147 w 65722"/>
                <a:gd name="connsiteY21" fmla="*/ 0 h 88582"/>
                <a:gd name="connsiteX22" fmla="*/ 49149 w 65722"/>
                <a:gd name="connsiteY22" fmla="*/ 2572 h 88582"/>
                <a:gd name="connsiteX23" fmla="*/ 63817 w 65722"/>
                <a:gd name="connsiteY23" fmla="*/ 9430 h 88582"/>
                <a:gd name="connsiteX24" fmla="*/ 58007 w 65722"/>
                <a:gd name="connsiteY24" fmla="*/ 18955 h 88582"/>
                <a:gd name="connsiteX25" fmla="*/ 45529 w 65722"/>
                <a:gd name="connsiteY25" fmla="*/ 12954 h 88582"/>
                <a:gd name="connsiteX26" fmla="*/ 32766 w 65722"/>
                <a:gd name="connsiteY26" fmla="*/ 10763 h 88582"/>
                <a:gd name="connsiteX27" fmla="*/ 20765 w 65722"/>
                <a:gd name="connsiteY27" fmla="*/ 14288 h 88582"/>
                <a:gd name="connsiteX28" fmla="*/ 16288 w 65722"/>
                <a:gd name="connsiteY28" fmla="*/ 23146 h 88582"/>
                <a:gd name="connsiteX29" fmla="*/ 16288 w 65722"/>
                <a:gd name="connsiteY29" fmla="*/ 23527 h 88582"/>
                <a:gd name="connsiteX30" fmla="*/ 18098 w 65722"/>
                <a:gd name="connsiteY30" fmla="*/ 28766 h 88582"/>
                <a:gd name="connsiteX31" fmla="*/ 22955 w 65722"/>
                <a:gd name="connsiteY31" fmla="*/ 32671 h 88582"/>
                <a:gd name="connsiteX32" fmla="*/ 30004 w 65722"/>
                <a:gd name="connsiteY32" fmla="*/ 35624 h 88582"/>
                <a:gd name="connsiteX33" fmla="*/ 38290 w 65722"/>
                <a:gd name="connsiteY33" fmla="*/ 38291 h 88582"/>
                <a:gd name="connsiteX34" fmla="*/ 48101 w 65722"/>
                <a:gd name="connsiteY34" fmla="*/ 41624 h 88582"/>
                <a:gd name="connsiteX35" fmla="*/ 56959 w 65722"/>
                <a:gd name="connsiteY35" fmla="*/ 46292 h 88582"/>
                <a:gd name="connsiteX36" fmla="*/ 63341 w 65722"/>
                <a:gd name="connsiteY36" fmla="*/ 53054 h 88582"/>
                <a:gd name="connsiteX37" fmla="*/ 65723 w 65722"/>
                <a:gd name="connsiteY37" fmla="*/ 62770 h 88582"/>
                <a:gd name="connsiteX38" fmla="*/ 65723 w 65722"/>
                <a:gd name="connsiteY38" fmla="*/ 63056 h 88582"/>
                <a:gd name="connsiteX39" fmla="*/ 63341 w 65722"/>
                <a:gd name="connsiteY39" fmla="*/ 73819 h 88582"/>
                <a:gd name="connsiteX40" fmla="*/ 56864 w 65722"/>
                <a:gd name="connsiteY40" fmla="*/ 81820 h 88582"/>
                <a:gd name="connsiteX41" fmla="*/ 47339 w 65722"/>
                <a:gd name="connsiteY41" fmla="*/ 86868 h 88582"/>
                <a:gd name="connsiteX42" fmla="*/ 35338 w 65722"/>
                <a:gd name="connsiteY42"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722" h="88582">
                  <a:moveTo>
                    <a:pt x="35338" y="88297"/>
                  </a:moveTo>
                  <a:cubicBezTo>
                    <a:pt x="29146" y="88297"/>
                    <a:pt x="22955" y="87154"/>
                    <a:pt x="16669" y="84963"/>
                  </a:cubicBezTo>
                  <a:cubicBezTo>
                    <a:pt x="10382" y="82677"/>
                    <a:pt x="4858" y="79629"/>
                    <a:pt x="0" y="75819"/>
                  </a:cubicBezTo>
                  <a:lnTo>
                    <a:pt x="6477" y="66770"/>
                  </a:lnTo>
                  <a:cubicBezTo>
                    <a:pt x="11144" y="70295"/>
                    <a:pt x="15907" y="72962"/>
                    <a:pt x="20955" y="74867"/>
                  </a:cubicBezTo>
                  <a:cubicBezTo>
                    <a:pt x="26003" y="76771"/>
                    <a:pt x="30956" y="77629"/>
                    <a:pt x="36004" y="77629"/>
                  </a:cubicBezTo>
                  <a:cubicBezTo>
                    <a:pt x="41053" y="77629"/>
                    <a:pt x="45434" y="76391"/>
                    <a:pt x="48673" y="74009"/>
                  </a:cubicBezTo>
                  <a:cubicBezTo>
                    <a:pt x="51911" y="71628"/>
                    <a:pt x="53626" y="68294"/>
                    <a:pt x="53626" y="64103"/>
                  </a:cubicBezTo>
                  <a:lnTo>
                    <a:pt x="53626" y="63818"/>
                  </a:lnTo>
                  <a:cubicBezTo>
                    <a:pt x="53626" y="61722"/>
                    <a:pt x="53054" y="59912"/>
                    <a:pt x="51911" y="58388"/>
                  </a:cubicBezTo>
                  <a:cubicBezTo>
                    <a:pt x="50768" y="56864"/>
                    <a:pt x="49149" y="55531"/>
                    <a:pt x="47244" y="54388"/>
                  </a:cubicBezTo>
                  <a:cubicBezTo>
                    <a:pt x="45244" y="53245"/>
                    <a:pt x="42958" y="52197"/>
                    <a:pt x="40386" y="51340"/>
                  </a:cubicBezTo>
                  <a:cubicBezTo>
                    <a:pt x="37814" y="50483"/>
                    <a:pt x="35147" y="49625"/>
                    <a:pt x="32385" y="48863"/>
                  </a:cubicBezTo>
                  <a:cubicBezTo>
                    <a:pt x="29051" y="47911"/>
                    <a:pt x="25717" y="46768"/>
                    <a:pt x="22384" y="45625"/>
                  </a:cubicBezTo>
                  <a:cubicBezTo>
                    <a:pt x="19050" y="44482"/>
                    <a:pt x="16002" y="43053"/>
                    <a:pt x="13335" y="41243"/>
                  </a:cubicBezTo>
                  <a:cubicBezTo>
                    <a:pt x="10668" y="39433"/>
                    <a:pt x="8477" y="37243"/>
                    <a:pt x="6763" y="34671"/>
                  </a:cubicBezTo>
                  <a:cubicBezTo>
                    <a:pt x="5048" y="32004"/>
                    <a:pt x="4191" y="28766"/>
                    <a:pt x="4191" y="24765"/>
                  </a:cubicBezTo>
                  <a:lnTo>
                    <a:pt x="4191" y="24384"/>
                  </a:lnTo>
                  <a:cubicBezTo>
                    <a:pt x="4191" y="20765"/>
                    <a:pt x="4953" y="17431"/>
                    <a:pt x="6286" y="14383"/>
                  </a:cubicBezTo>
                  <a:cubicBezTo>
                    <a:pt x="7715" y="11335"/>
                    <a:pt x="9715" y="8763"/>
                    <a:pt x="12287" y="6668"/>
                  </a:cubicBezTo>
                  <a:cubicBezTo>
                    <a:pt x="14859" y="4572"/>
                    <a:pt x="17907" y="2858"/>
                    <a:pt x="21526" y="1715"/>
                  </a:cubicBezTo>
                  <a:cubicBezTo>
                    <a:pt x="25146" y="571"/>
                    <a:pt x="28956" y="0"/>
                    <a:pt x="33147" y="0"/>
                  </a:cubicBezTo>
                  <a:cubicBezTo>
                    <a:pt x="38386" y="0"/>
                    <a:pt x="43815" y="857"/>
                    <a:pt x="49149" y="2572"/>
                  </a:cubicBezTo>
                  <a:cubicBezTo>
                    <a:pt x="54578" y="4286"/>
                    <a:pt x="59436" y="6572"/>
                    <a:pt x="63817" y="9430"/>
                  </a:cubicBezTo>
                  <a:lnTo>
                    <a:pt x="58007" y="18955"/>
                  </a:lnTo>
                  <a:cubicBezTo>
                    <a:pt x="54007" y="16383"/>
                    <a:pt x="49911" y="14383"/>
                    <a:pt x="45529" y="12954"/>
                  </a:cubicBezTo>
                  <a:cubicBezTo>
                    <a:pt x="41148" y="11430"/>
                    <a:pt x="36957" y="10763"/>
                    <a:pt x="32766" y="10763"/>
                  </a:cubicBezTo>
                  <a:cubicBezTo>
                    <a:pt x="27718" y="10763"/>
                    <a:pt x="23717" y="11906"/>
                    <a:pt x="20765" y="14288"/>
                  </a:cubicBezTo>
                  <a:cubicBezTo>
                    <a:pt x="17812" y="16669"/>
                    <a:pt x="16288" y="19621"/>
                    <a:pt x="16288" y="23146"/>
                  </a:cubicBezTo>
                  <a:lnTo>
                    <a:pt x="16288" y="23527"/>
                  </a:lnTo>
                  <a:cubicBezTo>
                    <a:pt x="16288" y="25527"/>
                    <a:pt x="16859" y="27242"/>
                    <a:pt x="18098" y="28766"/>
                  </a:cubicBezTo>
                  <a:cubicBezTo>
                    <a:pt x="19336" y="30290"/>
                    <a:pt x="20955" y="31528"/>
                    <a:pt x="22955" y="32671"/>
                  </a:cubicBezTo>
                  <a:cubicBezTo>
                    <a:pt x="24955" y="33814"/>
                    <a:pt x="27337" y="34766"/>
                    <a:pt x="30004" y="35624"/>
                  </a:cubicBezTo>
                  <a:cubicBezTo>
                    <a:pt x="32671" y="36481"/>
                    <a:pt x="35433" y="37338"/>
                    <a:pt x="38290" y="38291"/>
                  </a:cubicBezTo>
                  <a:cubicBezTo>
                    <a:pt x="41624" y="39243"/>
                    <a:pt x="44863" y="40386"/>
                    <a:pt x="48101" y="41624"/>
                  </a:cubicBezTo>
                  <a:cubicBezTo>
                    <a:pt x="51340" y="42863"/>
                    <a:pt x="54292" y="44387"/>
                    <a:pt x="56959" y="46292"/>
                  </a:cubicBezTo>
                  <a:cubicBezTo>
                    <a:pt x="59626" y="48196"/>
                    <a:pt x="61722" y="50387"/>
                    <a:pt x="63341" y="53054"/>
                  </a:cubicBezTo>
                  <a:cubicBezTo>
                    <a:pt x="64960" y="55721"/>
                    <a:pt x="65723" y="58960"/>
                    <a:pt x="65723" y="62770"/>
                  </a:cubicBezTo>
                  <a:lnTo>
                    <a:pt x="65723" y="63056"/>
                  </a:lnTo>
                  <a:cubicBezTo>
                    <a:pt x="65723" y="67151"/>
                    <a:pt x="64960" y="70771"/>
                    <a:pt x="63341" y="73819"/>
                  </a:cubicBezTo>
                  <a:cubicBezTo>
                    <a:pt x="61722" y="76962"/>
                    <a:pt x="59626" y="79629"/>
                    <a:pt x="56864" y="81820"/>
                  </a:cubicBezTo>
                  <a:cubicBezTo>
                    <a:pt x="54197" y="84011"/>
                    <a:pt x="50959" y="85725"/>
                    <a:pt x="47339" y="86868"/>
                  </a:cubicBezTo>
                  <a:cubicBezTo>
                    <a:pt x="43625" y="88011"/>
                    <a:pt x="39624" y="88583"/>
                    <a:pt x="35338" y="88583"/>
                  </a:cubicBezTo>
                  <a:close/>
                </a:path>
              </a:pathLst>
            </a:custGeom>
            <a:solidFill>
              <a:srgbClr val="43505E"/>
            </a:solidFill>
            <a:ln w="9525" cap="flat">
              <a:noFill/>
              <a:prstDash val="solid"/>
              <a:miter/>
            </a:ln>
          </p:spPr>
          <p:txBody>
            <a:bodyPr rtlCol="0" anchor="ctr"/>
            <a:lstStyle/>
            <a:p>
              <a:endParaRPr lang="pt-BR"/>
            </a:p>
          </p:txBody>
        </p:sp>
        <p:sp>
          <p:nvSpPr>
            <p:cNvPr id="84" name="Freeform: Shape 83">
              <a:extLst>
                <a:ext uri="{FF2B5EF4-FFF2-40B4-BE49-F238E27FC236}">
                  <a16:creationId xmlns:a16="http://schemas.microsoft.com/office/drawing/2014/main" id="{72B2C8F5-6D5B-BF21-E0AE-64B6BA111745}"/>
                </a:ext>
              </a:extLst>
            </p:cNvPr>
            <p:cNvSpPr/>
            <p:nvPr/>
          </p:nvSpPr>
          <p:spPr>
            <a:xfrm>
              <a:off x="1676844" y="4556791"/>
              <a:ext cx="86106" cy="113633"/>
            </a:xfrm>
            <a:custGeom>
              <a:avLst/>
              <a:gdLst>
                <a:gd name="connsiteX0" fmla="*/ 73438 w 86106"/>
                <a:gd name="connsiteY0" fmla="*/ 70009 h 113633"/>
                <a:gd name="connsiteX1" fmla="*/ 67532 w 86106"/>
                <a:gd name="connsiteY1" fmla="*/ 77248 h 113633"/>
                <a:gd name="connsiteX2" fmla="*/ 60389 w 86106"/>
                <a:gd name="connsiteY2" fmla="*/ 83344 h 113633"/>
                <a:gd name="connsiteX3" fmla="*/ 51530 w 86106"/>
                <a:gd name="connsiteY3" fmla="*/ 87439 h 113633"/>
                <a:gd name="connsiteX4" fmla="*/ 40767 w 86106"/>
                <a:gd name="connsiteY4" fmla="*/ 88963 h 113633"/>
                <a:gd name="connsiteX5" fmla="*/ 25718 w 86106"/>
                <a:gd name="connsiteY5" fmla="*/ 86011 h 113633"/>
                <a:gd name="connsiteX6" fmla="*/ 12668 w 86106"/>
                <a:gd name="connsiteY6" fmla="*/ 77343 h 113633"/>
                <a:gd name="connsiteX7" fmla="*/ 3429 w 86106"/>
                <a:gd name="connsiteY7" fmla="*/ 63436 h 113633"/>
                <a:gd name="connsiteX8" fmla="*/ 0 w 86106"/>
                <a:gd name="connsiteY8" fmla="*/ 44672 h 113633"/>
                <a:gd name="connsiteX9" fmla="*/ 0 w 86106"/>
                <a:gd name="connsiteY9" fmla="*/ 44386 h 113633"/>
                <a:gd name="connsiteX10" fmla="*/ 3429 w 86106"/>
                <a:gd name="connsiteY10" fmla="*/ 25717 h 113633"/>
                <a:gd name="connsiteX11" fmla="*/ 12668 w 86106"/>
                <a:gd name="connsiteY11" fmla="*/ 11811 h 113633"/>
                <a:gd name="connsiteX12" fmla="*/ 25718 w 86106"/>
                <a:gd name="connsiteY12" fmla="*/ 3048 h 113633"/>
                <a:gd name="connsiteX13" fmla="*/ 40767 w 86106"/>
                <a:gd name="connsiteY13" fmla="*/ 0 h 113633"/>
                <a:gd name="connsiteX14" fmla="*/ 51626 w 86106"/>
                <a:gd name="connsiteY14" fmla="*/ 1524 h 113633"/>
                <a:gd name="connsiteX15" fmla="*/ 60579 w 86106"/>
                <a:gd name="connsiteY15" fmla="*/ 5524 h 113633"/>
                <a:gd name="connsiteX16" fmla="*/ 67723 w 86106"/>
                <a:gd name="connsiteY16" fmla="*/ 11335 h 113633"/>
                <a:gd name="connsiteX17" fmla="*/ 73438 w 86106"/>
                <a:gd name="connsiteY17" fmla="*/ 18288 h 113633"/>
                <a:gd name="connsiteX18" fmla="*/ 73438 w 86106"/>
                <a:gd name="connsiteY18" fmla="*/ 1905 h 113633"/>
                <a:gd name="connsiteX19" fmla="*/ 86106 w 86106"/>
                <a:gd name="connsiteY19" fmla="*/ 1905 h 113633"/>
                <a:gd name="connsiteX20" fmla="*/ 86106 w 86106"/>
                <a:gd name="connsiteY20" fmla="*/ 113633 h 113633"/>
                <a:gd name="connsiteX21" fmla="*/ 73438 w 86106"/>
                <a:gd name="connsiteY21" fmla="*/ 113633 h 113633"/>
                <a:gd name="connsiteX22" fmla="*/ 73438 w 86106"/>
                <a:gd name="connsiteY22" fmla="*/ 70104 h 113633"/>
                <a:gd name="connsiteX23" fmla="*/ 43053 w 86106"/>
                <a:gd name="connsiteY23" fmla="*/ 77629 h 113633"/>
                <a:gd name="connsiteX24" fmla="*/ 54483 w 86106"/>
                <a:gd name="connsiteY24" fmla="*/ 75247 h 113633"/>
                <a:gd name="connsiteX25" fmla="*/ 64389 w 86106"/>
                <a:gd name="connsiteY25" fmla="*/ 68485 h 113633"/>
                <a:gd name="connsiteX26" fmla="*/ 71342 w 86106"/>
                <a:gd name="connsiteY26" fmla="*/ 58102 h 113633"/>
                <a:gd name="connsiteX27" fmla="*/ 73914 w 86106"/>
                <a:gd name="connsiteY27" fmla="*/ 44672 h 113633"/>
                <a:gd name="connsiteX28" fmla="*/ 73914 w 86106"/>
                <a:gd name="connsiteY28" fmla="*/ 44386 h 113633"/>
                <a:gd name="connsiteX29" fmla="*/ 71342 w 86106"/>
                <a:gd name="connsiteY29" fmla="*/ 30956 h 113633"/>
                <a:gd name="connsiteX30" fmla="*/ 64389 w 86106"/>
                <a:gd name="connsiteY30" fmla="*/ 20669 h 113633"/>
                <a:gd name="connsiteX31" fmla="*/ 54483 w 86106"/>
                <a:gd name="connsiteY31" fmla="*/ 14002 h 113633"/>
                <a:gd name="connsiteX32" fmla="*/ 43053 w 86106"/>
                <a:gd name="connsiteY32" fmla="*/ 11620 h 113633"/>
                <a:gd name="connsiteX33" fmla="*/ 31337 w 86106"/>
                <a:gd name="connsiteY33" fmla="*/ 13811 h 113633"/>
                <a:gd name="connsiteX34" fmla="*/ 21812 w 86106"/>
                <a:gd name="connsiteY34" fmla="*/ 20288 h 113633"/>
                <a:gd name="connsiteX35" fmla="*/ 15335 w 86106"/>
                <a:gd name="connsiteY35" fmla="*/ 30575 h 113633"/>
                <a:gd name="connsiteX36" fmla="*/ 12954 w 86106"/>
                <a:gd name="connsiteY36" fmla="*/ 44482 h 113633"/>
                <a:gd name="connsiteX37" fmla="*/ 12954 w 86106"/>
                <a:gd name="connsiteY37" fmla="*/ 44767 h 113633"/>
                <a:gd name="connsiteX38" fmla="*/ 15335 w 86106"/>
                <a:gd name="connsiteY38" fmla="*/ 58483 h 113633"/>
                <a:gd name="connsiteX39" fmla="*/ 21812 w 86106"/>
                <a:gd name="connsiteY39" fmla="*/ 68866 h 113633"/>
                <a:gd name="connsiteX40" fmla="*/ 31337 w 86106"/>
                <a:gd name="connsiteY40" fmla="*/ 75438 h 113633"/>
                <a:gd name="connsiteX41" fmla="*/ 42863 w 86106"/>
                <a:gd name="connsiteY41" fmla="*/ 77724 h 11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6106" h="113633">
                  <a:moveTo>
                    <a:pt x="73438" y="70009"/>
                  </a:moveTo>
                  <a:cubicBezTo>
                    <a:pt x="71723" y="72580"/>
                    <a:pt x="69723" y="74962"/>
                    <a:pt x="67532" y="77248"/>
                  </a:cubicBezTo>
                  <a:cubicBezTo>
                    <a:pt x="65437" y="79534"/>
                    <a:pt x="62960" y="81629"/>
                    <a:pt x="60389" y="83344"/>
                  </a:cubicBezTo>
                  <a:cubicBezTo>
                    <a:pt x="57722" y="85058"/>
                    <a:pt x="54769" y="86487"/>
                    <a:pt x="51530" y="87439"/>
                  </a:cubicBezTo>
                  <a:cubicBezTo>
                    <a:pt x="48292" y="88392"/>
                    <a:pt x="44672" y="88963"/>
                    <a:pt x="40767" y="88963"/>
                  </a:cubicBezTo>
                  <a:cubicBezTo>
                    <a:pt x="35624" y="88963"/>
                    <a:pt x="30575" y="88011"/>
                    <a:pt x="25718" y="86011"/>
                  </a:cubicBezTo>
                  <a:cubicBezTo>
                    <a:pt x="20860" y="84010"/>
                    <a:pt x="16574" y="81153"/>
                    <a:pt x="12668" y="77343"/>
                  </a:cubicBezTo>
                  <a:cubicBezTo>
                    <a:pt x="8763" y="73533"/>
                    <a:pt x="5715" y="68961"/>
                    <a:pt x="3429" y="63436"/>
                  </a:cubicBezTo>
                  <a:cubicBezTo>
                    <a:pt x="1143" y="58007"/>
                    <a:pt x="0" y="51721"/>
                    <a:pt x="0" y="44672"/>
                  </a:cubicBezTo>
                  <a:lnTo>
                    <a:pt x="0" y="44386"/>
                  </a:lnTo>
                  <a:cubicBezTo>
                    <a:pt x="0" y="37433"/>
                    <a:pt x="1143" y="31242"/>
                    <a:pt x="3429" y="25717"/>
                  </a:cubicBezTo>
                  <a:cubicBezTo>
                    <a:pt x="5715" y="20193"/>
                    <a:pt x="8858" y="15526"/>
                    <a:pt x="12668" y="11811"/>
                  </a:cubicBezTo>
                  <a:cubicBezTo>
                    <a:pt x="16478" y="8001"/>
                    <a:pt x="20860" y="5048"/>
                    <a:pt x="25718" y="3048"/>
                  </a:cubicBezTo>
                  <a:cubicBezTo>
                    <a:pt x="30575" y="1048"/>
                    <a:pt x="35528" y="0"/>
                    <a:pt x="40767" y="0"/>
                  </a:cubicBezTo>
                  <a:cubicBezTo>
                    <a:pt x="44768" y="0"/>
                    <a:pt x="48387" y="476"/>
                    <a:pt x="51626" y="1524"/>
                  </a:cubicBezTo>
                  <a:cubicBezTo>
                    <a:pt x="54959" y="2476"/>
                    <a:pt x="57912" y="3810"/>
                    <a:pt x="60579" y="5524"/>
                  </a:cubicBezTo>
                  <a:cubicBezTo>
                    <a:pt x="63246" y="7144"/>
                    <a:pt x="65627" y="9144"/>
                    <a:pt x="67723" y="11335"/>
                  </a:cubicBezTo>
                  <a:cubicBezTo>
                    <a:pt x="69914" y="13525"/>
                    <a:pt x="71723" y="15811"/>
                    <a:pt x="73438" y="18288"/>
                  </a:cubicBezTo>
                  <a:lnTo>
                    <a:pt x="73438" y="1905"/>
                  </a:lnTo>
                  <a:lnTo>
                    <a:pt x="86106" y="1905"/>
                  </a:lnTo>
                  <a:lnTo>
                    <a:pt x="86106" y="113633"/>
                  </a:lnTo>
                  <a:lnTo>
                    <a:pt x="73438" y="113633"/>
                  </a:lnTo>
                  <a:lnTo>
                    <a:pt x="73438" y="70104"/>
                  </a:lnTo>
                  <a:close/>
                  <a:moveTo>
                    <a:pt x="43053" y="77629"/>
                  </a:moveTo>
                  <a:cubicBezTo>
                    <a:pt x="47054" y="77629"/>
                    <a:pt x="50864" y="76867"/>
                    <a:pt x="54483" y="75247"/>
                  </a:cubicBezTo>
                  <a:cubicBezTo>
                    <a:pt x="58198" y="73628"/>
                    <a:pt x="61436" y="71438"/>
                    <a:pt x="64389" y="68485"/>
                  </a:cubicBezTo>
                  <a:cubicBezTo>
                    <a:pt x="67342" y="65532"/>
                    <a:pt x="69628" y="62103"/>
                    <a:pt x="71342" y="58102"/>
                  </a:cubicBezTo>
                  <a:cubicBezTo>
                    <a:pt x="73057" y="54102"/>
                    <a:pt x="73914" y="49625"/>
                    <a:pt x="73914" y="44672"/>
                  </a:cubicBezTo>
                  <a:lnTo>
                    <a:pt x="73914" y="44386"/>
                  </a:lnTo>
                  <a:cubicBezTo>
                    <a:pt x="73914" y="39433"/>
                    <a:pt x="73057" y="34957"/>
                    <a:pt x="71342" y="30956"/>
                  </a:cubicBezTo>
                  <a:cubicBezTo>
                    <a:pt x="69628" y="26956"/>
                    <a:pt x="67342" y="23527"/>
                    <a:pt x="64389" y="20669"/>
                  </a:cubicBezTo>
                  <a:cubicBezTo>
                    <a:pt x="61436" y="17812"/>
                    <a:pt x="58198" y="15621"/>
                    <a:pt x="54483" y="14002"/>
                  </a:cubicBezTo>
                  <a:cubicBezTo>
                    <a:pt x="50768" y="12382"/>
                    <a:pt x="46958" y="11620"/>
                    <a:pt x="43053" y="11620"/>
                  </a:cubicBezTo>
                  <a:cubicBezTo>
                    <a:pt x="38862" y="11620"/>
                    <a:pt x="34957" y="12382"/>
                    <a:pt x="31337" y="13811"/>
                  </a:cubicBezTo>
                  <a:cubicBezTo>
                    <a:pt x="27718" y="15335"/>
                    <a:pt x="24575" y="17431"/>
                    <a:pt x="21812" y="20288"/>
                  </a:cubicBezTo>
                  <a:cubicBezTo>
                    <a:pt x="19145" y="23050"/>
                    <a:pt x="16955" y="26575"/>
                    <a:pt x="15335" y="30575"/>
                  </a:cubicBezTo>
                  <a:cubicBezTo>
                    <a:pt x="13716" y="34671"/>
                    <a:pt x="12954" y="39243"/>
                    <a:pt x="12954" y="44482"/>
                  </a:cubicBezTo>
                  <a:lnTo>
                    <a:pt x="12954" y="44767"/>
                  </a:lnTo>
                  <a:cubicBezTo>
                    <a:pt x="12954" y="49816"/>
                    <a:pt x="13716" y="54388"/>
                    <a:pt x="15335" y="58483"/>
                  </a:cubicBezTo>
                  <a:cubicBezTo>
                    <a:pt x="16955" y="62579"/>
                    <a:pt x="19145" y="66008"/>
                    <a:pt x="21812" y="68866"/>
                  </a:cubicBezTo>
                  <a:cubicBezTo>
                    <a:pt x="24575" y="71723"/>
                    <a:pt x="27718" y="73914"/>
                    <a:pt x="31337" y="75438"/>
                  </a:cubicBezTo>
                  <a:cubicBezTo>
                    <a:pt x="34957" y="76962"/>
                    <a:pt x="38862" y="77724"/>
                    <a:pt x="42863" y="77724"/>
                  </a:cubicBezTo>
                  <a:close/>
                </a:path>
              </a:pathLst>
            </a:custGeom>
            <a:solidFill>
              <a:srgbClr val="43505E"/>
            </a:solidFill>
            <a:ln w="9525" cap="flat">
              <a:noFill/>
              <a:prstDash val="solid"/>
              <a:miter/>
            </a:ln>
          </p:spPr>
          <p:txBody>
            <a:bodyPr rtlCol="0" anchor="ctr"/>
            <a:lstStyle/>
            <a:p>
              <a:endParaRPr lang="pt-BR"/>
            </a:p>
          </p:txBody>
        </p:sp>
        <p:sp>
          <p:nvSpPr>
            <p:cNvPr id="85" name="Freeform: Shape 84">
              <a:extLst>
                <a:ext uri="{FF2B5EF4-FFF2-40B4-BE49-F238E27FC236}">
                  <a16:creationId xmlns:a16="http://schemas.microsoft.com/office/drawing/2014/main" id="{80A21F73-DFE9-1574-3015-2F9E02E171DB}"/>
                </a:ext>
              </a:extLst>
            </p:cNvPr>
            <p:cNvSpPr/>
            <p:nvPr/>
          </p:nvSpPr>
          <p:spPr>
            <a:xfrm>
              <a:off x="1790096" y="4558601"/>
              <a:ext cx="74485" cy="87153"/>
            </a:xfrm>
            <a:custGeom>
              <a:avLst/>
              <a:gdLst>
                <a:gd name="connsiteX0" fmla="*/ 32671 w 74485"/>
                <a:gd name="connsiteY0" fmla="*/ 87154 h 87153"/>
                <a:gd name="connsiteX1" fmla="*/ 18860 w 74485"/>
                <a:gd name="connsiteY1" fmla="*/ 84677 h 87153"/>
                <a:gd name="connsiteX2" fmla="*/ 8668 w 74485"/>
                <a:gd name="connsiteY2" fmla="*/ 77629 h 87153"/>
                <a:gd name="connsiteX3" fmla="*/ 2191 w 74485"/>
                <a:gd name="connsiteY3" fmla="*/ 66866 h 87153"/>
                <a:gd name="connsiteX4" fmla="*/ 0 w 74485"/>
                <a:gd name="connsiteY4" fmla="*/ 52959 h 87153"/>
                <a:gd name="connsiteX5" fmla="*/ 0 w 74485"/>
                <a:gd name="connsiteY5" fmla="*/ 0 h 87153"/>
                <a:gd name="connsiteX6" fmla="*/ 12668 w 74485"/>
                <a:gd name="connsiteY6" fmla="*/ 0 h 87153"/>
                <a:gd name="connsiteX7" fmla="*/ 12668 w 74485"/>
                <a:gd name="connsiteY7" fmla="*/ 49721 h 87153"/>
                <a:gd name="connsiteX8" fmla="*/ 18764 w 74485"/>
                <a:gd name="connsiteY8" fmla="*/ 68485 h 87153"/>
                <a:gd name="connsiteX9" fmla="*/ 36290 w 74485"/>
                <a:gd name="connsiteY9" fmla="*/ 75438 h 87153"/>
                <a:gd name="connsiteX10" fmla="*/ 46482 w 74485"/>
                <a:gd name="connsiteY10" fmla="*/ 73533 h 87153"/>
                <a:gd name="connsiteX11" fmla="*/ 54578 w 74485"/>
                <a:gd name="connsiteY11" fmla="*/ 68104 h 87153"/>
                <a:gd name="connsiteX12" fmla="*/ 59912 w 74485"/>
                <a:gd name="connsiteY12" fmla="*/ 59627 h 87153"/>
                <a:gd name="connsiteX13" fmla="*/ 61913 w 74485"/>
                <a:gd name="connsiteY13" fmla="*/ 48768 h 87153"/>
                <a:gd name="connsiteX14" fmla="*/ 61913 w 74485"/>
                <a:gd name="connsiteY14" fmla="*/ 0 h 87153"/>
                <a:gd name="connsiteX15" fmla="*/ 74486 w 74485"/>
                <a:gd name="connsiteY15" fmla="*/ 0 h 87153"/>
                <a:gd name="connsiteX16" fmla="*/ 74486 w 74485"/>
                <a:gd name="connsiteY16" fmla="*/ 85344 h 87153"/>
                <a:gd name="connsiteX17" fmla="*/ 61913 w 74485"/>
                <a:gd name="connsiteY17" fmla="*/ 85344 h 87153"/>
                <a:gd name="connsiteX18" fmla="*/ 61913 w 74485"/>
                <a:gd name="connsiteY18" fmla="*/ 70485 h 87153"/>
                <a:gd name="connsiteX19" fmla="*/ 50673 w 74485"/>
                <a:gd name="connsiteY19" fmla="*/ 82296 h 87153"/>
                <a:gd name="connsiteX20" fmla="*/ 32671 w 74485"/>
                <a:gd name="connsiteY20" fmla="*/ 87154 h 87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485" h="87153">
                  <a:moveTo>
                    <a:pt x="32671" y="87154"/>
                  </a:moveTo>
                  <a:cubicBezTo>
                    <a:pt x="27527" y="87154"/>
                    <a:pt x="22860" y="86297"/>
                    <a:pt x="18860" y="84677"/>
                  </a:cubicBezTo>
                  <a:cubicBezTo>
                    <a:pt x="14859" y="83058"/>
                    <a:pt x="11430" y="80677"/>
                    <a:pt x="8668" y="77629"/>
                  </a:cubicBezTo>
                  <a:cubicBezTo>
                    <a:pt x="5906" y="74581"/>
                    <a:pt x="3715" y="70961"/>
                    <a:pt x="2191" y="66866"/>
                  </a:cubicBezTo>
                  <a:cubicBezTo>
                    <a:pt x="667" y="62675"/>
                    <a:pt x="0" y="58103"/>
                    <a:pt x="0" y="52959"/>
                  </a:cubicBezTo>
                  <a:lnTo>
                    <a:pt x="0" y="0"/>
                  </a:lnTo>
                  <a:lnTo>
                    <a:pt x="12668" y="0"/>
                  </a:lnTo>
                  <a:lnTo>
                    <a:pt x="12668" y="49721"/>
                  </a:lnTo>
                  <a:cubicBezTo>
                    <a:pt x="12668" y="57626"/>
                    <a:pt x="14669" y="63913"/>
                    <a:pt x="18764" y="68485"/>
                  </a:cubicBezTo>
                  <a:cubicBezTo>
                    <a:pt x="22860" y="73057"/>
                    <a:pt x="28670" y="75438"/>
                    <a:pt x="36290" y="75438"/>
                  </a:cubicBezTo>
                  <a:cubicBezTo>
                    <a:pt x="39910" y="75438"/>
                    <a:pt x="43339" y="74771"/>
                    <a:pt x="46482" y="73533"/>
                  </a:cubicBezTo>
                  <a:cubicBezTo>
                    <a:pt x="49625" y="72295"/>
                    <a:pt x="52292" y="70485"/>
                    <a:pt x="54578" y="68104"/>
                  </a:cubicBezTo>
                  <a:cubicBezTo>
                    <a:pt x="56864" y="65723"/>
                    <a:pt x="58579" y="62960"/>
                    <a:pt x="59912" y="59627"/>
                  </a:cubicBezTo>
                  <a:cubicBezTo>
                    <a:pt x="61246" y="56293"/>
                    <a:pt x="61913" y="52673"/>
                    <a:pt x="61913" y="48768"/>
                  </a:cubicBezTo>
                  <a:lnTo>
                    <a:pt x="61913" y="0"/>
                  </a:lnTo>
                  <a:lnTo>
                    <a:pt x="74486" y="0"/>
                  </a:lnTo>
                  <a:lnTo>
                    <a:pt x="74486" y="85344"/>
                  </a:lnTo>
                  <a:lnTo>
                    <a:pt x="61913" y="85344"/>
                  </a:lnTo>
                  <a:lnTo>
                    <a:pt x="61913" y="70485"/>
                  </a:lnTo>
                  <a:cubicBezTo>
                    <a:pt x="59055" y="75152"/>
                    <a:pt x="55340" y="79058"/>
                    <a:pt x="50673" y="82296"/>
                  </a:cubicBezTo>
                  <a:cubicBezTo>
                    <a:pt x="46006" y="85535"/>
                    <a:pt x="40100" y="87154"/>
                    <a:pt x="32671" y="87154"/>
                  </a:cubicBezTo>
                  <a:close/>
                </a:path>
              </a:pathLst>
            </a:custGeom>
            <a:solidFill>
              <a:srgbClr val="43505E"/>
            </a:solidFill>
            <a:ln w="9525" cap="flat">
              <a:noFill/>
              <a:prstDash val="solid"/>
              <a:miter/>
            </a:ln>
          </p:spPr>
          <p:txBody>
            <a:bodyPr rtlCol="0" anchor="ctr"/>
            <a:lstStyle/>
            <a:p>
              <a:endParaRPr lang="pt-BR"/>
            </a:p>
          </p:txBody>
        </p:sp>
        <p:sp>
          <p:nvSpPr>
            <p:cNvPr id="86" name="Freeform: Shape 85">
              <a:extLst>
                <a:ext uri="{FF2B5EF4-FFF2-40B4-BE49-F238E27FC236}">
                  <a16:creationId xmlns:a16="http://schemas.microsoft.com/office/drawing/2014/main" id="{70BF5A03-B12E-52EA-0CF9-131EFCFF3AC2}"/>
                </a:ext>
              </a:extLst>
            </p:cNvPr>
            <p:cNvSpPr/>
            <p:nvPr/>
          </p:nvSpPr>
          <p:spPr>
            <a:xfrm>
              <a:off x="1887727" y="4556887"/>
              <a:ext cx="80676" cy="89154"/>
            </a:xfrm>
            <a:custGeom>
              <a:avLst/>
              <a:gdLst>
                <a:gd name="connsiteX0" fmla="*/ 12859 w 80676"/>
                <a:gd name="connsiteY0" fmla="*/ 49625 h 89154"/>
                <a:gd name="connsiteX1" fmla="*/ 16193 w 80676"/>
                <a:gd name="connsiteY1" fmla="*/ 61722 h 89154"/>
                <a:gd name="connsiteX2" fmla="*/ 22955 w 80676"/>
                <a:gd name="connsiteY2" fmla="*/ 70675 h 89154"/>
                <a:gd name="connsiteX3" fmla="*/ 32195 w 80676"/>
                <a:gd name="connsiteY3" fmla="*/ 76200 h 89154"/>
                <a:gd name="connsiteX4" fmla="*/ 42958 w 80676"/>
                <a:gd name="connsiteY4" fmla="*/ 78105 h 89154"/>
                <a:gd name="connsiteX5" fmla="*/ 58198 w 80676"/>
                <a:gd name="connsiteY5" fmla="*/ 74771 h 89154"/>
                <a:gd name="connsiteX6" fmla="*/ 69818 w 80676"/>
                <a:gd name="connsiteY6" fmla="*/ 66008 h 89154"/>
                <a:gd name="connsiteX7" fmla="*/ 77724 w 80676"/>
                <a:gd name="connsiteY7" fmla="*/ 73152 h 89154"/>
                <a:gd name="connsiteX8" fmla="*/ 63056 w 80676"/>
                <a:gd name="connsiteY8" fmla="*/ 84772 h 89154"/>
                <a:gd name="connsiteX9" fmla="*/ 42577 w 80676"/>
                <a:gd name="connsiteY9" fmla="*/ 89154 h 89154"/>
                <a:gd name="connsiteX10" fmla="*/ 26099 w 80676"/>
                <a:gd name="connsiteY10" fmla="*/ 85916 h 89154"/>
                <a:gd name="connsiteX11" fmla="*/ 12573 w 80676"/>
                <a:gd name="connsiteY11" fmla="*/ 76867 h 89154"/>
                <a:gd name="connsiteX12" fmla="*/ 3429 w 80676"/>
                <a:gd name="connsiteY12" fmla="*/ 62770 h 89154"/>
                <a:gd name="connsiteX13" fmla="*/ 0 w 80676"/>
                <a:gd name="connsiteY13" fmla="*/ 44577 h 89154"/>
                <a:gd name="connsiteX14" fmla="*/ 3048 w 80676"/>
                <a:gd name="connsiteY14" fmla="*/ 27146 h 89154"/>
                <a:gd name="connsiteX15" fmla="*/ 11525 w 80676"/>
                <a:gd name="connsiteY15" fmla="*/ 12954 h 89154"/>
                <a:gd name="connsiteX16" fmla="*/ 24479 w 80676"/>
                <a:gd name="connsiteY16" fmla="*/ 3429 h 89154"/>
                <a:gd name="connsiteX17" fmla="*/ 40862 w 80676"/>
                <a:gd name="connsiteY17" fmla="*/ 0 h 89154"/>
                <a:gd name="connsiteX18" fmla="*/ 57722 w 80676"/>
                <a:gd name="connsiteY18" fmla="*/ 3524 h 89154"/>
                <a:gd name="connsiteX19" fmla="*/ 70295 w 80676"/>
                <a:gd name="connsiteY19" fmla="*/ 13145 h 89154"/>
                <a:gd name="connsiteX20" fmla="*/ 78010 w 80676"/>
                <a:gd name="connsiteY20" fmla="*/ 27527 h 89154"/>
                <a:gd name="connsiteX21" fmla="*/ 80677 w 80676"/>
                <a:gd name="connsiteY21" fmla="*/ 45149 h 89154"/>
                <a:gd name="connsiteX22" fmla="*/ 80677 w 80676"/>
                <a:gd name="connsiteY22" fmla="*/ 47054 h 89154"/>
                <a:gd name="connsiteX23" fmla="*/ 80486 w 80676"/>
                <a:gd name="connsiteY23" fmla="*/ 49625 h 89154"/>
                <a:gd name="connsiteX24" fmla="*/ 12859 w 80676"/>
                <a:gd name="connsiteY24" fmla="*/ 49625 h 89154"/>
                <a:gd name="connsiteX25" fmla="*/ 67818 w 80676"/>
                <a:gd name="connsiteY25" fmla="*/ 39243 h 89154"/>
                <a:gd name="connsiteX26" fmla="*/ 65342 w 80676"/>
                <a:gd name="connsiteY26" fmla="*/ 28289 h 89154"/>
                <a:gd name="connsiteX27" fmla="*/ 60008 w 80676"/>
                <a:gd name="connsiteY27" fmla="*/ 19145 h 89154"/>
                <a:gd name="connsiteX28" fmla="*/ 51721 w 80676"/>
                <a:gd name="connsiteY28" fmla="*/ 12859 h 89154"/>
                <a:gd name="connsiteX29" fmla="*/ 40577 w 80676"/>
                <a:gd name="connsiteY29" fmla="*/ 10573 h 89154"/>
                <a:gd name="connsiteX30" fmla="*/ 30290 w 80676"/>
                <a:gd name="connsiteY30" fmla="*/ 12668 h 89154"/>
                <a:gd name="connsiteX31" fmla="*/ 21908 w 80676"/>
                <a:gd name="connsiteY31" fmla="*/ 18669 h 89154"/>
                <a:gd name="connsiteX32" fmla="*/ 15907 w 80676"/>
                <a:gd name="connsiteY32" fmla="*/ 27813 h 89154"/>
                <a:gd name="connsiteX33" fmla="*/ 12859 w 80676"/>
                <a:gd name="connsiteY33" fmla="*/ 39148 h 89154"/>
                <a:gd name="connsiteX34" fmla="*/ 67818 w 80676"/>
                <a:gd name="connsiteY34" fmla="*/ 39148 h 8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0676" h="89154">
                  <a:moveTo>
                    <a:pt x="12859" y="49625"/>
                  </a:moveTo>
                  <a:cubicBezTo>
                    <a:pt x="13335" y="54102"/>
                    <a:pt x="14383" y="58198"/>
                    <a:pt x="16193" y="61722"/>
                  </a:cubicBezTo>
                  <a:cubicBezTo>
                    <a:pt x="17907" y="65246"/>
                    <a:pt x="20193" y="68199"/>
                    <a:pt x="22955" y="70675"/>
                  </a:cubicBezTo>
                  <a:cubicBezTo>
                    <a:pt x="25718" y="73152"/>
                    <a:pt x="28766" y="74962"/>
                    <a:pt x="32195" y="76200"/>
                  </a:cubicBezTo>
                  <a:cubicBezTo>
                    <a:pt x="35624" y="77438"/>
                    <a:pt x="39148" y="78105"/>
                    <a:pt x="42958" y="78105"/>
                  </a:cubicBezTo>
                  <a:cubicBezTo>
                    <a:pt x="48863" y="78105"/>
                    <a:pt x="54007" y="76962"/>
                    <a:pt x="58198" y="74771"/>
                  </a:cubicBezTo>
                  <a:cubicBezTo>
                    <a:pt x="62389" y="72580"/>
                    <a:pt x="66294" y="69628"/>
                    <a:pt x="69818" y="66008"/>
                  </a:cubicBezTo>
                  <a:lnTo>
                    <a:pt x="77724" y="73152"/>
                  </a:lnTo>
                  <a:cubicBezTo>
                    <a:pt x="73438" y="78010"/>
                    <a:pt x="68580" y="81915"/>
                    <a:pt x="63056" y="84772"/>
                  </a:cubicBezTo>
                  <a:cubicBezTo>
                    <a:pt x="57531" y="87725"/>
                    <a:pt x="50768" y="89154"/>
                    <a:pt x="42577" y="89154"/>
                  </a:cubicBezTo>
                  <a:cubicBezTo>
                    <a:pt x="36767" y="89154"/>
                    <a:pt x="31242" y="88106"/>
                    <a:pt x="26099" y="85916"/>
                  </a:cubicBezTo>
                  <a:cubicBezTo>
                    <a:pt x="20955" y="83725"/>
                    <a:pt x="16383" y="80772"/>
                    <a:pt x="12573" y="76867"/>
                  </a:cubicBezTo>
                  <a:cubicBezTo>
                    <a:pt x="8763" y="72962"/>
                    <a:pt x="5715" y="68294"/>
                    <a:pt x="3429" y="62770"/>
                  </a:cubicBezTo>
                  <a:cubicBezTo>
                    <a:pt x="1143" y="57245"/>
                    <a:pt x="0" y="51245"/>
                    <a:pt x="0" y="44577"/>
                  </a:cubicBezTo>
                  <a:cubicBezTo>
                    <a:pt x="0" y="38386"/>
                    <a:pt x="1048" y="32575"/>
                    <a:pt x="3048" y="27146"/>
                  </a:cubicBezTo>
                  <a:cubicBezTo>
                    <a:pt x="5048" y="21717"/>
                    <a:pt x="7906" y="16954"/>
                    <a:pt x="11525" y="12954"/>
                  </a:cubicBezTo>
                  <a:cubicBezTo>
                    <a:pt x="15145" y="8954"/>
                    <a:pt x="19431" y="5810"/>
                    <a:pt x="24479" y="3429"/>
                  </a:cubicBezTo>
                  <a:cubicBezTo>
                    <a:pt x="29528" y="1143"/>
                    <a:pt x="34957" y="0"/>
                    <a:pt x="40862" y="0"/>
                  </a:cubicBezTo>
                  <a:cubicBezTo>
                    <a:pt x="47149" y="0"/>
                    <a:pt x="52769" y="1143"/>
                    <a:pt x="57722" y="3524"/>
                  </a:cubicBezTo>
                  <a:cubicBezTo>
                    <a:pt x="62675" y="5905"/>
                    <a:pt x="66866" y="9144"/>
                    <a:pt x="70295" y="13145"/>
                  </a:cubicBezTo>
                  <a:cubicBezTo>
                    <a:pt x="73724" y="17240"/>
                    <a:pt x="76295" y="22003"/>
                    <a:pt x="78010" y="27527"/>
                  </a:cubicBezTo>
                  <a:cubicBezTo>
                    <a:pt x="79724" y="33052"/>
                    <a:pt x="80677" y="38957"/>
                    <a:pt x="80677" y="45149"/>
                  </a:cubicBezTo>
                  <a:lnTo>
                    <a:pt x="80677" y="47054"/>
                  </a:lnTo>
                  <a:cubicBezTo>
                    <a:pt x="80677" y="47816"/>
                    <a:pt x="80677" y="48673"/>
                    <a:pt x="80486" y="49625"/>
                  </a:cubicBezTo>
                  <a:lnTo>
                    <a:pt x="12859" y="49625"/>
                  </a:lnTo>
                  <a:close/>
                  <a:moveTo>
                    <a:pt x="67818" y="39243"/>
                  </a:moveTo>
                  <a:cubicBezTo>
                    <a:pt x="67532" y="35433"/>
                    <a:pt x="66675" y="31813"/>
                    <a:pt x="65342" y="28289"/>
                  </a:cubicBezTo>
                  <a:cubicBezTo>
                    <a:pt x="64008" y="24860"/>
                    <a:pt x="62198" y="21812"/>
                    <a:pt x="60008" y="19145"/>
                  </a:cubicBezTo>
                  <a:cubicBezTo>
                    <a:pt x="57722" y="16478"/>
                    <a:pt x="54959" y="14478"/>
                    <a:pt x="51721" y="12859"/>
                  </a:cubicBezTo>
                  <a:cubicBezTo>
                    <a:pt x="48482" y="11335"/>
                    <a:pt x="44768" y="10573"/>
                    <a:pt x="40577" y="10573"/>
                  </a:cubicBezTo>
                  <a:cubicBezTo>
                    <a:pt x="36957" y="10573"/>
                    <a:pt x="33528" y="11335"/>
                    <a:pt x="30290" y="12668"/>
                  </a:cubicBezTo>
                  <a:cubicBezTo>
                    <a:pt x="27146" y="14097"/>
                    <a:pt x="24289" y="16097"/>
                    <a:pt x="21908" y="18669"/>
                  </a:cubicBezTo>
                  <a:cubicBezTo>
                    <a:pt x="19526" y="21241"/>
                    <a:pt x="17431" y="24289"/>
                    <a:pt x="15907" y="27813"/>
                  </a:cubicBezTo>
                  <a:cubicBezTo>
                    <a:pt x="14288" y="31337"/>
                    <a:pt x="13335" y="35052"/>
                    <a:pt x="12859" y="39148"/>
                  </a:cubicBezTo>
                  <a:lnTo>
                    <a:pt x="67818" y="39148"/>
                  </a:lnTo>
                  <a:close/>
                </a:path>
              </a:pathLst>
            </a:custGeom>
            <a:solidFill>
              <a:srgbClr val="43505E"/>
            </a:solidFill>
            <a:ln w="9525" cap="flat">
              <a:noFill/>
              <a:prstDash val="solid"/>
              <a:miter/>
            </a:ln>
          </p:spPr>
          <p:txBody>
            <a:bodyPr rtlCol="0" anchor="ctr"/>
            <a:lstStyle/>
            <a:p>
              <a:endParaRPr lang="pt-BR"/>
            </a:p>
          </p:txBody>
        </p:sp>
        <p:sp>
          <p:nvSpPr>
            <p:cNvPr id="87" name="Freeform: Shape 86">
              <a:extLst>
                <a:ext uri="{FF2B5EF4-FFF2-40B4-BE49-F238E27FC236}">
                  <a16:creationId xmlns:a16="http://schemas.microsoft.com/office/drawing/2014/main" id="{12431CA7-9A7A-6944-300F-E31B2071FE34}"/>
                </a:ext>
              </a:extLst>
            </p:cNvPr>
            <p:cNvSpPr/>
            <p:nvPr/>
          </p:nvSpPr>
          <p:spPr>
            <a:xfrm>
              <a:off x="2033174" y="4557267"/>
              <a:ext cx="65912" cy="88582"/>
            </a:xfrm>
            <a:custGeom>
              <a:avLst/>
              <a:gdLst>
                <a:gd name="connsiteX0" fmla="*/ 35338 w 65912"/>
                <a:gd name="connsiteY0" fmla="*/ 88297 h 88582"/>
                <a:gd name="connsiteX1" fmla="*/ 16669 w 65912"/>
                <a:gd name="connsiteY1" fmla="*/ 84963 h 88582"/>
                <a:gd name="connsiteX2" fmla="*/ 0 w 65912"/>
                <a:gd name="connsiteY2" fmla="*/ 75819 h 88582"/>
                <a:gd name="connsiteX3" fmla="*/ 6477 w 65912"/>
                <a:gd name="connsiteY3" fmla="*/ 66770 h 88582"/>
                <a:gd name="connsiteX4" fmla="*/ 20955 w 65912"/>
                <a:gd name="connsiteY4" fmla="*/ 74867 h 88582"/>
                <a:gd name="connsiteX5" fmla="*/ 36100 w 65912"/>
                <a:gd name="connsiteY5" fmla="*/ 77629 h 88582"/>
                <a:gd name="connsiteX6" fmla="*/ 48768 w 65912"/>
                <a:gd name="connsiteY6" fmla="*/ 74009 h 88582"/>
                <a:gd name="connsiteX7" fmla="*/ 53721 w 65912"/>
                <a:gd name="connsiteY7" fmla="*/ 64103 h 88582"/>
                <a:gd name="connsiteX8" fmla="*/ 53721 w 65912"/>
                <a:gd name="connsiteY8" fmla="*/ 63818 h 88582"/>
                <a:gd name="connsiteX9" fmla="*/ 52006 w 65912"/>
                <a:gd name="connsiteY9" fmla="*/ 58388 h 88582"/>
                <a:gd name="connsiteX10" fmla="*/ 47339 w 65912"/>
                <a:gd name="connsiteY10" fmla="*/ 54388 h 88582"/>
                <a:gd name="connsiteX11" fmla="*/ 40481 w 65912"/>
                <a:gd name="connsiteY11" fmla="*/ 51340 h 88582"/>
                <a:gd name="connsiteX12" fmla="*/ 32480 w 65912"/>
                <a:gd name="connsiteY12" fmla="*/ 48863 h 88582"/>
                <a:gd name="connsiteX13" fmla="*/ 22479 w 65912"/>
                <a:gd name="connsiteY13" fmla="*/ 45625 h 88582"/>
                <a:gd name="connsiteX14" fmla="*/ 13430 w 65912"/>
                <a:gd name="connsiteY14" fmla="*/ 41243 h 88582"/>
                <a:gd name="connsiteX15" fmla="*/ 6858 w 65912"/>
                <a:gd name="connsiteY15" fmla="*/ 34671 h 88582"/>
                <a:gd name="connsiteX16" fmla="*/ 4286 w 65912"/>
                <a:gd name="connsiteY16" fmla="*/ 24765 h 88582"/>
                <a:gd name="connsiteX17" fmla="*/ 4286 w 65912"/>
                <a:gd name="connsiteY17" fmla="*/ 24384 h 88582"/>
                <a:gd name="connsiteX18" fmla="*/ 6477 w 65912"/>
                <a:gd name="connsiteY18" fmla="*/ 14383 h 88582"/>
                <a:gd name="connsiteX19" fmla="*/ 12478 w 65912"/>
                <a:gd name="connsiteY19" fmla="*/ 6668 h 88582"/>
                <a:gd name="connsiteX20" fmla="*/ 21717 w 65912"/>
                <a:gd name="connsiteY20" fmla="*/ 1715 h 88582"/>
                <a:gd name="connsiteX21" fmla="*/ 33338 w 65912"/>
                <a:gd name="connsiteY21" fmla="*/ 0 h 88582"/>
                <a:gd name="connsiteX22" fmla="*/ 49340 w 65912"/>
                <a:gd name="connsiteY22" fmla="*/ 2572 h 88582"/>
                <a:gd name="connsiteX23" fmla="*/ 64008 w 65912"/>
                <a:gd name="connsiteY23" fmla="*/ 9430 h 88582"/>
                <a:gd name="connsiteX24" fmla="*/ 58198 w 65912"/>
                <a:gd name="connsiteY24" fmla="*/ 18955 h 88582"/>
                <a:gd name="connsiteX25" fmla="*/ 45720 w 65912"/>
                <a:gd name="connsiteY25" fmla="*/ 12954 h 88582"/>
                <a:gd name="connsiteX26" fmla="*/ 32956 w 65912"/>
                <a:gd name="connsiteY26" fmla="*/ 10763 h 88582"/>
                <a:gd name="connsiteX27" fmla="*/ 20955 w 65912"/>
                <a:gd name="connsiteY27" fmla="*/ 14288 h 88582"/>
                <a:gd name="connsiteX28" fmla="*/ 16478 w 65912"/>
                <a:gd name="connsiteY28" fmla="*/ 23146 h 88582"/>
                <a:gd name="connsiteX29" fmla="*/ 16478 w 65912"/>
                <a:gd name="connsiteY29" fmla="*/ 23527 h 88582"/>
                <a:gd name="connsiteX30" fmla="*/ 18288 w 65912"/>
                <a:gd name="connsiteY30" fmla="*/ 28766 h 88582"/>
                <a:gd name="connsiteX31" fmla="*/ 23146 w 65912"/>
                <a:gd name="connsiteY31" fmla="*/ 32671 h 88582"/>
                <a:gd name="connsiteX32" fmla="*/ 30194 w 65912"/>
                <a:gd name="connsiteY32" fmla="*/ 35624 h 88582"/>
                <a:gd name="connsiteX33" fmla="*/ 38481 w 65912"/>
                <a:gd name="connsiteY33" fmla="*/ 38291 h 88582"/>
                <a:gd name="connsiteX34" fmla="*/ 48292 w 65912"/>
                <a:gd name="connsiteY34" fmla="*/ 41624 h 88582"/>
                <a:gd name="connsiteX35" fmla="*/ 57150 w 65912"/>
                <a:gd name="connsiteY35" fmla="*/ 46292 h 88582"/>
                <a:gd name="connsiteX36" fmla="*/ 63532 w 65912"/>
                <a:gd name="connsiteY36" fmla="*/ 53054 h 88582"/>
                <a:gd name="connsiteX37" fmla="*/ 65913 w 65912"/>
                <a:gd name="connsiteY37" fmla="*/ 62770 h 88582"/>
                <a:gd name="connsiteX38" fmla="*/ 65913 w 65912"/>
                <a:gd name="connsiteY38" fmla="*/ 63056 h 88582"/>
                <a:gd name="connsiteX39" fmla="*/ 63532 w 65912"/>
                <a:gd name="connsiteY39" fmla="*/ 73819 h 88582"/>
                <a:gd name="connsiteX40" fmla="*/ 57055 w 65912"/>
                <a:gd name="connsiteY40" fmla="*/ 81820 h 88582"/>
                <a:gd name="connsiteX41" fmla="*/ 47530 w 65912"/>
                <a:gd name="connsiteY41" fmla="*/ 86868 h 88582"/>
                <a:gd name="connsiteX42" fmla="*/ 35528 w 65912"/>
                <a:gd name="connsiteY42"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912" h="88582">
                  <a:moveTo>
                    <a:pt x="35338" y="88297"/>
                  </a:moveTo>
                  <a:cubicBezTo>
                    <a:pt x="29146" y="88297"/>
                    <a:pt x="22955" y="87154"/>
                    <a:pt x="16669" y="84963"/>
                  </a:cubicBezTo>
                  <a:cubicBezTo>
                    <a:pt x="10382" y="82677"/>
                    <a:pt x="4858" y="79629"/>
                    <a:pt x="0" y="75819"/>
                  </a:cubicBezTo>
                  <a:lnTo>
                    <a:pt x="6477" y="66770"/>
                  </a:lnTo>
                  <a:cubicBezTo>
                    <a:pt x="11049" y="70295"/>
                    <a:pt x="15907" y="72962"/>
                    <a:pt x="20955" y="74867"/>
                  </a:cubicBezTo>
                  <a:cubicBezTo>
                    <a:pt x="26003" y="76771"/>
                    <a:pt x="30956" y="77629"/>
                    <a:pt x="36100" y="77629"/>
                  </a:cubicBezTo>
                  <a:cubicBezTo>
                    <a:pt x="41243" y="77629"/>
                    <a:pt x="45529" y="76391"/>
                    <a:pt x="48768" y="74009"/>
                  </a:cubicBezTo>
                  <a:cubicBezTo>
                    <a:pt x="52006" y="71628"/>
                    <a:pt x="53721" y="68294"/>
                    <a:pt x="53721" y="64103"/>
                  </a:cubicBezTo>
                  <a:lnTo>
                    <a:pt x="53721" y="63818"/>
                  </a:lnTo>
                  <a:cubicBezTo>
                    <a:pt x="53721" y="61722"/>
                    <a:pt x="53150" y="59912"/>
                    <a:pt x="52006" y="58388"/>
                  </a:cubicBezTo>
                  <a:cubicBezTo>
                    <a:pt x="50863" y="56864"/>
                    <a:pt x="49244" y="55531"/>
                    <a:pt x="47339" y="54388"/>
                  </a:cubicBezTo>
                  <a:cubicBezTo>
                    <a:pt x="45339" y="53245"/>
                    <a:pt x="43053" y="52197"/>
                    <a:pt x="40481" y="51340"/>
                  </a:cubicBezTo>
                  <a:cubicBezTo>
                    <a:pt x="37909" y="50483"/>
                    <a:pt x="35242" y="49625"/>
                    <a:pt x="32480" y="48863"/>
                  </a:cubicBezTo>
                  <a:cubicBezTo>
                    <a:pt x="29146" y="47911"/>
                    <a:pt x="25813" y="46768"/>
                    <a:pt x="22479" y="45625"/>
                  </a:cubicBezTo>
                  <a:cubicBezTo>
                    <a:pt x="19145" y="44482"/>
                    <a:pt x="16097" y="43053"/>
                    <a:pt x="13430" y="41243"/>
                  </a:cubicBezTo>
                  <a:cubicBezTo>
                    <a:pt x="10763" y="39433"/>
                    <a:pt x="8573" y="37243"/>
                    <a:pt x="6858" y="34671"/>
                  </a:cubicBezTo>
                  <a:cubicBezTo>
                    <a:pt x="5144" y="32004"/>
                    <a:pt x="4286" y="28766"/>
                    <a:pt x="4286" y="24765"/>
                  </a:cubicBezTo>
                  <a:lnTo>
                    <a:pt x="4286" y="24384"/>
                  </a:lnTo>
                  <a:cubicBezTo>
                    <a:pt x="4286" y="20765"/>
                    <a:pt x="5048" y="17431"/>
                    <a:pt x="6477" y="14383"/>
                  </a:cubicBezTo>
                  <a:cubicBezTo>
                    <a:pt x="7906" y="11335"/>
                    <a:pt x="9906" y="8763"/>
                    <a:pt x="12478" y="6668"/>
                  </a:cubicBezTo>
                  <a:cubicBezTo>
                    <a:pt x="15050" y="4572"/>
                    <a:pt x="18193" y="2858"/>
                    <a:pt x="21717" y="1715"/>
                  </a:cubicBezTo>
                  <a:cubicBezTo>
                    <a:pt x="25241" y="571"/>
                    <a:pt x="29146" y="0"/>
                    <a:pt x="33338" y="0"/>
                  </a:cubicBezTo>
                  <a:cubicBezTo>
                    <a:pt x="38576" y="0"/>
                    <a:pt x="43910" y="857"/>
                    <a:pt x="49340" y="2572"/>
                  </a:cubicBezTo>
                  <a:cubicBezTo>
                    <a:pt x="54769" y="4286"/>
                    <a:pt x="59627" y="6572"/>
                    <a:pt x="64008" y="9430"/>
                  </a:cubicBezTo>
                  <a:lnTo>
                    <a:pt x="58198" y="18955"/>
                  </a:lnTo>
                  <a:cubicBezTo>
                    <a:pt x="54197" y="16383"/>
                    <a:pt x="50102" y="14383"/>
                    <a:pt x="45720" y="12954"/>
                  </a:cubicBezTo>
                  <a:cubicBezTo>
                    <a:pt x="41338" y="11430"/>
                    <a:pt x="37148" y="10763"/>
                    <a:pt x="32956" y="10763"/>
                  </a:cubicBezTo>
                  <a:cubicBezTo>
                    <a:pt x="27908" y="10763"/>
                    <a:pt x="23908" y="11906"/>
                    <a:pt x="20955" y="14288"/>
                  </a:cubicBezTo>
                  <a:cubicBezTo>
                    <a:pt x="18002" y="16669"/>
                    <a:pt x="16478" y="19621"/>
                    <a:pt x="16478" y="23146"/>
                  </a:cubicBezTo>
                  <a:lnTo>
                    <a:pt x="16478" y="23527"/>
                  </a:lnTo>
                  <a:cubicBezTo>
                    <a:pt x="16478" y="25527"/>
                    <a:pt x="17050" y="27242"/>
                    <a:pt x="18288" y="28766"/>
                  </a:cubicBezTo>
                  <a:cubicBezTo>
                    <a:pt x="19526" y="30290"/>
                    <a:pt x="21146" y="31528"/>
                    <a:pt x="23146" y="32671"/>
                  </a:cubicBezTo>
                  <a:cubicBezTo>
                    <a:pt x="25146" y="33814"/>
                    <a:pt x="27527" y="34766"/>
                    <a:pt x="30194" y="35624"/>
                  </a:cubicBezTo>
                  <a:cubicBezTo>
                    <a:pt x="32861" y="36481"/>
                    <a:pt x="35623" y="37338"/>
                    <a:pt x="38481" y="38291"/>
                  </a:cubicBezTo>
                  <a:cubicBezTo>
                    <a:pt x="41815" y="39243"/>
                    <a:pt x="45053" y="40386"/>
                    <a:pt x="48292" y="41624"/>
                  </a:cubicBezTo>
                  <a:cubicBezTo>
                    <a:pt x="51530" y="42863"/>
                    <a:pt x="54483" y="44387"/>
                    <a:pt x="57150" y="46292"/>
                  </a:cubicBezTo>
                  <a:cubicBezTo>
                    <a:pt x="59817" y="48196"/>
                    <a:pt x="61913" y="50387"/>
                    <a:pt x="63532" y="53054"/>
                  </a:cubicBezTo>
                  <a:cubicBezTo>
                    <a:pt x="65151" y="55721"/>
                    <a:pt x="65913" y="58960"/>
                    <a:pt x="65913" y="62770"/>
                  </a:cubicBezTo>
                  <a:lnTo>
                    <a:pt x="65913" y="63056"/>
                  </a:lnTo>
                  <a:cubicBezTo>
                    <a:pt x="65913" y="67151"/>
                    <a:pt x="65151" y="70771"/>
                    <a:pt x="63532" y="73819"/>
                  </a:cubicBezTo>
                  <a:cubicBezTo>
                    <a:pt x="61913" y="76962"/>
                    <a:pt x="59817" y="79629"/>
                    <a:pt x="57055" y="81820"/>
                  </a:cubicBezTo>
                  <a:cubicBezTo>
                    <a:pt x="54388" y="84011"/>
                    <a:pt x="51149" y="85725"/>
                    <a:pt x="47530" y="86868"/>
                  </a:cubicBezTo>
                  <a:cubicBezTo>
                    <a:pt x="43815" y="88011"/>
                    <a:pt x="39815" y="88583"/>
                    <a:pt x="35528" y="88583"/>
                  </a:cubicBezTo>
                  <a:close/>
                </a:path>
              </a:pathLst>
            </a:custGeom>
            <a:solidFill>
              <a:srgbClr val="43505E"/>
            </a:solidFill>
            <a:ln w="9525" cap="flat">
              <a:noFill/>
              <a:prstDash val="solid"/>
              <a:miter/>
            </a:ln>
          </p:spPr>
          <p:txBody>
            <a:bodyPr rtlCol="0" anchor="ctr"/>
            <a:lstStyle/>
            <a:p>
              <a:endParaRPr lang="pt-BR"/>
            </a:p>
          </p:txBody>
        </p:sp>
        <p:sp>
          <p:nvSpPr>
            <p:cNvPr id="88" name="Freeform: Shape 87">
              <a:extLst>
                <a:ext uri="{FF2B5EF4-FFF2-40B4-BE49-F238E27FC236}">
                  <a16:creationId xmlns:a16="http://schemas.microsoft.com/office/drawing/2014/main" id="{CCF230D1-1A49-5CDA-0234-109A873C350D}"/>
                </a:ext>
              </a:extLst>
            </p:cNvPr>
            <p:cNvSpPr/>
            <p:nvPr/>
          </p:nvSpPr>
          <p:spPr>
            <a:xfrm>
              <a:off x="2116042" y="4557267"/>
              <a:ext cx="75152" cy="88582"/>
            </a:xfrm>
            <a:custGeom>
              <a:avLst/>
              <a:gdLst>
                <a:gd name="connsiteX0" fmla="*/ 31814 w 75152"/>
                <a:gd name="connsiteY0" fmla="*/ 88487 h 88582"/>
                <a:gd name="connsiteX1" fmla="*/ 20098 w 75152"/>
                <a:gd name="connsiteY1" fmla="*/ 86868 h 88582"/>
                <a:gd name="connsiteX2" fmla="*/ 9906 w 75152"/>
                <a:gd name="connsiteY2" fmla="*/ 81820 h 88582"/>
                <a:gd name="connsiteX3" fmla="*/ 2762 w 75152"/>
                <a:gd name="connsiteY3" fmla="*/ 73438 h 88582"/>
                <a:gd name="connsiteX4" fmla="*/ 0 w 75152"/>
                <a:gd name="connsiteY4" fmla="*/ 61913 h 88582"/>
                <a:gd name="connsiteX5" fmla="*/ 0 w 75152"/>
                <a:gd name="connsiteY5" fmla="*/ 61532 h 88582"/>
                <a:gd name="connsiteX6" fmla="*/ 2667 w 75152"/>
                <a:gd name="connsiteY6" fmla="*/ 49435 h 88582"/>
                <a:gd name="connsiteX7" fmla="*/ 10192 w 75152"/>
                <a:gd name="connsiteY7" fmla="*/ 40767 h 88582"/>
                <a:gd name="connsiteX8" fmla="*/ 21717 w 75152"/>
                <a:gd name="connsiteY8" fmla="*/ 35528 h 88582"/>
                <a:gd name="connsiteX9" fmla="*/ 36481 w 75152"/>
                <a:gd name="connsiteY9" fmla="*/ 33719 h 88582"/>
                <a:gd name="connsiteX10" fmla="*/ 50768 w 75152"/>
                <a:gd name="connsiteY10" fmla="*/ 34671 h 88582"/>
                <a:gd name="connsiteX11" fmla="*/ 62579 w 75152"/>
                <a:gd name="connsiteY11" fmla="*/ 37338 h 88582"/>
                <a:gd name="connsiteX12" fmla="*/ 62579 w 75152"/>
                <a:gd name="connsiteY12" fmla="*/ 34671 h 88582"/>
                <a:gd name="connsiteX13" fmla="*/ 56007 w 75152"/>
                <a:gd name="connsiteY13" fmla="*/ 17526 h 88582"/>
                <a:gd name="connsiteX14" fmla="*/ 37338 w 75152"/>
                <a:gd name="connsiteY14" fmla="*/ 11716 h 88582"/>
                <a:gd name="connsiteX15" fmla="*/ 23527 w 75152"/>
                <a:gd name="connsiteY15" fmla="*/ 13335 h 88582"/>
                <a:gd name="connsiteX16" fmla="*/ 11430 w 75152"/>
                <a:gd name="connsiteY16" fmla="*/ 17812 h 88582"/>
                <a:gd name="connsiteX17" fmla="*/ 7620 w 75152"/>
                <a:gd name="connsiteY17" fmla="*/ 7334 h 88582"/>
                <a:gd name="connsiteX18" fmla="*/ 22003 w 75152"/>
                <a:gd name="connsiteY18" fmla="*/ 2000 h 88582"/>
                <a:gd name="connsiteX19" fmla="*/ 38672 w 75152"/>
                <a:gd name="connsiteY19" fmla="*/ 0 h 88582"/>
                <a:gd name="connsiteX20" fmla="*/ 66199 w 75152"/>
                <a:gd name="connsiteY20" fmla="*/ 9430 h 88582"/>
                <a:gd name="connsiteX21" fmla="*/ 75152 w 75152"/>
                <a:gd name="connsiteY21" fmla="*/ 34481 h 88582"/>
                <a:gd name="connsiteX22" fmla="*/ 75152 w 75152"/>
                <a:gd name="connsiteY22" fmla="*/ 86678 h 88582"/>
                <a:gd name="connsiteX23" fmla="*/ 62579 w 75152"/>
                <a:gd name="connsiteY23" fmla="*/ 86678 h 88582"/>
                <a:gd name="connsiteX24" fmla="*/ 62579 w 75152"/>
                <a:gd name="connsiteY24" fmla="*/ 74009 h 88582"/>
                <a:gd name="connsiteX25" fmla="*/ 50578 w 75152"/>
                <a:gd name="connsiteY25" fmla="*/ 84201 h 88582"/>
                <a:gd name="connsiteX26" fmla="*/ 31814 w 75152"/>
                <a:gd name="connsiteY26" fmla="*/ 88583 h 88582"/>
                <a:gd name="connsiteX27" fmla="*/ 34385 w 75152"/>
                <a:gd name="connsiteY27" fmla="*/ 78105 h 88582"/>
                <a:gd name="connsiteX28" fmla="*/ 45434 w 75152"/>
                <a:gd name="connsiteY28" fmla="*/ 76486 h 88582"/>
                <a:gd name="connsiteX29" fmla="*/ 54388 w 75152"/>
                <a:gd name="connsiteY29" fmla="*/ 71819 h 88582"/>
                <a:gd name="connsiteX30" fmla="*/ 60484 w 75152"/>
                <a:gd name="connsiteY30" fmla="*/ 64579 h 88582"/>
                <a:gd name="connsiteX31" fmla="*/ 62675 w 75152"/>
                <a:gd name="connsiteY31" fmla="*/ 55340 h 88582"/>
                <a:gd name="connsiteX32" fmla="*/ 62675 w 75152"/>
                <a:gd name="connsiteY32" fmla="*/ 47435 h 88582"/>
                <a:gd name="connsiteX33" fmla="*/ 51816 w 75152"/>
                <a:gd name="connsiteY33" fmla="*/ 44958 h 88582"/>
                <a:gd name="connsiteX34" fmla="*/ 37814 w 75152"/>
                <a:gd name="connsiteY34" fmla="*/ 43815 h 88582"/>
                <a:gd name="connsiteX35" fmla="*/ 19431 w 75152"/>
                <a:gd name="connsiteY35" fmla="*/ 48482 h 88582"/>
                <a:gd name="connsiteX36" fmla="*/ 12954 w 75152"/>
                <a:gd name="connsiteY36" fmla="*/ 60865 h 88582"/>
                <a:gd name="connsiteX37" fmla="*/ 12954 w 75152"/>
                <a:gd name="connsiteY37" fmla="*/ 61246 h 88582"/>
                <a:gd name="connsiteX38" fmla="*/ 14669 w 75152"/>
                <a:gd name="connsiteY38" fmla="*/ 68390 h 88582"/>
                <a:gd name="connsiteX39" fmla="*/ 19336 w 75152"/>
                <a:gd name="connsiteY39" fmla="*/ 73724 h 88582"/>
                <a:gd name="connsiteX40" fmla="*/ 26194 w 75152"/>
                <a:gd name="connsiteY40" fmla="*/ 76962 h 88582"/>
                <a:gd name="connsiteX41" fmla="*/ 34385 w 75152"/>
                <a:gd name="connsiteY41" fmla="*/ 78105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5152" h="88582">
                  <a:moveTo>
                    <a:pt x="31814" y="88487"/>
                  </a:moveTo>
                  <a:cubicBezTo>
                    <a:pt x="27813" y="88487"/>
                    <a:pt x="23908" y="87916"/>
                    <a:pt x="20098" y="86868"/>
                  </a:cubicBezTo>
                  <a:cubicBezTo>
                    <a:pt x="16288" y="85820"/>
                    <a:pt x="12859" y="84106"/>
                    <a:pt x="9906" y="81820"/>
                  </a:cubicBezTo>
                  <a:cubicBezTo>
                    <a:pt x="6953" y="79534"/>
                    <a:pt x="4572" y="76771"/>
                    <a:pt x="2762" y="73438"/>
                  </a:cubicBezTo>
                  <a:cubicBezTo>
                    <a:pt x="952" y="70104"/>
                    <a:pt x="0" y="66294"/>
                    <a:pt x="0" y="61913"/>
                  </a:cubicBezTo>
                  <a:lnTo>
                    <a:pt x="0" y="61532"/>
                  </a:lnTo>
                  <a:cubicBezTo>
                    <a:pt x="0" y="56864"/>
                    <a:pt x="857" y="52864"/>
                    <a:pt x="2667" y="49435"/>
                  </a:cubicBezTo>
                  <a:cubicBezTo>
                    <a:pt x="4477" y="46006"/>
                    <a:pt x="6953" y="43053"/>
                    <a:pt x="10192" y="40767"/>
                  </a:cubicBezTo>
                  <a:cubicBezTo>
                    <a:pt x="13430" y="38481"/>
                    <a:pt x="17335" y="36671"/>
                    <a:pt x="21717" y="35528"/>
                  </a:cubicBezTo>
                  <a:cubicBezTo>
                    <a:pt x="26099" y="34385"/>
                    <a:pt x="31147" y="33719"/>
                    <a:pt x="36481" y="33719"/>
                  </a:cubicBezTo>
                  <a:cubicBezTo>
                    <a:pt x="41815" y="33719"/>
                    <a:pt x="46768" y="34004"/>
                    <a:pt x="50768" y="34671"/>
                  </a:cubicBezTo>
                  <a:cubicBezTo>
                    <a:pt x="54769" y="35338"/>
                    <a:pt x="58674" y="36195"/>
                    <a:pt x="62579" y="37338"/>
                  </a:cubicBezTo>
                  <a:lnTo>
                    <a:pt x="62579" y="34671"/>
                  </a:lnTo>
                  <a:cubicBezTo>
                    <a:pt x="62579" y="27146"/>
                    <a:pt x="60389" y="21431"/>
                    <a:pt x="56007" y="17526"/>
                  </a:cubicBezTo>
                  <a:cubicBezTo>
                    <a:pt x="51626" y="13621"/>
                    <a:pt x="45339" y="11716"/>
                    <a:pt x="37338" y="11716"/>
                  </a:cubicBezTo>
                  <a:cubicBezTo>
                    <a:pt x="32290" y="11716"/>
                    <a:pt x="27718" y="12287"/>
                    <a:pt x="23527" y="13335"/>
                  </a:cubicBezTo>
                  <a:cubicBezTo>
                    <a:pt x="19431" y="14478"/>
                    <a:pt x="15335" y="15907"/>
                    <a:pt x="11430" y="17812"/>
                  </a:cubicBezTo>
                  <a:lnTo>
                    <a:pt x="7620" y="7334"/>
                  </a:lnTo>
                  <a:cubicBezTo>
                    <a:pt x="12383" y="5144"/>
                    <a:pt x="17145" y="3334"/>
                    <a:pt x="22003" y="2000"/>
                  </a:cubicBezTo>
                  <a:cubicBezTo>
                    <a:pt x="26860" y="667"/>
                    <a:pt x="32385" y="0"/>
                    <a:pt x="38672" y="0"/>
                  </a:cubicBezTo>
                  <a:cubicBezTo>
                    <a:pt x="50768" y="0"/>
                    <a:pt x="60007" y="3143"/>
                    <a:pt x="66199" y="9430"/>
                  </a:cubicBezTo>
                  <a:cubicBezTo>
                    <a:pt x="72104" y="15335"/>
                    <a:pt x="75152" y="23717"/>
                    <a:pt x="75152" y="34481"/>
                  </a:cubicBezTo>
                  <a:lnTo>
                    <a:pt x="75152" y="86678"/>
                  </a:lnTo>
                  <a:lnTo>
                    <a:pt x="62579" y="86678"/>
                  </a:lnTo>
                  <a:lnTo>
                    <a:pt x="62579" y="74009"/>
                  </a:lnTo>
                  <a:cubicBezTo>
                    <a:pt x="59627" y="77819"/>
                    <a:pt x="55626" y="81248"/>
                    <a:pt x="50578" y="84201"/>
                  </a:cubicBezTo>
                  <a:cubicBezTo>
                    <a:pt x="45530" y="87154"/>
                    <a:pt x="39338" y="88583"/>
                    <a:pt x="31814" y="88583"/>
                  </a:cubicBezTo>
                  <a:close/>
                  <a:moveTo>
                    <a:pt x="34385" y="78105"/>
                  </a:moveTo>
                  <a:cubicBezTo>
                    <a:pt x="38290" y="78105"/>
                    <a:pt x="42005" y="77533"/>
                    <a:pt x="45434" y="76486"/>
                  </a:cubicBezTo>
                  <a:cubicBezTo>
                    <a:pt x="48863" y="75343"/>
                    <a:pt x="51816" y="73819"/>
                    <a:pt x="54388" y="71819"/>
                  </a:cubicBezTo>
                  <a:cubicBezTo>
                    <a:pt x="56960" y="69818"/>
                    <a:pt x="58960" y="67342"/>
                    <a:pt x="60484" y="64579"/>
                  </a:cubicBezTo>
                  <a:cubicBezTo>
                    <a:pt x="62008" y="61817"/>
                    <a:pt x="62675" y="58674"/>
                    <a:pt x="62675" y="55340"/>
                  </a:cubicBezTo>
                  <a:lnTo>
                    <a:pt x="62675" y="47435"/>
                  </a:lnTo>
                  <a:cubicBezTo>
                    <a:pt x="59531" y="46577"/>
                    <a:pt x="55912" y="45720"/>
                    <a:pt x="51816" y="44958"/>
                  </a:cubicBezTo>
                  <a:cubicBezTo>
                    <a:pt x="47720" y="44196"/>
                    <a:pt x="43053" y="43815"/>
                    <a:pt x="37814" y="43815"/>
                  </a:cubicBezTo>
                  <a:cubicBezTo>
                    <a:pt x="29908" y="43815"/>
                    <a:pt x="23813" y="45339"/>
                    <a:pt x="19431" y="48482"/>
                  </a:cubicBezTo>
                  <a:cubicBezTo>
                    <a:pt x="15050" y="51625"/>
                    <a:pt x="12954" y="55721"/>
                    <a:pt x="12954" y="60865"/>
                  </a:cubicBezTo>
                  <a:lnTo>
                    <a:pt x="12954" y="61246"/>
                  </a:lnTo>
                  <a:cubicBezTo>
                    <a:pt x="12954" y="63913"/>
                    <a:pt x="13526" y="66294"/>
                    <a:pt x="14669" y="68390"/>
                  </a:cubicBezTo>
                  <a:cubicBezTo>
                    <a:pt x="15812" y="70485"/>
                    <a:pt x="17335" y="72295"/>
                    <a:pt x="19336" y="73724"/>
                  </a:cubicBezTo>
                  <a:cubicBezTo>
                    <a:pt x="21336" y="75152"/>
                    <a:pt x="23622" y="76200"/>
                    <a:pt x="26194" y="76962"/>
                  </a:cubicBezTo>
                  <a:cubicBezTo>
                    <a:pt x="28766" y="77724"/>
                    <a:pt x="31528" y="78105"/>
                    <a:pt x="34385" y="78105"/>
                  </a:cubicBezTo>
                  <a:close/>
                </a:path>
              </a:pathLst>
            </a:custGeom>
            <a:solidFill>
              <a:srgbClr val="43505E"/>
            </a:solidFill>
            <a:ln w="9525" cap="flat">
              <a:noFill/>
              <a:prstDash val="solid"/>
              <a:miter/>
            </a:ln>
          </p:spPr>
          <p:txBody>
            <a:bodyPr rtlCol="0" anchor="ctr"/>
            <a:lstStyle/>
            <a:p>
              <a:endParaRPr lang="pt-BR"/>
            </a:p>
          </p:txBody>
        </p:sp>
        <p:sp>
          <p:nvSpPr>
            <p:cNvPr id="89" name="Freeform: Shape 88">
              <a:extLst>
                <a:ext uri="{FF2B5EF4-FFF2-40B4-BE49-F238E27FC236}">
                  <a16:creationId xmlns:a16="http://schemas.microsoft.com/office/drawing/2014/main" id="{E6564B19-B5F3-CC73-1FB0-EFE0B73D1FAC}"/>
                </a:ext>
              </a:extLst>
            </p:cNvPr>
            <p:cNvSpPr/>
            <p:nvPr/>
          </p:nvSpPr>
          <p:spPr>
            <a:xfrm>
              <a:off x="2219102" y="4523454"/>
              <a:ext cx="12668" cy="120491"/>
            </a:xfrm>
            <a:custGeom>
              <a:avLst/>
              <a:gdLst>
                <a:gd name="connsiteX0" fmla="*/ 0 w 12668"/>
                <a:gd name="connsiteY0" fmla="*/ 0 h 120491"/>
                <a:gd name="connsiteX1" fmla="*/ 12668 w 12668"/>
                <a:gd name="connsiteY1" fmla="*/ 0 h 120491"/>
                <a:gd name="connsiteX2" fmla="*/ 12668 w 12668"/>
                <a:gd name="connsiteY2" fmla="*/ 120491 h 120491"/>
                <a:gd name="connsiteX3" fmla="*/ 0 w 12668"/>
                <a:gd name="connsiteY3" fmla="*/ 120491 h 120491"/>
                <a:gd name="connsiteX4" fmla="*/ 0 w 12668"/>
                <a:gd name="connsiteY4" fmla="*/ 0 h 120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8" h="120491">
                  <a:moveTo>
                    <a:pt x="0" y="0"/>
                  </a:moveTo>
                  <a:lnTo>
                    <a:pt x="12668" y="0"/>
                  </a:lnTo>
                  <a:lnTo>
                    <a:pt x="12668" y="120491"/>
                  </a:lnTo>
                  <a:lnTo>
                    <a:pt x="0" y="120491"/>
                  </a:lnTo>
                  <a:lnTo>
                    <a:pt x="0" y="0"/>
                  </a:lnTo>
                  <a:close/>
                </a:path>
              </a:pathLst>
            </a:custGeom>
            <a:solidFill>
              <a:srgbClr val="43505E"/>
            </a:solidFill>
            <a:ln w="9525" cap="flat">
              <a:noFill/>
              <a:prstDash val="solid"/>
              <a:miter/>
            </a:ln>
          </p:spPr>
          <p:txBody>
            <a:bodyPr rtlCol="0" anchor="ctr"/>
            <a:lstStyle/>
            <a:p>
              <a:endParaRPr lang="pt-BR"/>
            </a:p>
          </p:txBody>
        </p:sp>
        <p:sp>
          <p:nvSpPr>
            <p:cNvPr id="90" name="Freeform: Shape 89">
              <a:extLst>
                <a:ext uri="{FF2B5EF4-FFF2-40B4-BE49-F238E27FC236}">
                  <a16:creationId xmlns:a16="http://schemas.microsoft.com/office/drawing/2014/main" id="{D53810C7-0814-53AB-78E8-F29294033546}"/>
                </a:ext>
              </a:extLst>
            </p:cNvPr>
            <p:cNvSpPr/>
            <p:nvPr/>
          </p:nvSpPr>
          <p:spPr>
            <a:xfrm>
              <a:off x="2252916" y="4558601"/>
              <a:ext cx="85344" cy="86010"/>
            </a:xfrm>
            <a:custGeom>
              <a:avLst/>
              <a:gdLst>
                <a:gd name="connsiteX0" fmla="*/ 95 w 85344"/>
                <a:gd name="connsiteY0" fmla="*/ 0 h 86010"/>
                <a:gd name="connsiteX1" fmla="*/ 14097 w 85344"/>
                <a:gd name="connsiteY1" fmla="*/ 0 h 86010"/>
                <a:gd name="connsiteX2" fmla="*/ 42767 w 85344"/>
                <a:gd name="connsiteY2" fmla="*/ 70771 h 86010"/>
                <a:gd name="connsiteX3" fmla="*/ 71628 w 85344"/>
                <a:gd name="connsiteY3" fmla="*/ 0 h 86010"/>
                <a:gd name="connsiteX4" fmla="*/ 85344 w 85344"/>
                <a:gd name="connsiteY4" fmla="*/ 0 h 86010"/>
                <a:gd name="connsiteX5" fmla="*/ 48196 w 85344"/>
                <a:gd name="connsiteY5" fmla="*/ 86011 h 86010"/>
                <a:gd name="connsiteX6" fmla="*/ 36957 w 85344"/>
                <a:gd name="connsiteY6" fmla="*/ 86011 h 86010"/>
                <a:gd name="connsiteX7" fmla="*/ 0 w 85344"/>
                <a:gd name="connsiteY7" fmla="*/ 0 h 8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 h="86010">
                  <a:moveTo>
                    <a:pt x="95" y="0"/>
                  </a:moveTo>
                  <a:lnTo>
                    <a:pt x="14097" y="0"/>
                  </a:lnTo>
                  <a:lnTo>
                    <a:pt x="42767" y="70771"/>
                  </a:lnTo>
                  <a:lnTo>
                    <a:pt x="71628" y="0"/>
                  </a:lnTo>
                  <a:lnTo>
                    <a:pt x="85344" y="0"/>
                  </a:lnTo>
                  <a:lnTo>
                    <a:pt x="48196" y="86011"/>
                  </a:lnTo>
                  <a:lnTo>
                    <a:pt x="36957" y="86011"/>
                  </a:lnTo>
                  <a:lnTo>
                    <a:pt x="0" y="0"/>
                  </a:lnTo>
                  <a:close/>
                </a:path>
              </a:pathLst>
            </a:custGeom>
            <a:solidFill>
              <a:srgbClr val="43505E"/>
            </a:solidFill>
            <a:ln w="9525" cap="flat">
              <a:noFill/>
              <a:prstDash val="solid"/>
              <a:miter/>
            </a:ln>
          </p:spPr>
          <p:txBody>
            <a:bodyPr rtlCol="0" anchor="ctr"/>
            <a:lstStyle/>
            <a:p>
              <a:endParaRPr lang="pt-BR"/>
            </a:p>
          </p:txBody>
        </p:sp>
        <p:sp>
          <p:nvSpPr>
            <p:cNvPr id="91" name="Freeform: Shape 90">
              <a:extLst>
                <a:ext uri="{FF2B5EF4-FFF2-40B4-BE49-F238E27FC236}">
                  <a16:creationId xmlns:a16="http://schemas.microsoft.com/office/drawing/2014/main" id="{A7050336-C985-4531-8C82-BEED677D0543}"/>
                </a:ext>
              </a:extLst>
            </p:cNvPr>
            <p:cNvSpPr/>
            <p:nvPr/>
          </p:nvSpPr>
          <p:spPr>
            <a:xfrm>
              <a:off x="2351881" y="4557267"/>
              <a:ext cx="75152" cy="88582"/>
            </a:xfrm>
            <a:custGeom>
              <a:avLst/>
              <a:gdLst>
                <a:gd name="connsiteX0" fmla="*/ 31813 w 75152"/>
                <a:gd name="connsiteY0" fmla="*/ 88487 h 88582"/>
                <a:gd name="connsiteX1" fmla="*/ 20098 w 75152"/>
                <a:gd name="connsiteY1" fmla="*/ 86868 h 88582"/>
                <a:gd name="connsiteX2" fmla="*/ 9906 w 75152"/>
                <a:gd name="connsiteY2" fmla="*/ 81820 h 88582"/>
                <a:gd name="connsiteX3" fmla="*/ 2762 w 75152"/>
                <a:gd name="connsiteY3" fmla="*/ 73438 h 88582"/>
                <a:gd name="connsiteX4" fmla="*/ 0 w 75152"/>
                <a:gd name="connsiteY4" fmla="*/ 61913 h 88582"/>
                <a:gd name="connsiteX5" fmla="*/ 0 w 75152"/>
                <a:gd name="connsiteY5" fmla="*/ 61532 h 88582"/>
                <a:gd name="connsiteX6" fmla="*/ 2667 w 75152"/>
                <a:gd name="connsiteY6" fmla="*/ 49435 h 88582"/>
                <a:gd name="connsiteX7" fmla="*/ 10192 w 75152"/>
                <a:gd name="connsiteY7" fmla="*/ 40767 h 88582"/>
                <a:gd name="connsiteX8" fmla="*/ 21717 w 75152"/>
                <a:gd name="connsiteY8" fmla="*/ 35528 h 88582"/>
                <a:gd name="connsiteX9" fmla="*/ 36481 w 75152"/>
                <a:gd name="connsiteY9" fmla="*/ 33719 h 88582"/>
                <a:gd name="connsiteX10" fmla="*/ 50768 w 75152"/>
                <a:gd name="connsiteY10" fmla="*/ 34671 h 88582"/>
                <a:gd name="connsiteX11" fmla="*/ 62579 w 75152"/>
                <a:gd name="connsiteY11" fmla="*/ 37338 h 88582"/>
                <a:gd name="connsiteX12" fmla="*/ 62579 w 75152"/>
                <a:gd name="connsiteY12" fmla="*/ 34671 h 88582"/>
                <a:gd name="connsiteX13" fmla="*/ 56007 w 75152"/>
                <a:gd name="connsiteY13" fmla="*/ 17526 h 88582"/>
                <a:gd name="connsiteX14" fmla="*/ 37338 w 75152"/>
                <a:gd name="connsiteY14" fmla="*/ 11716 h 88582"/>
                <a:gd name="connsiteX15" fmla="*/ 23527 w 75152"/>
                <a:gd name="connsiteY15" fmla="*/ 13335 h 88582"/>
                <a:gd name="connsiteX16" fmla="*/ 11430 w 75152"/>
                <a:gd name="connsiteY16" fmla="*/ 17812 h 88582"/>
                <a:gd name="connsiteX17" fmla="*/ 7620 w 75152"/>
                <a:gd name="connsiteY17" fmla="*/ 7334 h 88582"/>
                <a:gd name="connsiteX18" fmla="*/ 22003 w 75152"/>
                <a:gd name="connsiteY18" fmla="*/ 2000 h 88582"/>
                <a:gd name="connsiteX19" fmla="*/ 38671 w 75152"/>
                <a:gd name="connsiteY19" fmla="*/ 0 h 88582"/>
                <a:gd name="connsiteX20" fmla="*/ 66199 w 75152"/>
                <a:gd name="connsiteY20" fmla="*/ 9430 h 88582"/>
                <a:gd name="connsiteX21" fmla="*/ 75152 w 75152"/>
                <a:gd name="connsiteY21" fmla="*/ 34481 h 88582"/>
                <a:gd name="connsiteX22" fmla="*/ 75152 w 75152"/>
                <a:gd name="connsiteY22" fmla="*/ 86678 h 88582"/>
                <a:gd name="connsiteX23" fmla="*/ 62579 w 75152"/>
                <a:gd name="connsiteY23" fmla="*/ 86678 h 88582"/>
                <a:gd name="connsiteX24" fmla="*/ 62579 w 75152"/>
                <a:gd name="connsiteY24" fmla="*/ 74009 h 88582"/>
                <a:gd name="connsiteX25" fmla="*/ 50578 w 75152"/>
                <a:gd name="connsiteY25" fmla="*/ 84201 h 88582"/>
                <a:gd name="connsiteX26" fmla="*/ 31813 w 75152"/>
                <a:gd name="connsiteY26" fmla="*/ 88583 h 88582"/>
                <a:gd name="connsiteX27" fmla="*/ 34385 w 75152"/>
                <a:gd name="connsiteY27" fmla="*/ 78105 h 88582"/>
                <a:gd name="connsiteX28" fmla="*/ 45434 w 75152"/>
                <a:gd name="connsiteY28" fmla="*/ 76486 h 88582"/>
                <a:gd name="connsiteX29" fmla="*/ 54388 w 75152"/>
                <a:gd name="connsiteY29" fmla="*/ 71819 h 88582"/>
                <a:gd name="connsiteX30" fmla="*/ 60484 w 75152"/>
                <a:gd name="connsiteY30" fmla="*/ 64579 h 88582"/>
                <a:gd name="connsiteX31" fmla="*/ 62675 w 75152"/>
                <a:gd name="connsiteY31" fmla="*/ 55340 h 88582"/>
                <a:gd name="connsiteX32" fmla="*/ 62675 w 75152"/>
                <a:gd name="connsiteY32" fmla="*/ 47435 h 88582"/>
                <a:gd name="connsiteX33" fmla="*/ 51816 w 75152"/>
                <a:gd name="connsiteY33" fmla="*/ 44958 h 88582"/>
                <a:gd name="connsiteX34" fmla="*/ 37814 w 75152"/>
                <a:gd name="connsiteY34" fmla="*/ 43815 h 88582"/>
                <a:gd name="connsiteX35" fmla="*/ 19431 w 75152"/>
                <a:gd name="connsiteY35" fmla="*/ 48482 h 88582"/>
                <a:gd name="connsiteX36" fmla="*/ 12954 w 75152"/>
                <a:gd name="connsiteY36" fmla="*/ 60865 h 88582"/>
                <a:gd name="connsiteX37" fmla="*/ 12954 w 75152"/>
                <a:gd name="connsiteY37" fmla="*/ 61246 h 88582"/>
                <a:gd name="connsiteX38" fmla="*/ 14668 w 75152"/>
                <a:gd name="connsiteY38" fmla="*/ 68390 h 88582"/>
                <a:gd name="connsiteX39" fmla="*/ 19336 w 75152"/>
                <a:gd name="connsiteY39" fmla="*/ 73724 h 88582"/>
                <a:gd name="connsiteX40" fmla="*/ 26194 w 75152"/>
                <a:gd name="connsiteY40" fmla="*/ 76962 h 88582"/>
                <a:gd name="connsiteX41" fmla="*/ 34290 w 75152"/>
                <a:gd name="connsiteY41" fmla="*/ 78105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5152" h="88582">
                  <a:moveTo>
                    <a:pt x="31813" y="88487"/>
                  </a:moveTo>
                  <a:cubicBezTo>
                    <a:pt x="27813" y="88487"/>
                    <a:pt x="23908" y="87916"/>
                    <a:pt x="20098" y="86868"/>
                  </a:cubicBezTo>
                  <a:cubicBezTo>
                    <a:pt x="16288" y="85820"/>
                    <a:pt x="12859" y="84106"/>
                    <a:pt x="9906" y="81820"/>
                  </a:cubicBezTo>
                  <a:cubicBezTo>
                    <a:pt x="6953" y="79534"/>
                    <a:pt x="4572" y="76771"/>
                    <a:pt x="2762" y="73438"/>
                  </a:cubicBezTo>
                  <a:cubicBezTo>
                    <a:pt x="953" y="70104"/>
                    <a:pt x="0" y="66294"/>
                    <a:pt x="0" y="61913"/>
                  </a:cubicBezTo>
                  <a:lnTo>
                    <a:pt x="0" y="61532"/>
                  </a:lnTo>
                  <a:cubicBezTo>
                    <a:pt x="0" y="56864"/>
                    <a:pt x="857" y="52864"/>
                    <a:pt x="2667" y="49435"/>
                  </a:cubicBezTo>
                  <a:cubicBezTo>
                    <a:pt x="4382" y="46006"/>
                    <a:pt x="6953" y="43053"/>
                    <a:pt x="10192" y="40767"/>
                  </a:cubicBezTo>
                  <a:cubicBezTo>
                    <a:pt x="13430" y="38481"/>
                    <a:pt x="17336" y="36671"/>
                    <a:pt x="21717" y="35528"/>
                  </a:cubicBezTo>
                  <a:cubicBezTo>
                    <a:pt x="26099" y="34385"/>
                    <a:pt x="31051" y="33719"/>
                    <a:pt x="36481" y="33719"/>
                  </a:cubicBezTo>
                  <a:cubicBezTo>
                    <a:pt x="41910" y="33719"/>
                    <a:pt x="46768" y="34004"/>
                    <a:pt x="50768" y="34671"/>
                  </a:cubicBezTo>
                  <a:cubicBezTo>
                    <a:pt x="54769" y="35338"/>
                    <a:pt x="58674" y="36195"/>
                    <a:pt x="62579" y="37338"/>
                  </a:cubicBezTo>
                  <a:lnTo>
                    <a:pt x="62579" y="34671"/>
                  </a:lnTo>
                  <a:cubicBezTo>
                    <a:pt x="62579" y="27146"/>
                    <a:pt x="60388" y="21431"/>
                    <a:pt x="56007" y="17526"/>
                  </a:cubicBezTo>
                  <a:cubicBezTo>
                    <a:pt x="51625" y="13621"/>
                    <a:pt x="45434" y="11716"/>
                    <a:pt x="37338" y="11716"/>
                  </a:cubicBezTo>
                  <a:cubicBezTo>
                    <a:pt x="32290" y="11716"/>
                    <a:pt x="27718" y="12287"/>
                    <a:pt x="23527" y="13335"/>
                  </a:cubicBezTo>
                  <a:cubicBezTo>
                    <a:pt x="19431" y="14478"/>
                    <a:pt x="15335" y="15907"/>
                    <a:pt x="11430" y="17812"/>
                  </a:cubicBezTo>
                  <a:lnTo>
                    <a:pt x="7620" y="7334"/>
                  </a:lnTo>
                  <a:cubicBezTo>
                    <a:pt x="12383" y="5144"/>
                    <a:pt x="17145" y="3334"/>
                    <a:pt x="22003" y="2000"/>
                  </a:cubicBezTo>
                  <a:cubicBezTo>
                    <a:pt x="26861" y="667"/>
                    <a:pt x="32385" y="0"/>
                    <a:pt x="38671" y="0"/>
                  </a:cubicBezTo>
                  <a:cubicBezTo>
                    <a:pt x="50768" y="0"/>
                    <a:pt x="60008" y="3143"/>
                    <a:pt x="66199" y="9430"/>
                  </a:cubicBezTo>
                  <a:cubicBezTo>
                    <a:pt x="72104" y="15335"/>
                    <a:pt x="75152" y="23717"/>
                    <a:pt x="75152" y="34481"/>
                  </a:cubicBezTo>
                  <a:lnTo>
                    <a:pt x="75152" y="86678"/>
                  </a:lnTo>
                  <a:lnTo>
                    <a:pt x="62579" y="86678"/>
                  </a:lnTo>
                  <a:lnTo>
                    <a:pt x="62579" y="74009"/>
                  </a:lnTo>
                  <a:cubicBezTo>
                    <a:pt x="59626" y="77819"/>
                    <a:pt x="55626" y="81248"/>
                    <a:pt x="50578" y="84201"/>
                  </a:cubicBezTo>
                  <a:cubicBezTo>
                    <a:pt x="45529" y="87154"/>
                    <a:pt x="39338" y="88583"/>
                    <a:pt x="31813" y="88583"/>
                  </a:cubicBezTo>
                  <a:close/>
                  <a:moveTo>
                    <a:pt x="34385" y="78105"/>
                  </a:moveTo>
                  <a:cubicBezTo>
                    <a:pt x="38386" y="78105"/>
                    <a:pt x="42005" y="77533"/>
                    <a:pt x="45434" y="76486"/>
                  </a:cubicBezTo>
                  <a:cubicBezTo>
                    <a:pt x="48863" y="75438"/>
                    <a:pt x="51816" y="73819"/>
                    <a:pt x="54388" y="71819"/>
                  </a:cubicBezTo>
                  <a:cubicBezTo>
                    <a:pt x="56959" y="69818"/>
                    <a:pt x="58960" y="67342"/>
                    <a:pt x="60484" y="64579"/>
                  </a:cubicBezTo>
                  <a:cubicBezTo>
                    <a:pt x="62008" y="61817"/>
                    <a:pt x="62675" y="58674"/>
                    <a:pt x="62675" y="55340"/>
                  </a:cubicBezTo>
                  <a:lnTo>
                    <a:pt x="62675" y="47435"/>
                  </a:lnTo>
                  <a:cubicBezTo>
                    <a:pt x="59531" y="46577"/>
                    <a:pt x="55912" y="45720"/>
                    <a:pt x="51816" y="44958"/>
                  </a:cubicBezTo>
                  <a:cubicBezTo>
                    <a:pt x="47720" y="44196"/>
                    <a:pt x="43053" y="43815"/>
                    <a:pt x="37814" y="43815"/>
                  </a:cubicBezTo>
                  <a:cubicBezTo>
                    <a:pt x="29908" y="43815"/>
                    <a:pt x="23813" y="45339"/>
                    <a:pt x="19431" y="48482"/>
                  </a:cubicBezTo>
                  <a:cubicBezTo>
                    <a:pt x="15050" y="51625"/>
                    <a:pt x="12954" y="55721"/>
                    <a:pt x="12954" y="60865"/>
                  </a:cubicBezTo>
                  <a:lnTo>
                    <a:pt x="12954" y="61246"/>
                  </a:lnTo>
                  <a:cubicBezTo>
                    <a:pt x="12954" y="63913"/>
                    <a:pt x="13525" y="66294"/>
                    <a:pt x="14668" y="68390"/>
                  </a:cubicBezTo>
                  <a:cubicBezTo>
                    <a:pt x="15812" y="70485"/>
                    <a:pt x="17431" y="72295"/>
                    <a:pt x="19336" y="73724"/>
                  </a:cubicBezTo>
                  <a:cubicBezTo>
                    <a:pt x="21241" y="75152"/>
                    <a:pt x="23622" y="76200"/>
                    <a:pt x="26194" y="76962"/>
                  </a:cubicBezTo>
                  <a:cubicBezTo>
                    <a:pt x="28766" y="77724"/>
                    <a:pt x="31433" y="78105"/>
                    <a:pt x="34290" y="78105"/>
                  </a:cubicBezTo>
                  <a:close/>
                </a:path>
              </a:pathLst>
            </a:custGeom>
            <a:solidFill>
              <a:srgbClr val="43505E"/>
            </a:solidFill>
            <a:ln w="9525" cap="flat">
              <a:noFill/>
              <a:prstDash val="solid"/>
              <a:miter/>
            </a:ln>
          </p:spPr>
          <p:txBody>
            <a:bodyPr rtlCol="0" anchor="ctr"/>
            <a:lstStyle/>
            <a:p>
              <a:endParaRPr lang="pt-BR"/>
            </a:p>
          </p:txBody>
        </p:sp>
        <p:sp>
          <p:nvSpPr>
            <p:cNvPr id="92" name="Freeform: Shape 91">
              <a:extLst>
                <a:ext uri="{FF2B5EF4-FFF2-40B4-BE49-F238E27FC236}">
                  <a16:creationId xmlns:a16="http://schemas.microsoft.com/office/drawing/2014/main" id="{23724DDC-C748-3F8E-F244-EBAAC100B9E8}"/>
                </a:ext>
              </a:extLst>
            </p:cNvPr>
            <p:cNvSpPr/>
            <p:nvPr/>
          </p:nvSpPr>
          <p:spPr>
            <a:xfrm>
              <a:off x="2453417" y="4556791"/>
              <a:ext cx="129539" cy="87058"/>
            </a:xfrm>
            <a:custGeom>
              <a:avLst/>
              <a:gdLst>
                <a:gd name="connsiteX0" fmla="*/ 381 w 129539"/>
                <a:gd name="connsiteY0" fmla="*/ 1810 h 87058"/>
                <a:gd name="connsiteX1" fmla="*/ 13049 w 129539"/>
                <a:gd name="connsiteY1" fmla="*/ 1810 h 87058"/>
                <a:gd name="connsiteX2" fmla="*/ 13049 w 129539"/>
                <a:gd name="connsiteY2" fmla="*/ 16192 h 87058"/>
                <a:gd name="connsiteX3" fmla="*/ 17717 w 129539"/>
                <a:gd name="connsiteY3" fmla="*/ 10096 h 87058"/>
                <a:gd name="connsiteX4" fmla="*/ 23622 w 129539"/>
                <a:gd name="connsiteY4" fmla="*/ 4858 h 87058"/>
                <a:gd name="connsiteX5" fmla="*/ 31051 w 129539"/>
                <a:gd name="connsiteY5" fmla="*/ 1333 h 87058"/>
                <a:gd name="connsiteX6" fmla="*/ 40576 w 129539"/>
                <a:gd name="connsiteY6" fmla="*/ 0 h 87058"/>
                <a:gd name="connsiteX7" fmla="*/ 57721 w 129539"/>
                <a:gd name="connsiteY7" fmla="*/ 4858 h 87058"/>
                <a:gd name="connsiteX8" fmla="*/ 67913 w 129539"/>
                <a:gd name="connsiteY8" fmla="*/ 16954 h 87058"/>
                <a:gd name="connsiteX9" fmla="*/ 73057 w 129539"/>
                <a:gd name="connsiteY9" fmla="*/ 10382 h 87058"/>
                <a:gd name="connsiteX10" fmla="*/ 79534 w 129539"/>
                <a:gd name="connsiteY10" fmla="*/ 4953 h 87058"/>
                <a:gd name="connsiteX11" fmla="*/ 87725 w 129539"/>
                <a:gd name="connsiteY11" fmla="*/ 1333 h 87058"/>
                <a:gd name="connsiteX12" fmla="*/ 97917 w 129539"/>
                <a:gd name="connsiteY12" fmla="*/ 0 h 87058"/>
                <a:gd name="connsiteX13" fmla="*/ 121158 w 129539"/>
                <a:gd name="connsiteY13" fmla="*/ 9144 h 87058"/>
                <a:gd name="connsiteX14" fmla="*/ 129540 w 129539"/>
                <a:gd name="connsiteY14" fmla="*/ 34290 h 87058"/>
                <a:gd name="connsiteX15" fmla="*/ 129540 w 129539"/>
                <a:gd name="connsiteY15" fmla="*/ 87058 h 87058"/>
                <a:gd name="connsiteX16" fmla="*/ 116872 w 129539"/>
                <a:gd name="connsiteY16" fmla="*/ 87058 h 87058"/>
                <a:gd name="connsiteX17" fmla="*/ 116872 w 129539"/>
                <a:gd name="connsiteY17" fmla="*/ 37338 h 87058"/>
                <a:gd name="connsiteX18" fmla="*/ 110966 w 129539"/>
                <a:gd name="connsiteY18" fmla="*/ 18288 h 87058"/>
                <a:gd name="connsiteX19" fmla="*/ 94679 w 129539"/>
                <a:gd name="connsiteY19" fmla="*/ 11620 h 87058"/>
                <a:gd name="connsiteX20" fmla="*/ 85630 w 129539"/>
                <a:gd name="connsiteY20" fmla="*/ 13335 h 87058"/>
                <a:gd name="connsiteX21" fmla="*/ 78105 w 129539"/>
                <a:gd name="connsiteY21" fmla="*/ 18478 h 87058"/>
                <a:gd name="connsiteX22" fmla="*/ 72962 w 129539"/>
                <a:gd name="connsiteY22" fmla="*/ 26765 h 87058"/>
                <a:gd name="connsiteX23" fmla="*/ 71056 w 129539"/>
                <a:gd name="connsiteY23" fmla="*/ 38005 h 87058"/>
                <a:gd name="connsiteX24" fmla="*/ 71056 w 129539"/>
                <a:gd name="connsiteY24" fmla="*/ 87058 h 87058"/>
                <a:gd name="connsiteX25" fmla="*/ 58483 w 129539"/>
                <a:gd name="connsiteY25" fmla="*/ 87058 h 87058"/>
                <a:gd name="connsiteX26" fmla="*/ 58483 w 129539"/>
                <a:gd name="connsiteY26" fmla="*/ 36957 h 87058"/>
                <a:gd name="connsiteX27" fmla="*/ 52578 w 129539"/>
                <a:gd name="connsiteY27" fmla="*/ 18288 h 87058"/>
                <a:gd name="connsiteX28" fmla="*/ 36481 w 129539"/>
                <a:gd name="connsiteY28" fmla="*/ 11620 h 87058"/>
                <a:gd name="connsiteX29" fmla="*/ 27051 w 129539"/>
                <a:gd name="connsiteY29" fmla="*/ 13621 h 87058"/>
                <a:gd name="connsiteX30" fmla="*/ 19526 w 129539"/>
                <a:gd name="connsiteY30" fmla="*/ 19240 h 87058"/>
                <a:gd name="connsiteX31" fmla="*/ 14478 w 129539"/>
                <a:gd name="connsiteY31" fmla="*/ 27718 h 87058"/>
                <a:gd name="connsiteX32" fmla="*/ 12668 w 129539"/>
                <a:gd name="connsiteY32" fmla="*/ 38481 h 87058"/>
                <a:gd name="connsiteX33" fmla="*/ 12668 w 129539"/>
                <a:gd name="connsiteY33" fmla="*/ 87058 h 87058"/>
                <a:gd name="connsiteX34" fmla="*/ 0 w 129539"/>
                <a:gd name="connsiteY34" fmla="*/ 87058 h 87058"/>
                <a:gd name="connsiteX35" fmla="*/ 0 w 129539"/>
                <a:gd name="connsiteY35" fmla="*/ 1714 h 8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539" h="87058">
                  <a:moveTo>
                    <a:pt x="381" y="1810"/>
                  </a:moveTo>
                  <a:lnTo>
                    <a:pt x="13049" y="1810"/>
                  </a:lnTo>
                  <a:lnTo>
                    <a:pt x="13049" y="16192"/>
                  </a:lnTo>
                  <a:cubicBezTo>
                    <a:pt x="14478" y="14097"/>
                    <a:pt x="16002" y="12097"/>
                    <a:pt x="17717" y="10096"/>
                  </a:cubicBezTo>
                  <a:cubicBezTo>
                    <a:pt x="19431" y="8096"/>
                    <a:pt x="21336" y="6382"/>
                    <a:pt x="23622" y="4858"/>
                  </a:cubicBezTo>
                  <a:cubicBezTo>
                    <a:pt x="25813" y="3334"/>
                    <a:pt x="28289" y="2191"/>
                    <a:pt x="31051" y="1333"/>
                  </a:cubicBezTo>
                  <a:cubicBezTo>
                    <a:pt x="33814" y="476"/>
                    <a:pt x="36957" y="0"/>
                    <a:pt x="40576" y="0"/>
                  </a:cubicBezTo>
                  <a:cubicBezTo>
                    <a:pt x="47530" y="0"/>
                    <a:pt x="53245" y="1619"/>
                    <a:pt x="57721" y="4858"/>
                  </a:cubicBezTo>
                  <a:cubicBezTo>
                    <a:pt x="62198" y="8096"/>
                    <a:pt x="65627" y="12192"/>
                    <a:pt x="67913" y="16954"/>
                  </a:cubicBezTo>
                  <a:cubicBezTo>
                    <a:pt x="69437" y="14668"/>
                    <a:pt x="71152" y="12478"/>
                    <a:pt x="73057" y="10382"/>
                  </a:cubicBezTo>
                  <a:cubicBezTo>
                    <a:pt x="74962" y="8287"/>
                    <a:pt x="77152" y="6477"/>
                    <a:pt x="79534" y="4953"/>
                  </a:cubicBezTo>
                  <a:cubicBezTo>
                    <a:pt x="81915" y="3429"/>
                    <a:pt x="84677" y="2191"/>
                    <a:pt x="87725" y="1333"/>
                  </a:cubicBezTo>
                  <a:cubicBezTo>
                    <a:pt x="90773" y="476"/>
                    <a:pt x="94107" y="0"/>
                    <a:pt x="97917" y="0"/>
                  </a:cubicBezTo>
                  <a:cubicBezTo>
                    <a:pt x="107823" y="0"/>
                    <a:pt x="115538" y="3048"/>
                    <a:pt x="121158" y="9144"/>
                  </a:cubicBezTo>
                  <a:cubicBezTo>
                    <a:pt x="126778" y="15240"/>
                    <a:pt x="129540" y="23622"/>
                    <a:pt x="129540" y="34290"/>
                  </a:cubicBezTo>
                  <a:lnTo>
                    <a:pt x="129540" y="87058"/>
                  </a:lnTo>
                  <a:lnTo>
                    <a:pt x="116872" y="87058"/>
                  </a:lnTo>
                  <a:lnTo>
                    <a:pt x="116872" y="37338"/>
                  </a:lnTo>
                  <a:cubicBezTo>
                    <a:pt x="116872" y="29146"/>
                    <a:pt x="114871" y="22765"/>
                    <a:pt x="110966" y="18288"/>
                  </a:cubicBezTo>
                  <a:cubicBezTo>
                    <a:pt x="107061" y="13811"/>
                    <a:pt x="101632" y="11620"/>
                    <a:pt x="94679" y="11620"/>
                  </a:cubicBezTo>
                  <a:cubicBezTo>
                    <a:pt x="91440" y="11620"/>
                    <a:pt x="88487" y="12192"/>
                    <a:pt x="85630" y="13335"/>
                  </a:cubicBezTo>
                  <a:cubicBezTo>
                    <a:pt x="82772" y="14478"/>
                    <a:pt x="80296" y="16192"/>
                    <a:pt x="78105" y="18478"/>
                  </a:cubicBezTo>
                  <a:cubicBezTo>
                    <a:pt x="76009" y="20764"/>
                    <a:pt x="74295" y="23527"/>
                    <a:pt x="72962" y="26765"/>
                  </a:cubicBezTo>
                  <a:cubicBezTo>
                    <a:pt x="71723" y="30099"/>
                    <a:pt x="71056" y="33814"/>
                    <a:pt x="71056" y="38005"/>
                  </a:cubicBezTo>
                  <a:lnTo>
                    <a:pt x="71056" y="87058"/>
                  </a:lnTo>
                  <a:lnTo>
                    <a:pt x="58483" y="87058"/>
                  </a:lnTo>
                  <a:lnTo>
                    <a:pt x="58483" y="36957"/>
                  </a:lnTo>
                  <a:cubicBezTo>
                    <a:pt x="58483" y="28956"/>
                    <a:pt x="56483" y="22669"/>
                    <a:pt x="52578" y="18288"/>
                  </a:cubicBezTo>
                  <a:cubicBezTo>
                    <a:pt x="48673" y="13811"/>
                    <a:pt x="43339" y="11620"/>
                    <a:pt x="36481" y="11620"/>
                  </a:cubicBezTo>
                  <a:cubicBezTo>
                    <a:pt x="33052" y="11620"/>
                    <a:pt x="29908" y="12287"/>
                    <a:pt x="27051" y="13621"/>
                  </a:cubicBezTo>
                  <a:cubicBezTo>
                    <a:pt x="24193" y="14954"/>
                    <a:pt x="21717" y="16764"/>
                    <a:pt x="19526" y="19240"/>
                  </a:cubicBezTo>
                  <a:cubicBezTo>
                    <a:pt x="17335" y="21622"/>
                    <a:pt x="15716" y="24479"/>
                    <a:pt x="14478" y="27718"/>
                  </a:cubicBezTo>
                  <a:cubicBezTo>
                    <a:pt x="13240" y="30956"/>
                    <a:pt x="12668" y="34576"/>
                    <a:pt x="12668" y="38481"/>
                  </a:cubicBezTo>
                  <a:lnTo>
                    <a:pt x="12668" y="87058"/>
                  </a:lnTo>
                  <a:lnTo>
                    <a:pt x="0" y="87058"/>
                  </a:lnTo>
                  <a:lnTo>
                    <a:pt x="0" y="1714"/>
                  </a:lnTo>
                  <a:close/>
                </a:path>
              </a:pathLst>
            </a:custGeom>
            <a:solidFill>
              <a:srgbClr val="43505E"/>
            </a:solidFill>
            <a:ln w="9525" cap="flat">
              <a:noFill/>
              <a:prstDash val="solid"/>
              <a:miter/>
            </a:ln>
          </p:spPr>
          <p:txBody>
            <a:bodyPr rtlCol="0" anchor="ctr"/>
            <a:lstStyle/>
            <a:p>
              <a:endParaRPr lang="pt-BR"/>
            </a:p>
          </p:txBody>
        </p:sp>
        <p:sp>
          <p:nvSpPr>
            <p:cNvPr id="93" name="Freeform: Shape 92">
              <a:extLst>
                <a:ext uri="{FF2B5EF4-FFF2-40B4-BE49-F238E27FC236}">
                  <a16:creationId xmlns:a16="http://schemas.microsoft.com/office/drawing/2014/main" id="{F69D66C4-C9B9-0BB3-759E-D3E8911221C2}"/>
                </a:ext>
              </a:extLst>
            </p:cNvPr>
            <p:cNvSpPr/>
            <p:nvPr/>
          </p:nvSpPr>
          <p:spPr>
            <a:xfrm>
              <a:off x="2651728" y="4558601"/>
              <a:ext cx="85344" cy="86010"/>
            </a:xfrm>
            <a:custGeom>
              <a:avLst/>
              <a:gdLst>
                <a:gd name="connsiteX0" fmla="*/ 95 w 85344"/>
                <a:gd name="connsiteY0" fmla="*/ 0 h 86010"/>
                <a:gd name="connsiteX1" fmla="*/ 14097 w 85344"/>
                <a:gd name="connsiteY1" fmla="*/ 0 h 86010"/>
                <a:gd name="connsiteX2" fmla="*/ 42767 w 85344"/>
                <a:gd name="connsiteY2" fmla="*/ 70771 h 86010"/>
                <a:gd name="connsiteX3" fmla="*/ 71628 w 85344"/>
                <a:gd name="connsiteY3" fmla="*/ 0 h 86010"/>
                <a:gd name="connsiteX4" fmla="*/ 85344 w 85344"/>
                <a:gd name="connsiteY4" fmla="*/ 0 h 86010"/>
                <a:gd name="connsiteX5" fmla="*/ 48196 w 85344"/>
                <a:gd name="connsiteY5" fmla="*/ 86011 h 86010"/>
                <a:gd name="connsiteX6" fmla="*/ 36957 w 85344"/>
                <a:gd name="connsiteY6" fmla="*/ 86011 h 86010"/>
                <a:gd name="connsiteX7" fmla="*/ 0 w 85344"/>
                <a:gd name="connsiteY7" fmla="*/ 0 h 8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 h="86010">
                  <a:moveTo>
                    <a:pt x="95" y="0"/>
                  </a:moveTo>
                  <a:lnTo>
                    <a:pt x="14097" y="0"/>
                  </a:lnTo>
                  <a:lnTo>
                    <a:pt x="42767" y="70771"/>
                  </a:lnTo>
                  <a:lnTo>
                    <a:pt x="71628" y="0"/>
                  </a:lnTo>
                  <a:lnTo>
                    <a:pt x="85344" y="0"/>
                  </a:lnTo>
                  <a:lnTo>
                    <a:pt x="48196" y="86011"/>
                  </a:lnTo>
                  <a:lnTo>
                    <a:pt x="36957" y="86011"/>
                  </a:lnTo>
                  <a:lnTo>
                    <a:pt x="0" y="0"/>
                  </a:lnTo>
                  <a:close/>
                </a:path>
              </a:pathLst>
            </a:custGeom>
            <a:solidFill>
              <a:srgbClr val="43505E"/>
            </a:solidFill>
            <a:ln w="9525" cap="flat">
              <a:noFill/>
              <a:prstDash val="solid"/>
              <a:miter/>
            </a:ln>
          </p:spPr>
          <p:txBody>
            <a:bodyPr rtlCol="0" anchor="ctr"/>
            <a:lstStyle/>
            <a:p>
              <a:endParaRPr lang="pt-BR"/>
            </a:p>
          </p:txBody>
        </p:sp>
        <p:sp>
          <p:nvSpPr>
            <p:cNvPr id="94" name="Freeform: Shape 93">
              <a:extLst>
                <a:ext uri="{FF2B5EF4-FFF2-40B4-BE49-F238E27FC236}">
                  <a16:creationId xmlns:a16="http://schemas.microsoft.com/office/drawing/2014/main" id="{F70CECBF-7E8C-EAD4-F127-95DC8808E365}"/>
                </a:ext>
              </a:extLst>
            </p:cNvPr>
            <p:cNvSpPr/>
            <p:nvPr/>
          </p:nvSpPr>
          <p:spPr>
            <a:xfrm>
              <a:off x="2757455" y="4525930"/>
              <a:ext cx="14478" cy="118014"/>
            </a:xfrm>
            <a:custGeom>
              <a:avLst/>
              <a:gdLst>
                <a:gd name="connsiteX0" fmla="*/ 0 w 14478"/>
                <a:gd name="connsiteY0" fmla="*/ 0 h 118014"/>
                <a:gd name="connsiteX1" fmla="*/ 14478 w 14478"/>
                <a:gd name="connsiteY1" fmla="*/ 0 h 118014"/>
                <a:gd name="connsiteX2" fmla="*/ 14478 w 14478"/>
                <a:gd name="connsiteY2" fmla="*/ 14002 h 118014"/>
                <a:gd name="connsiteX3" fmla="*/ 0 w 14478"/>
                <a:gd name="connsiteY3" fmla="*/ 14002 h 118014"/>
                <a:gd name="connsiteX4" fmla="*/ 0 w 14478"/>
                <a:gd name="connsiteY4" fmla="*/ 0 h 118014"/>
                <a:gd name="connsiteX5" fmla="*/ 857 w 14478"/>
                <a:gd name="connsiteY5" fmla="*/ 32671 h 118014"/>
                <a:gd name="connsiteX6" fmla="*/ 13525 w 14478"/>
                <a:gd name="connsiteY6" fmla="*/ 32671 h 118014"/>
                <a:gd name="connsiteX7" fmla="*/ 13525 w 14478"/>
                <a:gd name="connsiteY7" fmla="*/ 118015 h 118014"/>
                <a:gd name="connsiteX8" fmla="*/ 857 w 14478"/>
                <a:gd name="connsiteY8" fmla="*/ 118015 h 118014"/>
                <a:gd name="connsiteX9" fmla="*/ 857 w 14478"/>
                <a:gd name="connsiteY9" fmla="*/ 32671 h 1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78" h="118014">
                  <a:moveTo>
                    <a:pt x="0" y="0"/>
                  </a:moveTo>
                  <a:lnTo>
                    <a:pt x="14478" y="0"/>
                  </a:lnTo>
                  <a:lnTo>
                    <a:pt x="14478" y="14002"/>
                  </a:lnTo>
                  <a:lnTo>
                    <a:pt x="0" y="14002"/>
                  </a:lnTo>
                  <a:lnTo>
                    <a:pt x="0" y="0"/>
                  </a:lnTo>
                  <a:close/>
                  <a:moveTo>
                    <a:pt x="857" y="32671"/>
                  </a:moveTo>
                  <a:lnTo>
                    <a:pt x="13525" y="32671"/>
                  </a:lnTo>
                  <a:lnTo>
                    <a:pt x="13525" y="118015"/>
                  </a:lnTo>
                  <a:lnTo>
                    <a:pt x="857" y="118015"/>
                  </a:lnTo>
                  <a:lnTo>
                    <a:pt x="857" y="32671"/>
                  </a:lnTo>
                  <a:close/>
                </a:path>
              </a:pathLst>
            </a:custGeom>
            <a:solidFill>
              <a:srgbClr val="43505E"/>
            </a:solidFill>
            <a:ln w="9525" cap="flat">
              <a:noFill/>
              <a:prstDash val="solid"/>
              <a:miter/>
            </a:ln>
          </p:spPr>
          <p:txBody>
            <a:bodyPr rtlCol="0" anchor="ctr"/>
            <a:lstStyle/>
            <a:p>
              <a:endParaRPr lang="pt-BR"/>
            </a:p>
          </p:txBody>
        </p:sp>
        <p:sp>
          <p:nvSpPr>
            <p:cNvPr id="95" name="Freeform: Shape 94">
              <a:extLst>
                <a:ext uri="{FF2B5EF4-FFF2-40B4-BE49-F238E27FC236}">
                  <a16:creationId xmlns:a16="http://schemas.microsoft.com/office/drawing/2014/main" id="{E247EBF0-2F93-0EC9-E240-C1D6C7FFA523}"/>
                </a:ext>
              </a:extLst>
            </p:cNvPr>
            <p:cNvSpPr/>
            <p:nvPr/>
          </p:nvSpPr>
          <p:spPr>
            <a:xfrm>
              <a:off x="2795555" y="4523549"/>
              <a:ext cx="86105" cy="122300"/>
            </a:xfrm>
            <a:custGeom>
              <a:avLst/>
              <a:gdLst>
                <a:gd name="connsiteX0" fmla="*/ 40767 w 86105"/>
                <a:gd name="connsiteY0" fmla="*/ 122206 h 122300"/>
                <a:gd name="connsiteX1" fmla="*/ 25717 w 86105"/>
                <a:gd name="connsiteY1" fmla="*/ 119253 h 122300"/>
                <a:gd name="connsiteX2" fmla="*/ 12668 w 86105"/>
                <a:gd name="connsiteY2" fmla="*/ 110585 h 122300"/>
                <a:gd name="connsiteX3" fmla="*/ 3429 w 86105"/>
                <a:gd name="connsiteY3" fmla="*/ 96679 h 122300"/>
                <a:gd name="connsiteX4" fmla="*/ 0 w 86105"/>
                <a:gd name="connsiteY4" fmla="*/ 77914 h 122300"/>
                <a:gd name="connsiteX5" fmla="*/ 0 w 86105"/>
                <a:gd name="connsiteY5" fmla="*/ 77629 h 122300"/>
                <a:gd name="connsiteX6" fmla="*/ 3429 w 86105"/>
                <a:gd name="connsiteY6" fmla="*/ 58960 h 122300"/>
                <a:gd name="connsiteX7" fmla="*/ 12668 w 86105"/>
                <a:gd name="connsiteY7" fmla="*/ 45053 h 122300"/>
                <a:gd name="connsiteX8" fmla="*/ 25717 w 86105"/>
                <a:gd name="connsiteY8" fmla="*/ 36290 h 122300"/>
                <a:gd name="connsiteX9" fmla="*/ 40767 w 86105"/>
                <a:gd name="connsiteY9" fmla="*/ 33242 h 122300"/>
                <a:gd name="connsiteX10" fmla="*/ 51625 w 86105"/>
                <a:gd name="connsiteY10" fmla="*/ 34766 h 122300"/>
                <a:gd name="connsiteX11" fmla="*/ 60579 w 86105"/>
                <a:gd name="connsiteY11" fmla="*/ 38767 h 122300"/>
                <a:gd name="connsiteX12" fmla="*/ 67723 w 86105"/>
                <a:gd name="connsiteY12" fmla="*/ 44577 h 122300"/>
                <a:gd name="connsiteX13" fmla="*/ 73438 w 86105"/>
                <a:gd name="connsiteY13" fmla="*/ 51530 h 122300"/>
                <a:gd name="connsiteX14" fmla="*/ 73438 w 86105"/>
                <a:gd name="connsiteY14" fmla="*/ 0 h 122300"/>
                <a:gd name="connsiteX15" fmla="*/ 86106 w 86105"/>
                <a:gd name="connsiteY15" fmla="*/ 0 h 122300"/>
                <a:gd name="connsiteX16" fmla="*/ 86106 w 86105"/>
                <a:gd name="connsiteY16" fmla="*/ 120491 h 122300"/>
                <a:gd name="connsiteX17" fmla="*/ 73438 w 86105"/>
                <a:gd name="connsiteY17" fmla="*/ 120491 h 122300"/>
                <a:gd name="connsiteX18" fmla="*/ 73438 w 86105"/>
                <a:gd name="connsiteY18" fmla="*/ 103346 h 122300"/>
                <a:gd name="connsiteX19" fmla="*/ 67532 w 86105"/>
                <a:gd name="connsiteY19" fmla="*/ 110585 h 122300"/>
                <a:gd name="connsiteX20" fmla="*/ 60388 w 86105"/>
                <a:gd name="connsiteY20" fmla="*/ 116681 h 122300"/>
                <a:gd name="connsiteX21" fmla="*/ 51530 w 86105"/>
                <a:gd name="connsiteY21" fmla="*/ 120777 h 122300"/>
                <a:gd name="connsiteX22" fmla="*/ 40767 w 86105"/>
                <a:gd name="connsiteY22" fmla="*/ 122301 h 122300"/>
                <a:gd name="connsiteX23" fmla="*/ 43053 w 86105"/>
                <a:gd name="connsiteY23" fmla="*/ 110776 h 122300"/>
                <a:gd name="connsiteX24" fmla="*/ 54483 w 86105"/>
                <a:gd name="connsiteY24" fmla="*/ 108395 h 122300"/>
                <a:gd name="connsiteX25" fmla="*/ 64389 w 86105"/>
                <a:gd name="connsiteY25" fmla="*/ 101632 h 122300"/>
                <a:gd name="connsiteX26" fmla="*/ 71342 w 86105"/>
                <a:gd name="connsiteY26" fmla="*/ 91250 h 122300"/>
                <a:gd name="connsiteX27" fmla="*/ 73914 w 86105"/>
                <a:gd name="connsiteY27" fmla="*/ 77819 h 122300"/>
                <a:gd name="connsiteX28" fmla="*/ 73914 w 86105"/>
                <a:gd name="connsiteY28" fmla="*/ 77533 h 122300"/>
                <a:gd name="connsiteX29" fmla="*/ 71342 w 86105"/>
                <a:gd name="connsiteY29" fmla="*/ 64103 h 122300"/>
                <a:gd name="connsiteX30" fmla="*/ 64389 w 86105"/>
                <a:gd name="connsiteY30" fmla="*/ 53816 h 122300"/>
                <a:gd name="connsiteX31" fmla="*/ 54483 w 86105"/>
                <a:gd name="connsiteY31" fmla="*/ 47149 h 122300"/>
                <a:gd name="connsiteX32" fmla="*/ 43053 w 86105"/>
                <a:gd name="connsiteY32" fmla="*/ 44767 h 122300"/>
                <a:gd name="connsiteX33" fmla="*/ 31337 w 86105"/>
                <a:gd name="connsiteY33" fmla="*/ 46958 h 122300"/>
                <a:gd name="connsiteX34" fmla="*/ 21812 w 86105"/>
                <a:gd name="connsiteY34" fmla="*/ 53435 h 122300"/>
                <a:gd name="connsiteX35" fmla="*/ 15335 w 86105"/>
                <a:gd name="connsiteY35" fmla="*/ 63722 h 122300"/>
                <a:gd name="connsiteX36" fmla="*/ 12954 w 86105"/>
                <a:gd name="connsiteY36" fmla="*/ 77629 h 122300"/>
                <a:gd name="connsiteX37" fmla="*/ 12954 w 86105"/>
                <a:gd name="connsiteY37" fmla="*/ 77914 h 122300"/>
                <a:gd name="connsiteX38" fmla="*/ 15335 w 86105"/>
                <a:gd name="connsiteY38" fmla="*/ 91630 h 122300"/>
                <a:gd name="connsiteX39" fmla="*/ 21812 w 86105"/>
                <a:gd name="connsiteY39" fmla="*/ 102013 h 122300"/>
                <a:gd name="connsiteX40" fmla="*/ 31337 w 86105"/>
                <a:gd name="connsiteY40" fmla="*/ 108585 h 122300"/>
                <a:gd name="connsiteX41" fmla="*/ 42863 w 86105"/>
                <a:gd name="connsiteY41" fmla="*/ 110871 h 1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6105" h="122300">
                  <a:moveTo>
                    <a:pt x="40767" y="122206"/>
                  </a:moveTo>
                  <a:cubicBezTo>
                    <a:pt x="35624" y="122206"/>
                    <a:pt x="30575" y="121253"/>
                    <a:pt x="25717" y="119253"/>
                  </a:cubicBezTo>
                  <a:cubicBezTo>
                    <a:pt x="20860" y="117253"/>
                    <a:pt x="16574" y="114395"/>
                    <a:pt x="12668" y="110585"/>
                  </a:cubicBezTo>
                  <a:cubicBezTo>
                    <a:pt x="8763" y="106775"/>
                    <a:pt x="5715" y="102203"/>
                    <a:pt x="3429" y="96679"/>
                  </a:cubicBezTo>
                  <a:cubicBezTo>
                    <a:pt x="1143" y="91250"/>
                    <a:pt x="0" y="84963"/>
                    <a:pt x="0" y="77914"/>
                  </a:cubicBezTo>
                  <a:lnTo>
                    <a:pt x="0" y="77629"/>
                  </a:lnTo>
                  <a:cubicBezTo>
                    <a:pt x="0" y="70675"/>
                    <a:pt x="1143" y="64484"/>
                    <a:pt x="3429" y="58960"/>
                  </a:cubicBezTo>
                  <a:cubicBezTo>
                    <a:pt x="5715" y="53435"/>
                    <a:pt x="8858" y="48768"/>
                    <a:pt x="12668" y="45053"/>
                  </a:cubicBezTo>
                  <a:cubicBezTo>
                    <a:pt x="16478" y="41243"/>
                    <a:pt x="20860" y="38291"/>
                    <a:pt x="25717" y="36290"/>
                  </a:cubicBezTo>
                  <a:cubicBezTo>
                    <a:pt x="30575" y="34290"/>
                    <a:pt x="35528" y="33242"/>
                    <a:pt x="40767" y="33242"/>
                  </a:cubicBezTo>
                  <a:cubicBezTo>
                    <a:pt x="44767" y="33242"/>
                    <a:pt x="48387" y="33718"/>
                    <a:pt x="51625" y="34766"/>
                  </a:cubicBezTo>
                  <a:cubicBezTo>
                    <a:pt x="54959" y="35719"/>
                    <a:pt x="57912" y="37052"/>
                    <a:pt x="60579" y="38767"/>
                  </a:cubicBezTo>
                  <a:cubicBezTo>
                    <a:pt x="63246" y="40386"/>
                    <a:pt x="65627" y="42386"/>
                    <a:pt x="67723" y="44577"/>
                  </a:cubicBezTo>
                  <a:cubicBezTo>
                    <a:pt x="69818" y="46768"/>
                    <a:pt x="71723" y="49054"/>
                    <a:pt x="73438" y="51530"/>
                  </a:cubicBezTo>
                  <a:lnTo>
                    <a:pt x="73438" y="0"/>
                  </a:lnTo>
                  <a:lnTo>
                    <a:pt x="86106" y="0"/>
                  </a:lnTo>
                  <a:lnTo>
                    <a:pt x="86106" y="120491"/>
                  </a:lnTo>
                  <a:lnTo>
                    <a:pt x="73438" y="120491"/>
                  </a:lnTo>
                  <a:lnTo>
                    <a:pt x="73438" y="103346"/>
                  </a:lnTo>
                  <a:cubicBezTo>
                    <a:pt x="71628" y="105918"/>
                    <a:pt x="69723" y="108299"/>
                    <a:pt x="67532" y="110585"/>
                  </a:cubicBezTo>
                  <a:cubicBezTo>
                    <a:pt x="65342" y="112871"/>
                    <a:pt x="62960" y="114967"/>
                    <a:pt x="60388" y="116681"/>
                  </a:cubicBezTo>
                  <a:cubicBezTo>
                    <a:pt x="57817" y="118396"/>
                    <a:pt x="54769" y="119825"/>
                    <a:pt x="51530" y="120777"/>
                  </a:cubicBezTo>
                  <a:cubicBezTo>
                    <a:pt x="48292" y="121729"/>
                    <a:pt x="44672" y="122301"/>
                    <a:pt x="40767" y="122301"/>
                  </a:cubicBezTo>
                  <a:close/>
                  <a:moveTo>
                    <a:pt x="43053" y="110776"/>
                  </a:moveTo>
                  <a:cubicBezTo>
                    <a:pt x="47054" y="110776"/>
                    <a:pt x="50863" y="110014"/>
                    <a:pt x="54483" y="108395"/>
                  </a:cubicBezTo>
                  <a:cubicBezTo>
                    <a:pt x="58198" y="106775"/>
                    <a:pt x="61436" y="104584"/>
                    <a:pt x="64389" y="101632"/>
                  </a:cubicBezTo>
                  <a:cubicBezTo>
                    <a:pt x="67342" y="98679"/>
                    <a:pt x="69628" y="95250"/>
                    <a:pt x="71342" y="91250"/>
                  </a:cubicBezTo>
                  <a:cubicBezTo>
                    <a:pt x="73057" y="87249"/>
                    <a:pt x="73914" y="82772"/>
                    <a:pt x="73914" y="77819"/>
                  </a:cubicBezTo>
                  <a:lnTo>
                    <a:pt x="73914" y="77533"/>
                  </a:lnTo>
                  <a:cubicBezTo>
                    <a:pt x="73914" y="72580"/>
                    <a:pt x="73057" y="68104"/>
                    <a:pt x="71342" y="64103"/>
                  </a:cubicBezTo>
                  <a:cubicBezTo>
                    <a:pt x="69628" y="60103"/>
                    <a:pt x="67342" y="56674"/>
                    <a:pt x="64389" y="53816"/>
                  </a:cubicBezTo>
                  <a:cubicBezTo>
                    <a:pt x="61436" y="50959"/>
                    <a:pt x="58198" y="48768"/>
                    <a:pt x="54483" y="47149"/>
                  </a:cubicBezTo>
                  <a:cubicBezTo>
                    <a:pt x="50768" y="45529"/>
                    <a:pt x="46958" y="44767"/>
                    <a:pt x="43053" y="44767"/>
                  </a:cubicBezTo>
                  <a:cubicBezTo>
                    <a:pt x="38862" y="44767"/>
                    <a:pt x="34957" y="45529"/>
                    <a:pt x="31337" y="46958"/>
                  </a:cubicBezTo>
                  <a:cubicBezTo>
                    <a:pt x="27718" y="48482"/>
                    <a:pt x="24575" y="50578"/>
                    <a:pt x="21812" y="53435"/>
                  </a:cubicBezTo>
                  <a:cubicBezTo>
                    <a:pt x="19145" y="56197"/>
                    <a:pt x="16954" y="59722"/>
                    <a:pt x="15335" y="63722"/>
                  </a:cubicBezTo>
                  <a:cubicBezTo>
                    <a:pt x="13716" y="67818"/>
                    <a:pt x="12954" y="72390"/>
                    <a:pt x="12954" y="77629"/>
                  </a:cubicBezTo>
                  <a:lnTo>
                    <a:pt x="12954" y="77914"/>
                  </a:lnTo>
                  <a:cubicBezTo>
                    <a:pt x="12954" y="82963"/>
                    <a:pt x="13716" y="87535"/>
                    <a:pt x="15335" y="91630"/>
                  </a:cubicBezTo>
                  <a:cubicBezTo>
                    <a:pt x="16954" y="95726"/>
                    <a:pt x="19145" y="99155"/>
                    <a:pt x="21812" y="102013"/>
                  </a:cubicBezTo>
                  <a:cubicBezTo>
                    <a:pt x="24479" y="104870"/>
                    <a:pt x="27718" y="107061"/>
                    <a:pt x="31337" y="108585"/>
                  </a:cubicBezTo>
                  <a:cubicBezTo>
                    <a:pt x="34957" y="110109"/>
                    <a:pt x="38862" y="110871"/>
                    <a:pt x="42863" y="110871"/>
                  </a:cubicBezTo>
                  <a:close/>
                </a:path>
              </a:pathLst>
            </a:custGeom>
            <a:solidFill>
              <a:srgbClr val="43505E"/>
            </a:solidFill>
            <a:ln w="9525" cap="flat">
              <a:noFill/>
              <a:prstDash val="solid"/>
              <a:miter/>
            </a:ln>
          </p:spPr>
          <p:txBody>
            <a:bodyPr rtlCol="0" anchor="ctr"/>
            <a:lstStyle/>
            <a:p>
              <a:endParaRPr lang="pt-BR"/>
            </a:p>
          </p:txBody>
        </p:sp>
        <p:sp>
          <p:nvSpPr>
            <p:cNvPr id="96" name="Freeform: Shape 95">
              <a:extLst>
                <a:ext uri="{FF2B5EF4-FFF2-40B4-BE49-F238E27FC236}">
                  <a16:creationId xmlns:a16="http://schemas.microsoft.com/office/drawing/2014/main" id="{D11BDE59-D83D-D02C-4D1D-7E5B032014E3}"/>
                </a:ext>
              </a:extLst>
            </p:cNvPr>
            <p:cNvSpPr/>
            <p:nvPr/>
          </p:nvSpPr>
          <p:spPr>
            <a:xfrm>
              <a:off x="2903759" y="4557267"/>
              <a:ext cx="75152" cy="88582"/>
            </a:xfrm>
            <a:custGeom>
              <a:avLst/>
              <a:gdLst>
                <a:gd name="connsiteX0" fmla="*/ 31813 w 75152"/>
                <a:gd name="connsiteY0" fmla="*/ 88487 h 88582"/>
                <a:gd name="connsiteX1" fmla="*/ 20098 w 75152"/>
                <a:gd name="connsiteY1" fmla="*/ 86868 h 88582"/>
                <a:gd name="connsiteX2" fmla="*/ 9906 w 75152"/>
                <a:gd name="connsiteY2" fmla="*/ 81820 h 88582"/>
                <a:gd name="connsiteX3" fmla="*/ 2762 w 75152"/>
                <a:gd name="connsiteY3" fmla="*/ 73438 h 88582"/>
                <a:gd name="connsiteX4" fmla="*/ 0 w 75152"/>
                <a:gd name="connsiteY4" fmla="*/ 61913 h 88582"/>
                <a:gd name="connsiteX5" fmla="*/ 0 w 75152"/>
                <a:gd name="connsiteY5" fmla="*/ 61532 h 88582"/>
                <a:gd name="connsiteX6" fmla="*/ 2667 w 75152"/>
                <a:gd name="connsiteY6" fmla="*/ 49435 h 88582"/>
                <a:gd name="connsiteX7" fmla="*/ 10192 w 75152"/>
                <a:gd name="connsiteY7" fmla="*/ 40767 h 88582"/>
                <a:gd name="connsiteX8" fmla="*/ 21717 w 75152"/>
                <a:gd name="connsiteY8" fmla="*/ 35528 h 88582"/>
                <a:gd name="connsiteX9" fmla="*/ 36481 w 75152"/>
                <a:gd name="connsiteY9" fmla="*/ 33719 h 88582"/>
                <a:gd name="connsiteX10" fmla="*/ 50768 w 75152"/>
                <a:gd name="connsiteY10" fmla="*/ 34671 h 88582"/>
                <a:gd name="connsiteX11" fmla="*/ 62579 w 75152"/>
                <a:gd name="connsiteY11" fmla="*/ 37338 h 88582"/>
                <a:gd name="connsiteX12" fmla="*/ 62579 w 75152"/>
                <a:gd name="connsiteY12" fmla="*/ 34671 h 88582"/>
                <a:gd name="connsiteX13" fmla="*/ 56007 w 75152"/>
                <a:gd name="connsiteY13" fmla="*/ 17526 h 88582"/>
                <a:gd name="connsiteX14" fmla="*/ 37338 w 75152"/>
                <a:gd name="connsiteY14" fmla="*/ 11716 h 88582"/>
                <a:gd name="connsiteX15" fmla="*/ 23527 w 75152"/>
                <a:gd name="connsiteY15" fmla="*/ 13335 h 88582"/>
                <a:gd name="connsiteX16" fmla="*/ 11430 w 75152"/>
                <a:gd name="connsiteY16" fmla="*/ 17812 h 88582"/>
                <a:gd name="connsiteX17" fmla="*/ 7620 w 75152"/>
                <a:gd name="connsiteY17" fmla="*/ 7334 h 88582"/>
                <a:gd name="connsiteX18" fmla="*/ 22003 w 75152"/>
                <a:gd name="connsiteY18" fmla="*/ 2000 h 88582"/>
                <a:gd name="connsiteX19" fmla="*/ 38671 w 75152"/>
                <a:gd name="connsiteY19" fmla="*/ 0 h 88582"/>
                <a:gd name="connsiteX20" fmla="*/ 66199 w 75152"/>
                <a:gd name="connsiteY20" fmla="*/ 9430 h 88582"/>
                <a:gd name="connsiteX21" fmla="*/ 75152 w 75152"/>
                <a:gd name="connsiteY21" fmla="*/ 34481 h 88582"/>
                <a:gd name="connsiteX22" fmla="*/ 75152 w 75152"/>
                <a:gd name="connsiteY22" fmla="*/ 86678 h 88582"/>
                <a:gd name="connsiteX23" fmla="*/ 62579 w 75152"/>
                <a:gd name="connsiteY23" fmla="*/ 86678 h 88582"/>
                <a:gd name="connsiteX24" fmla="*/ 62579 w 75152"/>
                <a:gd name="connsiteY24" fmla="*/ 74009 h 88582"/>
                <a:gd name="connsiteX25" fmla="*/ 50578 w 75152"/>
                <a:gd name="connsiteY25" fmla="*/ 84201 h 88582"/>
                <a:gd name="connsiteX26" fmla="*/ 31813 w 75152"/>
                <a:gd name="connsiteY26" fmla="*/ 88583 h 88582"/>
                <a:gd name="connsiteX27" fmla="*/ 34385 w 75152"/>
                <a:gd name="connsiteY27" fmla="*/ 78105 h 88582"/>
                <a:gd name="connsiteX28" fmla="*/ 45434 w 75152"/>
                <a:gd name="connsiteY28" fmla="*/ 76486 h 88582"/>
                <a:gd name="connsiteX29" fmla="*/ 54388 w 75152"/>
                <a:gd name="connsiteY29" fmla="*/ 71819 h 88582"/>
                <a:gd name="connsiteX30" fmla="*/ 60484 w 75152"/>
                <a:gd name="connsiteY30" fmla="*/ 64579 h 88582"/>
                <a:gd name="connsiteX31" fmla="*/ 62675 w 75152"/>
                <a:gd name="connsiteY31" fmla="*/ 55340 h 88582"/>
                <a:gd name="connsiteX32" fmla="*/ 62675 w 75152"/>
                <a:gd name="connsiteY32" fmla="*/ 47435 h 88582"/>
                <a:gd name="connsiteX33" fmla="*/ 51816 w 75152"/>
                <a:gd name="connsiteY33" fmla="*/ 44958 h 88582"/>
                <a:gd name="connsiteX34" fmla="*/ 37814 w 75152"/>
                <a:gd name="connsiteY34" fmla="*/ 43815 h 88582"/>
                <a:gd name="connsiteX35" fmla="*/ 19431 w 75152"/>
                <a:gd name="connsiteY35" fmla="*/ 48482 h 88582"/>
                <a:gd name="connsiteX36" fmla="*/ 12954 w 75152"/>
                <a:gd name="connsiteY36" fmla="*/ 60865 h 88582"/>
                <a:gd name="connsiteX37" fmla="*/ 12954 w 75152"/>
                <a:gd name="connsiteY37" fmla="*/ 61246 h 88582"/>
                <a:gd name="connsiteX38" fmla="*/ 14668 w 75152"/>
                <a:gd name="connsiteY38" fmla="*/ 68390 h 88582"/>
                <a:gd name="connsiteX39" fmla="*/ 19336 w 75152"/>
                <a:gd name="connsiteY39" fmla="*/ 73724 h 88582"/>
                <a:gd name="connsiteX40" fmla="*/ 26194 w 75152"/>
                <a:gd name="connsiteY40" fmla="*/ 76962 h 88582"/>
                <a:gd name="connsiteX41" fmla="*/ 34385 w 75152"/>
                <a:gd name="connsiteY41" fmla="*/ 78105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5152" h="88582">
                  <a:moveTo>
                    <a:pt x="31813" y="88487"/>
                  </a:moveTo>
                  <a:cubicBezTo>
                    <a:pt x="27813" y="88487"/>
                    <a:pt x="23908" y="87916"/>
                    <a:pt x="20098" y="86868"/>
                  </a:cubicBezTo>
                  <a:cubicBezTo>
                    <a:pt x="16288" y="85820"/>
                    <a:pt x="12859" y="84106"/>
                    <a:pt x="9906" y="81820"/>
                  </a:cubicBezTo>
                  <a:cubicBezTo>
                    <a:pt x="6953" y="79534"/>
                    <a:pt x="4572" y="76771"/>
                    <a:pt x="2762" y="73438"/>
                  </a:cubicBezTo>
                  <a:cubicBezTo>
                    <a:pt x="952" y="70104"/>
                    <a:pt x="0" y="66294"/>
                    <a:pt x="0" y="61913"/>
                  </a:cubicBezTo>
                  <a:lnTo>
                    <a:pt x="0" y="61532"/>
                  </a:lnTo>
                  <a:cubicBezTo>
                    <a:pt x="0" y="56864"/>
                    <a:pt x="857" y="52864"/>
                    <a:pt x="2667" y="49435"/>
                  </a:cubicBezTo>
                  <a:cubicBezTo>
                    <a:pt x="4477" y="46006"/>
                    <a:pt x="6953" y="43053"/>
                    <a:pt x="10192" y="40767"/>
                  </a:cubicBezTo>
                  <a:cubicBezTo>
                    <a:pt x="13430" y="38481"/>
                    <a:pt x="17335" y="36671"/>
                    <a:pt x="21717" y="35528"/>
                  </a:cubicBezTo>
                  <a:cubicBezTo>
                    <a:pt x="26098" y="34385"/>
                    <a:pt x="31147" y="33719"/>
                    <a:pt x="36481" y="33719"/>
                  </a:cubicBezTo>
                  <a:cubicBezTo>
                    <a:pt x="41815" y="33719"/>
                    <a:pt x="46768" y="34004"/>
                    <a:pt x="50768" y="34671"/>
                  </a:cubicBezTo>
                  <a:cubicBezTo>
                    <a:pt x="54769" y="35338"/>
                    <a:pt x="58674" y="36195"/>
                    <a:pt x="62579" y="37338"/>
                  </a:cubicBezTo>
                  <a:lnTo>
                    <a:pt x="62579" y="34671"/>
                  </a:lnTo>
                  <a:cubicBezTo>
                    <a:pt x="62579" y="27146"/>
                    <a:pt x="60388" y="21431"/>
                    <a:pt x="56007" y="17526"/>
                  </a:cubicBezTo>
                  <a:cubicBezTo>
                    <a:pt x="51625" y="13621"/>
                    <a:pt x="45339" y="11716"/>
                    <a:pt x="37338" y="11716"/>
                  </a:cubicBezTo>
                  <a:cubicBezTo>
                    <a:pt x="32290" y="11716"/>
                    <a:pt x="27718" y="12287"/>
                    <a:pt x="23527" y="13335"/>
                  </a:cubicBezTo>
                  <a:cubicBezTo>
                    <a:pt x="19431" y="14478"/>
                    <a:pt x="15335" y="15907"/>
                    <a:pt x="11430" y="17812"/>
                  </a:cubicBezTo>
                  <a:lnTo>
                    <a:pt x="7620" y="7334"/>
                  </a:lnTo>
                  <a:cubicBezTo>
                    <a:pt x="12383" y="5144"/>
                    <a:pt x="17145" y="3334"/>
                    <a:pt x="22003" y="2000"/>
                  </a:cubicBezTo>
                  <a:cubicBezTo>
                    <a:pt x="26860" y="667"/>
                    <a:pt x="32385" y="0"/>
                    <a:pt x="38671" y="0"/>
                  </a:cubicBezTo>
                  <a:cubicBezTo>
                    <a:pt x="50768" y="0"/>
                    <a:pt x="60008" y="3143"/>
                    <a:pt x="66199" y="9430"/>
                  </a:cubicBezTo>
                  <a:cubicBezTo>
                    <a:pt x="72104" y="15335"/>
                    <a:pt x="75152" y="23717"/>
                    <a:pt x="75152" y="34481"/>
                  </a:cubicBezTo>
                  <a:lnTo>
                    <a:pt x="75152" y="86678"/>
                  </a:lnTo>
                  <a:lnTo>
                    <a:pt x="62579" y="86678"/>
                  </a:lnTo>
                  <a:lnTo>
                    <a:pt x="62579" y="74009"/>
                  </a:lnTo>
                  <a:cubicBezTo>
                    <a:pt x="59626" y="77819"/>
                    <a:pt x="55626" y="81248"/>
                    <a:pt x="50578" y="84201"/>
                  </a:cubicBezTo>
                  <a:cubicBezTo>
                    <a:pt x="45529" y="87154"/>
                    <a:pt x="39338" y="88583"/>
                    <a:pt x="31813" y="88583"/>
                  </a:cubicBezTo>
                  <a:close/>
                  <a:moveTo>
                    <a:pt x="34385" y="78105"/>
                  </a:moveTo>
                  <a:cubicBezTo>
                    <a:pt x="38291" y="78105"/>
                    <a:pt x="42005" y="77533"/>
                    <a:pt x="45434" y="76486"/>
                  </a:cubicBezTo>
                  <a:cubicBezTo>
                    <a:pt x="48863" y="75343"/>
                    <a:pt x="51816" y="73819"/>
                    <a:pt x="54388" y="71819"/>
                  </a:cubicBezTo>
                  <a:cubicBezTo>
                    <a:pt x="56959" y="69818"/>
                    <a:pt x="58960" y="67342"/>
                    <a:pt x="60484" y="64579"/>
                  </a:cubicBezTo>
                  <a:cubicBezTo>
                    <a:pt x="62008" y="61817"/>
                    <a:pt x="62675" y="58674"/>
                    <a:pt x="62675" y="55340"/>
                  </a:cubicBezTo>
                  <a:lnTo>
                    <a:pt x="62675" y="47435"/>
                  </a:lnTo>
                  <a:cubicBezTo>
                    <a:pt x="59531" y="46577"/>
                    <a:pt x="55912" y="45720"/>
                    <a:pt x="51816" y="44958"/>
                  </a:cubicBezTo>
                  <a:cubicBezTo>
                    <a:pt x="47720" y="44196"/>
                    <a:pt x="43053" y="43815"/>
                    <a:pt x="37814" y="43815"/>
                  </a:cubicBezTo>
                  <a:cubicBezTo>
                    <a:pt x="29908" y="43815"/>
                    <a:pt x="23813" y="45339"/>
                    <a:pt x="19431" y="48482"/>
                  </a:cubicBezTo>
                  <a:cubicBezTo>
                    <a:pt x="15050" y="51625"/>
                    <a:pt x="12954" y="55721"/>
                    <a:pt x="12954" y="60865"/>
                  </a:cubicBezTo>
                  <a:lnTo>
                    <a:pt x="12954" y="61246"/>
                  </a:lnTo>
                  <a:cubicBezTo>
                    <a:pt x="12954" y="63913"/>
                    <a:pt x="13525" y="66294"/>
                    <a:pt x="14668" y="68390"/>
                  </a:cubicBezTo>
                  <a:cubicBezTo>
                    <a:pt x="15812" y="70485"/>
                    <a:pt x="17335" y="72295"/>
                    <a:pt x="19336" y="73724"/>
                  </a:cubicBezTo>
                  <a:cubicBezTo>
                    <a:pt x="21336" y="75152"/>
                    <a:pt x="23622" y="76200"/>
                    <a:pt x="26194" y="76962"/>
                  </a:cubicBezTo>
                  <a:cubicBezTo>
                    <a:pt x="28766" y="77724"/>
                    <a:pt x="31528" y="78105"/>
                    <a:pt x="34385" y="78105"/>
                  </a:cubicBezTo>
                  <a:close/>
                </a:path>
              </a:pathLst>
            </a:custGeom>
            <a:solidFill>
              <a:srgbClr val="43505E"/>
            </a:solidFill>
            <a:ln w="9525" cap="flat">
              <a:noFill/>
              <a:prstDash val="solid"/>
              <a:miter/>
            </a:ln>
          </p:spPr>
          <p:txBody>
            <a:bodyPr rtlCol="0" anchor="ctr"/>
            <a:lstStyle/>
            <a:p>
              <a:endParaRPr lang="pt-BR"/>
            </a:p>
          </p:txBody>
        </p:sp>
        <p:sp>
          <p:nvSpPr>
            <p:cNvPr id="97" name="Freeform: Shape 96">
              <a:extLst>
                <a:ext uri="{FF2B5EF4-FFF2-40B4-BE49-F238E27FC236}">
                  <a16:creationId xmlns:a16="http://schemas.microsoft.com/office/drawing/2014/main" id="{5FC16007-564D-9630-971F-15A8DB5F6B5F}"/>
                </a:ext>
              </a:extLst>
            </p:cNvPr>
            <p:cNvSpPr/>
            <p:nvPr/>
          </p:nvSpPr>
          <p:spPr>
            <a:xfrm>
              <a:off x="2998533" y="4557267"/>
              <a:ext cx="65722" cy="88582"/>
            </a:xfrm>
            <a:custGeom>
              <a:avLst/>
              <a:gdLst>
                <a:gd name="connsiteX0" fmla="*/ 35338 w 65722"/>
                <a:gd name="connsiteY0" fmla="*/ 88297 h 88582"/>
                <a:gd name="connsiteX1" fmla="*/ 16669 w 65722"/>
                <a:gd name="connsiteY1" fmla="*/ 84963 h 88582"/>
                <a:gd name="connsiteX2" fmla="*/ 0 w 65722"/>
                <a:gd name="connsiteY2" fmla="*/ 75819 h 88582"/>
                <a:gd name="connsiteX3" fmla="*/ 6477 w 65722"/>
                <a:gd name="connsiteY3" fmla="*/ 66770 h 88582"/>
                <a:gd name="connsiteX4" fmla="*/ 20955 w 65722"/>
                <a:gd name="connsiteY4" fmla="*/ 74867 h 88582"/>
                <a:gd name="connsiteX5" fmla="*/ 36004 w 65722"/>
                <a:gd name="connsiteY5" fmla="*/ 77629 h 88582"/>
                <a:gd name="connsiteX6" fmla="*/ 48673 w 65722"/>
                <a:gd name="connsiteY6" fmla="*/ 74009 h 88582"/>
                <a:gd name="connsiteX7" fmla="*/ 53626 w 65722"/>
                <a:gd name="connsiteY7" fmla="*/ 64103 h 88582"/>
                <a:gd name="connsiteX8" fmla="*/ 53626 w 65722"/>
                <a:gd name="connsiteY8" fmla="*/ 63818 h 88582"/>
                <a:gd name="connsiteX9" fmla="*/ 51911 w 65722"/>
                <a:gd name="connsiteY9" fmla="*/ 58388 h 88582"/>
                <a:gd name="connsiteX10" fmla="*/ 47244 w 65722"/>
                <a:gd name="connsiteY10" fmla="*/ 54388 h 88582"/>
                <a:gd name="connsiteX11" fmla="*/ 40386 w 65722"/>
                <a:gd name="connsiteY11" fmla="*/ 51340 h 88582"/>
                <a:gd name="connsiteX12" fmla="*/ 32385 w 65722"/>
                <a:gd name="connsiteY12" fmla="*/ 48863 h 88582"/>
                <a:gd name="connsiteX13" fmla="*/ 22384 w 65722"/>
                <a:gd name="connsiteY13" fmla="*/ 45625 h 88582"/>
                <a:gd name="connsiteX14" fmla="*/ 13335 w 65722"/>
                <a:gd name="connsiteY14" fmla="*/ 41243 h 88582"/>
                <a:gd name="connsiteX15" fmla="*/ 6763 w 65722"/>
                <a:gd name="connsiteY15" fmla="*/ 34671 h 88582"/>
                <a:gd name="connsiteX16" fmla="*/ 4191 w 65722"/>
                <a:gd name="connsiteY16" fmla="*/ 24765 h 88582"/>
                <a:gd name="connsiteX17" fmla="*/ 4191 w 65722"/>
                <a:gd name="connsiteY17" fmla="*/ 24384 h 88582"/>
                <a:gd name="connsiteX18" fmla="*/ 6287 w 65722"/>
                <a:gd name="connsiteY18" fmla="*/ 14383 h 88582"/>
                <a:gd name="connsiteX19" fmla="*/ 12287 w 65722"/>
                <a:gd name="connsiteY19" fmla="*/ 6668 h 88582"/>
                <a:gd name="connsiteX20" fmla="*/ 21526 w 65722"/>
                <a:gd name="connsiteY20" fmla="*/ 1715 h 88582"/>
                <a:gd name="connsiteX21" fmla="*/ 33147 w 65722"/>
                <a:gd name="connsiteY21" fmla="*/ 0 h 88582"/>
                <a:gd name="connsiteX22" fmla="*/ 49149 w 65722"/>
                <a:gd name="connsiteY22" fmla="*/ 2572 h 88582"/>
                <a:gd name="connsiteX23" fmla="*/ 63817 w 65722"/>
                <a:gd name="connsiteY23" fmla="*/ 9430 h 88582"/>
                <a:gd name="connsiteX24" fmla="*/ 58007 w 65722"/>
                <a:gd name="connsiteY24" fmla="*/ 18955 h 88582"/>
                <a:gd name="connsiteX25" fmla="*/ 45529 w 65722"/>
                <a:gd name="connsiteY25" fmla="*/ 12954 h 88582"/>
                <a:gd name="connsiteX26" fmla="*/ 32766 w 65722"/>
                <a:gd name="connsiteY26" fmla="*/ 10763 h 88582"/>
                <a:gd name="connsiteX27" fmla="*/ 20765 w 65722"/>
                <a:gd name="connsiteY27" fmla="*/ 14288 h 88582"/>
                <a:gd name="connsiteX28" fmla="*/ 16288 w 65722"/>
                <a:gd name="connsiteY28" fmla="*/ 23146 h 88582"/>
                <a:gd name="connsiteX29" fmla="*/ 16288 w 65722"/>
                <a:gd name="connsiteY29" fmla="*/ 23527 h 88582"/>
                <a:gd name="connsiteX30" fmla="*/ 18097 w 65722"/>
                <a:gd name="connsiteY30" fmla="*/ 28766 h 88582"/>
                <a:gd name="connsiteX31" fmla="*/ 22955 w 65722"/>
                <a:gd name="connsiteY31" fmla="*/ 32671 h 88582"/>
                <a:gd name="connsiteX32" fmla="*/ 30004 w 65722"/>
                <a:gd name="connsiteY32" fmla="*/ 35624 h 88582"/>
                <a:gd name="connsiteX33" fmla="*/ 38291 w 65722"/>
                <a:gd name="connsiteY33" fmla="*/ 38291 h 88582"/>
                <a:gd name="connsiteX34" fmla="*/ 48101 w 65722"/>
                <a:gd name="connsiteY34" fmla="*/ 41624 h 88582"/>
                <a:gd name="connsiteX35" fmla="*/ 56959 w 65722"/>
                <a:gd name="connsiteY35" fmla="*/ 46292 h 88582"/>
                <a:gd name="connsiteX36" fmla="*/ 63341 w 65722"/>
                <a:gd name="connsiteY36" fmla="*/ 53054 h 88582"/>
                <a:gd name="connsiteX37" fmla="*/ 65722 w 65722"/>
                <a:gd name="connsiteY37" fmla="*/ 62770 h 88582"/>
                <a:gd name="connsiteX38" fmla="*/ 65722 w 65722"/>
                <a:gd name="connsiteY38" fmla="*/ 63056 h 88582"/>
                <a:gd name="connsiteX39" fmla="*/ 63341 w 65722"/>
                <a:gd name="connsiteY39" fmla="*/ 73819 h 88582"/>
                <a:gd name="connsiteX40" fmla="*/ 56864 w 65722"/>
                <a:gd name="connsiteY40" fmla="*/ 81820 h 88582"/>
                <a:gd name="connsiteX41" fmla="*/ 47339 w 65722"/>
                <a:gd name="connsiteY41" fmla="*/ 86868 h 88582"/>
                <a:gd name="connsiteX42" fmla="*/ 35338 w 65722"/>
                <a:gd name="connsiteY42" fmla="*/ 88583 h 8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722" h="88582">
                  <a:moveTo>
                    <a:pt x="35338" y="88297"/>
                  </a:moveTo>
                  <a:cubicBezTo>
                    <a:pt x="29146" y="88297"/>
                    <a:pt x="22955" y="87154"/>
                    <a:pt x="16669" y="84963"/>
                  </a:cubicBezTo>
                  <a:cubicBezTo>
                    <a:pt x="10382" y="82677"/>
                    <a:pt x="4858" y="79629"/>
                    <a:pt x="0" y="75819"/>
                  </a:cubicBezTo>
                  <a:lnTo>
                    <a:pt x="6477" y="66770"/>
                  </a:lnTo>
                  <a:cubicBezTo>
                    <a:pt x="11144" y="70295"/>
                    <a:pt x="15907" y="72962"/>
                    <a:pt x="20955" y="74867"/>
                  </a:cubicBezTo>
                  <a:cubicBezTo>
                    <a:pt x="26003" y="76771"/>
                    <a:pt x="30956" y="77629"/>
                    <a:pt x="36004" y="77629"/>
                  </a:cubicBezTo>
                  <a:cubicBezTo>
                    <a:pt x="41053" y="77629"/>
                    <a:pt x="45434" y="76391"/>
                    <a:pt x="48673" y="74009"/>
                  </a:cubicBezTo>
                  <a:cubicBezTo>
                    <a:pt x="51911" y="71628"/>
                    <a:pt x="53626" y="68294"/>
                    <a:pt x="53626" y="64103"/>
                  </a:cubicBezTo>
                  <a:lnTo>
                    <a:pt x="53626" y="63818"/>
                  </a:lnTo>
                  <a:cubicBezTo>
                    <a:pt x="53626" y="61722"/>
                    <a:pt x="53054" y="59912"/>
                    <a:pt x="51911" y="58388"/>
                  </a:cubicBezTo>
                  <a:cubicBezTo>
                    <a:pt x="50768" y="56864"/>
                    <a:pt x="49149" y="55531"/>
                    <a:pt x="47244" y="54388"/>
                  </a:cubicBezTo>
                  <a:cubicBezTo>
                    <a:pt x="45244" y="53245"/>
                    <a:pt x="42958" y="52197"/>
                    <a:pt x="40386" y="51340"/>
                  </a:cubicBezTo>
                  <a:cubicBezTo>
                    <a:pt x="37814" y="50483"/>
                    <a:pt x="35147" y="49625"/>
                    <a:pt x="32385" y="48863"/>
                  </a:cubicBezTo>
                  <a:cubicBezTo>
                    <a:pt x="29051" y="47911"/>
                    <a:pt x="25717" y="46768"/>
                    <a:pt x="22384" y="45625"/>
                  </a:cubicBezTo>
                  <a:cubicBezTo>
                    <a:pt x="19050" y="44482"/>
                    <a:pt x="16002" y="43053"/>
                    <a:pt x="13335" y="41243"/>
                  </a:cubicBezTo>
                  <a:cubicBezTo>
                    <a:pt x="10668" y="39433"/>
                    <a:pt x="8477" y="37243"/>
                    <a:pt x="6763" y="34671"/>
                  </a:cubicBezTo>
                  <a:cubicBezTo>
                    <a:pt x="5048" y="32004"/>
                    <a:pt x="4191" y="28766"/>
                    <a:pt x="4191" y="24765"/>
                  </a:cubicBezTo>
                  <a:lnTo>
                    <a:pt x="4191" y="24384"/>
                  </a:lnTo>
                  <a:cubicBezTo>
                    <a:pt x="4191" y="20765"/>
                    <a:pt x="4953" y="17431"/>
                    <a:pt x="6287" y="14383"/>
                  </a:cubicBezTo>
                  <a:cubicBezTo>
                    <a:pt x="7715" y="11335"/>
                    <a:pt x="9716" y="8763"/>
                    <a:pt x="12287" y="6668"/>
                  </a:cubicBezTo>
                  <a:cubicBezTo>
                    <a:pt x="14859" y="4572"/>
                    <a:pt x="17907" y="2858"/>
                    <a:pt x="21526" y="1715"/>
                  </a:cubicBezTo>
                  <a:cubicBezTo>
                    <a:pt x="25146" y="571"/>
                    <a:pt x="28956" y="0"/>
                    <a:pt x="33147" y="0"/>
                  </a:cubicBezTo>
                  <a:cubicBezTo>
                    <a:pt x="38386" y="0"/>
                    <a:pt x="43815" y="857"/>
                    <a:pt x="49149" y="2572"/>
                  </a:cubicBezTo>
                  <a:cubicBezTo>
                    <a:pt x="54578" y="4286"/>
                    <a:pt x="59436" y="6572"/>
                    <a:pt x="63817" y="9430"/>
                  </a:cubicBezTo>
                  <a:lnTo>
                    <a:pt x="58007" y="18955"/>
                  </a:lnTo>
                  <a:cubicBezTo>
                    <a:pt x="54007" y="16383"/>
                    <a:pt x="49911" y="14383"/>
                    <a:pt x="45529" y="12954"/>
                  </a:cubicBezTo>
                  <a:cubicBezTo>
                    <a:pt x="41148" y="11430"/>
                    <a:pt x="36957" y="10763"/>
                    <a:pt x="32766" y="10763"/>
                  </a:cubicBezTo>
                  <a:cubicBezTo>
                    <a:pt x="27718" y="10763"/>
                    <a:pt x="23717" y="11906"/>
                    <a:pt x="20765" y="14288"/>
                  </a:cubicBezTo>
                  <a:cubicBezTo>
                    <a:pt x="17812" y="16669"/>
                    <a:pt x="16288" y="19621"/>
                    <a:pt x="16288" y="23146"/>
                  </a:cubicBezTo>
                  <a:lnTo>
                    <a:pt x="16288" y="23527"/>
                  </a:lnTo>
                  <a:cubicBezTo>
                    <a:pt x="16288" y="25527"/>
                    <a:pt x="16859" y="27242"/>
                    <a:pt x="18097" y="28766"/>
                  </a:cubicBezTo>
                  <a:cubicBezTo>
                    <a:pt x="19336" y="30290"/>
                    <a:pt x="20955" y="31528"/>
                    <a:pt x="22955" y="32671"/>
                  </a:cubicBezTo>
                  <a:cubicBezTo>
                    <a:pt x="24955" y="33814"/>
                    <a:pt x="27337" y="34766"/>
                    <a:pt x="30004" y="35624"/>
                  </a:cubicBezTo>
                  <a:cubicBezTo>
                    <a:pt x="32671" y="36481"/>
                    <a:pt x="35433" y="37338"/>
                    <a:pt x="38291" y="38291"/>
                  </a:cubicBezTo>
                  <a:cubicBezTo>
                    <a:pt x="41624" y="39243"/>
                    <a:pt x="44863" y="40386"/>
                    <a:pt x="48101" y="41624"/>
                  </a:cubicBezTo>
                  <a:cubicBezTo>
                    <a:pt x="51340" y="42863"/>
                    <a:pt x="54292" y="44387"/>
                    <a:pt x="56959" y="46292"/>
                  </a:cubicBezTo>
                  <a:cubicBezTo>
                    <a:pt x="59626" y="48196"/>
                    <a:pt x="61722" y="50387"/>
                    <a:pt x="63341" y="53054"/>
                  </a:cubicBezTo>
                  <a:cubicBezTo>
                    <a:pt x="64961" y="55721"/>
                    <a:pt x="65722" y="58960"/>
                    <a:pt x="65722" y="62770"/>
                  </a:cubicBezTo>
                  <a:lnTo>
                    <a:pt x="65722" y="63056"/>
                  </a:lnTo>
                  <a:cubicBezTo>
                    <a:pt x="65722" y="67151"/>
                    <a:pt x="64961" y="70771"/>
                    <a:pt x="63341" y="73819"/>
                  </a:cubicBezTo>
                  <a:cubicBezTo>
                    <a:pt x="61722" y="76962"/>
                    <a:pt x="59626" y="79629"/>
                    <a:pt x="56864" y="81820"/>
                  </a:cubicBezTo>
                  <a:cubicBezTo>
                    <a:pt x="54197" y="84011"/>
                    <a:pt x="50959" y="85725"/>
                    <a:pt x="47339" y="86868"/>
                  </a:cubicBezTo>
                  <a:cubicBezTo>
                    <a:pt x="43625" y="88011"/>
                    <a:pt x="39624" y="88583"/>
                    <a:pt x="35338" y="88583"/>
                  </a:cubicBezTo>
                  <a:close/>
                </a:path>
              </a:pathLst>
            </a:custGeom>
            <a:solidFill>
              <a:srgbClr val="43505E"/>
            </a:solidFill>
            <a:ln w="9525" cap="flat">
              <a:noFill/>
              <a:prstDash val="solid"/>
              <a:miter/>
            </a:ln>
          </p:spPr>
          <p:txBody>
            <a:bodyPr rtlCol="0" anchor="ctr"/>
            <a:lstStyle/>
            <a:p>
              <a:endParaRPr lang="pt-BR"/>
            </a:p>
          </p:txBody>
        </p:sp>
        <p:sp>
          <p:nvSpPr>
            <p:cNvPr id="98" name="Freeform: Shape 97">
              <a:extLst>
                <a:ext uri="{FF2B5EF4-FFF2-40B4-BE49-F238E27FC236}">
                  <a16:creationId xmlns:a16="http://schemas.microsoft.com/office/drawing/2014/main" id="{9C504175-A159-852D-6A1A-9BFA56032072}"/>
                </a:ext>
              </a:extLst>
            </p:cNvPr>
            <p:cNvSpPr/>
            <p:nvPr/>
          </p:nvSpPr>
          <p:spPr>
            <a:xfrm>
              <a:off x="937990" y="4443444"/>
              <a:ext cx="2146077" cy="23812"/>
            </a:xfrm>
            <a:custGeom>
              <a:avLst/>
              <a:gdLst>
                <a:gd name="connsiteX0" fmla="*/ 0 w 2146077"/>
                <a:gd name="connsiteY0" fmla="*/ 0 h 23812"/>
                <a:gd name="connsiteX1" fmla="*/ 2146078 w 2146077"/>
                <a:gd name="connsiteY1" fmla="*/ 0 h 23812"/>
                <a:gd name="connsiteX2" fmla="*/ 2146078 w 2146077"/>
                <a:gd name="connsiteY2" fmla="*/ 23812 h 23812"/>
                <a:gd name="connsiteX3" fmla="*/ 0 w 2146077"/>
                <a:gd name="connsiteY3" fmla="*/ 23812 h 23812"/>
              </a:gdLst>
              <a:ahLst/>
              <a:cxnLst>
                <a:cxn ang="0">
                  <a:pos x="connsiteX0" y="connsiteY0"/>
                </a:cxn>
                <a:cxn ang="0">
                  <a:pos x="connsiteX1" y="connsiteY1"/>
                </a:cxn>
                <a:cxn ang="0">
                  <a:pos x="connsiteX2" y="connsiteY2"/>
                </a:cxn>
                <a:cxn ang="0">
                  <a:pos x="connsiteX3" y="connsiteY3"/>
                </a:cxn>
              </a:cxnLst>
              <a:rect l="l" t="t" r="r" b="b"/>
              <a:pathLst>
                <a:path w="2146077" h="23812">
                  <a:moveTo>
                    <a:pt x="0" y="0"/>
                  </a:moveTo>
                  <a:lnTo>
                    <a:pt x="2146078" y="0"/>
                  </a:lnTo>
                  <a:lnTo>
                    <a:pt x="2146078" y="23812"/>
                  </a:lnTo>
                  <a:lnTo>
                    <a:pt x="0" y="23812"/>
                  </a:lnTo>
                  <a:close/>
                </a:path>
              </a:pathLst>
            </a:custGeom>
            <a:solidFill>
              <a:srgbClr val="43505E"/>
            </a:solidFill>
            <a:ln w="9525" cap="flat">
              <a:noFill/>
              <a:prstDash val="solid"/>
              <a:miter/>
            </a:ln>
          </p:spPr>
          <p:txBody>
            <a:bodyPr rtlCol="0" anchor="ctr"/>
            <a:lstStyle/>
            <a:p>
              <a:endParaRPr lang="pt-BR"/>
            </a:p>
          </p:txBody>
        </p:sp>
        <p:sp>
          <p:nvSpPr>
            <p:cNvPr id="99" name="Freeform: Shape 98">
              <a:extLst>
                <a:ext uri="{FF2B5EF4-FFF2-40B4-BE49-F238E27FC236}">
                  <a16:creationId xmlns:a16="http://schemas.microsoft.com/office/drawing/2014/main" id="{DC6135EE-D831-7D24-4530-FE50A19209D9}"/>
                </a:ext>
              </a:extLst>
            </p:cNvPr>
            <p:cNvSpPr/>
            <p:nvPr/>
          </p:nvSpPr>
          <p:spPr>
            <a:xfrm>
              <a:off x="1851723" y="2368803"/>
              <a:ext cx="396906" cy="872299"/>
            </a:xfrm>
            <a:custGeom>
              <a:avLst/>
              <a:gdLst>
                <a:gd name="connsiteX0" fmla="*/ 0 w 396906"/>
                <a:gd name="connsiteY0" fmla="*/ 76962 h 872299"/>
                <a:gd name="connsiteX1" fmla="*/ 45625 w 396906"/>
                <a:gd name="connsiteY1" fmla="*/ 37719 h 872299"/>
                <a:gd name="connsiteX2" fmla="*/ 91250 w 396906"/>
                <a:gd name="connsiteY2" fmla="*/ 76962 h 872299"/>
                <a:gd name="connsiteX3" fmla="*/ 91250 w 396906"/>
                <a:gd name="connsiteY3" fmla="*/ 701421 h 872299"/>
                <a:gd name="connsiteX4" fmla="*/ 91250 w 396906"/>
                <a:gd name="connsiteY4" fmla="*/ 701421 h 872299"/>
                <a:gd name="connsiteX5" fmla="*/ 91250 w 396906"/>
                <a:gd name="connsiteY5" fmla="*/ 702564 h 872299"/>
                <a:gd name="connsiteX6" fmla="*/ 121825 w 396906"/>
                <a:gd name="connsiteY6" fmla="*/ 766096 h 872299"/>
                <a:gd name="connsiteX7" fmla="*/ 122492 w 396906"/>
                <a:gd name="connsiteY7" fmla="*/ 766667 h 872299"/>
                <a:gd name="connsiteX8" fmla="*/ 122682 w 396906"/>
                <a:gd name="connsiteY8" fmla="*/ 766858 h 872299"/>
                <a:gd name="connsiteX9" fmla="*/ 198501 w 396906"/>
                <a:gd name="connsiteY9" fmla="*/ 793718 h 872299"/>
                <a:gd name="connsiteX10" fmla="*/ 273653 w 396906"/>
                <a:gd name="connsiteY10" fmla="*/ 767429 h 872299"/>
                <a:gd name="connsiteX11" fmla="*/ 274320 w 396906"/>
                <a:gd name="connsiteY11" fmla="*/ 766858 h 872299"/>
                <a:gd name="connsiteX12" fmla="*/ 274511 w 396906"/>
                <a:gd name="connsiteY12" fmla="*/ 766667 h 872299"/>
                <a:gd name="connsiteX13" fmla="*/ 305753 w 396906"/>
                <a:gd name="connsiteY13" fmla="*/ 701326 h 872299"/>
                <a:gd name="connsiteX14" fmla="*/ 305753 w 396906"/>
                <a:gd name="connsiteY14" fmla="*/ 39243 h 872299"/>
                <a:gd name="connsiteX15" fmla="*/ 351377 w 396906"/>
                <a:gd name="connsiteY15" fmla="*/ 0 h 872299"/>
                <a:gd name="connsiteX16" fmla="*/ 396907 w 396906"/>
                <a:gd name="connsiteY16" fmla="*/ 39243 h 872299"/>
                <a:gd name="connsiteX17" fmla="*/ 396907 w 396906"/>
                <a:gd name="connsiteY17" fmla="*/ 701421 h 872299"/>
                <a:gd name="connsiteX18" fmla="*/ 338804 w 396906"/>
                <a:gd name="connsiteY18" fmla="*/ 822008 h 872299"/>
                <a:gd name="connsiteX19" fmla="*/ 338804 w 396906"/>
                <a:gd name="connsiteY19" fmla="*/ 822008 h 872299"/>
                <a:gd name="connsiteX20" fmla="*/ 338709 w 396906"/>
                <a:gd name="connsiteY20" fmla="*/ 822198 h 872299"/>
                <a:gd name="connsiteX21" fmla="*/ 338519 w 396906"/>
                <a:gd name="connsiteY21" fmla="*/ 822389 h 872299"/>
                <a:gd name="connsiteX22" fmla="*/ 198596 w 396906"/>
                <a:gd name="connsiteY22" fmla="*/ 872300 h 872299"/>
                <a:gd name="connsiteX23" fmla="*/ 58483 w 396906"/>
                <a:gd name="connsiteY23" fmla="*/ 822198 h 872299"/>
                <a:gd name="connsiteX24" fmla="*/ 58483 w 396906"/>
                <a:gd name="connsiteY24" fmla="*/ 822198 h 872299"/>
                <a:gd name="connsiteX25" fmla="*/ 58388 w 396906"/>
                <a:gd name="connsiteY25" fmla="*/ 822008 h 872299"/>
                <a:gd name="connsiteX26" fmla="*/ 58198 w 396906"/>
                <a:gd name="connsiteY26" fmla="*/ 822008 h 872299"/>
                <a:gd name="connsiteX27" fmla="*/ 286 w 396906"/>
                <a:gd name="connsiteY27" fmla="*/ 701421 h 872299"/>
                <a:gd name="connsiteX28" fmla="*/ 286 w 396906"/>
                <a:gd name="connsiteY28" fmla="*/ 701421 h 872299"/>
                <a:gd name="connsiteX29" fmla="*/ 286 w 396906"/>
                <a:gd name="connsiteY29" fmla="*/ 76962 h 87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6906" h="872299">
                  <a:moveTo>
                    <a:pt x="0" y="76962"/>
                  </a:moveTo>
                  <a:cubicBezTo>
                    <a:pt x="0" y="55340"/>
                    <a:pt x="20479" y="37719"/>
                    <a:pt x="45625" y="37719"/>
                  </a:cubicBezTo>
                  <a:cubicBezTo>
                    <a:pt x="70771" y="37719"/>
                    <a:pt x="91250" y="55340"/>
                    <a:pt x="91250" y="76962"/>
                  </a:cubicBezTo>
                  <a:lnTo>
                    <a:pt x="91250" y="701421"/>
                  </a:lnTo>
                  <a:lnTo>
                    <a:pt x="91250" y="701421"/>
                  </a:lnTo>
                  <a:lnTo>
                    <a:pt x="91250" y="702564"/>
                  </a:lnTo>
                  <a:cubicBezTo>
                    <a:pt x="91631" y="727424"/>
                    <a:pt x="103251" y="749808"/>
                    <a:pt x="121825" y="766096"/>
                  </a:cubicBezTo>
                  <a:lnTo>
                    <a:pt x="122492" y="766667"/>
                  </a:lnTo>
                  <a:lnTo>
                    <a:pt x="122682" y="766858"/>
                  </a:lnTo>
                  <a:cubicBezTo>
                    <a:pt x="142018" y="783431"/>
                    <a:pt x="168783" y="793718"/>
                    <a:pt x="198501" y="793718"/>
                  </a:cubicBezTo>
                  <a:cubicBezTo>
                    <a:pt x="228219" y="793718"/>
                    <a:pt x="254508" y="783622"/>
                    <a:pt x="273653" y="767429"/>
                  </a:cubicBezTo>
                  <a:lnTo>
                    <a:pt x="274320" y="766858"/>
                  </a:lnTo>
                  <a:lnTo>
                    <a:pt x="274511" y="766667"/>
                  </a:lnTo>
                  <a:cubicBezTo>
                    <a:pt x="293846" y="750094"/>
                    <a:pt x="305753" y="726948"/>
                    <a:pt x="305753" y="701326"/>
                  </a:cubicBezTo>
                  <a:lnTo>
                    <a:pt x="305753" y="39243"/>
                  </a:lnTo>
                  <a:cubicBezTo>
                    <a:pt x="305753" y="17621"/>
                    <a:pt x="326136" y="0"/>
                    <a:pt x="351377" y="0"/>
                  </a:cubicBezTo>
                  <a:cubicBezTo>
                    <a:pt x="376619" y="0"/>
                    <a:pt x="396907" y="17526"/>
                    <a:pt x="396907" y="39243"/>
                  </a:cubicBezTo>
                  <a:lnTo>
                    <a:pt x="396907" y="701421"/>
                  </a:lnTo>
                  <a:cubicBezTo>
                    <a:pt x="396907" y="748379"/>
                    <a:pt x="374714" y="791051"/>
                    <a:pt x="338804" y="822008"/>
                  </a:cubicBezTo>
                  <a:lnTo>
                    <a:pt x="338804" y="822008"/>
                  </a:lnTo>
                  <a:cubicBezTo>
                    <a:pt x="338804" y="822008"/>
                    <a:pt x="338709" y="822198"/>
                    <a:pt x="338709" y="822198"/>
                  </a:cubicBezTo>
                  <a:lnTo>
                    <a:pt x="338519" y="822389"/>
                  </a:lnTo>
                  <a:cubicBezTo>
                    <a:pt x="302609" y="853250"/>
                    <a:pt x="253079" y="872300"/>
                    <a:pt x="198596" y="872300"/>
                  </a:cubicBezTo>
                  <a:cubicBezTo>
                    <a:pt x="144113" y="872300"/>
                    <a:pt x="94488" y="853154"/>
                    <a:pt x="58483" y="822198"/>
                  </a:cubicBezTo>
                  <a:lnTo>
                    <a:pt x="58483" y="822198"/>
                  </a:lnTo>
                  <a:cubicBezTo>
                    <a:pt x="58483" y="822198"/>
                    <a:pt x="58388" y="822008"/>
                    <a:pt x="58388" y="822008"/>
                  </a:cubicBezTo>
                  <a:lnTo>
                    <a:pt x="58198" y="822008"/>
                  </a:lnTo>
                  <a:cubicBezTo>
                    <a:pt x="22384" y="790861"/>
                    <a:pt x="286" y="748284"/>
                    <a:pt x="286" y="701421"/>
                  </a:cubicBezTo>
                  <a:lnTo>
                    <a:pt x="286" y="701421"/>
                  </a:lnTo>
                  <a:lnTo>
                    <a:pt x="286" y="76962"/>
                  </a:lnTo>
                  <a:close/>
                </a:path>
              </a:pathLst>
            </a:custGeom>
            <a:solidFill>
              <a:srgbClr val="8DC63F"/>
            </a:solidFill>
            <a:ln w="9525" cap="flat">
              <a:noFill/>
              <a:prstDash val="solid"/>
              <a:miter/>
            </a:ln>
          </p:spPr>
          <p:txBody>
            <a:bodyPr rtlCol="0" anchor="ctr"/>
            <a:lstStyle/>
            <a:p>
              <a:endParaRPr lang="pt-BR"/>
            </a:p>
          </p:txBody>
        </p:sp>
        <p:sp>
          <p:nvSpPr>
            <p:cNvPr id="100" name="Freeform: Shape 99">
              <a:extLst>
                <a:ext uri="{FF2B5EF4-FFF2-40B4-BE49-F238E27FC236}">
                  <a16:creationId xmlns:a16="http://schemas.microsoft.com/office/drawing/2014/main" id="{AF7E4F5F-8D9C-3438-851C-17811806AB64}"/>
                </a:ext>
              </a:extLst>
            </p:cNvPr>
            <p:cNvSpPr/>
            <p:nvPr/>
          </p:nvSpPr>
          <p:spPr>
            <a:xfrm>
              <a:off x="2012791" y="2289175"/>
              <a:ext cx="78390" cy="816006"/>
            </a:xfrm>
            <a:custGeom>
              <a:avLst/>
              <a:gdLst>
                <a:gd name="connsiteX0" fmla="*/ 0 w 78390"/>
                <a:gd name="connsiteY0" fmla="*/ 39243 h 816006"/>
                <a:gd name="connsiteX1" fmla="*/ 39243 w 78390"/>
                <a:gd name="connsiteY1" fmla="*/ 0 h 816006"/>
                <a:gd name="connsiteX2" fmla="*/ 78391 w 78390"/>
                <a:gd name="connsiteY2" fmla="*/ 39243 h 816006"/>
                <a:gd name="connsiteX3" fmla="*/ 78391 w 78390"/>
                <a:gd name="connsiteY3" fmla="*/ 776764 h 816006"/>
                <a:gd name="connsiteX4" fmla="*/ 39243 w 78390"/>
                <a:gd name="connsiteY4" fmla="*/ 816007 h 816006"/>
                <a:gd name="connsiteX5" fmla="*/ 0 w 78390"/>
                <a:gd name="connsiteY5" fmla="*/ 776764 h 816006"/>
                <a:gd name="connsiteX6" fmla="*/ 0 w 78390"/>
                <a:gd name="connsiteY6" fmla="*/ 39243 h 8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90" h="816006">
                  <a:moveTo>
                    <a:pt x="0" y="39243"/>
                  </a:moveTo>
                  <a:cubicBezTo>
                    <a:pt x="0" y="17621"/>
                    <a:pt x="17526" y="0"/>
                    <a:pt x="39243" y="0"/>
                  </a:cubicBezTo>
                  <a:cubicBezTo>
                    <a:pt x="60960" y="0"/>
                    <a:pt x="78391" y="17621"/>
                    <a:pt x="78391" y="39243"/>
                  </a:cubicBezTo>
                  <a:lnTo>
                    <a:pt x="78391" y="776764"/>
                  </a:lnTo>
                  <a:cubicBezTo>
                    <a:pt x="78391" y="798386"/>
                    <a:pt x="60865" y="816007"/>
                    <a:pt x="39243" y="816007"/>
                  </a:cubicBezTo>
                  <a:cubicBezTo>
                    <a:pt x="17621" y="816007"/>
                    <a:pt x="0" y="798386"/>
                    <a:pt x="0" y="776764"/>
                  </a:cubicBezTo>
                  <a:lnTo>
                    <a:pt x="0" y="39243"/>
                  </a:lnTo>
                  <a:close/>
                </a:path>
              </a:pathLst>
            </a:custGeom>
            <a:solidFill>
              <a:srgbClr val="3698B0"/>
            </a:solidFill>
            <a:ln w="9525" cap="flat">
              <a:noFill/>
              <a:prstDash val="solid"/>
              <a:miter/>
            </a:ln>
          </p:spPr>
          <p:txBody>
            <a:bodyPr rtlCol="0" anchor="ctr"/>
            <a:lstStyle/>
            <a:p>
              <a:endParaRPr lang="pt-BR"/>
            </a:p>
          </p:txBody>
        </p:sp>
        <p:sp>
          <p:nvSpPr>
            <p:cNvPr id="101" name="Freeform: Shape 100">
              <a:extLst>
                <a:ext uri="{FF2B5EF4-FFF2-40B4-BE49-F238E27FC236}">
                  <a16:creationId xmlns:a16="http://schemas.microsoft.com/office/drawing/2014/main" id="{13659A66-D281-4025-2B61-BE233EFE683A}"/>
                </a:ext>
              </a:extLst>
            </p:cNvPr>
            <p:cNvSpPr/>
            <p:nvPr/>
          </p:nvSpPr>
          <p:spPr>
            <a:xfrm>
              <a:off x="1696751" y="2461863"/>
              <a:ext cx="705230" cy="942498"/>
            </a:xfrm>
            <a:custGeom>
              <a:avLst/>
              <a:gdLst>
                <a:gd name="connsiteX0" fmla="*/ 705231 w 705230"/>
                <a:gd name="connsiteY0" fmla="*/ 50387 h 942498"/>
                <a:gd name="connsiteX1" fmla="*/ 705231 w 705230"/>
                <a:gd name="connsiteY1" fmla="*/ 632651 h 942498"/>
                <a:gd name="connsiteX2" fmla="*/ 655415 w 705230"/>
                <a:gd name="connsiteY2" fmla="*/ 813245 h 942498"/>
                <a:gd name="connsiteX3" fmla="*/ 356711 w 705230"/>
                <a:gd name="connsiteY3" fmla="*/ 942499 h 942498"/>
                <a:gd name="connsiteX4" fmla="*/ 348520 w 705230"/>
                <a:gd name="connsiteY4" fmla="*/ 942499 h 942498"/>
                <a:gd name="connsiteX5" fmla="*/ 49816 w 705230"/>
                <a:gd name="connsiteY5" fmla="*/ 813245 h 942498"/>
                <a:gd name="connsiteX6" fmla="*/ 0 w 705230"/>
                <a:gd name="connsiteY6" fmla="*/ 632651 h 942498"/>
                <a:gd name="connsiteX7" fmla="*/ 0 w 705230"/>
                <a:gd name="connsiteY7" fmla="*/ 289751 h 942498"/>
                <a:gd name="connsiteX8" fmla="*/ 50292 w 705230"/>
                <a:gd name="connsiteY8" fmla="*/ 239459 h 942498"/>
                <a:gd name="connsiteX9" fmla="*/ 100489 w 705230"/>
                <a:gd name="connsiteY9" fmla="*/ 289751 h 942498"/>
                <a:gd name="connsiteX10" fmla="*/ 100489 w 705230"/>
                <a:gd name="connsiteY10" fmla="*/ 632651 h 942498"/>
                <a:gd name="connsiteX11" fmla="*/ 129254 w 705230"/>
                <a:gd name="connsiteY11" fmla="*/ 751427 h 942498"/>
                <a:gd name="connsiteX12" fmla="*/ 349567 w 705230"/>
                <a:gd name="connsiteY12" fmla="*/ 841820 h 942498"/>
                <a:gd name="connsiteX13" fmla="*/ 355568 w 705230"/>
                <a:gd name="connsiteY13" fmla="*/ 841820 h 942498"/>
                <a:gd name="connsiteX14" fmla="*/ 575977 w 705230"/>
                <a:gd name="connsiteY14" fmla="*/ 751427 h 942498"/>
                <a:gd name="connsiteX15" fmla="*/ 604647 w 705230"/>
                <a:gd name="connsiteY15" fmla="*/ 632651 h 942498"/>
                <a:gd name="connsiteX16" fmla="*/ 604647 w 705230"/>
                <a:gd name="connsiteY16" fmla="*/ 50387 h 942498"/>
                <a:gd name="connsiteX17" fmla="*/ 654939 w 705230"/>
                <a:gd name="connsiteY17" fmla="*/ 0 h 942498"/>
                <a:gd name="connsiteX18" fmla="*/ 705231 w 705230"/>
                <a:gd name="connsiteY18" fmla="*/ 50387 h 942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5230" h="942498">
                  <a:moveTo>
                    <a:pt x="705231" y="50387"/>
                  </a:moveTo>
                  <a:lnTo>
                    <a:pt x="705231" y="632651"/>
                  </a:lnTo>
                  <a:cubicBezTo>
                    <a:pt x="705231" y="682562"/>
                    <a:pt x="699992" y="755618"/>
                    <a:pt x="655415" y="813245"/>
                  </a:cubicBezTo>
                  <a:cubicBezTo>
                    <a:pt x="596265" y="889540"/>
                    <a:pt x="522446" y="940784"/>
                    <a:pt x="356711" y="942499"/>
                  </a:cubicBezTo>
                  <a:lnTo>
                    <a:pt x="348520" y="942499"/>
                  </a:lnTo>
                  <a:cubicBezTo>
                    <a:pt x="182785" y="940784"/>
                    <a:pt x="108966" y="889540"/>
                    <a:pt x="49816" y="813245"/>
                  </a:cubicBezTo>
                  <a:cubicBezTo>
                    <a:pt x="5144" y="755618"/>
                    <a:pt x="0" y="682562"/>
                    <a:pt x="0" y="632651"/>
                  </a:cubicBezTo>
                  <a:lnTo>
                    <a:pt x="0" y="289751"/>
                  </a:lnTo>
                  <a:cubicBezTo>
                    <a:pt x="0" y="262033"/>
                    <a:pt x="22384" y="239459"/>
                    <a:pt x="50292" y="239459"/>
                  </a:cubicBezTo>
                  <a:cubicBezTo>
                    <a:pt x="78200" y="239459"/>
                    <a:pt x="100489" y="262033"/>
                    <a:pt x="100489" y="289751"/>
                  </a:cubicBezTo>
                  <a:lnTo>
                    <a:pt x="100489" y="632651"/>
                  </a:lnTo>
                  <a:cubicBezTo>
                    <a:pt x="100489" y="688467"/>
                    <a:pt x="109538" y="726281"/>
                    <a:pt x="129254" y="751427"/>
                  </a:cubicBezTo>
                  <a:cubicBezTo>
                    <a:pt x="173736" y="809054"/>
                    <a:pt x="222504" y="840677"/>
                    <a:pt x="349567" y="841820"/>
                  </a:cubicBezTo>
                  <a:lnTo>
                    <a:pt x="355568" y="841820"/>
                  </a:lnTo>
                  <a:cubicBezTo>
                    <a:pt x="482822" y="840677"/>
                    <a:pt x="531305" y="809054"/>
                    <a:pt x="575977" y="751427"/>
                  </a:cubicBezTo>
                  <a:cubicBezTo>
                    <a:pt x="595503" y="726281"/>
                    <a:pt x="604647" y="688467"/>
                    <a:pt x="604647" y="632651"/>
                  </a:cubicBezTo>
                  <a:lnTo>
                    <a:pt x="604647" y="50387"/>
                  </a:lnTo>
                  <a:cubicBezTo>
                    <a:pt x="604647" y="22479"/>
                    <a:pt x="627221" y="0"/>
                    <a:pt x="654939" y="0"/>
                  </a:cubicBezTo>
                  <a:cubicBezTo>
                    <a:pt x="682657" y="0"/>
                    <a:pt x="705231" y="22479"/>
                    <a:pt x="705231" y="50387"/>
                  </a:cubicBezTo>
                </a:path>
              </a:pathLst>
            </a:custGeom>
            <a:solidFill>
              <a:srgbClr val="482F6D"/>
            </a:solidFill>
            <a:ln w="9525" cap="flat">
              <a:noFill/>
              <a:prstDash val="solid"/>
              <a:miter/>
            </a:ln>
          </p:spPr>
          <p:txBody>
            <a:bodyPr rtlCol="0" anchor="ctr"/>
            <a:lstStyle/>
            <a:p>
              <a:endParaRPr lang="pt-BR"/>
            </a:p>
          </p:txBody>
        </p:sp>
      </p:grpSp>
    </p:spTree>
    <p:extLst>
      <p:ext uri="{BB962C8B-B14F-4D97-AF65-F5344CB8AC3E}">
        <p14:creationId xmlns:p14="http://schemas.microsoft.com/office/powerpoint/2010/main" val="3572105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24AD288-6E3D-1317-D7F7-E1DEF4F79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224AD288-6E3D-1317-D7F7-E1DEF4F79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8DB251F5-2B2D-BC84-1E03-3F5D236FDB51}"/>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D64221E7-0886-3B66-32B9-5A7B12C5A4C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17" name="Freeform: Shape 16">
              <a:extLst>
                <a:ext uri="{FF2B5EF4-FFF2-40B4-BE49-F238E27FC236}">
                  <a16:creationId xmlns:a16="http://schemas.microsoft.com/office/drawing/2014/main" id="{647D45BE-EF66-0B2D-3A0B-1E740072320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18" name="Freeform: Shape 17">
              <a:extLst>
                <a:ext uri="{FF2B5EF4-FFF2-40B4-BE49-F238E27FC236}">
                  <a16:creationId xmlns:a16="http://schemas.microsoft.com/office/drawing/2014/main" id="{53438F56-AAA0-FE80-2E6C-33695D9033F2}"/>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19" name="Freeform: Shape 18">
              <a:extLst>
                <a:ext uri="{FF2B5EF4-FFF2-40B4-BE49-F238E27FC236}">
                  <a16:creationId xmlns:a16="http://schemas.microsoft.com/office/drawing/2014/main" id="{19F69851-F8E4-BD6D-E8CF-D52B48C74EB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20" name="Freeform: Shape 19">
              <a:extLst>
                <a:ext uri="{FF2B5EF4-FFF2-40B4-BE49-F238E27FC236}">
                  <a16:creationId xmlns:a16="http://schemas.microsoft.com/office/drawing/2014/main" id="{06FD1502-DC74-7E63-4917-CEA10783D19B}"/>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21" name="Freeform: Shape 20">
              <a:extLst>
                <a:ext uri="{FF2B5EF4-FFF2-40B4-BE49-F238E27FC236}">
                  <a16:creationId xmlns:a16="http://schemas.microsoft.com/office/drawing/2014/main" id="{C273AE39-80D8-B460-0C06-CA1D68815E30}"/>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22" name="Freeform: Shape 21">
              <a:extLst>
                <a:ext uri="{FF2B5EF4-FFF2-40B4-BE49-F238E27FC236}">
                  <a16:creationId xmlns:a16="http://schemas.microsoft.com/office/drawing/2014/main" id="{11211059-D6E5-7EFE-8E78-568C46D6C60F}"/>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23" name="Freeform: Shape 22">
              <a:extLst>
                <a:ext uri="{FF2B5EF4-FFF2-40B4-BE49-F238E27FC236}">
                  <a16:creationId xmlns:a16="http://schemas.microsoft.com/office/drawing/2014/main" id="{67903CED-E696-5007-5CC7-7FF90845164D}"/>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24" name="Freeform: Shape 23">
              <a:extLst>
                <a:ext uri="{FF2B5EF4-FFF2-40B4-BE49-F238E27FC236}">
                  <a16:creationId xmlns:a16="http://schemas.microsoft.com/office/drawing/2014/main" id="{83584915-43F2-C8D8-CF89-FB36701F35F9}"/>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25" name="Freeform: Shape 24">
              <a:extLst>
                <a:ext uri="{FF2B5EF4-FFF2-40B4-BE49-F238E27FC236}">
                  <a16:creationId xmlns:a16="http://schemas.microsoft.com/office/drawing/2014/main" id="{C1D5A4A3-3EEE-9210-86F4-71B30144AFF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26" name="Freeform: Shape 25">
              <a:extLst>
                <a:ext uri="{FF2B5EF4-FFF2-40B4-BE49-F238E27FC236}">
                  <a16:creationId xmlns:a16="http://schemas.microsoft.com/office/drawing/2014/main" id="{CF978DA6-833F-37B0-5A0D-EC08EE9D1CE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27" name="Freeform: Shape 26">
              <a:extLst>
                <a:ext uri="{FF2B5EF4-FFF2-40B4-BE49-F238E27FC236}">
                  <a16:creationId xmlns:a16="http://schemas.microsoft.com/office/drawing/2014/main" id="{38C28FF9-335C-992D-3F01-2D398B4CB704}"/>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28" name="Freeform: Shape 27">
              <a:extLst>
                <a:ext uri="{FF2B5EF4-FFF2-40B4-BE49-F238E27FC236}">
                  <a16:creationId xmlns:a16="http://schemas.microsoft.com/office/drawing/2014/main" id="{07685636-9745-CF19-26A1-FE8A6E89C0D8}"/>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29" name="Freeform: Shape 28">
              <a:extLst>
                <a:ext uri="{FF2B5EF4-FFF2-40B4-BE49-F238E27FC236}">
                  <a16:creationId xmlns:a16="http://schemas.microsoft.com/office/drawing/2014/main" id="{DC24AED8-A70D-0D83-0F98-E71E3C38F607}"/>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30" name="Freeform: Shape 29">
              <a:extLst>
                <a:ext uri="{FF2B5EF4-FFF2-40B4-BE49-F238E27FC236}">
                  <a16:creationId xmlns:a16="http://schemas.microsoft.com/office/drawing/2014/main" id="{0FD82F4F-6055-0CFD-A39F-ADDEAFB54F82}"/>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31" name="Freeform: Shape 30">
              <a:extLst>
                <a:ext uri="{FF2B5EF4-FFF2-40B4-BE49-F238E27FC236}">
                  <a16:creationId xmlns:a16="http://schemas.microsoft.com/office/drawing/2014/main" id="{D21B86FA-FE10-22C1-868B-9BCA354E836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32" name="Freeform: Shape 31">
              <a:extLst>
                <a:ext uri="{FF2B5EF4-FFF2-40B4-BE49-F238E27FC236}">
                  <a16:creationId xmlns:a16="http://schemas.microsoft.com/office/drawing/2014/main" id="{98EDFCF5-AF92-A54B-520F-A3EB8BB6997D}"/>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33" name="Freeform: Shape 32">
              <a:extLst>
                <a:ext uri="{FF2B5EF4-FFF2-40B4-BE49-F238E27FC236}">
                  <a16:creationId xmlns:a16="http://schemas.microsoft.com/office/drawing/2014/main" id="{1B45AD09-ED44-278A-02F1-763D81019C8D}"/>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34" name="Freeform: Shape 33">
              <a:extLst>
                <a:ext uri="{FF2B5EF4-FFF2-40B4-BE49-F238E27FC236}">
                  <a16:creationId xmlns:a16="http://schemas.microsoft.com/office/drawing/2014/main" id="{D5CDAE40-0B16-F3C5-BC41-C5EBADEB5983}"/>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35" name="Freeform: Shape 34">
              <a:extLst>
                <a:ext uri="{FF2B5EF4-FFF2-40B4-BE49-F238E27FC236}">
                  <a16:creationId xmlns:a16="http://schemas.microsoft.com/office/drawing/2014/main" id="{15297050-5C18-B2F1-7EB6-653A009215D4}"/>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36" name="Freeform: Shape 35">
              <a:extLst>
                <a:ext uri="{FF2B5EF4-FFF2-40B4-BE49-F238E27FC236}">
                  <a16:creationId xmlns:a16="http://schemas.microsoft.com/office/drawing/2014/main" id="{1DAF2F3A-C610-A86C-F38C-C49E75340CB4}"/>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37" name="Freeform: Shape 36">
              <a:extLst>
                <a:ext uri="{FF2B5EF4-FFF2-40B4-BE49-F238E27FC236}">
                  <a16:creationId xmlns:a16="http://schemas.microsoft.com/office/drawing/2014/main" id="{3242B949-E8BC-434A-DDA9-7879A7B0C885}"/>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38" name="Freeform: Shape 37">
              <a:extLst>
                <a:ext uri="{FF2B5EF4-FFF2-40B4-BE49-F238E27FC236}">
                  <a16:creationId xmlns:a16="http://schemas.microsoft.com/office/drawing/2014/main" id="{6968A012-17AD-6B8B-C2CB-6B35D38253B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39" name="Freeform: Shape 38">
              <a:extLst>
                <a:ext uri="{FF2B5EF4-FFF2-40B4-BE49-F238E27FC236}">
                  <a16:creationId xmlns:a16="http://schemas.microsoft.com/office/drawing/2014/main" id="{0F846ED5-ABB2-9001-6CC8-7BFBFB09F03E}"/>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40" name="Freeform: Shape 39">
              <a:extLst>
                <a:ext uri="{FF2B5EF4-FFF2-40B4-BE49-F238E27FC236}">
                  <a16:creationId xmlns:a16="http://schemas.microsoft.com/office/drawing/2014/main" id="{C3ADB819-291C-0F41-E028-EDC01EEFC516}"/>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41" name="Freeform: Shape 40">
              <a:extLst>
                <a:ext uri="{FF2B5EF4-FFF2-40B4-BE49-F238E27FC236}">
                  <a16:creationId xmlns:a16="http://schemas.microsoft.com/office/drawing/2014/main" id="{A15520D5-CC3D-D5F4-FA4B-BDAE8C8722EF}"/>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42" name="Freeform: Shape 41">
              <a:extLst>
                <a:ext uri="{FF2B5EF4-FFF2-40B4-BE49-F238E27FC236}">
                  <a16:creationId xmlns:a16="http://schemas.microsoft.com/office/drawing/2014/main" id="{67C124BB-1B83-F513-2E87-97EDBC2AEF30}"/>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43" name="Freeform: Shape 42">
              <a:extLst>
                <a:ext uri="{FF2B5EF4-FFF2-40B4-BE49-F238E27FC236}">
                  <a16:creationId xmlns:a16="http://schemas.microsoft.com/office/drawing/2014/main" id="{EEF0D7CB-E9CC-1B90-FDE3-6D3BFDABFB1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44" name="Freeform: Shape 43">
              <a:extLst>
                <a:ext uri="{FF2B5EF4-FFF2-40B4-BE49-F238E27FC236}">
                  <a16:creationId xmlns:a16="http://schemas.microsoft.com/office/drawing/2014/main" id="{80A5C00A-66A9-6542-D940-A29C729A2AF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45" name="Freeform: Shape 44">
              <a:extLst>
                <a:ext uri="{FF2B5EF4-FFF2-40B4-BE49-F238E27FC236}">
                  <a16:creationId xmlns:a16="http://schemas.microsoft.com/office/drawing/2014/main" id="{9624FB3F-715B-4931-F7F0-B4E8CB064E37}"/>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46" name="Freeform: Shape 45">
              <a:extLst>
                <a:ext uri="{FF2B5EF4-FFF2-40B4-BE49-F238E27FC236}">
                  <a16:creationId xmlns:a16="http://schemas.microsoft.com/office/drawing/2014/main" id="{5D48DE06-680A-6A29-038C-CD50F42F099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47" name="Freeform: Shape 46">
              <a:extLst>
                <a:ext uri="{FF2B5EF4-FFF2-40B4-BE49-F238E27FC236}">
                  <a16:creationId xmlns:a16="http://schemas.microsoft.com/office/drawing/2014/main" id="{B6C8B835-06D3-BA0B-45FB-025D4BB37590}"/>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48" name="Freeform: Shape 47">
              <a:extLst>
                <a:ext uri="{FF2B5EF4-FFF2-40B4-BE49-F238E27FC236}">
                  <a16:creationId xmlns:a16="http://schemas.microsoft.com/office/drawing/2014/main" id="{0E5C4F09-A424-6CF4-8F1E-DA796CEDFE29}"/>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49" name="Freeform: Shape 48">
              <a:extLst>
                <a:ext uri="{FF2B5EF4-FFF2-40B4-BE49-F238E27FC236}">
                  <a16:creationId xmlns:a16="http://schemas.microsoft.com/office/drawing/2014/main" id="{0B4EEDF1-7424-868E-63E2-C27AF9ADD3EB}"/>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50" name="Freeform: Shape 49">
              <a:extLst>
                <a:ext uri="{FF2B5EF4-FFF2-40B4-BE49-F238E27FC236}">
                  <a16:creationId xmlns:a16="http://schemas.microsoft.com/office/drawing/2014/main" id="{CB031385-10A0-CC51-E5FC-681B438620A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51" name="Freeform: Shape 50">
              <a:extLst>
                <a:ext uri="{FF2B5EF4-FFF2-40B4-BE49-F238E27FC236}">
                  <a16:creationId xmlns:a16="http://schemas.microsoft.com/office/drawing/2014/main" id="{D6D8DB3E-A046-A2D2-D2D3-5B52207CA813}"/>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52" name="Freeform: Shape 51">
              <a:extLst>
                <a:ext uri="{FF2B5EF4-FFF2-40B4-BE49-F238E27FC236}">
                  <a16:creationId xmlns:a16="http://schemas.microsoft.com/office/drawing/2014/main" id="{6A619102-F21E-DB40-5A8A-89B28EEB580B}"/>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53" name="Freeform: Shape 52">
              <a:extLst>
                <a:ext uri="{FF2B5EF4-FFF2-40B4-BE49-F238E27FC236}">
                  <a16:creationId xmlns:a16="http://schemas.microsoft.com/office/drawing/2014/main" id="{6ECD125D-6364-7F2F-65E1-53AF8541E9FE}"/>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54" name="Freeform: Shape 53">
              <a:extLst>
                <a:ext uri="{FF2B5EF4-FFF2-40B4-BE49-F238E27FC236}">
                  <a16:creationId xmlns:a16="http://schemas.microsoft.com/office/drawing/2014/main" id="{90EB5BC4-3AA8-F865-D147-D0D6DA29EDA1}"/>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55" name="Freeform: Shape 54">
              <a:extLst>
                <a:ext uri="{FF2B5EF4-FFF2-40B4-BE49-F238E27FC236}">
                  <a16:creationId xmlns:a16="http://schemas.microsoft.com/office/drawing/2014/main" id="{319966B1-674A-0A00-65B9-D45E2762E7B5}"/>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56" name="Freeform: Shape 55">
              <a:extLst>
                <a:ext uri="{FF2B5EF4-FFF2-40B4-BE49-F238E27FC236}">
                  <a16:creationId xmlns:a16="http://schemas.microsoft.com/office/drawing/2014/main" id="{BF4841CB-9DA4-6426-14D5-EEDFDA016E7F}"/>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57" name="Freeform: Shape 56">
              <a:extLst>
                <a:ext uri="{FF2B5EF4-FFF2-40B4-BE49-F238E27FC236}">
                  <a16:creationId xmlns:a16="http://schemas.microsoft.com/office/drawing/2014/main" id="{4B0059BE-E839-6D51-D18D-679CD9473A7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58" name="Freeform: Shape 57">
              <a:extLst>
                <a:ext uri="{FF2B5EF4-FFF2-40B4-BE49-F238E27FC236}">
                  <a16:creationId xmlns:a16="http://schemas.microsoft.com/office/drawing/2014/main" id="{DC27FDFF-19CF-9D86-1CB8-AFF72E606FB4}"/>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sp>
        <p:nvSpPr>
          <p:cNvPr id="6" name="CaixaDeTexto 5">
            <a:extLst>
              <a:ext uri="{FF2B5EF4-FFF2-40B4-BE49-F238E27FC236}">
                <a16:creationId xmlns:a16="http://schemas.microsoft.com/office/drawing/2014/main" id="{36B49895-2277-8F97-C598-D0E6DCCF4AD6}"/>
              </a:ext>
            </a:extLst>
          </p:cNvPr>
          <p:cNvSpPr txBox="1"/>
          <p:nvPr/>
        </p:nvSpPr>
        <p:spPr>
          <a:xfrm>
            <a:off x="304800" y="1099776"/>
            <a:ext cx="10519986" cy="584775"/>
          </a:xfrm>
          <a:prstGeom prst="rect">
            <a:avLst/>
          </a:prstGeom>
          <a:noFill/>
        </p:spPr>
        <p:txBody>
          <a:bodyPr wrap="square" rtlCol="0">
            <a:spAutoFit/>
          </a:bodyPr>
          <a:lstStyle/>
          <a:p>
            <a:r>
              <a:rPr lang="pt-BR" sz="3200" dirty="0"/>
              <a:t>Referências</a:t>
            </a:r>
            <a:endParaRPr lang="pt-BR" sz="3200" b="1" dirty="0">
              <a:latin typeface="Century Gothic" panose="020B0502020202020204" pitchFamily="34" charset="0"/>
            </a:endParaRPr>
          </a:p>
        </p:txBody>
      </p:sp>
      <p:pic>
        <p:nvPicPr>
          <p:cNvPr id="2" name="Imagem 1">
            <a:extLst>
              <a:ext uri="{FF2B5EF4-FFF2-40B4-BE49-F238E27FC236}">
                <a16:creationId xmlns:a16="http://schemas.microsoft.com/office/drawing/2014/main" id="{113866E0-6CBB-917B-4F30-C5837D5045B9}"/>
              </a:ext>
            </a:extLst>
          </p:cNvPr>
          <p:cNvPicPr>
            <a:picLocks noChangeAspect="1"/>
          </p:cNvPicPr>
          <p:nvPr/>
        </p:nvPicPr>
        <p:blipFill>
          <a:blip r:embed="rId6"/>
          <a:stretch>
            <a:fillRect/>
          </a:stretch>
        </p:blipFill>
        <p:spPr>
          <a:xfrm>
            <a:off x="0" y="5963336"/>
            <a:ext cx="12192000" cy="894664"/>
          </a:xfrm>
          <a:prstGeom prst="rect">
            <a:avLst/>
          </a:prstGeom>
        </p:spPr>
      </p:pic>
      <p:sp>
        <p:nvSpPr>
          <p:cNvPr id="3" name="CaixaDeTexto 2">
            <a:extLst>
              <a:ext uri="{FF2B5EF4-FFF2-40B4-BE49-F238E27FC236}">
                <a16:creationId xmlns:a16="http://schemas.microsoft.com/office/drawing/2014/main" id="{1439288B-62EA-77D8-6A0B-211EC0259F81}"/>
              </a:ext>
            </a:extLst>
          </p:cNvPr>
          <p:cNvSpPr txBox="1"/>
          <p:nvPr/>
        </p:nvSpPr>
        <p:spPr>
          <a:xfrm>
            <a:off x="484390" y="2226365"/>
            <a:ext cx="10938984" cy="3293209"/>
          </a:xfrm>
          <a:prstGeom prst="rect">
            <a:avLst/>
          </a:prstGeom>
          <a:noFill/>
        </p:spPr>
        <p:txBody>
          <a:bodyPr wrap="square" lIns="91440" tIns="45720" rIns="91440" bIns="45720" rtlCol="0" anchor="t">
            <a:spAutoFit/>
          </a:bodyPr>
          <a:lstStyle/>
          <a:p>
            <a:r>
              <a:rPr lang="pt-BR" sz="1600" dirty="0">
                <a:latin typeface="Arial"/>
                <a:cs typeface="Arial"/>
              </a:rPr>
              <a:t>1- Araújo Rodrigues, Karina Érica, Lesões orais por intubação orotraqueal, São Luis</a:t>
            </a:r>
            <a:r>
              <a:rPr lang="pt-BR" sz="1600">
                <a:latin typeface="Arial"/>
                <a:cs typeface="Arial"/>
              </a:rPr>
              <a:t>, 2024.</a:t>
            </a:r>
            <a:endParaRPr lang="en-US" sz="1600">
              <a:latin typeface="Arial"/>
              <a:cs typeface="Arial"/>
            </a:endParaRPr>
          </a:p>
          <a:p>
            <a:br>
              <a:rPr lang="pt-BR" sz="1600" dirty="0">
                <a:latin typeface="Arial" panose="020B0604020202020204" pitchFamily="34" charset="0"/>
                <a:cs typeface="Arial" panose="020B0604020202020204" pitchFamily="34" charset="0"/>
              </a:rPr>
            </a:br>
            <a:r>
              <a:rPr lang="pt-BR" sz="1600" b="0" u="none" strike="noStrike" baseline="0" dirty="0">
                <a:latin typeface="Arial"/>
                <a:cs typeface="Arial"/>
              </a:rPr>
              <a:t>2-Tadao </a:t>
            </a:r>
            <a:r>
              <a:rPr lang="pt-BR" sz="1600" b="0" u="none" strike="noStrike" baseline="0" dirty="0" err="1">
                <a:latin typeface="Arial"/>
                <a:cs typeface="Arial"/>
              </a:rPr>
              <a:t>Wada,Danilo</a:t>
            </a:r>
            <a:r>
              <a:rPr lang="pt-BR" sz="1600" b="0" u="none" strike="noStrike" baseline="0" dirty="0">
                <a:latin typeface="Arial"/>
                <a:cs typeface="Arial"/>
              </a:rPr>
              <a:t>; </a:t>
            </a:r>
            <a:r>
              <a:rPr lang="pt-BR" sz="1600" b="0" u="none" strike="noStrike" baseline="0" dirty="0" err="1">
                <a:latin typeface="Arial"/>
                <a:cs typeface="Arial"/>
              </a:rPr>
              <a:t>Hiesinger</a:t>
            </a:r>
            <a:r>
              <a:rPr lang="pt-BR" sz="1600" b="0" u="none" strike="noStrike" baseline="0" dirty="0">
                <a:latin typeface="Arial"/>
                <a:cs typeface="Arial"/>
              </a:rPr>
              <a:t> Rodrigues, José </a:t>
            </a:r>
            <a:r>
              <a:rPr lang="pt-BR" sz="1600" b="0" u="none" strike="noStrike" baseline="0" dirty="0" err="1">
                <a:latin typeface="Arial"/>
                <a:cs typeface="Arial"/>
              </a:rPr>
              <a:t>Antonio</a:t>
            </a:r>
            <a:r>
              <a:rPr lang="pt-BR" sz="1600" b="0" u="none" strike="noStrike" baseline="0" dirty="0">
                <a:latin typeface="Arial"/>
                <a:cs typeface="Arial"/>
              </a:rPr>
              <a:t>; </a:t>
            </a:r>
            <a:r>
              <a:rPr lang="pt-BR" sz="1600" b="0" u="none" strike="noStrike" baseline="0" dirty="0" err="1">
                <a:latin typeface="Arial"/>
                <a:cs typeface="Arial"/>
              </a:rPr>
              <a:t>Koenigkam</a:t>
            </a:r>
            <a:r>
              <a:rPr lang="pt-BR" sz="1600" b="0" u="none" strike="noStrike" baseline="0" dirty="0">
                <a:latin typeface="Arial"/>
                <a:cs typeface="Arial"/>
              </a:rPr>
              <a:t> Santos, Marcel; </a:t>
            </a:r>
            <a:br>
              <a:rPr lang="pt-BR" sz="1600" b="0" u="none" strike="noStrike" baseline="0" dirty="0">
                <a:latin typeface="Arial" panose="020B0604020202020204" pitchFamily="34" charset="0"/>
                <a:cs typeface="Arial" panose="020B0604020202020204" pitchFamily="34" charset="0"/>
              </a:rPr>
            </a:br>
            <a:r>
              <a:rPr lang="en-US" sz="1600" b="0" u="none" strike="noStrike" baseline="0" dirty="0">
                <a:latin typeface="Arial"/>
                <a:cs typeface="Arial"/>
              </a:rPr>
              <a:t> Tubes, catheters and other medical devices on chest radiography, São Paulo, </a:t>
            </a:r>
            <a:r>
              <a:rPr lang="pt-BR" sz="1600" b="0" u="none" strike="noStrike" baseline="0" dirty="0">
                <a:latin typeface="Arial"/>
                <a:cs typeface="Arial"/>
                <a:hlinkClick r:id="rId7">
                  <a:extLst>
                    <a:ext uri="{A12FA001-AC4F-418D-AE19-62706E023703}">
                      <ahyp:hlinkClr xmlns:ahyp="http://schemas.microsoft.com/office/drawing/2018/hyperlinkcolor" val="tx"/>
                    </a:ext>
                  </a:extLst>
                </a:hlinkClick>
              </a:rPr>
              <a:t>https://www.revistas.usp.br/rmrp</a:t>
            </a:r>
            <a:r>
              <a:rPr lang="pt-BR" sz="1600" b="0" u="none" strike="noStrike" baseline="0" dirty="0">
                <a:latin typeface="Arial"/>
                <a:cs typeface="Arial"/>
              </a:rPr>
              <a:t>, 2019.</a:t>
            </a:r>
            <a:br>
              <a:rPr lang="pt-BR" sz="1600" b="0" u="none" strike="noStrike" baseline="0" dirty="0">
                <a:latin typeface="Arial" panose="020B0604020202020204" pitchFamily="34" charset="0"/>
                <a:cs typeface="Arial" panose="020B0604020202020204" pitchFamily="34" charset="0"/>
              </a:rPr>
            </a:br>
            <a:br>
              <a:rPr lang="pt-BR" sz="1600" b="0" u="none" strike="noStrike" baseline="0" dirty="0">
                <a:latin typeface="Arial" panose="020B0604020202020204" pitchFamily="34" charset="0"/>
                <a:cs typeface="Arial" panose="020B0604020202020204" pitchFamily="34" charset="0"/>
              </a:rPr>
            </a:br>
            <a:r>
              <a:rPr lang="pt-BR" sz="1600" b="0" u="none" strike="noStrike" baseline="0" dirty="0">
                <a:latin typeface="Arial"/>
                <a:cs typeface="Arial"/>
              </a:rPr>
              <a:t>3- Mascarenhas de Lima, Danielly; Pereira Martins </a:t>
            </a:r>
            <a:r>
              <a:rPr lang="pt-BR" sz="1600" b="0" u="none" strike="noStrike" baseline="0" dirty="0" err="1">
                <a:latin typeface="Arial"/>
                <a:cs typeface="Arial"/>
              </a:rPr>
              <a:t>Casteli</a:t>
            </a:r>
            <a:r>
              <a:rPr lang="pt-BR" sz="1600" b="0" u="none" strike="noStrike" baseline="0" dirty="0">
                <a:latin typeface="Arial"/>
                <a:cs typeface="Arial"/>
              </a:rPr>
              <a:t>, Christiane; </a:t>
            </a:r>
            <a:r>
              <a:rPr lang="pt-BR" sz="1600" b="0" u="none" strike="noStrike" baseline="0" dirty="0" err="1">
                <a:latin typeface="Arial"/>
                <a:cs typeface="Arial"/>
              </a:rPr>
              <a:t>Fadini</a:t>
            </a:r>
            <a:r>
              <a:rPr lang="pt-BR" sz="1600" b="0" u="none" strike="noStrike" baseline="0" dirty="0">
                <a:latin typeface="Arial"/>
                <a:cs typeface="Arial"/>
              </a:rPr>
              <a:t> Reis </a:t>
            </a:r>
            <a:r>
              <a:rPr lang="pt-BR" sz="1600" b="0" u="none" strike="noStrike" baseline="0" dirty="0" err="1">
                <a:latin typeface="Arial"/>
                <a:cs typeface="Arial"/>
              </a:rPr>
              <a:t>Brunori</a:t>
            </a:r>
            <a:r>
              <a:rPr lang="pt-BR" sz="1600" b="0" u="none" strike="noStrike" baseline="0" dirty="0">
                <a:latin typeface="Arial"/>
                <a:cs typeface="Arial"/>
              </a:rPr>
              <a:t>, </a:t>
            </a:r>
            <a:r>
              <a:rPr lang="pt-BR" sz="1600" b="0" u="none" strike="noStrike" baseline="0" dirty="0" err="1">
                <a:latin typeface="Arial"/>
                <a:cs typeface="Arial"/>
              </a:rPr>
              <a:t>Evelise</a:t>
            </a:r>
            <a:r>
              <a:rPr lang="pt-BR" sz="1600" b="0" u="none" strike="noStrike" baseline="0" dirty="0">
                <a:latin typeface="Arial"/>
                <a:cs typeface="Arial"/>
              </a:rPr>
              <a:t> Helena; </a:t>
            </a:r>
            <a:br>
              <a:rPr lang="pt-BR" sz="1600" b="0" u="none" strike="noStrike" baseline="0" dirty="0">
                <a:latin typeface="Arial" panose="020B0604020202020204" pitchFamily="34" charset="0"/>
                <a:cs typeface="Arial" panose="020B0604020202020204" pitchFamily="34" charset="0"/>
              </a:rPr>
            </a:br>
            <a:r>
              <a:rPr lang="pt-BR" sz="1600" b="0" u="none" strike="noStrike" baseline="0" dirty="0">
                <a:latin typeface="Arial"/>
                <a:cs typeface="Arial"/>
              </a:rPr>
              <a:t> </a:t>
            </a:r>
            <a:r>
              <a:rPr lang="pt-BR" sz="1600" b="0" u="none" strike="noStrike" baseline="0" dirty="0" err="1">
                <a:latin typeface="Arial"/>
                <a:cs typeface="Arial"/>
              </a:rPr>
              <a:t>Cotait</a:t>
            </a:r>
            <a:r>
              <a:rPr lang="pt-BR" sz="1600" b="0" u="none" strike="noStrike" baseline="0" dirty="0">
                <a:latin typeface="Arial"/>
                <a:cs typeface="Arial"/>
              </a:rPr>
              <a:t> Ayoub, Andrea; </a:t>
            </a:r>
            <a:r>
              <a:rPr lang="pt-BR" sz="1600" dirty="0">
                <a:latin typeface="Arial"/>
                <a:cs typeface="Arial"/>
              </a:rPr>
              <a:t>Fixação de tubo orotraqueal: Tecnologia diferenciada para segurança do paciente; Recife;</a:t>
            </a:r>
            <a:r>
              <a:rPr lang="pt-BR" sz="1600" b="1" u="none" strike="noStrike" baseline="0" dirty="0">
                <a:latin typeface="Arial"/>
                <a:cs typeface="Arial"/>
              </a:rPr>
              <a:t> </a:t>
            </a:r>
            <a:r>
              <a:rPr lang="en-US" sz="1600" b="0" u="none" strike="noStrike" baseline="0" dirty="0">
                <a:latin typeface="Arial"/>
                <a:cs typeface="Arial"/>
              </a:rPr>
              <a:t>Rev </a:t>
            </a:r>
            <a:r>
              <a:rPr lang="en-US" sz="1600" b="0" u="none" strike="noStrike" baseline="0" dirty="0" err="1">
                <a:latin typeface="Arial"/>
                <a:cs typeface="Arial"/>
              </a:rPr>
              <a:t>enferm</a:t>
            </a:r>
            <a:r>
              <a:rPr lang="en-US" sz="1600" b="0" u="none" strike="noStrike" baseline="0" dirty="0">
                <a:latin typeface="Arial"/>
                <a:cs typeface="Arial"/>
              </a:rPr>
              <a:t> UFPE on line., Recife, 10(5):1812-21, </a:t>
            </a:r>
            <a:r>
              <a:rPr lang="en-US" sz="1600" b="0" u="none" strike="noStrike" baseline="0" dirty="0" err="1">
                <a:latin typeface="Arial"/>
                <a:cs typeface="Arial"/>
              </a:rPr>
              <a:t>maio</a:t>
            </a:r>
            <a:r>
              <a:rPr lang="en-US" sz="1600" b="0" u="none" strike="noStrike" baseline="0" dirty="0">
                <a:latin typeface="Arial"/>
                <a:cs typeface="Arial"/>
              </a:rPr>
              <a:t>., 2016. </a:t>
            </a:r>
            <a:br>
              <a:rPr lang="en-US" sz="1600" b="0" u="none" strike="noStrike" baseline="0" dirty="0">
                <a:latin typeface="Arial" panose="020B0604020202020204" pitchFamily="34" charset="0"/>
                <a:cs typeface="Arial" panose="020B0604020202020204" pitchFamily="34" charset="0"/>
              </a:rPr>
            </a:br>
            <a:endParaRPr lang="en-US" sz="1600">
              <a:latin typeface="Arial"/>
              <a:cs typeface="Arial"/>
            </a:endParaRPr>
          </a:p>
          <a:p>
            <a:r>
              <a:rPr lang="pt-BR" sz="1600" dirty="0">
                <a:latin typeface="Arial"/>
                <a:cs typeface="Arial"/>
              </a:rPr>
              <a:t>4- </a:t>
            </a:r>
            <a:r>
              <a:rPr lang="pt-BR" sz="1600" err="1">
                <a:latin typeface="Arial"/>
                <a:ea typeface="+mn-lt"/>
                <a:cs typeface="+mn-lt"/>
              </a:rPr>
              <a:t>Luszczynski</a:t>
            </a:r>
            <a:r>
              <a:rPr lang="pt-BR" sz="1600" dirty="0">
                <a:latin typeface="Arial"/>
                <a:ea typeface="+mn-lt"/>
                <a:cs typeface="+mn-lt"/>
              </a:rPr>
              <a:t> Cabral. Sistema de vigilância e prevenção de extubação não planejada em terapia intensiva pediátrica: um escore </a:t>
            </a:r>
            <a:r>
              <a:rPr lang="pt-BR" sz="1600" err="1">
                <a:latin typeface="Arial"/>
                <a:ea typeface="+mn-lt"/>
                <a:cs typeface="+mn-lt"/>
              </a:rPr>
              <a:t>preditvo</a:t>
            </a:r>
            <a:r>
              <a:rPr lang="pt-BR" sz="1600" dirty="0">
                <a:latin typeface="Arial"/>
                <a:ea typeface="+mn-lt"/>
                <a:cs typeface="+mn-lt"/>
              </a:rPr>
              <a:t>, Curitiba; 2020</a:t>
            </a:r>
          </a:p>
          <a:p>
            <a:endParaRPr lang="pt-BR" sz="1600" dirty="0">
              <a:latin typeface="Arial"/>
              <a:cs typeface="Arial"/>
            </a:endParaRPr>
          </a:p>
          <a:p>
            <a:endParaRPr lang="pt-BR" sz="1600" dirty="0">
              <a:latin typeface="Arial"/>
              <a:cs typeface="Arial"/>
            </a:endParaRPr>
          </a:p>
        </p:txBody>
      </p:sp>
    </p:spTree>
    <p:extLst>
      <p:ext uri="{BB962C8B-B14F-4D97-AF65-F5344CB8AC3E}">
        <p14:creationId xmlns:p14="http://schemas.microsoft.com/office/powerpoint/2010/main" val="3076924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91AA0E30-89C1-ADAE-3612-F3B13803B0DC}"/>
              </a:ext>
            </a:extLst>
          </p:cNvPr>
          <p:cNvSpPr txBox="1"/>
          <p:nvPr/>
        </p:nvSpPr>
        <p:spPr>
          <a:xfrm>
            <a:off x="4762833" y="2862255"/>
            <a:ext cx="8814944" cy="15081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6000" b="0" i="0" u="none" strike="noStrike" kern="1200" cap="none" spc="0" normalizeH="0" baseline="0" noProof="0" dirty="0">
                <a:ln>
                  <a:noFill/>
                </a:ln>
                <a:solidFill>
                  <a:schemeClr val="bg1"/>
                </a:solidFill>
                <a:effectLst/>
                <a:uLnTx/>
                <a:uFillTx/>
                <a:latin typeface="Calibri" panose="020F0502020204030204"/>
                <a:ea typeface="+mn-ea"/>
                <a:cs typeface="+mn-cs"/>
              </a:rPr>
              <a:t>Obrigado!</a:t>
            </a:r>
            <a:endParaRPr kumimoji="0" lang="pt-BR"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 name="Group 12">
            <a:extLst>
              <a:ext uri="{FF2B5EF4-FFF2-40B4-BE49-F238E27FC236}">
                <a16:creationId xmlns:a16="http://schemas.microsoft.com/office/drawing/2014/main" id="{E0889EC1-B3D5-3FC5-D43B-A5053B454B62}"/>
              </a:ext>
            </a:extLst>
          </p:cNvPr>
          <p:cNvGrpSpPr/>
          <p:nvPr/>
        </p:nvGrpSpPr>
        <p:grpSpPr>
          <a:xfrm>
            <a:off x="304800" y="249455"/>
            <a:ext cx="1193800" cy="462985"/>
            <a:chOff x="5245100" y="211355"/>
            <a:chExt cx="2036664" cy="789869"/>
          </a:xfrm>
        </p:grpSpPr>
        <p:sp>
          <p:nvSpPr>
            <p:cNvPr id="5" name="Freeform: Shape 13">
              <a:extLst>
                <a:ext uri="{FF2B5EF4-FFF2-40B4-BE49-F238E27FC236}">
                  <a16:creationId xmlns:a16="http://schemas.microsoft.com/office/drawing/2014/main" id="{68B77CE8-7533-ED17-B6E6-A6AD6F84F3EB}"/>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Shape 16">
              <a:extLst>
                <a:ext uri="{FF2B5EF4-FFF2-40B4-BE49-F238E27FC236}">
                  <a16:creationId xmlns:a16="http://schemas.microsoft.com/office/drawing/2014/main" id="{5D7B34D8-2C06-12EA-2592-5FF14F8FDF63}"/>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Shape 17">
              <a:extLst>
                <a:ext uri="{FF2B5EF4-FFF2-40B4-BE49-F238E27FC236}">
                  <a16:creationId xmlns:a16="http://schemas.microsoft.com/office/drawing/2014/main" id="{84116E07-B928-8482-29FA-AD43CA2A8A34}"/>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Shape 18">
              <a:extLst>
                <a:ext uri="{FF2B5EF4-FFF2-40B4-BE49-F238E27FC236}">
                  <a16:creationId xmlns:a16="http://schemas.microsoft.com/office/drawing/2014/main" id="{3728FC50-8727-EEBB-4937-A0610F9D807B}"/>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Shape 19">
              <a:extLst>
                <a:ext uri="{FF2B5EF4-FFF2-40B4-BE49-F238E27FC236}">
                  <a16:creationId xmlns:a16="http://schemas.microsoft.com/office/drawing/2014/main" id="{3D495EBE-7401-A7A9-3674-DD11AB483930}"/>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Shape 20">
              <a:extLst>
                <a:ext uri="{FF2B5EF4-FFF2-40B4-BE49-F238E27FC236}">
                  <a16:creationId xmlns:a16="http://schemas.microsoft.com/office/drawing/2014/main" id="{6A16E77B-AEE9-5255-03D5-76FE6E72F734}"/>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21">
              <a:extLst>
                <a:ext uri="{FF2B5EF4-FFF2-40B4-BE49-F238E27FC236}">
                  <a16:creationId xmlns:a16="http://schemas.microsoft.com/office/drawing/2014/main" id="{E58F6B66-175A-A4DF-A706-8289491D45F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Shape 22">
              <a:extLst>
                <a:ext uri="{FF2B5EF4-FFF2-40B4-BE49-F238E27FC236}">
                  <a16:creationId xmlns:a16="http://schemas.microsoft.com/office/drawing/2014/main" id="{2E1719D1-0889-0AE5-11D2-2EC4535FBF6E}"/>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23">
              <a:extLst>
                <a:ext uri="{FF2B5EF4-FFF2-40B4-BE49-F238E27FC236}">
                  <a16:creationId xmlns:a16="http://schemas.microsoft.com/office/drawing/2014/main" id="{A2E52ECD-9889-FE41-5331-A57C84CC32E9}"/>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24">
              <a:extLst>
                <a:ext uri="{FF2B5EF4-FFF2-40B4-BE49-F238E27FC236}">
                  <a16:creationId xmlns:a16="http://schemas.microsoft.com/office/drawing/2014/main" id="{1CB2C0D0-6E35-5CCA-5DF8-AF5141CF9278}"/>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Shape 25">
              <a:extLst>
                <a:ext uri="{FF2B5EF4-FFF2-40B4-BE49-F238E27FC236}">
                  <a16:creationId xmlns:a16="http://schemas.microsoft.com/office/drawing/2014/main" id="{712FEFC7-488C-EB39-F82D-35DF67D78ED0}"/>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Shape 26">
              <a:extLst>
                <a:ext uri="{FF2B5EF4-FFF2-40B4-BE49-F238E27FC236}">
                  <a16:creationId xmlns:a16="http://schemas.microsoft.com/office/drawing/2014/main" id="{1A443AC3-EB99-705F-E041-7B6374447B56}"/>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Shape 27">
              <a:extLst>
                <a:ext uri="{FF2B5EF4-FFF2-40B4-BE49-F238E27FC236}">
                  <a16:creationId xmlns:a16="http://schemas.microsoft.com/office/drawing/2014/main" id="{E0041FB8-D64F-6383-FE5D-179C03476B64}"/>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28">
              <a:extLst>
                <a:ext uri="{FF2B5EF4-FFF2-40B4-BE49-F238E27FC236}">
                  <a16:creationId xmlns:a16="http://schemas.microsoft.com/office/drawing/2014/main" id="{D86D3CF4-42E1-9167-7062-40769128297B}"/>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29">
              <a:extLst>
                <a:ext uri="{FF2B5EF4-FFF2-40B4-BE49-F238E27FC236}">
                  <a16:creationId xmlns:a16="http://schemas.microsoft.com/office/drawing/2014/main" id="{D7DEC761-D003-2E6E-336F-EE6EE2E887F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30">
              <a:extLst>
                <a:ext uri="{FF2B5EF4-FFF2-40B4-BE49-F238E27FC236}">
                  <a16:creationId xmlns:a16="http://schemas.microsoft.com/office/drawing/2014/main" id="{C2DA362A-CBA4-4EDC-09E6-7B04EBE2B064}"/>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Shape 31">
              <a:extLst>
                <a:ext uri="{FF2B5EF4-FFF2-40B4-BE49-F238E27FC236}">
                  <a16:creationId xmlns:a16="http://schemas.microsoft.com/office/drawing/2014/main" id="{D7558F64-2A5E-81ED-0C1D-613EA736FD59}"/>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32">
              <a:extLst>
                <a:ext uri="{FF2B5EF4-FFF2-40B4-BE49-F238E27FC236}">
                  <a16:creationId xmlns:a16="http://schemas.microsoft.com/office/drawing/2014/main" id="{130EBD84-7B2C-FD8F-F752-4CA5FE121961}"/>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Shape 33">
              <a:extLst>
                <a:ext uri="{FF2B5EF4-FFF2-40B4-BE49-F238E27FC236}">
                  <a16:creationId xmlns:a16="http://schemas.microsoft.com/office/drawing/2014/main" id="{37C0DB51-E090-5409-2455-0B3987EF9B07}"/>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Shape 34">
              <a:extLst>
                <a:ext uri="{FF2B5EF4-FFF2-40B4-BE49-F238E27FC236}">
                  <a16:creationId xmlns:a16="http://schemas.microsoft.com/office/drawing/2014/main" id="{D01D9557-EF69-34C8-86C1-2ED2CA2C0B73}"/>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35">
              <a:extLst>
                <a:ext uri="{FF2B5EF4-FFF2-40B4-BE49-F238E27FC236}">
                  <a16:creationId xmlns:a16="http://schemas.microsoft.com/office/drawing/2014/main" id="{F6315485-CD6A-085A-D0BB-F94E52E34670}"/>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Shape 36">
              <a:extLst>
                <a:ext uri="{FF2B5EF4-FFF2-40B4-BE49-F238E27FC236}">
                  <a16:creationId xmlns:a16="http://schemas.microsoft.com/office/drawing/2014/main" id="{2BC001A8-53C6-E1FE-1A95-D9E65996D8BB}"/>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Shape 37">
              <a:extLst>
                <a:ext uri="{FF2B5EF4-FFF2-40B4-BE49-F238E27FC236}">
                  <a16:creationId xmlns:a16="http://schemas.microsoft.com/office/drawing/2014/main" id="{E7BDC4A4-1302-23FA-07DF-D5C76E84E8A1}"/>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Shape 38">
              <a:extLst>
                <a:ext uri="{FF2B5EF4-FFF2-40B4-BE49-F238E27FC236}">
                  <a16:creationId xmlns:a16="http://schemas.microsoft.com/office/drawing/2014/main" id="{3C197BB4-DC7C-CE3F-CF1A-5DE67F52A6FC}"/>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Shape 39">
              <a:extLst>
                <a:ext uri="{FF2B5EF4-FFF2-40B4-BE49-F238E27FC236}">
                  <a16:creationId xmlns:a16="http://schemas.microsoft.com/office/drawing/2014/main" id="{47913B9F-DB45-DECB-41C4-6647FCF58457}"/>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40">
              <a:extLst>
                <a:ext uri="{FF2B5EF4-FFF2-40B4-BE49-F238E27FC236}">
                  <a16:creationId xmlns:a16="http://schemas.microsoft.com/office/drawing/2014/main" id="{B70F2C0F-B287-1042-0193-BFEF533FA41B}"/>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41">
              <a:extLst>
                <a:ext uri="{FF2B5EF4-FFF2-40B4-BE49-F238E27FC236}">
                  <a16:creationId xmlns:a16="http://schemas.microsoft.com/office/drawing/2014/main" id="{BB1AD938-0491-253B-26FE-3DBDE374E4FA}"/>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Shape 42">
              <a:extLst>
                <a:ext uri="{FF2B5EF4-FFF2-40B4-BE49-F238E27FC236}">
                  <a16:creationId xmlns:a16="http://schemas.microsoft.com/office/drawing/2014/main" id="{458FD9E7-C863-68AD-85DC-15F93E1ACBD7}"/>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Shape 43">
              <a:extLst>
                <a:ext uri="{FF2B5EF4-FFF2-40B4-BE49-F238E27FC236}">
                  <a16:creationId xmlns:a16="http://schemas.microsoft.com/office/drawing/2014/main" id="{E77F0A20-441D-3898-189C-1124C8331DD1}"/>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Shape 44">
              <a:extLst>
                <a:ext uri="{FF2B5EF4-FFF2-40B4-BE49-F238E27FC236}">
                  <a16:creationId xmlns:a16="http://schemas.microsoft.com/office/drawing/2014/main" id="{E21A95F5-E8A2-5BB7-ED2A-6190C8509E06}"/>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45">
              <a:extLst>
                <a:ext uri="{FF2B5EF4-FFF2-40B4-BE49-F238E27FC236}">
                  <a16:creationId xmlns:a16="http://schemas.microsoft.com/office/drawing/2014/main" id="{8F494030-202C-7397-2B40-373143EC3CA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Shape 46">
              <a:extLst>
                <a:ext uri="{FF2B5EF4-FFF2-40B4-BE49-F238E27FC236}">
                  <a16:creationId xmlns:a16="http://schemas.microsoft.com/office/drawing/2014/main" id="{3272B4E0-7A5C-5BBE-50E5-1BBC3CB285C3}"/>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47">
              <a:extLst>
                <a:ext uri="{FF2B5EF4-FFF2-40B4-BE49-F238E27FC236}">
                  <a16:creationId xmlns:a16="http://schemas.microsoft.com/office/drawing/2014/main" id="{390F8946-0828-29B4-F4E0-3EF7F2BC42C4}"/>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48">
              <a:extLst>
                <a:ext uri="{FF2B5EF4-FFF2-40B4-BE49-F238E27FC236}">
                  <a16:creationId xmlns:a16="http://schemas.microsoft.com/office/drawing/2014/main" id="{09438990-9DBA-881A-11E1-EDCCA3D8024D}"/>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Shape 49">
              <a:extLst>
                <a:ext uri="{FF2B5EF4-FFF2-40B4-BE49-F238E27FC236}">
                  <a16:creationId xmlns:a16="http://schemas.microsoft.com/office/drawing/2014/main" id="{6C2FAD86-9070-8FE4-0639-D067045D0C48}"/>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Shape 50">
              <a:extLst>
                <a:ext uri="{FF2B5EF4-FFF2-40B4-BE49-F238E27FC236}">
                  <a16:creationId xmlns:a16="http://schemas.microsoft.com/office/drawing/2014/main" id="{F12A1FA0-4893-EAFC-3267-CF97D0C569C0}"/>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Shape 51">
              <a:extLst>
                <a:ext uri="{FF2B5EF4-FFF2-40B4-BE49-F238E27FC236}">
                  <a16:creationId xmlns:a16="http://schemas.microsoft.com/office/drawing/2014/main" id="{13D191CF-2F0E-2863-243F-1C095FB5ECD8}"/>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Shape 52">
              <a:extLst>
                <a:ext uri="{FF2B5EF4-FFF2-40B4-BE49-F238E27FC236}">
                  <a16:creationId xmlns:a16="http://schemas.microsoft.com/office/drawing/2014/main" id="{EBB104A9-0445-A474-1104-86DA1D323A36}"/>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Shape 53">
              <a:extLst>
                <a:ext uri="{FF2B5EF4-FFF2-40B4-BE49-F238E27FC236}">
                  <a16:creationId xmlns:a16="http://schemas.microsoft.com/office/drawing/2014/main" id="{99430A76-1057-AA4D-04EE-F9ACFC52E002}"/>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Shape 54">
              <a:extLst>
                <a:ext uri="{FF2B5EF4-FFF2-40B4-BE49-F238E27FC236}">
                  <a16:creationId xmlns:a16="http://schemas.microsoft.com/office/drawing/2014/main" id="{D405644F-FE11-0D52-E5F9-32388E1B65B9}"/>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Shape 55">
              <a:extLst>
                <a:ext uri="{FF2B5EF4-FFF2-40B4-BE49-F238E27FC236}">
                  <a16:creationId xmlns:a16="http://schemas.microsoft.com/office/drawing/2014/main" id="{017C6102-B9B6-7816-9B52-C7C7850181B0}"/>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Shape 56">
              <a:extLst>
                <a:ext uri="{FF2B5EF4-FFF2-40B4-BE49-F238E27FC236}">
                  <a16:creationId xmlns:a16="http://schemas.microsoft.com/office/drawing/2014/main" id="{0A1C8760-800A-7F89-A4B5-0F1223F0008D}"/>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Shape 57">
              <a:extLst>
                <a:ext uri="{FF2B5EF4-FFF2-40B4-BE49-F238E27FC236}">
                  <a16:creationId xmlns:a16="http://schemas.microsoft.com/office/drawing/2014/main" id="{7DE47B4A-09A1-0682-0A3F-926624599C91}"/>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8" name="Imagem 47">
            <a:extLst>
              <a:ext uri="{FF2B5EF4-FFF2-40B4-BE49-F238E27FC236}">
                <a16:creationId xmlns:a16="http://schemas.microsoft.com/office/drawing/2014/main" id="{09DFF0A4-72A9-FF10-6D2B-45E7D41A75F2}"/>
              </a:ext>
            </a:extLst>
          </p:cNvPr>
          <p:cNvPicPr>
            <a:picLocks noChangeAspect="1"/>
          </p:cNvPicPr>
          <p:nvPr/>
        </p:nvPicPr>
        <p:blipFill>
          <a:blip r:embed="rId2"/>
          <a:stretch>
            <a:fillRect/>
          </a:stretch>
        </p:blipFill>
        <p:spPr>
          <a:xfrm>
            <a:off x="0" y="6105576"/>
            <a:ext cx="12192000" cy="894664"/>
          </a:xfrm>
          <a:prstGeom prst="rect">
            <a:avLst/>
          </a:prstGeom>
        </p:spPr>
      </p:pic>
    </p:spTree>
    <p:extLst>
      <p:ext uri="{BB962C8B-B14F-4D97-AF65-F5344CB8AC3E}">
        <p14:creationId xmlns:p14="http://schemas.microsoft.com/office/powerpoint/2010/main" val="25807306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7E4696F-65A9-6218-F8B8-B5A2F0770F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think-cell data - do not delete" hidden="1">
                        <a:extLst>
                          <a:ext uri="{FF2B5EF4-FFF2-40B4-BE49-F238E27FC236}">
                            <a16:creationId xmlns:a16="http://schemas.microsoft.com/office/drawing/2014/main" id="{F7E4696F-65A9-6218-F8B8-B5A2F0770F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7ED0D298-0777-9DB9-34BC-FD652ACC8331}"/>
              </a:ext>
            </a:extLst>
          </p:cNvPr>
          <p:cNvGrpSpPr/>
          <p:nvPr/>
        </p:nvGrpSpPr>
        <p:grpSpPr>
          <a:xfrm>
            <a:off x="304800" y="249455"/>
            <a:ext cx="1193800" cy="462985"/>
            <a:chOff x="5245100" y="211355"/>
            <a:chExt cx="2036664" cy="789869"/>
          </a:xfrm>
        </p:grpSpPr>
        <p:sp>
          <p:nvSpPr>
            <p:cNvPr id="7" name="Freeform: Shape 6">
              <a:extLst>
                <a:ext uri="{FF2B5EF4-FFF2-40B4-BE49-F238E27FC236}">
                  <a16:creationId xmlns:a16="http://schemas.microsoft.com/office/drawing/2014/main" id="{5A924C55-9394-CF0E-2230-A087FB326C33}"/>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8" name="Freeform: Shape 7">
              <a:extLst>
                <a:ext uri="{FF2B5EF4-FFF2-40B4-BE49-F238E27FC236}">
                  <a16:creationId xmlns:a16="http://schemas.microsoft.com/office/drawing/2014/main" id="{74C7B6C0-7734-15B6-4D44-0E6541FD9E66}"/>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9" name="Freeform: Shape 8">
              <a:extLst>
                <a:ext uri="{FF2B5EF4-FFF2-40B4-BE49-F238E27FC236}">
                  <a16:creationId xmlns:a16="http://schemas.microsoft.com/office/drawing/2014/main" id="{8F016E41-19B2-E9D2-E9E2-ADD91559A95F}"/>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10" name="Freeform: Shape 9">
              <a:extLst>
                <a:ext uri="{FF2B5EF4-FFF2-40B4-BE49-F238E27FC236}">
                  <a16:creationId xmlns:a16="http://schemas.microsoft.com/office/drawing/2014/main" id="{7B602183-E30B-963C-690F-6FEA88090980}"/>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11" name="Freeform: Shape 10">
              <a:extLst>
                <a:ext uri="{FF2B5EF4-FFF2-40B4-BE49-F238E27FC236}">
                  <a16:creationId xmlns:a16="http://schemas.microsoft.com/office/drawing/2014/main" id="{885B0C0E-B288-0334-069B-3996AF4D9D1E}"/>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12" name="Freeform: Shape 11">
              <a:extLst>
                <a:ext uri="{FF2B5EF4-FFF2-40B4-BE49-F238E27FC236}">
                  <a16:creationId xmlns:a16="http://schemas.microsoft.com/office/drawing/2014/main" id="{C1F859B6-E446-877A-4F88-4CA80CBCDC45}"/>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13" name="Freeform: Shape 12">
              <a:extLst>
                <a:ext uri="{FF2B5EF4-FFF2-40B4-BE49-F238E27FC236}">
                  <a16:creationId xmlns:a16="http://schemas.microsoft.com/office/drawing/2014/main" id="{67DBD52B-A505-22A9-FD4A-AAD8C3CAC071}"/>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4" name="Freeform: Shape 13">
              <a:extLst>
                <a:ext uri="{FF2B5EF4-FFF2-40B4-BE49-F238E27FC236}">
                  <a16:creationId xmlns:a16="http://schemas.microsoft.com/office/drawing/2014/main" id="{60B60912-F8AE-EBCE-A602-3CF2FCF11BDA}"/>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15" name="Freeform: Shape 14">
              <a:extLst>
                <a:ext uri="{FF2B5EF4-FFF2-40B4-BE49-F238E27FC236}">
                  <a16:creationId xmlns:a16="http://schemas.microsoft.com/office/drawing/2014/main" id="{EE1D4071-21E8-6061-54E3-910A65C1C69C}"/>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6" name="Freeform: Shape 15">
              <a:extLst>
                <a:ext uri="{FF2B5EF4-FFF2-40B4-BE49-F238E27FC236}">
                  <a16:creationId xmlns:a16="http://schemas.microsoft.com/office/drawing/2014/main" id="{95637E32-F68B-83CD-085B-F6805D762FC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7" name="Freeform: Shape 16">
              <a:extLst>
                <a:ext uri="{FF2B5EF4-FFF2-40B4-BE49-F238E27FC236}">
                  <a16:creationId xmlns:a16="http://schemas.microsoft.com/office/drawing/2014/main" id="{B60289E7-08AD-A088-739C-06E263D16E74}"/>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8" name="Freeform: Shape 17">
              <a:extLst>
                <a:ext uri="{FF2B5EF4-FFF2-40B4-BE49-F238E27FC236}">
                  <a16:creationId xmlns:a16="http://schemas.microsoft.com/office/drawing/2014/main" id="{3A1798C8-FDFC-E44A-74F7-EE442D0A2175}"/>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19" name="Freeform: Shape 18">
              <a:extLst>
                <a:ext uri="{FF2B5EF4-FFF2-40B4-BE49-F238E27FC236}">
                  <a16:creationId xmlns:a16="http://schemas.microsoft.com/office/drawing/2014/main" id="{5E34F930-98DC-6D4D-2C45-6B757C53780C}"/>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20" name="Freeform: Shape 19">
              <a:extLst>
                <a:ext uri="{FF2B5EF4-FFF2-40B4-BE49-F238E27FC236}">
                  <a16:creationId xmlns:a16="http://schemas.microsoft.com/office/drawing/2014/main" id="{705D29F6-F141-41F0-C840-088C6B2B8164}"/>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21" name="Freeform: Shape 20">
              <a:extLst>
                <a:ext uri="{FF2B5EF4-FFF2-40B4-BE49-F238E27FC236}">
                  <a16:creationId xmlns:a16="http://schemas.microsoft.com/office/drawing/2014/main" id="{09C35514-C28F-9ADD-44B3-FED201B5CCE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22" name="Freeform: Shape 21">
              <a:extLst>
                <a:ext uri="{FF2B5EF4-FFF2-40B4-BE49-F238E27FC236}">
                  <a16:creationId xmlns:a16="http://schemas.microsoft.com/office/drawing/2014/main" id="{B4211B13-103C-F544-1F9F-DE3CCBE84FB1}"/>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23" name="Freeform: Shape 22">
              <a:extLst>
                <a:ext uri="{FF2B5EF4-FFF2-40B4-BE49-F238E27FC236}">
                  <a16:creationId xmlns:a16="http://schemas.microsoft.com/office/drawing/2014/main" id="{AA4D6077-885B-30DA-FF4B-2F32D6FAD596}"/>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24" name="Freeform: Shape 23">
              <a:extLst>
                <a:ext uri="{FF2B5EF4-FFF2-40B4-BE49-F238E27FC236}">
                  <a16:creationId xmlns:a16="http://schemas.microsoft.com/office/drawing/2014/main" id="{C27B46C4-52E7-950C-D8CE-739FAD08771C}"/>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25" name="Freeform: Shape 24">
              <a:extLst>
                <a:ext uri="{FF2B5EF4-FFF2-40B4-BE49-F238E27FC236}">
                  <a16:creationId xmlns:a16="http://schemas.microsoft.com/office/drawing/2014/main" id="{AAA149EC-4676-1DAA-0410-ACCC397D28E4}"/>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26" name="Freeform: Shape 25">
              <a:extLst>
                <a:ext uri="{FF2B5EF4-FFF2-40B4-BE49-F238E27FC236}">
                  <a16:creationId xmlns:a16="http://schemas.microsoft.com/office/drawing/2014/main" id="{A81725FB-88B5-3C68-4AD8-5890C4B47082}"/>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27" name="Freeform: Shape 26">
              <a:extLst>
                <a:ext uri="{FF2B5EF4-FFF2-40B4-BE49-F238E27FC236}">
                  <a16:creationId xmlns:a16="http://schemas.microsoft.com/office/drawing/2014/main" id="{D1E5FE72-6586-21F7-FADA-841D9BBFA473}"/>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28" name="Freeform: Shape 27">
              <a:extLst>
                <a:ext uri="{FF2B5EF4-FFF2-40B4-BE49-F238E27FC236}">
                  <a16:creationId xmlns:a16="http://schemas.microsoft.com/office/drawing/2014/main" id="{E3AB3071-6AED-D0D0-8FB3-8F41B7DA8DFB}"/>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29" name="Freeform: Shape 28">
              <a:extLst>
                <a:ext uri="{FF2B5EF4-FFF2-40B4-BE49-F238E27FC236}">
                  <a16:creationId xmlns:a16="http://schemas.microsoft.com/office/drawing/2014/main" id="{9CC48391-E31A-AD3C-EBEC-BDFAF629575A}"/>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30" name="Freeform: Shape 29">
              <a:extLst>
                <a:ext uri="{FF2B5EF4-FFF2-40B4-BE49-F238E27FC236}">
                  <a16:creationId xmlns:a16="http://schemas.microsoft.com/office/drawing/2014/main" id="{2E9F0E1D-A136-FECC-E2DD-02415612ABD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31" name="Freeform: Shape 30">
              <a:extLst>
                <a:ext uri="{FF2B5EF4-FFF2-40B4-BE49-F238E27FC236}">
                  <a16:creationId xmlns:a16="http://schemas.microsoft.com/office/drawing/2014/main" id="{4E5DEB9F-E54D-DB37-A200-0B405A9E7070}"/>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32" name="Freeform: Shape 31">
              <a:extLst>
                <a:ext uri="{FF2B5EF4-FFF2-40B4-BE49-F238E27FC236}">
                  <a16:creationId xmlns:a16="http://schemas.microsoft.com/office/drawing/2014/main" id="{6AAFAD62-BFBE-F844-122B-7CA784823721}"/>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33" name="Freeform: Shape 32">
              <a:extLst>
                <a:ext uri="{FF2B5EF4-FFF2-40B4-BE49-F238E27FC236}">
                  <a16:creationId xmlns:a16="http://schemas.microsoft.com/office/drawing/2014/main" id="{D243E987-7911-6D92-6E8C-AA333F9AC18E}"/>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34" name="Freeform: Shape 33">
              <a:extLst>
                <a:ext uri="{FF2B5EF4-FFF2-40B4-BE49-F238E27FC236}">
                  <a16:creationId xmlns:a16="http://schemas.microsoft.com/office/drawing/2014/main" id="{47AE0058-6134-15EA-C722-AF30271B5A1E}"/>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35" name="Freeform: Shape 34">
              <a:extLst>
                <a:ext uri="{FF2B5EF4-FFF2-40B4-BE49-F238E27FC236}">
                  <a16:creationId xmlns:a16="http://schemas.microsoft.com/office/drawing/2014/main" id="{4389846B-F227-3F33-5333-ABFDD158BCCA}"/>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36" name="Freeform: Shape 35">
              <a:extLst>
                <a:ext uri="{FF2B5EF4-FFF2-40B4-BE49-F238E27FC236}">
                  <a16:creationId xmlns:a16="http://schemas.microsoft.com/office/drawing/2014/main" id="{0D42ED2A-7BBB-6A65-BC78-6849F5CEA666}"/>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37" name="Freeform: Shape 36">
              <a:extLst>
                <a:ext uri="{FF2B5EF4-FFF2-40B4-BE49-F238E27FC236}">
                  <a16:creationId xmlns:a16="http://schemas.microsoft.com/office/drawing/2014/main" id="{EBBE1E02-BFDA-DA42-D426-2CEB52326F1A}"/>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38" name="Freeform: Shape 37">
              <a:extLst>
                <a:ext uri="{FF2B5EF4-FFF2-40B4-BE49-F238E27FC236}">
                  <a16:creationId xmlns:a16="http://schemas.microsoft.com/office/drawing/2014/main" id="{7EADB202-49FA-5781-F201-53435A62E41D}"/>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39" name="Freeform: Shape 38">
              <a:extLst>
                <a:ext uri="{FF2B5EF4-FFF2-40B4-BE49-F238E27FC236}">
                  <a16:creationId xmlns:a16="http://schemas.microsoft.com/office/drawing/2014/main" id="{63CF38D7-AC5C-1773-C555-4C53A7DBFA79}"/>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40" name="Freeform: Shape 39">
              <a:extLst>
                <a:ext uri="{FF2B5EF4-FFF2-40B4-BE49-F238E27FC236}">
                  <a16:creationId xmlns:a16="http://schemas.microsoft.com/office/drawing/2014/main" id="{C9C5AA04-2E27-F04D-2072-C5211EE66993}"/>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41" name="Freeform: Shape 40">
              <a:extLst>
                <a:ext uri="{FF2B5EF4-FFF2-40B4-BE49-F238E27FC236}">
                  <a16:creationId xmlns:a16="http://schemas.microsoft.com/office/drawing/2014/main" id="{3935FE6B-FF26-6BC1-5B32-72D4236CC4CD}"/>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42" name="Freeform: Shape 41">
              <a:extLst>
                <a:ext uri="{FF2B5EF4-FFF2-40B4-BE49-F238E27FC236}">
                  <a16:creationId xmlns:a16="http://schemas.microsoft.com/office/drawing/2014/main" id="{1869BB6D-9168-5DFA-0A84-87916F347D9D}"/>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43" name="Freeform: Shape 42">
              <a:extLst>
                <a:ext uri="{FF2B5EF4-FFF2-40B4-BE49-F238E27FC236}">
                  <a16:creationId xmlns:a16="http://schemas.microsoft.com/office/drawing/2014/main" id="{5B12394C-49EA-2C10-A4FC-628129D3B13A}"/>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44" name="Freeform: Shape 43">
              <a:extLst>
                <a:ext uri="{FF2B5EF4-FFF2-40B4-BE49-F238E27FC236}">
                  <a16:creationId xmlns:a16="http://schemas.microsoft.com/office/drawing/2014/main" id="{8F3F2DEA-1666-9F25-7D64-F5EB5E01229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45" name="Freeform: Shape 44">
              <a:extLst>
                <a:ext uri="{FF2B5EF4-FFF2-40B4-BE49-F238E27FC236}">
                  <a16:creationId xmlns:a16="http://schemas.microsoft.com/office/drawing/2014/main" id="{E8CB89B1-3C8E-48CC-D196-D58AFF581B26}"/>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46" name="Freeform: Shape 45">
              <a:extLst>
                <a:ext uri="{FF2B5EF4-FFF2-40B4-BE49-F238E27FC236}">
                  <a16:creationId xmlns:a16="http://schemas.microsoft.com/office/drawing/2014/main" id="{1A7F892C-72F0-FF55-68CB-31D71D2F438B}"/>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47" name="Freeform: Shape 46">
              <a:extLst>
                <a:ext uri="{FF2B5EF4-FFF2-40B4-BE49-F238E27FC236}">
                  <a16:creationId xmlns:a16="http://schemas.microsoft.com/office/drawing/2014/main" id="{C4B8B30A-0F6C-8BF9-75E9-245E5D38BC75}"/>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48" name="Freeform: Shape 47">
              <a:extLst>
                <a:ext uri="{FF2B5EF4-FFF2-40B4-BE49-F238E27FC236}">
                  <a16:creationId xmlns:a16="http://schemas.microsoft.com/office/drawing/2014/main" id="{0680F1A3-8145-01B2-BB35-E4CF967ECAC5}"/>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49" name="Freeform: Shape 48">
              <a:extLst>
                <a:ext uri="{FF2B5EF4-FFF2-40B4-BE49-F238E27FC236}">
                  <a16:creationId xmlns:a16="http://schemas.microsoft.com/office/drawing/2014/main" id="{206F8911-B77E-B75A-4705-4516F3BDC91E}"/>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sp>
        <p:nvSpPr>
          <p:cNvPr id="154" name="Graphic 152">
            <a:extLst>
              <a:ext uri="{FF2B5EF4-FFF2-40B4-BE49-F238E27FC236}">
                <a16:creationId xmlns:a16="http://schemas.microsoft.com/office/drawing/2014/main" id="{49AA5073-0B57-5238-3868-EE835249263F}"/>
              </a:ext>
            </a:extLst>
          </p:cNvPr>
          <p:cNvSpPr/>
          <p:nvPr/>
        </p:nvSpPr>
        <p:spPr>
          <a:xfrm>
            <a:off x="289610" y="-46555"/>
            <a:ext cx="7794848" cy="6966464"/>
          </a:xfrm>
          <a:custGeom>
            <a:avLst/>
            <a:gdLst>
              <a:gd name="connsiteX0" fmla="*/ 7690664 w 7690663"/>
              <a:gd name="connsiteY0" fmla="*/ 0 h 6873353"/>
              <a:gd name="connsiteX1" fmla="*/ 3416184 w 7690663"/>
              <a:gd name="connsiteY1" fmla="*/ 1083462 h 6873353"/>
              <a:gd name="connsiteX2" fmla="*/ 1017931 w 7690663"/>
              <a:gd name="connsiteY2" fmla="*/ 2448408 h 6873353"/>
              <a:gd name="connsiteX3" fmla="*/ 183712 w 7690663"/>
              <a:gd name="connsiteY3" fmla="*/ 6873354 h 6873353"/>
            </a:gdLst>
            <a:ahLst/>
            <a:cxnLst>
              <a:cxn ang="0">
                <a:pos x="connsiteX0" y="connsiteY0"/>
              </a:cxn>
              <a:cxn ang="0">
                <a:pos x="connsiteX1" y="connsiteY1"/>
              </a:cxn>
              <a:cxn ang="0">
                <a:pos x="connsiteX2" y="connsiteY2"/>
              </a:cxn>
              <a:cxn ang="0">
                <a:pos x="connsiteX3" y="connsiteY3"/>
              </a:cxn>
            </a:cxnLst>
            <a:rect l="l" t="t" r="r" b="b"/>
            <a:pathLst>
              <a:path w="7690663" h="6873353">
                <a:moveTo>
                  <a:pt x="7690664" y="0"/>
                </a:moveTo>
                <a:lnTo>
                  <a:pt x="3416184" y="1083462"/>
                </a:lnTo>
                <a:cubicBezTo>
                  <a:pt x="2703259" y="1264124"/>
                  <a:pt x="1679165" y="1602418"/>
                  <a:pt x="1017931" y="2448408"/>
                </a:cubicBezTo>
                <a:cubicBezTo>
                  <a:pt x="181153" y="3519587"/>
                  <a:pt x="-278947" y="4699778"/>
                  <a:pt x="183712" y="6873354"/>
                </a:cubicBezTo>
              </a:path>
            </a:pathLst>
          </a:custGeom>
          <a:noFill/>
          <a:ln w="22225" cap="flat">
            <a:solidFill>
              <a:srgbClr val="3698B0"/>
            </a:solidFill>
            <a:prstDash val="solid"/>
            <a:miter/>
          </a:ln>
        </p:spPr>
        <p:txBody>
          <a:bodyPr rtlCol="0" anchor="ctr"/>
          <a:lstStyle/>
          <a:p>
            <a:endParaRPr lang="pt-BR"/>
          </a:p>
        </p:txBody>
      </p:sp>
      <p:sp>
        <p:nvSpPr>
          <p:cNvPr id="151" name="Graphic 149">
            <a:extLst>
              <a:ext uri="{FF2B5EF4-FFF2-40B4-BE49-F238E27FC236}">
                <a16:creationId xmlns:a16="http://schemas.microsoft.com/office/drawing/2014/main" id="{830A8894-6180-F5E9-CEE5-017F2C44CCCB}"/>
              </a:ext>
            </a:extLst>
          </p:cNvPr>
          <p:cNvSpPr/>
          <p:nvPr/>
        </p:nvSpPr>
        <p:spPr>
          <a:xfrm>
            <a:off x="376296" y="-94553"/>
            <a:ext cx="7040504" cy="7054202"/>
          </a:xfrm>
          <a:custGeom>
            <a:avLst/>
            <a:gdLst>
              <a:gd name="connsiteX0" fmla="*/ 6851765 w 6851764"/>
              <a:gd name="connsiteY0" fmla="*/ 0 h 6865094"/>
              <a:gd name="connsiteX1" fmla="*/ 3416616 w 6851764"/>
              <a:gd name="connsiteY1" fmla="*/ 635193 h 6865094"/>
              <a:gd name="connsiteX2" fmla="*/ 1122734 w 6851764"/>
              <a:gd name="connsiteY2" fmla="*/ 1749027 h 6865094"/>
              <a:gd name="connsiteX3" fmla="*/ 132344 w 6851764"/>
              <a:gd name="connsiteY3" fmla="*/ 6067202 h 6865094"/>
              <a:gd name="connsiteX4" fmla="*/ 152681 w 6851764"/>
              <a:gd name="connsiteY4" fmla="*/ 6176457 h 6865094"/>
              <a:gd name="connsiteX5" fmla="*/ 313490 w 6851764"/>
              <a:gd name="connsiteY5" fmla="*/ 6865094 h 6865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1764" h="6865094">
                <a:moveTo>
                  <a:pt x="6851765" y="0"/>
                </a:moveTo>
                <a:lnTo>
                  <a:pt x="3416616" y="635193"/>
                </a:lnTo>
                <a:cubicBezTo>
                  <a:pt x="2748316" y="758637"/>
                  <a:pt x="1783467" y="1008835"/>
                  <a:pt x="1122734" y="1749027"/>
                </a:cubicBezTo>
                <a:cubicBezTo>
                  <a:pt x="247748" y="2729484"/>
                  <a:pt x="-255015" y="3844737"/>
                  <a:pt x="132344" y="6067202"/>
                </a:cubicBezTo>
                <a:lnTo>
                  <a:pt x="152681" y="6176457"/>
                </a:lnTo>
                <a:cubicBezTo>
                  <a:pt x="200924" y="6422399"/>
                  <a:pt x="254842" y="6650841"/>
                  <a:pt x="313490" y="6865094"/>
                </a:cubicBezTo>
              </a:path>
            </a:pathLst>
          </a:custGeom>
          <a:noFill/>
          <a:ln w="34925" cap="flat">
            <a:solidFill>
              <a:srgbClr val="49306E"/>
            </a:solidFill>
            <a:prstDash val="solid"/>
            <a:miter/>
          </a:ln>
        </p:spPr>
        <p:txBody>
          <a:bodyPr rtlCol="0" anchor="ctr"/>
          <a:lstStyle/>
          <a:p>
            <a:endParaRPr lang="pt-BR"/>
          </a:p>
        </p:txBody>
      </p:sp>
      <p:pic>
        <p:nvPicPr>
          <p:cNvPr id="2" name="Imagem 1" descr="Diagrama&#10;&#10;Descrição gerada automaticamente">
            <a:extLst>
              <a:ext uri="{FF2B5EF4-FFF2-40B4-BE49-F238E27FC236}">
                <a16:creationId xmlns:a16="http://schemas.microsoft.com/office/drawing/2014/main" id="{FAB0B170-2C91-233D-32F1-758D9326E0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84458" y="2756452"/>
            <a:ext cx="3644560" cy="2713633"/>
          </a:xfrm>
          <a:prstGeom prst="rect">
            <a:avLst/>
          </a:prstGeom>
        </p:spPr>
      </p:pic>
      <p:sp>
        <p:nvSpPr>
          <p:cNvPr id="3" name="CaixaDeTexto 2">
            <a:extLst>
              <a:ext uri="{FF2B5EF4-FFF2-40B4-BE49-F238E27FC236}">
                <a16:creationId xmlns:a16="http://schemas.microsoft.com/office/drawing/2014/main" id="{1FDA6056-1D79-6C30-3870-8F51B3A45A0B}"/>
              </a:ext>
            </a:extLst>
          </p:cNvPr>
          <p:cNvSpPr txBox="1"/>
          <p:nvPr/>
        </p:nvSpPr>
        <p:spPr>
          <a:xfrm>
            <a:off x="1688430" y="2652294"/>
            <a:ext cx="6206198" cy="3139321"/>
          </a:xfrm>
          <a:prstGeom prst="rect">
            <a:avLst/>
          </a:prstGeom>
          <a:noFill/>
        </p:spPr>
        <p:txBody>
          <a:bodyPr wrap="square" rtlCol="0">
            <a:spAutoFit/>
          </a:bodyPr>
          <a:lstStyle/>
          <a:p>
            <a:r>
              <a:rPr lang="pt-BR" sz="1800" b="0" i="0" kern="1200" dirty="0">
                <a:effectLst/>
                <a:latin typeface="+mn-lt"/>
                <a:ea typeface="+mj-ea"/>
                <a:cs typeface="+mj-cs"/>
              </a:rPr>
              <a:t>A seleção adequada do tubo orotraqueal (TOT) é crucial para garantir uma ventilação eficaz e segura em pacientes que necessitam de ventilação mecânica invasiva. Vários fatores devem ser considerados ao escolher o TOT apropriado:</a:t>
            </a:r>
            <a:br>
              <a:rPr lang="pt-BR" sz="1800" b="0" i="0" kern="1200" dirty="0">
                <a:effectLst/>
                <a:latin typeface="+mn-lt"/>
                <a:ea typeface="+mj-ea"/>
                <a:cs typeface="+mj-cs"/>
              </a:rPr>
            </a:br>
            <a:br>
              <a:rPr lang="pt-BR" sz="1800" b="0" i="0" kern="1200" dirty="0">
                <a:effectLst/>
                <a:latin typeface="+mn-lt"/>
                <a:ea typeface="+mj-ea"/>
                <a:cs typeface="+mj-cs"/>
              </a:rPr>
            </a:br>
            <a:br>
              <a:rPr lang="pt-BR" sz="1800" b="0" i="0" kern="1200" dirty="0">
                <a:effectLst/>
                <a:latin typeface="+mn-lt"/>
                <a:ea typeface="+mj-ea"/>
                <a:cs typeface="+mj-cs"/>
              </a:rPr>
            </a:br>
            <a:r>
              <a:rPr lang="pt-BR" sz="1800" b="1" i="0" kern="1200" dirty="0">
                <a:effectLst/>
                <a:latin typeface="+mn-lt"/>
                <a:ea typeface="+mj-ea"/>
                <a:cs typeface="+mj-cs"/>
              </a:rPr>
              <a:t>Tamanho do paciente</a:t>
            </a:r>
            <a:r>
              <a:rPr lang="pt-BR" sz="1800" b="0" i="0" kern="1200" dirty="0">
                <a:effectLst/>
                <a:latin typeface="+mn-lt"/>
                <a:ea typeface="+mj-ea"/>
                <a:cs typeface="+mj-cs"/>
              </a:rPr>
              <a:t>: O diâmetro e o comprimento do TOT devem ser adequados ao tamanho do paciente. Tamanhos diferentes de TOT são projetados para adultos, crianças e neonatos.</a:t>
            </a:r>
            <a:br>
              <a:rPr lang="pt-BR" sz="1800" b="0" i="0" kern="1200" dirty="0">
                <a:solidFill>
                  <a:srgbClr val="FFFFFF"/>
                </a:solidFill>
                <a:effectLst/>
                <a:latin typeface="+mn-lt"/>
                <a:ea typeface="+mj-ea"/>
                <a:cs typeface="+mj-cs"/>
              </a:rPr>
            </a:br>
            <a:endParaRPr lang="pt-BR" dirty="0"/>
          </a:p>
        </p:txBody>
      </p:sp>
      <p:sp>
        <p:nvSpPr>
          <p:cNvPr id="5" name="CaixaDeTexto 4">
            <a:extLst>
              <a:ext uri="{FF2B5EF4-FFF2-40B4-BE49-F238E27FC236}">
                <a16:creationId xmlns:a16="http://schemas.microsoft.com/office/drawing/2014/main" id="{610E5B5D-9311-E59A-2CFA-B72902038472}"/>
              </a:ext>
            </a:extLst>
          </p:cNvPr>
          <p:cNvSpPr txBox="1"/>
          <p:nvPr/>
        </p:nvSpPr>
        <p:spPr>
          <a:xfrm>
            <a:off x="1688430" y="1722161"/>
            <a:ext cx="4796057" cy="461665"/>
          </a:xfrm>
          <a:prstGeom prst="rect">
            <a:avLst/>
          </a:prstGeom>
          <a:noFill/>
        </p:spPr>
        <p:txBody>
          <a:bodyPr wrap="square" rtlCol="0">
            <a:spAutoFit/>
          </a:bodyPr>
          <a:lstStyle/>
          <a:p>
            <a:r>
              <a:rPr lang="pt-BR" sz="2400" b="1" kern="1200" noProof="1">
                <a:latin typeface="+mn-lt"/>
                <a:ea typeface="+mj-ea"/>
                <a:cs typeface="+mj-cs"/>
              </a:rPr>
              <a:t>Seleção</a:t>
            </a:r>
            <a:r>
              <a:rPr lang="pt-BR" sz="2400" b="1" kern="1200" dirty="0">
                <a:latin typeface="+mn-lt"/>
                <a:ea typeface="+mj-ea"/>
                <a:cs typeface="+mj-cs"/>
              </a:rPr>
              <a:t> do tubo orotraqueal</a:t>
            </a:r>
            <a:endParaRPr lang="pt-BR" sz="2400" dirty="0"/>
          </a:p>
        </p:txBody>
      </p:sp>
    </p:spTree>
    <p:extLst>
      <p:ext uri="{BB962C8B-B14F-4D97-AF65-F5344CB8AC3E}">
        <p14:creationId xmlns:p14="http://schemas.microsoft.com/office/powerpoint/2010/main" val="1202890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24AD288-6E3D-1317-D7F7-E1DEF4F79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2" name="think-cell data - do not delete" hidden="1">
                        <a:extLst>
                          <a:ext uri="{FF2B5EF4-FFF2-40B4-BE49-F238E27FC236}">
                            <a16:creationId xmlns:a16="http://schemas.microsoft.com/office/drawing/2014/main" id="{224AD288-6E3D-1317-D7F7-E1DEF4F79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8DB251F5-2B2D-BC84-1E03-3F5D236FDB51}"/>
              </a:ext>
            </a:extLst>
          </p:cNvPr>
          <p:cNvGrpSpPr/>
          <p:nvPr/>
        </p:nvGrpSpPr>
        <p:grpSpPr>
          <a:xfrm>
            <a:off x="304800" y="249455"/>
            <a:ext cx="1193800" cy="462985"/>
            <a:chOff x="5245100" y="211355"/>
            <a:chExt cx="2036664" cy="789869"/>
          </a:xfrm>
        </p:grpSpPr>
        <p:sp>
          <p:nvSpPr>
            <p:cNvPr id="14" name="Freeform: Shape 13">
              <a:extLst>
                <a:ext uri="{FF2B5EF4-FFF2-40B4-BE49-F238E27FC236}">
                  <a16:creationId xmlns:a16="http://schemas.microsoft.com/office/drawing/2014/main" id="{D64221E7-0886-3B66-32B9-5A7B12C5A4C1}"/>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17" name="Freeform: Shape 16">
              <a:extLst>
                <a:ext uri="{FF2B5EF4-FFF2-40B4-BE49-F238E27FC236}">
                  <a16:creationId xmlns:a16="http://schemas.microsoft.com/office/drawing/2014/main" id="{647D45BE-EF66-0B2D-3A0B-1E740072320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18" name="Freeform: Shape 17">
              <a:extLst>
                <a:ext uri="{FF2B5EF4-FFF2-40B4-BE49-F238E27FC236}">
                  <a16:creationId xmlns:a16="http://schemas.microsoft.com/office/drawing/2014/main" id="{53438F56-AAA0-FE80-2E6C-33695D9033F2}"/>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19" name="Freeform: Shape 18">
              <a:extLst>
                <a:ext uri="{FF2B5EF4-FFF2-40B4-BE49-F238E27FC236}">
                  <a16:creationId xmlns:a16="http://schemas.microsoft.com/office/drawing/2014/main" id="{19F69851-F8E4-BD6D-E8CF-D52B48C74EB9}"/>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20" name="Freeform: Shape 19">
              <a:extLst>
                <a:ext uri="{FF2B5EF4-FFF2-40B4-BE49-F238E27FC236}">
                  <a16:creationId xmlns:a16="http://schemas.microsoft.com/office/drawing/2014/main" id="{06FD1502-DC74-7E63-4917-CEA10783D19B}"/>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21" name="Freeform: Shape 20">
              <a:extLst>
                <a:ext uri="{FF2B5EF4-FFF2-40B4-BE49-F238E27FC236}">
                  <a16:creationId xmlns:a16="http://schemas.microsoft.com/office/drawing/2014/main" id="{C273AE39-80D8-B460-0C06-CA1D68815E30}"/>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22" name="Freeform: Shape 21">
              <a:extLst>
                <a:ext uri="{FF2B5EF4-FFF2-40B4-BE49-F238E27FC236}">
                  <a16:creationId xmlns:a16="http://schemas.microsoft.com/office/drawing/2014/main" id="{11211059-D6E5-7EFE-8E78-568C46D6C60F}"/>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23" name="Freeform: Shape 22">
              <a:extLst>
                <a:ext uri="{FF2B5EF4-FFF2-40B4-BE49-F238E27FC236}">
                  <a16:creationId xmlns:a16="http://schemas.microsoft.com/office/drawing/2014/main" id="{67903CED-E696-5007-5CC7-7FF90845164D}"/>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24" name="Freeform: Shape 23">
              <a:extLst>
                <a:ext uri="{FF2B5EF4-FFF2-40B4-BE49-F238E27FC236}">
                  <a16:creationId xmlns:a16="http://schemas.microsoft.com/office/drawing/2014/main" id="{83584915-43F2-C8D8-CF89-FB36701F35F9}"/>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25" name="Freeform: Shape 24">
              <a:extLst>
                <a:ext uri="{FF2B5EF4-FFF2-40B4-BE49-F238E27FC236}">
                  <a16:creationId xmlns:a16="http://schemas.microsoft.com/office/drawing/2014/main" id="{C1D5A4A3-3EEE-9210-86F4-71B30144AFF2}"/>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26" name="Freeform: Shape 25">
              <a:extLst>
                <a:ext uri="{FF2B5EF4-FFF2-40B4-BE49-F238E27FC236}">
                  <a16:creationId xmlns:a16="http://schemas.microsoft.com/office/drawing/2014/main" id="{CF978DA6-833F-37B0-5A0D-EC08EE9D1CE6}"/>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27" name="Freeform: Shape 26">
              <a:extLst>
                <a:ext uri="{FF2B5EF4-FFF2-40B4-BE49-F238E27FC236}">
                  <a16:creationId xmlns:a16="http://schemas.microsoft.com/office/drawing/2014/main" id="{38C28FF9-335C-992D-3F01-2D398B4CB704}"/>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28" name="Freeform: Shape 27">
              <a:extLst>
                <a:ext uri="{FF2B5EF4-FFF2-40B4-BE49-F238E27FC236}">
                  <a16:creationId xmlns:a16="http://schemas.microsoft.com/office/drawing/2014/main" id="{07685636-9745-CF19-26A1-FE8A6E89C0D8}"/>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29" name="Freeform: Shape 28">
              <a:extLst>
                <a:ext uri="{FF2B5EF4-FFF2-40B4-BE49-F238E27FC236}">
                  <a16:creationId xmlns:a16="http://schemas.microsoft.com/office/drawing/2014/main" id="{DC24AED8-A70D-0D83-0F98-E71E3C38F607}"/>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30" name="Freeform: Shape 29">
              <a:extLst>
                <a:ext uri="{FF2B5EF4-FFF2-40B4-BE49-F238E27FC236}">
                  <a16:creationId xmlns:a16="http://schemas.microsoft.com/office/drawing/2014/main" id="{0FD82F4F-6055-0CFD-A39F-ADDEAFB54F82}"/>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31" name="Freeform: Shape 30">
              <a:extLst>
                <a:ext uri="{FF2B5EF4-FFF2-40B4-BE49-F238E27FC236}">
                  <a16:creationId xmlns:a16="http://schemas.microsoft.com/office/drawing/2014/main" id="{D21B86FA-FE10-22C1-868B-9BCA354E836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32" name="Freeform: Shape 31">
              <a:extLst>
                <a:ext uri="{FF2B5EF4-FFF2-40B4-BE49-F238E27FC236}">
                  <a16:creationId xmlns:a16="http://schemas.microsoft.com/office/drawing/2014/main" id="{98EDFCF5-AF92-A54B-520F-A3EB8BB6997D}"/>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33" name="Freeform: Shape 32">
              <a:extLst>
                <a:ext uri="{FF2B5EF4-FFF2-40B4-BE49-F238E27FC236}">
                  <a16:creationId xmlns:a16="http://schemas.microsoft.com/office/drawing/2014/main" id="{1B45AD09-ED44-278A-02F1-763D81019C8D}"/>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34" name="Freeform: Shape 33">
              <a:extLst>
                <a:ext uri="{FF2B5EF4-FFF2-40B4-BE49-F238E27FC236}">
                  <a16:creationId xmlns:a16="http://schemas.microsoft.com/office/drawing/2014/main" id="{D5CDAE40-0B16-F3C5-BC41-C5EBADEB5983}"/>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35" name="Freeform: Shape 34">
              <a:extLst>
                <a:ext uri="{FF2B5EF4-FFF2-40B4-BE49-F238E27FC236}">
                  <a16:creationId xmlns:a16="http://schemas.microsoft.com/office/drawing/2014/main" id="{15297050-5C18-B2F1-7EB6-653A009215D4}"/>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36" name="Freeform: Shape 35">
              <a:extLst>
                <a:ext uri="{FF2B5EF4-FFF2-40B4-BE49-F238E27FC236}">
                  <a16:creationId xmlns:a16="http://schemas.microsoft.com/office/drawing/2014/main" id="{1DAF2F3A-C610-A86C-F38C-C49E75340CB4}"/>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37" name="Freeform: Shape 36">
              <a:extLst>
                <a:ext uri="{FF2B5EF4-FFF2-40B4-BE49-F238E27FC236}">
                  <a16:creationId xmlns:a16="http://schemas.microsoft.com/office/drawing/2014/main" id="{3242B949-E8BC-434A-DDA9-7879A7B0C885}"/>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38" name="Freeform: Shape 37">
              <a:extLst>
                <a:ext uri="{FF2B5EF4-FFF2-40B4-BE49-F238E27FC236}">
                  <a16:creationId xmlns:a16="http://schemas.microsoft.com/office/drawing/2014/main" id="{6968A012-17AD-6B8B-C2CB-6B35D38253B7}"/>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39" name="Freeform: Shape 38">
              <a:extLst>
                <a:ext uri="{FF2B5EF4-FFF2-40B4-BE49-F238E27FC236}">
                  <a16:creationId xmlns:a16="http://schemas.microsoft.com/office/drawing/2014/main" id="{0F846ED5-ABB2-9001-6CC8-7BFBFB09F03E}"/>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40" name="Freeform: Shape 39">
              <a:extLst>
                <a:ext uri="{FF2B5EF4-FFF2-40B4-BE49-F238E27FC236}">
                  <a16:creationId xmlns:a16="http://schemas.microsoft.com/office/drawing/2014/main" id="{C3ADB819-291C-0F41-E028-EDC01EEFC516}"/>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41" name="Freeform: Shape 40">
              <a:extLst>
                <a:ext uri="{FF2B5EF4-FFF2-40B4-BE49-F238E27FC236}">
                  <a16:creationId xmlns:a16="http://schemas.microsoft.com/office/drawing/2014/main" id="{A15520D5-CC3D-D5F4-FA4B-BDAE8C8722EF}"/>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42" name="Freeform: Shape 41">
              <a:extLst>
                <a:ext uri="{FF2B5EF4-FFF2-40B4-BE49-F238E27FC236}">
                  <a16:creationId xmlns:a16="http://schemas.microsoft.com/office/drawing/2014/main" id="{67C124BB-1B83-F513-2E87-97EDBC2AEF30}"/>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43" name="Freeform: Shape 42">
              <a:extLst>
                <a:ext uri="{FF2B5EF4-FFF2-40B4-BE49-F238E27FC236}">
                  <a16:creationId xmlns:a16="http://schemas.microsoft.com/office/drawing/2014/main" id="{EEF0D7CB-E9CC-1B90-FDE3-6D3BFDABFB1A}"/>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44" name="Freeform: Shape 43">
              <a:extLst>
                <a:ext uri="{FF2B5EF4-FFF2-40B4-BE49-F238E27FC236}">
                  <a16:creationId xmlns:a16="http://schemas.microsoft.com/office/drawing/2014/main" id="{80A5C00A-66A9-6542-D940-A29C729A2AF9}"/>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45" name="Freeform: Shape 44">
              <a:extLst>
                <a:ext uri="{FF2B5EF4-FFF2-40B4-BE49-F238E27FC236}">
                  <a16:creationId xmlns:a16="http://schemas.microsoft.com/office/drawing/2014/main" id="{9624FB3F-715B-4931-F7F0-B4E8CB064E37}"/>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46" name="Freeform: Shape 45">
              <a:extLst>
                <a:ext uri="{FF2B5EF4-FFF2-40B4-BE49-F238E27FC236}">
                  <a16:creationId xmlns:a16="http://schemas.microsoft.com/office/drawing/2014/main" id="{5D48DE06-680A-6A29-038C-CD50F42F099D}"/>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47" name="Freeform: Shape 46">
              <a:extLst>
                <a:ext uri="{FF2B5EF4-FFF2-40B4-BE49-F238E27FC236}">
                  <a16:creationId xmlns:a16="http://schemas.microsoft.com/office/drawing/2014/main" id="{B6C8B835-06D3-BA0B-45FB-025D4BB37590}"/>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48" name="Freeform: Shape 47">
              <a:extLst>
                <a:ext uri="{FF2B5EF4-FFF2-40B4-BE49-F238E27FC236}">
                  <a16:creationId xmlns:a16="http://schemas.microsoft.com/office/drawing/2014/main" id="{0E5C4F09-A424-6CF4-8F1E-DA796CEDFE29}"/>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49" name="Freeform: Shape 48">
              <a:extLst>
                <a:ext uri="{FF2B5EF4-FFF2-40B4-BE49-F238E27FC236}">
                  <a16:creationId xmlns:a16="http://schemas.microsoft.com/office/drawing/2014/main" id="{0B4EEDF1-7424-868E-63E2-C27AF9ADD3EB}"/>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50" name="Freeform: Shape 49">
              <a:extLst>
                <a:ext uri="{FF2B5EF4-FFF2-40B4-BE49-F238E27FC236}">
                  <a16:creationId xmlns:a16="http://schemas.microsoft.com/office/drawing/2014/main" id="{CB031385-10A0-CC51-E5FC-681B438620A9}"/>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51" name="Freeform: Shape 50">
              <a:extLst>
                <a:ext uri="{FF2B5EF4-FFF2-40B4-BE49-F238E27FC236}">
                  <a16:creationId xmlns:a16="http://schemas.microsoft.com/office/drawing/2014/main" id="{D6D8DB3E-A046-A2D2-D2D3-5B52207CA813}"/>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52" name="Freeform: Shape 51">
              <a:extLst>
                <a:ext uri="{FF2B5EF4-FFF2-40B4-BE49-F238E27FC236}">
                  <a16:creationId xmlns:a16="http://schemas.microsoft.com/office/drawing/2014/main" id="{6A619102-F21E-DB40-5A8A-89B28EEB580B}"/>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53" name="Freeform: Shape 52">
              <a:extLst>
                <a:ext uri="{FF2B5EF4-FFF2-40B4-BE49-F238E27FC236}">
                  <a16:creationId xmlns:a16="http://schemas.microsoft.com/office/drawing/2014/main" id="{6ECD125D-6364-7F2F-65E1-53AF8541E9FE}"/>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54" name="Freeform: Shape 53">
              <a:extLst>
                <a:ext uri="{FF2B5EF4-FFF2-40B4-BE49-F238E27FC236}">
                  <a16:creationId xmlns:a16="http://schemas.microsoft.com/office/drawing/2014/main" id="{90EB5BC4-3AA8-F865-D147-D0D6DA29EDA1}"/>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55" name="Freeform: Shape 54">
              <a:extLst>
                <a:ext uri="{FF2B5EF4-FFF2-40B4-BE49-F238E27FC236}">
                  <a16:creationId xmlns:a16="http://schemas.microsoft.com/office/drawing/2014/main" id="{319966B1-674A-0A00-65B9-D45E2762E7B5}"/>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56" name="Freeform: Shape 55">
              <a:extLst>
                <a:ext uri="{FF2B5EF4-FFF2-40B4-BE49-F238E27FC236}">
                  <a16:creationId xmlns:a16="http://schemas.microsoft.com/office/drawing/2014/main" id="{BF4841CB-9DA4-6426-14D5-EEDFDA016E7F}"/>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57" name="Freeform: Shape 56">
              <a:extLst>
                <a:ext uri="{FF2B5EF4-FFF2-40B4-BE49-F238E27FC236}">
                  <a16:creationId xmlns:a16="http://schemas.microsoft.com/office/drawing/2014/main" id="{4B0059BE-E839-6D51-D18D-679CD9473A7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58" name="Freeform: Shape 57">
              <a:extLst>
                <a:ext uri="{FF2B5EF4-FFF2-40B4-BE49-F238E27FC236}">
                  <a16:creationId xmlns:a16="http://schemas.microsoft.com/office/drawing/2014/main" id="{DC27FDFF-19CF-9D86-1CB8-AFF72E606FB4}"/>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pic>
        <p:nvPicPr>
          <p:cNvPr id="3" name="Imagem 2" descr="Diagrama&#10;&#10;Descrição gerada automaticamente">
            <a:extLst>
              <a:ext uri="{FF2B5EF4-FFF2-40B4-BE49-F238E27FC236}">
                <a16:creationId xmlns:a16="http://schemas.microsoft.com/office/drawing/2014/main" id="{F0F3DD3F-732B-3AE2-7BC3-61D8124F57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2117649"/>
            <a:ext cx="5664133" cy="3448263"/>
          </a:xfrm>
          <a:prstGeom prst="rect">
            <a:avLst/>
          </a:prstGeom>
        </p:spPr>
      </p:pic>
      <p:sp>
        <p:nvSpPr>
          <p:cNvPr id="5" name="CaixaDeTexto 4">
            <a:extLst>
              <a:ext uri="{FF2B5EF4-FFF2-40B4-BE49-F238E27FC236}">
                <a16:creationId xmlns:a16="http://schemas.microsoft.com/office/drawing/2014/main" id="{7D6406A6-9539-E684-F4AE-62FB38869F33}"/>
              </a:ext>
            </a:extLst>
          </p:cNvPr>
          <p:cNvSpPr txBox="1"/>
          <p:nvPr/>
        </p:nvSpPr>
        <p:spPr>
          <a:xfrm>
            <a:off x="634116" y="1938031"/>
            <a:ext cx="5224852" cy="4247317"/>
          </a:xfrm>
          <a:prstGeom prst="rect">
            <a:avLst/>
          </a:prstGeom>
          <a:noFill/>
        </p:spPr>
        <p:txBody>
          <a:bodyPr wrap="square" rtlCol="0">
            <a:spAutoFit/>
          </a:bodyPr>
          <a:lstStyle/>
          <a:p>
            <a:r>
              <a:rPr lang="pt-BR" sz="1800" b="1" i="0" kern="1200" dirty="0">
                <a:effectLst/>
                <a:latin typeface="+mn-lt"/>
                <a:ea typeface="+mj-ea"/>
                <a:cs typeface="+mj-cs"/>
              </a:rPr>
              <a:t>Anatomia oral e faríngea</a:t>
            </a:r>
            <a:r>
              <a:rPr lang="pt-BR" sz="1800" b="0" i="0" kern="1200" dirty="0">
                <a:effectLst/>
                <a:latin typeface="+mn-lt"/>
                <a:ea typeface="+mj-ea"/>
                <a:cs typeface="+mj-cs"/>
              </a:rPr>
              <a:t>: A anatomia da boca e da faringe do paciente pode influenciar na escolha do TOT. Pacientes com mandíbulas proeminentes ou línguas grandes podem precisar de um TOT com formato específico para garantir um posicionamento adequado.</a:t>
            </a:r>
            <a:br>
              <a:rPr lang="pt-BR" sz="1800" b="0" i="0" kern="1200" dirty="0">
                <a:effectLst/>
                <a:latin typeface="+mn-lt"/>
                <a:ea typeface="+mj-ea"/>
                <a:cs typeface="+mj-cs"/>
              </a:rPr>
            </a:br>
            <a:br>
              <a:rPr lang="pt-BR" sz="1800" b="0" i="0" kern="1200" dirty="0">
                <a:effectLst/>
                <a:latin typeface="+mn-lt"/>
                <a:ea typeface="+mj-ea"/>
                <a:cs typeface="+mj-cs"/>
              </a:rPr>
            </a:br>
            <a:br>
              <a:rPr lang="pt-BR" sz="1800" b="0" i="0" kern="1200" dirty="0">
                <a:effectLst/>
                <a:latin typeface="+mn-lt"/>
                <a:ea typeface="+mj-ea"/>
                <a:cs typeface="+mj-cs"/>
              </a:rPr>
            </a:br>
            <a:r>
              <a:rPr lang="pt-BR" sz="1800" b="1" i="0" kern="1200" dirty="0">
                <a:effectLst/>
                <a:latin typeface="+mn-lt"/>
                <a:ea typeface="+mj-ea"/>
                <a:cs typeface="+mj-cs"/>
              </a:rPr>
              <a:t>Indicação clínica</a:t>
            </a:r>
            <a:r>
              <a:rPr lang="pt-BR" sz="1800" b="0" i="0" kern="1200" dirty="0">
                <a:effectLst/>
                <a:latin typeface="+mn-lt"/>
                <a:ea typeface="+mj-ea"/>
                <a:cs typeface="+mj-cs"/>
              </a:rPr>
              <a:t>: A condição clínica do paciente e a necessidade de suporte ventilatório de curto ou longo prazo podem influenciar na escolha do TOT. Por exemplo, pacientes com trauma facial podem necessitar de um TOT com recurso de fixação mais seguro.</a:t>
            </a:r>
            <a:br>
              <a:rPr lang="pt-BR" sz="2000" b="0" i="0" kern="1200" dirty="0">
                <a:solidFill>
                  <a:srgbClr val="FFFFFF"/>
                </a:solidFill>
                <a:effectLst/>
                <a:latin typeface="+mj-lt"/>
                <a:ea typeface="+mj-ea"/>
                <a:cs typeface="+mj-cs"/>
              </a:rPr>
            </a:br>
            <a:endParaRPr lang="pt-BR" dirty="0"/>
          </a:p>
        </p:txBody>
      </p:sp>
    </p:spTree>
    <p:extLst>
      <p:ext uri="{BB962C8B-B14F-4D97-AF65-F5344CB8AC3E}">
        <p14:creationId xmlns:p14="http://schemas.microsoft.com/office/powerpoint/2010/main" val="402572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CFE6A30-F765-6D85-126B-25F0276D9E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5" name="think-cell data - do not delete" hidden="1">
                        <a:extLst>
                          <a:ext uri="{FF2B5EF4-FFF2-40B4-BE49-F238E27FC236}">
                            <a16:creationId xmlns:a16="http://schemas.microsoft.com/office/drawing/2014/main" id="{BCFE6A30-F765-6D85-126B-25F0276D9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1" name="Freeform: Shape 60">
            <a:extLst>
              <a:ext uri="{FF2B5EF4-FFF2-40B4-BE49-F238E27FC236}">
                <a16:creationId xmlns:a16="http://schemas.microsoft.com/office/drawing/2014/main" id="{8B2EB878-7ED4-4A6B-EE4B-F8092FB1B08B}"/>
              </a:ext>
            </a:extLst>
          </p:cNvPr>
          <p:cNvSpPr/>
          <p:nvPr/>
        </p:nvSpPr>
        <p:spPr>
          <a:xfrm>
            <a:off x="6312986" y="0"/>
            <a:ext cx="5243775" cy="4461045"/>
          </a:xfrm>
          <a:custGeom>
            <a:avLst/>
            <a:gdLst>
              <a:gd name="connsiteX0" fmla="*/ 95 w 4106894"/>
              <a:gd name="connsiteY0" fmla="*/ 0 h 3493865"/>
              <a:gd name="connsiteX1" fmla="*/ 95 w 4106894"/>
              <a:gd name="connsiteY1" fmla="*/ 1689545 h 3493865"/>
              <a:gd name="connsiteX2" fmla="*/ 290227 w 4106894"/>
              <a:gd name="connsiteY2" fmla="*/ 2741200 h 3493865"/>
              <a:gd name="connsiteX3" fmla="*/ 2029587 w 4106894"/>
              <a:gd name="connsiteY3" fmla="*/ 3493865 h 3493865"/>
              <a:gd name="connsiteX4" fmla="*/ 2077212 w 4106894"/>
              <a:gd name="connsiteY4" fmla="*/ 3493865 h 3493865"/>
              <a:gd name="connsiteX5" fmla="*/ 3816668 w 4106894"/>
              <a:gd name="connsiteY5" fmla="*/ 2741200 h 3493865"/>
              <a:gd name="connsiteX6" fmla="*/ 4106894 w 4106894"/>
              <a:gd name="connsiteY6" fmla="*/ 1689545 h 3493865"/>
              <a:gd name="connsiteX7" fmla="*/ 4106894 w 4106894"/>
              <a:gd name="connsiteY7" fmla="*/ 0 h 3493865"/>
              <a:gd name="connsiteX8" fmla="*/ 0 w 4106894"/>
              <a:gd name="connsiteY8" fmla="*/ 0 h 3493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6894" h="3493865">
                <a:moveTo>
                  <a:pt x="95" y="0"/>
                </a:moveTo>
                <a:lnTo>
                  <a:pt x="95" y="1689545"/>
                </a:lnTo>
                <a:cubicBezTo>
                  <a:pt x="95" y="1980248"/>
                  <a:pt x="30194" y="2405634"/>
                  <a:pt x="290227" y="2741200"/>
                </a:cubicBezTo>
                <a:cubicBezTo>
                  <a:pt x="634555" y="3185636"/>
                  <a:pt x="1064514" y="3483864"/>
                  <a:pt x="2029587" y="3493865"/>
                </a:cubicBezTo>
                <a:lnTo>
                  <a:pt x="2077212" y="3493865"/>
                </a:lnTo>
                <a:cubicBezTo>
                  <a:pt x="3042285" y="3483864"/>
                  <a:pt x="3472148" y="3185636"/>
                  <a:pt x="3816668" y="2741200"/>
                </a:cubicBezTo>
                <a:cubicBezTo>
                  <a:pt x="4076509" y="2405634"/>
                  <a:pt x="4106894" y="1980343"/>
                  <a:pt x="4106894" y="1689545"/>
                </a:cubicBezTo>
                <a:lnTo>
                  <a:pt x="4106894" y="0"/>
                </a:lnTo>
                <a:lnTo>
                  <a:pt x="0" y="0"/>
                </a:lnTo>
                <a:close/>
              </a:path>
            </a:pathLst>
          </a:custGeom>
          <a:solidFill>
            <a:srgbClr val="49306E"/>
          </a:solidFill>
          <a:ln w="9525" cap="flat">
            <a:noFill/>
            <a:prstDash val="solid"/>
            <a:miter/>
          </a:ln>
        </p:spPr>
        <p:txBody>
          <a:bodyPr rtlCol="0" anchor="ctr"/>
          <a:lstStyle/>
          <a:p>
            <a:endParaRPr lang="pt-BR"/>
          </a:p>
        </p:txBody>
      </p:sp>
      <p:pic>
        <p:nvPicPr>
          <p:cNvPr id="60" name="Picture 59">
            <a:extLst>
              <a:ext uri="{FF2B5EF4-FFF2-40B4-BE49-F238E27FC236}">
                <a16:creationId xmlns:a16="http://schemas.microsoft.com/office/drawing/2014/main" id="{07154719-9423-C09D-BEC0-4A4DC795B5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921" t="10448" r="1389" b="28872"/>
          <a:stretch>
            <a:fillRect/>
          </a:stretch>
        </p:blipFill>
        <p:spPr bwMode="auto">
          <a:xfrm>
            <a:off x="6313108" y="1"/>
            <a:ext cx="5243653" cy="4461045"/>
          </a:xfrm>
          <a:custGeom>
            <a:avLst/>
            <a:gdLst>
              <a:gd name="connsiteX0" fmla="*/ 0 w 5243653"/>
              <a:gd name="connsiteY0" fmla="*/ 0 h 4461045"/>
              <a:gd name="connsiteX1" fmla="*/ 5243653 w 5243653"/>
              <a:gd name="connsiteY1" fmla="*/ 0 h 4461045"/>
              <a:gd name="connsiteX2" fmla="*/ 5243653 w 5243653"/>
              <a:gd name="connsiteY2" fmla="*/ 2157249 h 4461045"/>
              <a:gd name="connsiteX3" fmla="*/ 4873086 w 5243653"/>
              <a:gd name="connsiteY3" fmla="*/ 3500026 h 4461045"/>
              <a:gd name="connsiteX4" fmla="*/ 2652109 w 5243653"/>
              <a:gd name="connsiteY4" fmla="*/ 4461045 h 4461045"/>
              <a:gd name="connsiteX5" fmla="*/ 2591300 w 5243653"/>
              <a:gd name="connsiteY5" fmla="*/ 4461045 h 4461045"/>
              <a:gd name="connsiteX6" fmla="*/ 370447 w 5243653"/>
              <a:gd name="connsiteY6" fmla="*/ 3500026 h 4461045"/>
              <a:gd name="connsiteX7" fmla="*/ 0 w 5243653"/>
              <a:gd name="connsiteY7" fmla="*/ 2157249 h 44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3653" h="4461045">
                <a:moveTo>
                  <a:pt x="0" y="0"/>
                </a:moveTo>
                <a:lnTo>
                  <a:pt x="5243653" y="0"/>
                </a:lnTo>
                <a:lnTo>
                  <a:pt x="5243653" y="2157249"/>
                </a:lnTo>
                <a:cubicBezTo>
                  <a:pt x="5243653" y="2528546"/>
                  <a:pt x="5204856" y="3071567"/>
                  <a:pt x="4873086" y="3500026"/>
                </a:cubicBezTo>
                <a:cubicBezTo>
                  <a:pt x="4433195" y="4067491"/>
                  <a:pt x="3884336" y="4448276"/>
                  <a:pt x="2652109" y="4461045"/>
                </a:cubicBezTo>
                <a:lnTo>
                  <a:pt x="2591300" y="4461045"/>
                </a:lnTo>
                <a:cubicBezTo>
                  <a:pt x="1359074" y="4448276"/>
                  <a:pt x="810092" y="4067491"/>
                  <a:pt x="370447" y="3500026"/>
                </a:cubicBezTo>
                <a:cubicBezTo>
                  <a:pt x="38431" y="3071567"/>
                  <a:pt x="0" y="2528425"/>
                  <a:pt x="0" y="2157249"/>
                </a:cubicBezTo>
                <a:close/>
              </a:path>
            </a:pathLst>
          </a:cu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E94662DF-CE8D-1F19-CE76-E0E0B06D6550}"/>
              </a:ext>
            </a:extLst>
          </p:cNvPr>
          <p:cNvGrpSpPr/>
          <p:nvPr/>
        </p:nvGrpSpPr>
        <p:grpSpPr>
          <a:xfrm>
            <a:off x="304800" y="249455"/>
            <a:ext cx="1193800" cy="462985"/>
            <a:chOff x="5245100" y="211355"/>
            <a:chExt cx="2036664" cy="789869"/>
          </a:xfrm>
        </p:grpSpPr>
        <p:sp>
          <p:nvSpPr>
            <p:cNvPr id="3" name="Freeform: Shape 2">
              <a:extLst>
                <a:ext uri="{FF2B5EF4-FFF2-40B4-BE49-F238E27FC236}">
                  <a16:creationId xmlns:a16="http://schemas.microsoft.com/office/drawing/2014/main" id="{D47C8347-F92E-D378-A4CB-284B77BC884F}"/>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6" name="Freeform: Shape 5">
              <a:extLst>
                <a:ext uri="{FF2B5EF4-FFF2-40B4-BE49-F238E27FC236}">
                  <a16:creationId xmlns:a16="http://schemas.microsoft.com/office/drawing/2014/main" id="{6B99A49B-686C-3566-90A3-D471C41543E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7" name="Freeform: Shape 6">
              <a:extLst>
                <a:ext uri="{FF2B5EF4-FFF2-40B4-BE49-F238E27FC236}">
                  <a16:creationId xmlns:a16="http://schemas.microsoft.com/office/drawing/2014/main" id="{FCE0F409-4EB5-0EA7-6A05-B682A5C75A3A}"/>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8" name="Freeform: Shape 7">
              <a:extLst>
                <a:ext uri="{FF2B5EF4-FFF2-40B4-BE49-F238E27FC236}">
                  <a16:creationId xmlns:a16="http://schemas.microsoft.com/office/drawing/2014/main" id="{7FA5E603-B580-BFB3-E423-EABD1DFE3DFE}"/>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9" name="Freeform: Shape 8">
              <a:extLst>
                <a:ext uri="{FF2B5EF4-FFF2-40B4-BE49-F238E27FC236}">
                  <a16:creationId xmlns:a16="http://schemas.microsoft.com/office/drawing/2014/main" id="{FCD688E3-3C8B-7AB5-C811-6708DD08BC30}"/>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10" name="Freeform: Shape 9">
              <a:extLst>
                <a:ext uri="{FF2B5EF4-FFF2-40B4-BE49-F238E27FC236}">
                  <a16:creationId xmlns:a16="http://schemas.microsoft.com/office/drawing/2014/main" id="{94BC05DC-EE62-82A1-E64A-4AAD44F58D9C}"/>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11" name="Freeform: Shape 10">
              <a:extLst>
                <a:ext uri="{FF2B5EF4-FFF2-40B4-BE49-F238E27FC236}">
                  <a16:creationId xmlns:a16="http://schemas.microsoft.com/office/drawing/2014/main" id="{6C0538FB-0BC8-0676-7A56-F0C3C3C7571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2" name="Freeform: Shape 11">
              <a:extLst>
                <a:ext uri="{FF2B5EF4-FFF2-40B4-BE49-F238E27FC236}">
                  <a16:creationId xmlns:a16="http://schemas.microsoft.com/office/drawing/2014/main" id="{794F04AA-288A-0E28-4B33-A46D4CE45A15}"/>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13" name="Freeform: Shape 12">
              <a:extLst>
                <a:ext uri="{FF2B5EF4-FFF2-40B4-BE49-F238E27FC236}">
                  <a16:creationId xmlns:a16="http://schemas.microsoft.com/office/drawing/2014/main" id="{3DB6E8BB-69AC-0615-730F-38E67B6BAD63}"/>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4" name="Freeform: Shape 13">
              <a:extLst>
                <a:ext uri="{FF2B5EF4-FFF2-40B4-BE49-F238E27FC236}">
                  <a16:creationId xmlns:a16="http://schemas.microsoft.com/office/drawing/2014/main" id="{7E682902-6402-2B39-5DB2-092E031FCCDF}"/>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5" name="Freeform: Shape 14">
              <a:extLst>
                <a:ext uri="{FF2B5EF4-FFF2-40B4-BE49-F238E27FC236}">
                  <a16:creationId xmlns:a16="http://schemas.microsoft.com/office/drawing/2014/main" id="{76B8B1D5-89BC-7554-A99E-9B539C7E87F2}"/>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6" name="Freeform: Shape 15">
              <a:extLst>
                <a:ext uri="{FF2B5EF4-FFF2-40B4-BE49-F238E27FC236}">
                  <a16:creationId xmlns:a16="http://schemas.microsoft.com/office/drawing/2014/main" id="{CB74A7F3-54B0-630B-ECF6-F9882C6AD9FC}"/>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17" name="Freeform: Shape 16">
              <a:extLst>
                <a:ext uri="{FF2B5EF4-FFF2-40B4-BE49-F238E27FC236}">
                  <a16:creationId xmlns:a16="http://schemas.microsoft.com/office/drawing/2014/main" id="{B928492C-330D-80E7-E83B-7CEF74455ABD}"/>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18" name="Freeform: Shape 17">
              <a:extLst>
                <a:ext uri="{FF2B5EF4-FFF2-40B4-BE49-F238E27FC236}">
                  <a16:creationId xmlns:a16="http://schemas.microsoft.com/office/drawing/2014/main" id="{AADBA9A6-A029-9343-BB37-3E6E8C4B9536}"/>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9" name="Freeform: Shape 18">
              <a:extLst>
                <a:ext uri="{FF2B5EF4-FFF2-40B4-BE49-F238E27FC236}">
                  <a16:creationId xmlns:a16="http://schemas.microsoft.com/office/drawing/2014/main" id="{29F3ABF7-2C13-C052-D1A8-0BF971438A99}"/>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20" name="Freeform: Shape 19">
              <a:extLst>
                <a:ext uri="{FF2B5EF4-FFF2-40B4-BE49-F238E27FC236}">
                  <a16:creationId xmlns:a16="http://schemas.microsoft.com/office/drawing/2014/main" id="{E401428E-3FC7-3DDD-C6BC-38C2972C04B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21" name="Freeform: Shape 20">
              <a:extLst>
                <a:ext uri="{FF2B5EF4-FFF2-40B4-BE49-F238E27FC236}">
                  <a16:creationId xmlns:a16="http://schemas.microsoft.com/office/drawing/2014/main" id="{86C86823-5232-0984-C455-9D22BB21A428}"/>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22" name="Freeform: Shape 21">
              <a:extLst>
                <a:ext uri="{FF2B5EF4-FFF2-40B4-BE49-F238E27FC236}">
                  <a16:creationId xmlns:a16="http://schemas.microsoft.com/office/drawing/2014/main" id="{8D42D86D-5CF0-E0AD-0490-B965395B32A7}"/>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23" name="Freeform: Shape 22">
              <a:extLst>
                <a:ext uri="{FF2B5EF4-FFF2-40B4-BE49-F238E27FC236}">
                  <a16:creationId xmlns:a16="http://schemas.microsoft.com/office/drawing/2014/main" id="{867F1D41-2A29-3B74-B50E-53A3DAA6C021}"/>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24" name="Freeform: Shape 23">
              <a:extLst>
                <a:ext uri="{FF2B5EF4-FFF2-40B4-BE49-F238E27FC236}">
                  <a16:creationId xmlns:a16="http://schemas.microsoft.com/office/drawing/2014/main" id="{4EB0B383-1959-12E2-6432-894AACFB4A20}"/>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25" name="Freeform: Shape 24">
              <a:extLst>
                <a:ext uri="{FF2B5EF4-FFF2-40B4-BE49-F238E27FC236}">
                  <a16:creationId xmlns:a16="http://schemas.microsoft.com/office/drawing/2014/main" id="{B88F6EA4-0688-A2C5-EF52-20C89CCB29F9}"/>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26" name="Freeform: Shape 25">
              <a:extLst>
                <a:ext uri="{FF2B5EF4-FFF2-40B4-BE49-F238E27FC236}">
                  <a16:creationId xmlns:a16="http://schemas.microsoft.com/office/drawing/2014/main" id="{D9D51EBF-4272-E2D8-3BAD-0DA826E75F92}"/>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27" name="Freeform: Shape 26">
              <a:extLst>
                <a:ext uri="{FF2B5EF4-FFF2-40B4-BE49-F238E27FC236}">
                  <a16:creationId xmlns:a16="http://schemas.microsoft.com/office/drawing/2014/main" id="{B546395D-F977-3A35-40AF-1682FCB2C4AF}"/>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28" name="Freeform: Shape 27">
              <a:extLst>
                <a:ext uri="{FF2B5EF4-FFF2-40B4-BE49-F238E27FC236}">
                  <a16:creationId xmlns:a16="http://schemas.microsoft.com/office/drawing/2014/main" id="{FCF72171-5C90-21A6-4A46-C800F3528BC4}"/>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29" name="Freeform: Shape 28">
              <a:extLst>
                <a:ext uri="{FF2B5EF4-FFF2-40B4-BE49-F238E27FC236}">
                  <a16:creationId xmlns:a16="http://schemas.microsoft.com/office/drawing/2014/main" id="{109D1D87-8BBD-1C74-B085-3BFFBB91B2FE}"/>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30" name="Freeform: Shape 29">
              <a:extLst>
                <a:ext uri="{FF2B5EF4-FFF2-40B4-BE49-F238E27FC236}">
                  <a16:creationId xmlns:a16="http://schemas.microsoft.com/office/drawing/2014/main" id="{60FF5B40-5497-B7FD-A751-7B7C976DFEE6}"/>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31" name="Freeform: Shape 30">
              <a:extLst>
                <a:ext uri="{FF2B5EF4-FFF2-40B4-BE49-F238E27FC236}">
                  <a16:creationId xmlns:a16="http://schemas.microsoft.com/office/drawing/2014/main" id="{F3273957-1670-DD16-7AA6-A75619A214A1}"/>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32" name="Freeform: Shape 31">
              <a:extLst>
                <a:ext uri="{FF2B5EF4-FFF2-40B4-BE49-F238E27FC236}">
                  <a16:creationId xmlns:a16="http://schemas.microsoft.com/office/drawing/2014/main" id="{91E0A521-1567-7E20-3CBC-AF7364E0F133}"/>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33" name="Freeform: Shape 32">
              <a:extLst>
                <a:ext uri="{FF2B5EF4-FFF2-40B4-BE49-F238E27FC236}">
                  <a16:creationId xmlns:a16="http://schemas.microsoft.com/office/drawing/2014/main" id="{4F15271A-F438-A3F3-C0DD-90981BF40AE8}"/>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34" name="Freeform: Shape 33">
              <a:extLst>
                <a:ext uri="{FF2B5EF4-FFF2-40B4-BE49-F238E27FC236}">
                  <a16:creationId xmlns:a16="http://schemas.microsoft.com/office/drawing/2014/main" id="{C0CD8767-B024-0B77-FFC7-DB8148FB74C9}"/>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35" name="Freeform: Shape 34">
              <a:extLst>
                <a:ext uri="{FF2B5EF4-FFF2-40B4-BE49-F238E27FC236}">
                  <a16:creationId xmlns:a16="http://schemas.microsoft.com/office/drawing/2014/main" id="{FC136D16-BA62-2E0A-CBCA-D509D05B0F86}"/>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36" name="Freeform: Shape 35">
              <a:extLst>
                <a:ext uri="{FF2B5EF4-FFF2-40B4-BE49-F238E27FC236}">
                  <a16:creationId xmlns:a16="http://schemas.microsoft.com/office/drawing/2014/main" id="{031175FF-719A-EB85-301C-EFCAC5327946}"/>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37" name="Freeform: Shape 36">
              <a:extLst>
                <a:ext uri="{FF2B5EF4-FFF2-40B4-BE49-F238E27FC236}">
                  <a16:creationId xmlns:a16="http://schemas.microsoft.com/office/drawing/2014/main" id="{4D1D8FC4-994C-DF68-0622-B62C1326E1CE}"/>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38" name="Freeform: Shape 37">
              <a:extLst>
                <a:ext uri="{FF2B5EF4-FFF2-40B4-BE49-F238E27FC236}">
                  <a16:creationId xmlns:a16="http://schemas.microsoft.com/office/drawing/2014/main" id="{B52A1D67-E7A2-4ADF-F019-460960CF723B}"/>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39" name="Freeform: Shape 38">
              <a:extLst>
                <a:ext uri="{FF2B5EF4-FFF2-40B4-BE49-F238E27FC236}">
                  <a16:creationId xmlns:a16="http://schemas.microsoft.com/office/drawing/2014/main" id="{F9BB74FD-7024-4849-7D9B-2EC84FB60038}"/>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40" name="Freeform: Shape 39">
              <a:extLst>
                <a:ext uri="{FF2B5EF4-FFF2-40B4-BE49-F238E27FC236}">
                  <a16:creationId xmlns:a16="http://schemas.microsoft.com/office/drawing/2014/main" id="{DFE48A96-2CFA-AD78-96FA-8627058F3E5D}"/>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41" name="Freeform: Shape 40">
              <a:extLst>
                <a:ext uri="{FF2B5EF4-FFF2-40B4-BE49-F238E27FC236}">
                  <a16:creationId xmlns:a16="http://schemas.microsoft.com/office/drawing/2014/main" id="{2F03FA8C-0AA5-1046-4C56-D46894457DBC}"/>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42" name="Freeform: Shape 41">
              <a:extLst>
                <a:ext uri="{FF2B5EF4-FFF2-40B4-BE49-F238E27FC236}">
                  <a16:creationId xmlns:a16="http://schemas.microsoft.com/office/drawing/2014/main" id="{002F2FE7-7831-AD26-0975-676B6FE4A31A}"/>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43" name="Freeform: Shape 42">
              <a:extLst>
                <a:ext uri="{FF2B5EF4-FFF2-40B4-BE49-F238E27FC236}">
                  <a16:creationId xmlns:a16="http://schemas.microsoft.com/office/drawing/2014/main" id="{F2776346-553F-BC45-380C-E74B3868B42A}"/>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44" name="Freeform: Shape 43">
              <a:extLst>
                <a:ext uri="{FF2B5EF4-FFF2-40B4-BE49-F238E27FC236}">
                  <a16:creationId xmlns:a16="http://schemas.microsoft.com/office/drawing/2014/main" id="{A8B4C1C4-6A7E-2C78-E758-2E2BDDF24495}"/>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45" name="Freeform: Shape 44">
              <a:extLst>
                <a:ext uri="{FF2B5EF4-FFF2-40B4-BE49-F238E27FC236}">
                  <a16:creationId xmlns:a16="http://schemas.microsoft.com/office/drawing/2014/main" id="{3C31033B-0248-78D2-0317-91D5E9548E62}"/>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46" name="Freeform: Shape 45">
              <a:extLst>
                <a:ext uri="{FF2B5EF4-FFF2-40B4-BE49-F238E27FC236}">
                  <a16:creationId xmlns:a16="http://schemas.microsoft.com/office/drawing/2014/main" id="{99E2E835-9BB7-49F8-D1AE-113E376B3772}"/>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47" name="Freeform: Shape 46">
              <a:extLst>
                <a:ext uri="{FF2B5EF4-FFF2-40B4-BE49-F238E27FC236}">
                  <a16:creationId xmlns:a16="http://schemas.microsoft.com/office/drawing/2014/main" id="{152C8C29-F772-4BCD-A7B9-AD4E0566DE09}"/>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sp>
        <p:nvSpPr>
          <p:cNvPr id="4" name="CaixaDeTexto 3">
            <a:extLst>
              <a:ext uri="{FF2B5EF4-FFF2-40B4-BE49-F238E27FC236}">
                <a16:creationId xmlns:a16="http://schemas.microsoft.com/office/drawing/2014/main" id="{4EADD47D-6AFC-28A1-81C3-D4FA9A4CCA44}"/>
              </a:ext>
            </a:extLst>
          </p:cNvPr>
          <p:cNvSpPr txBox="1"/>
          <p:nvPr/>
        </p:nvSpPr>
        <p:spPr>
          <a:xfrm>
            <a:off x="419746" y="1444487"/>
            <a:ext cx="5670472" cy="4877310"/>
          </a:xfrm>
          <a:prstGeom prst="rect">
            <a:avLst/>
          </a:prstGeom>
          <a:noFill/>
        </p:spPr>
        <p:txBody>
          <a:bodyPr wrap="square" rtlCol="0">
            <a:spAutoFit/>
          </a:bodyPr>
          <a:lstStyle/>
          <a:p>
            <a:r>
              <a:rPr lang="pt-BR" sz="1800" b="1" i="0" dirty="0">
                <a:effectLst/>
                <a:latin typeface="+mn-lt"/>
              </a:rPr>
              <a:t>Resistência ao fluxo de ar</a:t>
            </a:r>
            <a:r>
              <a:rPr lang="pt-BR" sz="1800" b="0" i="0" dirty="0">
                <a:effectLst/>
                <a:latin typeface="+mn-lt"/>
              </a:rPr>
              <a:t>: TOT com baixa resistência ao fluxo de ar pode ser preferível, especialmente em pacientes com doença pulmonar obstrutiva crônica (DPOC) ou outras condições pulmonares restritivas.</a:t>
            </a:r>
            <a:br>
              <a:rPr lang="pt-BR" sz="1800" b="0" i="0" dirty="0">
                <a:effectLst/>
                <a:latin typeface="+mn-lt"/>
              </a:rPr>
            </a:br>
            <a:r>
              <a:rPr lang="pt-BR" sz="1800" b="1" i="0" dirty="0">
                <a:effectLst/>
                <a:latin typeface="+mn-lt"/>
              </a:rPr>
              <a:t>Material do TOT</a:t>
            </a:r>
            <a:r>
              <a:rPr lang="pt-BR" sz="1800" b="0" i="0" dirty="0">
                <a:effectLst/>
                <a:latin typeface="+mn-lt"/>
              </a:rPr>
              <a:t>: TOT pode ser feito de PVC (cloreto de polivinila) ou silicone. O material escolhido pode depender da preferência do médico, da disponibilidade e das necessidades específicas do paciente.</a:t>
            </a:r>
            <a:br>
              <a:rPr lang="pt-BR" sz="1800" b="0" i="0" dirty="0">
                <a:effectLst/>
                <a:latin typeface="+mn-lt"/>
              </a:rPr>
            </a:br>
            <a:r>
              <a:rPr lang="pt-BR" sz="1800" b="1" i="0" dirty="0">
                <a:effectLst/>
                <a:latin typeface="+mn-lt"/>
              </a:rPr>
              <a:t>Fixação adequada</a:t>
            </a:r>
            <a:r>
              <a:rPr lang="pt-BR" sz="1800" b="0" i="0" dirty="0">
                <a:effectLst/>
                <a:latin typeface="+mn-lt"/>
              </a:rPr>
              <a:t>: Um sistema de fixação seguro é essencial para manter o TOT no lugar e prevenir deslocamentos acidentais que possam comprometer a ventilação.</a:t>
            </a:r>
            <a:br>
              <a:rPr lang="pt-BR" sz="1800" b="0" i="0" dirty="0">
                <a:effectLst/>
                <a:latin typeface="+mn-lt"/>
              </a:rPr>
            </a:br>
            <a:r>
              <a:rPr lang="pt-BR" sz="1800" b="1" i="0" dirty="0">
                <a:effectLst/>
                <a:latin typeface="+mn-lt"/>
              </a:rPr>
              <a:t>Monitoramento contínuo</a:t>
            </a:r>
            <a:r>
              <a:rPr lang="pt-BR" sz="1800" b="0" i="0" dirty="0">
                <a:effectLst/>
                <a:latin typeface="+mn-lt"/>
              </a:rPr>
              <a:t>: Após a inserção do TOT, é crucial monitorar continuamente a posição e a função respiratória do paciente para garantir que a ventilação seja adequada e segura.</a:t>
            </a:r>
            <a:br>
              <a:rPr lang="pt-BR" sz="1800" b="0" i="0" dirty="0">
                <a:effectLst/>
                <a:latin typeface="Söhne"/>
              </a:rPr>
            </a:br>
            <a:endParaRPr lang="pt-BR" dirty="0"/>
          </a:p>
        </p:txBody>
      </p:sp>
    </p:spTree>
    <p:extLst>
      <p:ext uri="{BB962C8B-B14F-4D97-AF65-F5344CB8AC3E}">
        <p14:creationId xmlns:p14="http://schemas.microsoft.com/office/powerpoint/2010/main" val="4126245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744937-31D2-B26B-0E34-B38AAEB7BD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think-cell data - do not delete" hidden="1">
                        <a:extLst>
                          <a:ext uri="{FF2B5EF4-FFF2-40B4-BE49-F238E27FC236}">
                            <a16:creationId xmlns:a16="http://schemas.microsoft.com/office/drawing/2014/main" id="{13744937-31D2-B26B-0E34-B38AAEB7BD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3" name="Group 102">
            <a:extLst>
              <a:ext uri="{FF2B5EF4-FFF2-40B4-BE49-F238E27FC236}">
                <a16:creationId xmlns:a16="http://schemas.microsoft.com/office/drawing/2014/main" id="{3D8D8288-B135-7527-016E-57E7EC8BC89A}"/>
              </a:ext>
            </a:extLst>
          </p:cNvPr>
          <p:cNvGrpSpPr/>
          <p:nvPr/>
        </p:nvGrpSpPr>
        <p:grpSpPr>
          <a:xfrm>
            <a:off x="304800" y="249455"/>
            <a:ext cx="1193800" cy="462985"/>
            <a:chOff x="5245100" y="211355"/>
            <a:chExt cx="2036664" cy="789869"/>
          </a:xfrm>
        </p:grpSpPr>
        <p:sp>
          <p:nvSpPr>
            <p:cNvPr id="104" name="Freeform: Shape 103">
              <a:extLst>
                <a:ext uri="{FF2B5EF4-FFF2-40B4-BE49-F238E27FC236}">
                  <a16:creationId xmlns:a16="http://schemas.microsoft.com/office/drawing/2014/main" id="{AA3AA9E8-64F6-4BB2-CE82-B99E050A81FA}"/>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105" name="Freeform: Shape 104">
              <a:extLst>
                <a:ext uri="{FF2B5EF4-FFF2-40B4-BE49-F238E27FC236}">
                  <a16:creationId xmlns:a16="http://schemas.microsoft.com/office/drawing/2014/main" id="{1BC95492-DDEB-B082-215B-B4CE77651A5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106" name="Freeform: Shape 105">
              <a:extLst>
                <a:ext uri="{FF2B5EF4-FFF2-40B4-BE49-F238E27FC236}">
                  <a16:creationId xmlns:a16="http://schemas.microsoft.com/office/drawing/2014/main" id="{2028C36B-DA4C-41E4-2AEA-9A8FD1A40A5B}"/>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107" name="Freeform: Shape 106">
              <a:extLst>
                <a:ext uri="{FF2B5EF4-FFF2-40B4-BE49-F238E27FC236}">
                  <a16:creationId xmlns:a16="http://schemas.microsoft.com/office/drawing/2014/main" id="{A78A8E03-277A-333B-564C-EF9FA2316AD3}"/>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108" name="Freeform: Shape 107">
              <a:extLst>
                <a:ext uri="{FF2B5EF4-FFF2-40B4-BE49-F238E27FC236}">
                  <a16:creationId xmlns:a16="http://schemas.microsoft.com/office/drawing/2014/main" id="{BE46A733-0E5F-CBC9-9AA8-4382184E7DB7}"/>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109" name="Freeform: Shape 108">
              <a:extLst>
                <a:ext uri="{FF2B5EF4-FFF2-40B4-BE49-F238E27FC236}">
                  <a16:creationId xmlns:a16="http://schemas.microsoft.com/office/drawing/2014/main" id="{CC26B1E7-7F77-1F91-71C5-DA5836D441C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110" name="Freeform: Shape 109">
              <a:extLst>
                <a:ext uri="{FF2B5EF4-FFF2-40B4-BE49-F238E27FC236}">
                  <a16:creationId xmlns:a16="http://schemas.microsoft.com/office/drawing/2014/main" id="{73AFC208-CABB-6D40-5EE8-548C9DD5683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1" name="Freeform: Shape 110">
              <a:extLst>
                <a:ext uri="{FF2B5EF4-FFF2-40B4-BE49-F238E27FC236}">
                  <a16:creationId xmlns:a16="http://schemas.microsoft.com/office/drawing/2014/main" id="{9B522916-9608-ABE7-688F-ACDEC7B89CED}"/>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112" name="Freeform: Shape 111">
              <a:extLst>
                <a:ext uri="{FF2B5EF4-FFF2-40B4-BE49-F238E27FC236}">
                  <a16:creationId xmlns:a16="http://schemas.microsoft.com/office/drawing/2014/main" id="{239A6F84-B78E-5A20-56EA-1C5C5C449C12}"/>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13" name="Freeform: Shape 112">
              <a:extLst>
                <a:ext uri="{FF2B5EF4-FFF2-40B4-BE49-F238E27FC236}">
                  <a16:creationId xmlns:a16="http://schemas.microsoft.com/office/drawing/2014/main" id="{F3FA7DD4-0180-B7D2-E233-5F2AEACF0205}"/>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4" name="Freeform: Shape 113">
              <a:extLst>
                <a:ext uri="{FF2B5EF4-FFF2-40B4-BE49-F238E27FC236}">
                  <a16:creationId xmlns:a16="http://schemas.microsoft.com/office/drawing/2014/main" id="{C56DEF46-8D32-3683-CC94-E8A52B1E9E6D}"/>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5" name="Freeform: Shape 114">
              <a:extLst>
                <a:ext uri="{FF2B5EF4-FFF2-40B4-BE49-F238E27FC236}">
                  <a16:creationId xmlns:a16="http://schemas.microsoft.com/office/drawing/2014/main" id="{8DEBC000-2297-4724-ACE5-E1ECEF8478F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116" name="Freeform: Shape 115">
              <a:extLst>
                <a:ext uri="{FF2B5EF4-FFF2-40B4-BE49-F238E27FC236}">
                  <a16:creationId xmlns:a16="http://schemas.microsoft.com/office/drawing/2014/main" id="{AEBC38CE-A480-CE85-73F9-34DC4B2821C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117" name="Freeform: Shape 116">
              <a:extLst>
                <a:ext uri="{FF2B5EF4-FFF2-40B4-BE49-F238E27FC236}">
                  <a16:creationId xmlns:a16="http://schemas.microsoft.com/office/drawing/2014/main" id="{47CA2D04-FFA8-A7C1-7540-D1341251E7BC}"/>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8" name="Freeform: Shape 117">
              <a:extLst>
                <a:ext uri="{FF2B5EF4-FFF2-40B4-BE49-F238E27FC236}">
                  <a16:creationId xmlns:a16="http://schemas.microsoft.com/office/drawing/2014/main" id="{CB6CA7D2-6645-71A9-1FA7-3229EC56C33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119" name="Freeform: Shape 118">
              <a:extLst>
                <a:ext uri="{FF2B5EF4-FFF2-40B4-BE49-F238E27FC236}">
                  <a16:creationId xmlns:a16="http://schemas.microsoft.com/office/drawing/2014/main" id="{59B1EE94-900A-B621-06A5-6FFE009770F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20" name="Freeform: Shape 119">
              <a:extLst>
                <a:ext uri="{FF2B5EF4-FFF2-40B4-BE49-F238E27FC236}">
                  <a16:creationId xmlns:a16="http://schemas.microsoft.com/office/drawing/2014/main" id="{BA177163-A2E5-EA90-21C7-2D53094537A7}"/>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21" name="Freeform: Shape 120">
              <a:extLst>
                <a:ext uri="{FF2B5EF4-FFF2-40B4-BE49-F238E27FC236}">
                  <a16:creationId xmlns:a16="http://schemas.microsoft.com/office/drawing/2014/main" id="{C4256C7B-96E8-3D15-82FA-AC3C73493414}"/>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22" name="Freeform: Shape 121">
              <a:extLst>
                <a:ext uri="{FF2B5EF4-FFF2-40B4-BE49-F238E27FC236}">
                  <a16:creationId xmlns:a16="http://schemas.microsoft.com/office/drawing/2014/main" id="{06D565A1-76C4-6983-2A0E-E3CF482AF0D7}"/>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3" name="Freeform: Shape 122">
              <a:extLst>
                <a:ext uri="{FF2B5EF4-FFF2-40B4-BE49-F238E27FC236}">
                  <a16:creationId xmlns:a16="http://schemas.microsoft.com/office/drawing/2014/main" id="{DDA7AC4B-CA14-1526-4681-445581EBE31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124" name="Freeform: Shape 123">
              <a:extLst>
                <a:ext uri="{FF2B5EF4-FFF2-40B4-BE49-F238E27FC236}">
                  <a16:creationId xmlns:a16="http://schemas.microsoft.com/office/drawing/2014/main" id="{3B30BA7C-7770-C8FB-54F4-04FB7F152086}"/>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5" name="Freeform: Shape 124">
              <a:extLst>
                <a:ext uri="{FF2B5EF4-FFF2-40B4-BE49-F238E27FC236}">
                  <a16:creationId xmlns:a16="http://schemas.microsoft.com/office/drawing/2014/main" id="{87741651-C391-DB54-8A1D-EB76C223819D}"/>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126" name="Freeform: Shape 125">
              <a:extLst>
                <a:ext uri="{FF2B5EF4-FFF2-40B4-BE49-F238E27FC236}">
                  <a16:creationId xmlns:a16="http://schemas.microsoft.com/office/drawing/2014/main" id="{9A778CD6-E22C-1B3D-9618-165D81BAF3D4}"/>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127" name="Freeform: Shape 126">
              <a:extLst>
                <a:ext uri="{FF2B5EF4-FFF2-40B4-BE49-F238E27FC236}">
                  <a16:creationId xmlns:a16="http://schemas.microsoft.com/office/drawing/2014/main" id="{BF917BB7-0F5B-F235-61ED-0C4E4F7075A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128" name="Freeform: Shape 127">
              <a:extLst>
                <a:ext uri="{FF2B5EF4-FFF2-40B4-BE49-F238E27FC236}">
                  <a16:creationId xmlns:a16="http://schemas.microsoft.com/office/drawing/2014/main" id="{9AB02B29-9ABB-7C99-887D-9C2FC4BEF3F5}"/>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129" name="Freeform: Shape 128">
              <a:extLst>
                <a:ext uri="{FF2B5EF4-FFF2-40B4-BE49-F238E27FC236}">
                  <a16:creationId xmlns:a16="http://schemas.microsoft.com/office/drawing/2014/main" id="{311E31BE-8FE7-D07B-63DA-20BEE1202AA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130" name="Freeform: Shape 129">
              <a:extLst>
                <a:ext uri="{FF2B5EF4-FFF2-40B4-BE49-F238E27FC236}">
                  <a16:creationId xmlns:a16="http://schemas.microsoft.com/office/drawing/2014/main" id="{2B1B7368-55F8-5397-2132-D63FFAF86B5C}"/>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131" name="Freeform: Shape 130">
              <a:extLst>
                <a:ext uri="{FF2B5EF4-FFF2-40B4-BE49-F238E27FC236}">
                  <a16:creationId xmlns:a16="http://schemas.microsoft.com/office/drawing/2014/main" id="{526EC8B8-B4D1-994C-23A6-807718FEB559}"/>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132" name="Freeform: Shape 131">
              <a:extLst>
                <a:ext uri="{FF2B5EF4-FFF2-40B4-BE49-F238E27FC236}">
                  <a16:creationId xmlns:a16="http://schemas.microsoft.com/office/drawing/2014/main" id="{3EA49ECB-C752-706D-2003-7AF21752F2BC}"/>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133" name="Freeform: Shape 132">
              <a:extLst>
                <a:ext uri="{FF2B5EF4-FFF2-40B4-BE49-F238E27FC236}">
                  <a16:creationId xmlns:a16="http://schemas.microsoft.com/office/drawing/2014/main" id="{7D5F09CB-3660-2B23-5816-CEB013AC1CD3}"/>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34" name="Freeform: Shape 133">
              <a:extLst>
                <a:ext uri="{FF2B5EF4-FFF2-40B4-BE49-F238E27FC236}">
                  <a16:creationId xmlns:a16="http://schemas.microsoft.com/office/drawing/2014/main" id="{C7152738-B4E1-B250-E663-19D3904A4C5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135" name="Freeform: Shape 134">
              <a:extLst>
                <a:ext uri="{FF2B5EF4-FFF2-40B4-BE49-F238E27FC236}">
                  <a16:creationId xmlns:a16="http://schemas.microsoft.com/office/drawing/2014/main" id="{49B93D92-6357-2BDE-D942-5564AB3652D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6" name="Freeform: Shape 135">
              <a:extLst>
                <a:ext uri="{FF2B5EF4-FFF2-40B4-BE49-F238E27FC236}">
                  <a16:creationId xmlns:a16="http://schemas.microsoft.com/office/drawing/2014/main" id="{81F636BF-8910-F683-29EB-69B836D2B9B2}"/>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137" name="Freeform: Shape 136">
              <a:extLst>
                <a:ext uri="{FF2B5EF4-FFF2-40B4-BE49-F238E27FC236}">
                  <a16:creationId xmlns:a16="http://schemas.microsoft.com/office/drawing/2014/main" id="{D4D84103-9B34-CA65-0290-BB7ACE79D30C}"/>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138" name="Freeform: Shape 137">
              <a:extLst>
                <a:ext uri="{FF2B5EF4-FFF2-40B4-BE49-F238E27FC236}">
                  <a16:creationId xmlns:a16="http://schemas.microsoft.com/office/drawing/2014/main" id="{586C9602-6977-13C4-639E-AB65850FED6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9" name="Freeform: Shape 138">
              <a:extLst>
                <a:ext uri="{FF2B5EF4-FFF2-40B4-BE49-F238E27FC236}">
                  <a16:creationId xmlns:a16="http://schemas.microsoft.com/office/drawing/2014/main" id="{512FFB00-D249-4456-F741-5D48C228643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140" name="Freeform: Shape 139">
              <a:extLst>
                <a:ext uri="{FF2B5EF4-FFF2-40B4-BE49-F238E27FC236}">
                  <a16:creationId xmlns:a16="http://schemas.microsoft.com/office/drawing/2014/main" id="{AB85ED14-196B-6FB5-2FA8-F977CFB092D5}"/>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141" name="Freeform: Shape 140">
              <a:extLst>
                <a:ext uri="{FF2B5EF4-FFF2-40B4-BE49-F238E27FC236}">
                  <a16:creationId xmlns:a16="http://schemas.microsoft.com/office/drawing/2014/main" id="{B07EA918-077F-E590-B24F-146291372A3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42" name="Freeform: Shape 141">
              <a:extLst>
                <a:ext uri="{FF2B5EF4-FFF2-40B4-BE49-F238E27FC236}">
                  <a16:creationId xmlns:a16="http://schemas.microsoft.com/office/drawing/2014/main" id="{EF1C3EBB-3591-3992-20AD-BAECA5FABDE0}"/>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143" name="Freeform: Shape 142">
              <a:extLst>
                <a:ext uri="{FF2B5EF4-FFF2-40B4-BE49-F238E27FC236}">
                  <a16:creationId xmlns:a16="http://schemas.microsoft.com/office/drawing/2014/main" id="{2D489C66-EA0F-6F80-7EC9-9CC41B7F6F0E}"/>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144" name="Freeform: Shape 143">
              <a:extLst>
                <a:ext uri="{FF2B5EF4-FFF2-40B4-BE49-F238E27FC236}">
                  <a16:creationId xmlns:a16="http://schemas.microsoft.com/office/drawing/2014/main" id="{E235D21A-A346-1490-003D-278C2CBC2D4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145" name="Freeform: Shape 144">
              <a:extLst>
                <a:ext uri="{FF2B5EF4-FFF2-40B4-BE49-F238E27FC236}">
                  <a16:creationId xmlns:a16="http://schemas.microsoft.com/office/drawing/2014/main" id="{EAB1A95F-610D-0A23-4D20-99B57FEDDC6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146" name="Freeform: Shape 145">
              <a:extLst>
                <a:ext uri="{FF2B5EF4-FFF2-40B4-BE49-F238E27FC236}">
                  <a16:creationId xmlns:a16="http://schemas.microsoft.com/office/drawing/2014/main" id="{284F7901-D7A0-37D1-B28D-FEF2BBB2599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pic>
        <p:nvPicPr>
          <p:cNvPr id="2" name="Imagem 1" descr="Uma imagem contendo escova de dentes, segurando, mão, dentes&#10;&#10;Descrição gerada automaticamente">
            <a:extLst>
              <a:ext uri="{FF2B5EF4-FFF2-40B4-BE49-F238E27FC236}">
                <a16:creationId xmlns:a16="http://schemas.microsoft.com/office/drawing/2014/main" id="{687E0227-DDB0-0DE1-851D-C376CC759DAB}"/>
              </a:ext>
            </a:extLst>
          </p:cNvPr>
          <p:cNvPicPr>
            <a:picLocks noChangeAspect="1"/>
          </p:cNvPicPr>
          <p:nvPr/>
        </p:nvPicPr>
        <p:blipFill rotWithShape="1">
          <a:blip r:embed="rId5">
            <a:duotone>
              <a:schemeClr val="accent1">
                <a:shade val="45000"/>
                <a:satMod val="135000"/>
              </a:schemeClr>
              <a:prstClr val="white"/>
            </a:duotone>
            <a:alphaModFix amt="35000"/>
            <a:extLst>
              <a:ext uri="{28A0092B-C50C-407E-A947-70E740481C1C}">
                <a14:useLocalDpi xmlns:a14="http://schemas.microsoft.com/office/drawing/2010/main" val="0"/>
              </a:ext>
            </a:extLst>
          </a:blip>
          <a:srcRect l="449" r="1330" b="1"/>
          <a:stretch/>
        </p:blipFill>
        <p:spPr>
          <a:xfrm>
            <a:off x="5499653" y="1648595"/>
            <a:ext cx="6188766" cy="4267200"/>
          </a:xfrm>
          <a:prstGeom prst="rect">
            <a:avLst/>
          </a:prstGeom>
        </p:spPr>
      </p:pic>
      <p:sp>
        <p:nvSpPr>
          <p:cNvPr id="8" name="CaixaDeTexto 7">
            <a:extLst>
              <a:ext uri="{FF2B5EF4-FFF2-40B4-BE49-F238E27FC236}">
                <a16:creationId xmlns:a16="http://schemas.microsoft.com/office/drawing/2014/main" id="{EB9994F6-C6F3-C656-B068-F96958986EB5}"/>
              </a:ext>
            </a:extLst>
          </p:cNvPr>
          <p:cNvSpPr txBox="1"/>
          <p:nvPr/>
        </p:nvSpPr>
        <p:spPr>
          <a:xfrm>
            <a:off x="384954" y="1391480"/>
            <a:ext cx="5059925" cy="4524315"/>
          </a:xfrm>
          <a:prstGeom prst="rect">
            <a:avLst/>
          </a:prstGeom>
          <a:noFill/>
        </p:spPr>
        <p:txBody>
          <a:bodyPr wrap="square" rtlCol="0">
            <a:spAutoFit/>
          </a:bodyPr>
          <a:lstStyle/>
          <a:p>
            <a:r>
              <a:rPr lang="pt-BR" b="1" i="0" dirty="0">
                <a:effectLst/>
              </a:rPr>
              <a:t>FIXAÇÃO:</a:t>
            </a:r>
          </a:p>
          <a:p>
            <a:endParaRPr lang="pt-BR" b="0" i="0" dirty="0">
              <a:effectLst/>
              <a:latin typeface="Söhne"/>
            </a:endParaRPr>
          </a:p>
          <a:p>
            <a:r>
              <a:rPr lang="pt-BR" b="0" i="0" dirty="0">
                <a:effectLst/>
              </a:rPr>
              <a:t>Na prática atual, há uma variedade de métodos utilizados para fixar o tubo endotraqueal. Alguns desses métodos incluem o uso de fitas adesivas, cadarços de tecido e dispositivos comerciais específicos projetados para fixação do tubo.</a:t>
            </a:r>
          </a:p>
          <a:p>
            <a:r>
              <a:rPr lang="pt-BR" b="0" i="0" dirty="0">
                <a:effectLst/>
              </a:rPr>
              <a:t>A técnica ideal de fixação do tubo endotraqueal é aquela que proporciona uma estabilização eficaz do tubo, minimizando lesões na pele e reduzindo a necessidade de trocas frequentes de fixação e reposicionamento. Além disso, é recomendável padronizar essa técnica, garantir treinamento adequado para a equipe multiprofissional e manter uma vigilância constante para garantir a adesão às práticas corretas. </a:t>
            </a:r>
            <a:endParaRPr lang="pt-BR" dirty="0"/>
          </a:p>
        </p:txBody>
      </p:sp>
    </p:spTree>
    <p:extLst>
      <p:ext uri="{BB962C8B-B14F-4D97-AF65-F5344CB8AC3E}">
        <p14:creationId xmlns:p14="http://schemas.microsoft.com/office/powerpoint/2010/main" val="1038945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744937-31D2-B26B-0E34-B38AAEB7BD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think-cell data - do not delete" hidden="1">
                        <a:extLst>
                          <a:ext uri="{FF2B5EF4-FFF2-40B4-BE49-F238E27FC236}">
                            <a16:creationId xmlns:a16="http://schemas.microsoft.com/office/drawing/2014/main" id="{13744937-31D2-B26B-0E34-B38AAEB7BD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3" name="Group 102">
            <a:extLst>
              <a:ext uri="{FF2B5EF4-FFF2-40B4-BE49-F238E27FC236}">
                <a16:creationId xmlns:a16="http://schemas.microsoft.com/office/drawing/2014/main" id="{3D8D8288-B135-7527-016E-57E7EC8BC89A}"/>
              </a:ext>
            </a:extLst>
          </p:cNvPr>
          <p:cNvGrpSpPr/>
          <p:nvPr/>
        </p:nvGrpSpPr>
        <p:grpSpPr>
          <a:xfrm>
            <a:off x="304800" y="249455"/>
            <a:ext cx="1193800" cy="462985"/>
            <a:chOff x="5245100" y="211355"/>
            <a:chExt cx="2036664" cy="789869"/>
          </a:xfrm>
        </p:grpSpPr>
        <p:sp>
          <p:nvSpPr>
            <p:cNvPr id="104" name="Freeform: Shape 103">
              <a:extLst>
                <a:ext uri="{FF2B5EF4-FFF2-40B4-BE49-F238E27FC236}">
                  <a16:creationId xmlns:a16="http://schemas.microsoft.com/office/drawing/2014/main" id="{AA3AA9E8-64F6-4BB2-CE82-B99E050A81FA}"/>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105" name="Freeform: Shape 104">
              <a:extLst>
                <a:ext uri="{FF2B5EF4-FFF2-40B4-BE49-F238E27FC236}">
                  <a16:creationId xmlns:a16="http://schemas.microsoft.com/office/drawing/2014/main" id="{1BC95492-DDEB-B082-215B-B4CE77651A5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106" name="Freeform: Shape 105">
              <a:extLst>
                <a:ext uri="{FF2B5EF4-FFF2-40B4-BE49-F238E27FC236}">
                  <a16:creationId xmlns:a16="http://schemas.microsoft.com/office/drawing/2014/main" id="{2028C36B-DA4C-41E4-2AEA-9A8FD1A40A5B}"/>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107" name="Freeform: Shape 106">
              <a:extLst>
                <a:ext uri="{FF2B5EF4-FFF2-40B4-BE49-F238E27FC236}">
                  <a16:creationId xmlns:a16="http://schemas.microsoft.com/office/drawing/2014/main" id="{A78A8E03-277A-333B-564C-EF9FA2316AD3}"/>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108" name="Freeform: Shape 107">
              <a:extLst>
                <a:ext uri="{FF2B5EF4-FFF2-40B4-BE49-F238E27FC236}">
                  <a16:creationId xmlns:a16="http://schemas.microsoft.com/office/drawing/2014/main" id="{BE46A733-0E5F-CBC9-9AA8-4382184E7DB7}"/>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109" name="Freeform: Shape 108">
              <a:extLst>
                <a:ext uri="{FF2B5EF4-FFF2-40B4-BE49-F238E27FC236}">
                  <a16:creationId xmlns:a16="http://schemas.microsoft.com/office/drawing/2014/main" id="{CC26B1E7-7F77-1F91-71C5-DA5836D441C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110" name="Freeform: Shape 109">
              <a:extLst>
                <a:ext uri="{FF2B5EF4-FFF2-40B4-BE49-F238E27FC236}">
                  <a16:creationId xmlns:a16="http://schemas.microsoft.com/office/drawing/2014/main" id="{73AFC208-CABB-6D40-5EE8-548C9DD5683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1" name="Freeform: Shape 110">
              <a:extLst>
                <a:ext uri="{FF2B5EF4-FFF2-40B4-BE49-F238E27FC236}">
                  <a16:creationId xmlns:a16="http://schemas.microsoft.com/office/drawing/2014/main" id="{9B522916-9608-ABE7-688F-ACDEC7B89CED}"/>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112" name="Freeform: Shape 111">
              <a:extLst>
                <a:ext uri="{FF2B5EF4-FFF2-40B4-BE49-F238E27FC236}">
                  <a16:creationId xmlns:a16="http://schemas.microsoft.com/office/drawing/2014/main" id="{239A6F84-B78E-5A20-56EA-1C5C5C449C12}"/>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13" name="Freeform: Shape 112">
              <a:extLst>
                <a:ext uri="{FF2B5EF4-FFF2-40B4-BE49-F238E27FC236}">
                  <a16:creationId xmlns:a16="http://schemas.microsoft.com/office/drawing/2014/main" id="{F3FA7DD4-0180-B7D2-E233-5F2AEACF0205}"/>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4" name="Freeform: Shape 113">
              <a:extLst>
                <a:ext uri="{FF2B5EF4-FFF2-40B4-BE49-F238E27FC236}">
                  <a16:creationId xmlns:a16="http://schemas.microsoft.com/office/drawing/2014/main" id="{C56DEF46-8D32-3683-CC94-E8A52B1E9E6D}"/>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5" name="Freeform: Shape 114">
              <a:extLst>
                <a:ext uri="{FF2B5EF4-FFF2-40B4-BE49-F238E27FC236}">
                  <a16:creationId xmlns:a16="http://schemas.microsoft.com/office/drawing/2014/main" id="{8DEBC000-2297-4724-ACE5-E1ECEF8478F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116" name="Freeform: Shape 115">
              <a:extLst>
                <a:ext uri="{FF2B5EF4-FFF2-40B4-BE49-F238E27FC236}">
                  <a16:creationId xmlns:a16="http://schemas.microsoft.com/office/drawing/2014/main" id="{AEBC38CE-A480-CE85-73F9-34DC4B2821C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117" name="Freeform: Shape 116">
              <a:extLst>
                <a:ext uri="{FF2B5EF4-FFF2-40B4-BE49-F238E27FC236}">
                  <a16:creationId xmlns:a16="http://schemas.microsoft.com/office/drawing/2014/main" id="{47CA2D04-FFA8-A7C1-7540-D1341251E7BC}"/>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8" name="Freeform: Shape 117">
              <a:extLst>
                <a:ext uri="{FF2B5EF4-FFF2-40B4-BE49-F238E27FC236}">
                  <a16:creationId xmlns:a16="http://schemas.microsoft.com/office/drawing/2014/main" id="{CB6CA7D2-6645-71A9-1FA7-3229EC56C33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119" name="Freeform: Shape 118">
              <a:extLst>
                <a:ext uri="{FF2B5EF4-FFF2-40B4-BE49-F238E27FC236}">
                  <a16:creationId xmlns:a16="http://schemas.microsoft.com/office/drawing/2014/main" id="{59B1EE94-900A-B621-06A5-6FFE009770F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20" name="Freeform: Shape 119">
              <a:extLst>
                <a:ext uri="{FF2B5EF4-FFF2-40B4-BE49-F238E27FC236}">
                  <a16:creationId xmlns:a16="http://schemas.microsoft.com/office/drawing/2014/main" id="{BA177163-A2E5-EA90-21C7-2D53094537A7}"/>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21" name="Freeform: Shape 120">
              <a:extLst>
                <a:ext uri="{FF2B5EF4-FFF2-40B4-BE49-F238E27FC236}">
                  <a16:creationId xmlns:a16="http://schemas.microsoft.com/office/drawing/2014/main" id="{C4256C7B-96E8-3D15-82FA-AC3C73493414}"/>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22" name="Freeform: Shape 121">
              <a:extLst>
                <a:ext uri="{FF2B5EF4-FFF2-40B4-BE49-F238E27FC236}">
                  <a16:creationId xmlns:a16="http://schemas.microsoft.com/office/drawing/2014/main" id="{06D565A1-76C4-6983-2A0E-E3CF482AF0D7}"/>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3" name="Freeform: Shape 122">
              <a:extLst>
                <a:ext uri="{FF2B5EF4-FFF2-40B4-BE49-F238E27FC236}">
                  <a16:creationId xmlns:a16="http://schemas.microsoft.com/office/drawing/2014/main" id="{DDA7AC4B-CA14-1526-4681-445581EBE31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124" name="Freeform: Shape 123">
              <a:extLst>
                <a:ext uri="{FF2B5EF4-FFF2-40B4-BE49-F238E27FC236}">
                  <a16:creationId xmlns:a16="http://schemas.microsoft.com/office/drawing/2014/main" id="{3B30BA7C-7770-C8FB-54F4-04FB7F152086}"/>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5" name="Freeform: Shape 124">
              <a:extLst>
                <a:ext uri="{FF2B5EF4-FFF2-40B4-BE49-F238E27FC236}">
                  <a16:creationId xmlns:a16="http://schemas.microsoft.com/office/drawing/2014/main" id="{87741651-C391-DB54-8A1D-EB76C223819D}"/>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126" name="Freeform: Shape 125">
              <a:extLst>
                <a:ext uri="{FF2B5EF4-FFF2-40B4-BE49-F238E27FC236}">
                  <a16:creationId xmlns:a16="http://schemas.microsoft.com/office/drawing/2014/main" id="{9A778CD6-E22C-1B3D-9618-165D81BAF3D4}"/>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127" name="Freeform: Shape 126">
              <a:extLst>
                <a:ext uri="{FF2B5EF4-FFF2-40B4-BE49-F238E27FC236}">
                  <a16:creationId xmlns:a16="http://schemas.microsoft.com/office/drawing/2014/main" id="{BF917BB7-0F5B-F235-61ED-0C4E4F7075A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128" name="Freeform: Shape 127">
              <a:extLst>
                <a:ext uri="{FF2B5EF4-FFF2-40B4-BE49-F238E27FC236}">
                  <a16:creationId xmlns:a16="http://schemas.microsoft.com/office/drawing/2014/main" id="{9AB02B29-9ABB-7C99-887D-9C2FC4BEF3F5}"/>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129" name="Freeform: Shape 128">
              <a:extLst>
                <a:ext uri="{FF2B5EF4-FFF2-40B4-BE49-F238E27FC236}">
                  <a16:creationId xmlns:a16="http://schemas.microsoft.com/office/drawing/2014/main" id="{311E31BE-8FE7-D07B-63DA-20BEE1202AA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130" name="Freeform: Shape 129">
              <a:extLst>
                <a:ext uri="{FF2B5EF4-FFF2-40B4-BE49-F238E27FC236}">
                  <a16:creationId xmlns:a16="http://schemas.microsoft.com/office/drawing/2014/main" id="{2B1B7368-55F8-5397-2132-D63FFAF86B5C}"/>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131" name="Freeform: Shape 130">
              <a:extLst>
                <a:ext uri="{FF2B5EF4-FFF2-40B4-BE49-F238E27FC236}">
                  <a16:creationId xmlns:a16="http://schemas.microsoft.com/office/drawing/2014/main" id="{526EC8B8-B4D1-994C-23A6-807718FEB559}"/>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132" name="Freeform: Shape 131">
              <a:extLst>
                <a:ext uri="{FF2B5EF4-FFF2-40B4-BE49-F238E27FC236}">
                  <a16:creationId xmlns:a16="http://schemas.microsoft.com/office/drawing/2014/main" id="{3EA49ECB-C752-706D-2003-7AF21752F2BC}"/>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133" name="Freeform: Shape 132">
              <a:extLst>
                <a:ext uri="{FF2B5EF4-FFF2-40B4-BE49-F238E27FC236}">
                  <a16:creationId xmlns:a16="http://schemas.microsoft.com/office/drawing/2014/main" id="{7D5F09CB-3660-2B23-5816-CEB013AC1CD3}"/>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34" name="Freeform: Shape 133">
              <a:extLst>
                <a:ext uri="{FF2B5EF4-FFF2-40B4-BE49-F238E27FC236}">
                  <a16:creationId xmlns:a16="http://schemas.microsoft.com/office/drawing/2014/main" id="{C7152738-B4E1-B250-E663-19D3904A4C5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135" name="Freeform: Shape 134">
              <a:extLst>
                <a:ext uri="{FF2B5EF4-FFF2-40B4-BE49-F238E27FC236}">
                  <a16:creationId xmlns:a16="http://schemas.microsoft.com/office/drawing/2014/main" id="{49B93D92-6357-2BDE-D942-5564AB3652D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6" name="Freeform: Shape 135">
              <a:extLst>
                <a:ext uri="{FF2B5EF4-FFF2-40B4-BE49-F238E27FC236}">
                  <a16:creationId xmlns:a16="http://schemas.microsoft.com/office/drawing/2014/main" id="{81F636BF-8910-F683-29EB-69B836D2B9B2}"/>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137" name="Freeform: Shape 136">
              <a:extLst>
                <a:ext uri="{FF2B5EF4-FFF2-40B4-BE49-F238E27FC236}">
                  <a16:creationId xmlns:a16="http://schemas.microsoft.com/office/drawing/2014/main" id="{D4D84103-9B34-CA65-0290-BB7ACE79D30C}"/>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138" name="Freeform: Shape 137">
              <a:extLst>
                <a:ext uri="{FF2B5EF4-FFF2-40B4-BE49-F238E27FC236}">
                  <a16:creationId xmlns:a16="http://schemas.microsoft.com/office/drawing/2014/main" id="{586C9602-6977-13C4-639E-AB65850FED6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9" name="Freeform: Shape 138">
              <a:extLst>
                <a:ext uri="{FF2B5EF4-FFF2-40B4-BE49-F238E27FC236}">
                  <a16:creationId xmlns:a16="http://schemas.microsoft.com/office/drawing/2014/main" id="{512FFB00-D249-4456-F741-5D48C228643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140" name="Freeform: Shape 139">
              <a:extLst>
                <a:ext uri="{FF2B5EF4-FFF2-40B4-BE49-F238E27FC236}">
                  <a16:creationId xmlns:a16="http://schemas.microsoft.com/office/drawing/2014/main" id="{AB85ED14-196B-6FB5-2FA8-F977CFB092D5}"/>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141" name="Freeform: Shape 140">
              <a:extLst>
                <a:ext uri="{FF2B5EF4-FFF2-40B4-BE49-F238E27FC236}">
                  <a16:creationId xmlns:a16="http://schemas.microsoft.com/office/drawing/2014/main" id="{B07EA918-077F-E590-B24F-146291372A3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42" name="Freeform: Shape 141">
              <a:extLst>
                <a:ext uri="{FF2B5EF4-FFF2-40B4-BE49-F238E27FC236}">
                  <a16:creationId xmlns:a16="http://schemas.microsoft.com/office/drawing/2014/main" id="{EF1C3EBB-3591-3992-20AD-BAECA5FABDE0}"/>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143" name="Freeform: Shape 142">
              <a:extLst>
                <a:ext uri="{FF2B5EF4-FFF2-40B4-BE49-F238E27FC236}">
                  <a16:creationId xmlns:a16="http://schemas.microsoft.com/office/drawing/2014/main" id="{2D489C66-EA0F-6F80-7EC9-9CC41B7F6F0E}"/>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144" name="Freeform: Shape 143">
              <a:extLst>
                <a:ext uri="{FF2B5EF4-FFF2-40B4-BE49-F238E27FC236}">
                  <a16:creationId xmlns:a16="http://schemas.microsoft.com/office/drawing/2014/main" id="{E235D21A-A346-1490-003D-278C2CBC2D4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145" name="Freeform: Shape 144">
              <a:extLst>
                <a:ext uri="{FF2B5EF4-FFF2-40B4-BE49-F238E27FC236}">
                  <a16:creationId xmlns:a16="http://schemas.microsoft.com/office/drawing/2014/main" id="{EAB1A95F-610D-0A23-4D20-99B57FEDDC6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146" name="Freeform: Shape 145">
              <a:extLst>
                <a:ext uri="{FF2B5EF4-FFF2-40B4-BE49-F238E27FC236}">
                  <a16:creationId xmlns:a16="http://schemas.microsoft.com/office/drawing/2014/main" id="{284F7901-D7A0-37D1-B28D-FEF2BBB2599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pic>
        <p:nvPicPr>
          <p:cNvPr id="2" name="Imagem 1" descr="Uma imagem contendo escova de dentes, segurando, mão, dentes&#10;&#10;Descrição gerada automaticamente">
            <a:extLst>
              <a:ext uri="{FF2B5EF4-FFF2-40B4-BE49-F238E27FC236}">
                <a16:creationId xmlns:a16="http://schemas.microsoft.com/office/drawing/2014/main" id="{687E0227-DDB0-0DE1-851D-C376CC759DAB}"/>
              </a:ext>
            </a:extLst>
          </p:cNvPr>
          <p:cNvPicPr>
            <a:picLocks noChangeAspect="1"/>
          </p:cNvPicPr>
          <p:nvPr/>
        </p:nvPicPr>
        <p:blipFill rotWithShape="1">
          <a:blip r:embed="rId5">
            <a:duotone>
              <a:schemeClr val="accent1">
                <a:shade val="45000"/>
                <a:satMod val="135000"/>
              </a:schemeClr>
              <a:prstClr val="white"/>
            </a:duotone>
            <a:alphaModFix amt="35000"/>
            <a:extLst>
              <a:ext uri="{28A0092B-C50C-407E-A947-70E740481C1C}">
                <a14:useLocalDpi xmlns:a14="http://schemas.microsoft.com/office/drawing/2010/main" val="0"/>
              </a:ext>
            </a:extLst>
          </a:blip>
          <a:srcRect l="449" r="1330" b="1"/>
          <a:stretch/>
        </p:blipFill>
        <p:spPr>
          <a:xfrm>
            <a:off x="5428079" y="1502821"/>
            <a:ext cx="6188766" cy="4267200"/>
          </a:xfrm>
          <a:prstGeom prst="rect">
            <a:avLst/>
          </a:prstGeom>
        </p:spPr>
      </p:pic>
      <p:sp>
        <p:nvSpPr>
          <p:cNvPr id="3" name="CaixaDeTexto 2">
            <a:extLst>
              <a:ext uri="{FF2B5EF4-FFF2-40B4-BE49-F238E27FC236}">
                <a16:creationId xmlns:a16="http://schemas.microsoft.com/office/drawing/2014/main" id="{18B4C65C-53F5-9B63-A802-20949353223B}"/>
              </a:ext>
            </a:extLst>
          </p:cNvPr>
          <p:cNvSpPr txBox="1"/>
          <p:nvPr/>
        </p:nvSpPr>
        <p:spPr>
          <a:xfrm>
            <a:off x="542931" y="1761960"/>
            <a:ext cx="4620915" cy="3139321"/>
          </a:xfrm>
          <a:prstGeom prst="rect">
            <a:avLst/>
          </a:prstGeom>
          <a:noFill/>
        </p:spPr>
        <p:txBody>
          <a:bodyPr wrap="square" lIns="91440" tIns="45720" rIns="91440" bIns="45720" rtlCol="0" anchor="t">
            <a:spAutoFit/>
          </a:bodyPr>
          <a:lstStyle/>
          <a:p>
            <a:endParaRPr lang="pt-BR" sz="1800" dirty="0"/>
          </a:p>
          <a:p>
            <a:r>
              <a:rPr lang="pt-BR" b="1" dirty="0"/>
              <a:t>SUGESTÕES DE PRÁTICA PARA MANTER UMA FIXAÇÃO DO TUBO MAIS SEGURO:</a:t>
            </a:r>
          </a:p>
          <a:p>
            <a:pPr marL="285750" indent="-285750">
              <a:buFont typeface="Arial" panose="020B0604020202020204" pitchFamily="34" charset="0"/>
              <a:buChar char="•"/>
            </a:pPr>
            <a:r>
              <a:rPr lang="pt-BR" sz="1800" dirty="0"/>
              <a:t>Registro da rima labial em prontuário;</a:t>
            </a:r>
          </a:p>
          <a:p>
            <a:pPr marL="285750" indent="-285750">
              <a:buFont typeface="Arial" panose="020B0604020202020204" pitchFamily="34" charset="0"/>
              <a:buChar char="•"/>
            </a:pPr>
            <a:r>
              <a:rPr lang="pt-BR" sz="1800" dirty="0"/>
              <a:t>Fixar em instrumento de visita multidisciplinar a rima labial do paciente que estiver em ventilação mecânica;</a:t>
            </a:r>
          </a:p>
          <a:p>
            <a:pPr marL="285750" indent="-285750">
              <a:buFont typeface="Arial" panose="020B0604020202020204" pitchFamily="34" charset="0"/>
              <a:buChar char="•"/>
            </a:pPr>
            <a:r>
              <a:rPr lang="pt-BR" sz="1800" dirty="0"/>
              <a:t>Deixar visível o número da rima labial</a:t>
            </a:r>
            <a:r>
              <a:rPr lang="pt-BR" dirty="0"/>
              <a:t> </a:t>
            </a:r>
            <a:endParaRPr lang="pt-BR" sz="1800" dirty="0"/>
          </a:p>
          <a:p>
            <a:pPr marL="285750" indent="-285750">
              <a:buFont typeface="Arial" panose="020B0604020202020204" pitchFamily="34" charset="0"/>
              <a:buChar char="•"/>
            </a:pPr>
            <a:r>
              <a:rPr lang="pt-BR" sz="1800" dirty="0"/>
              <a:t>Ex.( Anotado em caneta na própria fixação; deixar em um quadro anotado próximo ao paciente).</a:t>
            </a:r>
            <a:endParaRPr lang="pt-BR" dirty="0"/>
          </a:p>
        </p:txBody>
      </p:sp>
    </p:spTree>
    <p:extLst>
      <p:ext uri="{BB962C8B-B14F-4D97-AF65-F5344CB8AC3E}">
        <p14:creationId xmlns:p14="http://schemas.microsoft.com/office/powerpoint/2010/main" val="12417061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744937-31D2-B26B-0E34-B38AAEB7BD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think-cell data - do not delete" hidden="1">
                        <a:extLst>
                          <a:ext uri="{FF2B5EF4-FFF2-40B4-BE49-F238E27FC236}">
                            <a16:creationId xmlns:a16="http://schemas.microsoft.com/office/drawing/2014/main" id="{13744937-31D2-B26B-0E34-B38AAEB7BD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3" name="Group 102">
            <a:extLst>
              <a:ext uri="{FF2B5EF4-FFF2-40B4-BE49-F238E27FC236}">
                <a16:creationId xmlns:a16="http://schemas.microsoft.com/office/drawing/2014/main" id="{3D8D8288-B135-7527-016E-57E7EC8BC89A}"/>
              </a:ext>
            </a:extLst>
          </p:cNvPr>
          <p:cNvGrpSpPr/>
          <p:nvPr/>
        </p:nvGrpSpPr>
        <p:grpSpPr>
          <a:xfrm>
            <a:off x="304800" y="249455"/>
            <a:ext cx="1193800" cy="462985"/>
            <a:chOff x="5245100" y="211355"/>
            <a:chExt cx="2036664" cy="789869"/>
          </a:xfrm>
        </p:grpSpPr>
        <p:sp>
          <p:nvSpPr>
            <p:cNvPr id="104" name="Freeform: Shape 103">
              <a:extLst>
                <a:ext uri="{FF2B5EF4-FFF2-40B4-BE49-F238E27FC236}">
                  <a16:creationId xmlns:a16="http://schemas.microsoft.com/office/drawing/2014/main" id="{AA3AA9E8-64F6-4BB2-CE82-B99E050A81FA}"/>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105" name="Freeform: Shape 104">
              <a:extLst>
                <a:ext uri="{FF2B5EF4-FFF2-40B4-BE49-F238E27FC236}">
                  <a16:creationId xmlns:a16="http://schemas.microsoft.com/office/drawing/2014/main" id="{1BC95492-DDEB-B082-215B-B4CE77651A5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106" name="Freeform: Shape 105">
              <a:extLst>
                <a:ext uri="{FF2B5EF4-FFF2-40B4-BE49-F238E27FC236}">
                  <a16:creationId xmlns:a16="http://schemas.microsoft.com/office/drawing/2014/main" id="{2028C36B-DA4C-41E4-2AEA-9A8FD1A40A5B}"/>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107" name="Freeform: Shape 106">
              <a:extLst>
                <a:ext uri="{FF2B5EF4-FFF2-40B4-BE49-F238E27FC236}">
                  <a16:creationId xmlns:a16="http://schemas.microsoft.com/office/drawing/2014/main" id="{A78A8E03-277A-333B-564C-EF9FA2316AD3}"/>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108" name="Freeform: Shape 107">
              <a:extLst>
                <a:ext uri="{FF2B5EF4-FFF2-40B4-BE49-F238E27FC236}">
                  <a16:creationId xmlns:a16="http://schemas.microsoft.com/office/drawing/2014/main" id="{BE46A733-0E5F-CBC9-9AA8-4382184E7DB7}"/>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109" name="Freeform: Shape 108">
              <a:extLst>
                <a:ext uri="{FF2B5EF4-FFF2-40B4-BE49-F238E27FC236}">
                  <a16:creationId xmlns:a16="http://schemas.microsoft.com/office/drawing/2014/main" id="{CC26B1E7-7F77-1F91-71C5-DA5836D441C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110" name="Freeform: Shape 109">
              <a:extLst>
                <a:ext uri="{FF2B5EF4-FFF2-40B4-BE49-F238E27FC236}">
                  <a16:creationId xmlns:a16="http://schemas.microsoft.com/office/drawing/2014/main" id="{73AFC208-CABB-6D40-5EE8-548C9DD5683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1" name="Freeform: Shape 110">
              <a:extLst>
                <a:ext uri="{FF2B5EF4-FFF2-40B4-BE49-F238E27FC236}">
                  <a16:creationId xmlns:a16="http://schemas.microsoft.com/office/drawing/2014/main" id="{9B522916-9608-ABE7-688F-ACDEC7B89CED}"/>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112" name="Freeform: Shape 111">
              <a:extLst>
                <a:ext uri="{FF2B5EF4-FFF2-40B4-BE49-F238E27FC236}">
                  <a16:creationId xmlns:a16="http://schemas.microsoft.com/office/drawing/2014/main" id="{239A6F84-B78E-5A20-56EA-1C5C5C449C12}"/>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13" name="Freeform: Shape 112">
              <a:extLst>
                <a:ext uri="{FF2B5EF4-FFF2-40B4-BE49-F238E27FC236}">
                  <a16:creationId xmlns:a16="http://schemas.microsoft.com/office/drawing/2014/main" id="{F3FA7DD4-0180-B7D2-E233-5F2AEACF0205}"/>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4" name="Freeform: Shape 113">
              <a:extLst>
                <a:ext uri="{FF2B5EF4-FFF2-40B4-BE49-F238E27FC236}">
                  <a16:creationId xmlns:a16="http://schemas.microsoft.com/office/drawing/2014/main" id="{C56DEF46-8D32-3683-CC94-E8A52B1E9E6D}"/>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5" name="Freeform: Shape 114">
              <a:extLst>
                <a:ext uri="{FF2B5EF4-FFF2-40B4-BE49-F238E27FC236}">
                  <a16:creationId xmlns:a16="http://schemas.microsoft.com/office/drawing/2014/main" id="{8DEBC000-2297-4724-ACE5-E1ECEF8478F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116" name="Freeform: Shape 115">
              <a:extLst>
                <a:ext uri="{FF2B5EF4-FFF2-40B4-BE49-F238E27FC236}">
                  <a16:creationId xmlns:a16="http://schemas.microsoft.com/office/drawing/2014/main" id="{AEBC38CE-A480-CE85-73F9-34DC4B2821C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117" name="Freeform: Shape 116">
              <a:extLst>
                <a:ext uri="{FF2B5EF4-FFF2-40B4-BE49-F238E27FC236}">
                  <a16:creationId xmlns:a16="http://schemas.microsoft.com/office/drawing/2014/main" id="{47CA2D04-FFA8-A7C1-7540-D1341251E7BC}"/>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8" name="Freeform: Shape 117">
              <a:extLst>
                <a:ext uri="{FF2B5EF4-FFF2-40B4-BE49-F238E27FC236}">
                  <a16:creationId xmlns:a16="http://schemas.microsoft.com/office/drawing/2014/main" id="{CB6CA7D2-6645-71A9-1FA7-3229EC56C33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119" name="Freeform: Shape 118">
              <a:extLst>
                <a:ext uri="{FF2B5EF4-FFF2-40B4-BE49-F238E27FC236}">
                  <a16:creationId xmlns:a16="http://schemas.microsoft.com/office/drawing/2014/main" id="{59B1EE94-900A-B621-06A5-6FFE009770F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20" name="Freeform: Shape 119">
              <a:extLst>
                <a:ext uri="{FF2B5EF4-FFF2-40B4-BE49-F238E27FC236}">
                  <a16:creationId xmlns:a16="http://schemas.microsoft.com/office/drawing/2014/main" id="{BA177163-A2E5-EA90-21C7-2D53094537A7}"/>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21" name="Freeform: Shape 120">
              <a:extLst>
                <a:ext uri="{FF2B5EF4-FFF2-40B4-BE49-F238E27FC236}">
                  <a16:creationId xmlns:a16="http://schemas.microsoft.com/office/drawing/2014/main" id="{C4256C7B-96E8-3D15-82FA-AC3C73493414}"/>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22" name="Freeform: Shape 121">
              <a:extLst>
                <a:ext uri="{FF2B5EF4-FFF2-40B4-BE49-F238E27FC236}">
                  <a16:creationId xmlns:a16="http://schemas.microsoft.com/office/drawing/2014/main" id="{06D565A1-76C4-6983-2A0E-E3CF482AF0D7}"/>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3" name="Freeform: Shape 122">
              <a:extLst>
                <a:ext uri="{FF2B5EF4-FFF2-40B4-BE49-F238E27FC236}">
                  <a16:creationId xmlns:a16="http://schemas.microsoft.com/office/drawing/2014/main" id="{DDA7AC4B-CA14-1526-4681-445581EBE31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124" name="Freeform: Shape 123">
              <a:extLst>
                <a:ext uri="{FF2B5EF4-FFF2-40B4-BE49-F238E27FC236}">
                  <a16:creationId xmlns:a16="http://schemas.microsoft.com/office/drawing/2014/main" id="{3B30BA7C-7770-C8FB-54F4-04FB7F152086}"/>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5" name="Freeform: Shape 124">
              <a:extLst>
                <a:ext uri="{FF2B5EF4-FFF2-40B4-BE49-F238E27FC236}">
                  <a16:creationId xmlns:a16="http://schemas.microsoft.com/office/drawing/2014/main" id="{87741651-C391-DB54-8A1D-EB76C223819D}"/>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126" name="Freeform: Shape 125">
              <a:extLst>
                <a:ext uri="{FF2B5EF4-FFF2-40B4-BE49-F238E27FC236}">
                  <a16:creationId xmlns:a16="http://schemas.microsoft.com/office/drawing/2014/main" id="{9A778CD6-E22C-1B3D-9618-165D81BAF3D4}"/>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127" name="Freeform: Shape 126">
              <a:extLst>
                <a:ext uri="{FF2B5EF4-FFF2-40B4-BE49-F238E27FC236}">
                  <a16:creationId xmlns:a16="http://schemas.microsoft.com/office/drawing/2014/main" id="{BF917BB7-0F5B-F235-61ED-0C4E4F7075A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128" name="Freeform: Shape 127">
              <a:extLst>
                <a:ext uri="{FF2B5EF4-FFF2-40B4-BE49-F238E27FC236}">
                  <a16:creationId xmlns:a16="http://schemas.microsoft.com/office/drawing/2014/main" id="{9AB02B29-9ABB-7C99-887D-9C2FC4BEF3F5}"/>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129" name="Freeform: Shape 128">
              <a:extLst>
                <a:ext uri="{FF2B5EF4-FFF2-40B4-BE49-F238E27FC236}">
                  <a16:creationId xmlns:a16="http://schemas.microsoft.com/office/drawing/2014/main" id="{311E31BE-8FE7-D07B-63DA-20BEE1202AA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130" name="Freeform: Shape 129">
              <a:extLst>
                <a:ext uri="{FF2B5EF4-FFF2-40B4-BE49-F238E27FC236}">
                  <a16:creationId xmlns:a16="http://schemas.microsoft.com/office/drawing/2014/main" id="{2B1B7368-55F8-5397-2132-D63FFAF86B5C}"/>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131" name="Freeform: Shape 130">
              <a:extLst>
                <a:ext uri="{FF2B5EF4-FFF2-40B4-BE49-F238E27FC236}">
                  <a16:creationId xmlns:a16="http://schemas.microsoft.com/office/drawing/2014/main" id="{526EC8B8-B4D1-994C-23A6-807718FEB559}"/>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132" name="Freeform: Shape 131">
              <a:extLst>
                <a:ext uri="{FF2B5EF4-FFF2-40B4-BE49-F238E27FC236}">
                  <a16:creationId xmlns:a16="http://schemas.microsoft.com/office/drawing/2014/main" id="{3EA49ECB-C752-706D-2003-7AF21752F2BC}"/>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133" name="Freeform: Shape 132">
              <a:extLst>
                <a:ext uri="{FF2B5EF4-FFF2-40B4-BE49-F238E27FC236}">
                  <a16:creationId xmlns:a16="http://schemas.microsoft.com/office/drawing/2014/main" id="{7D5F09CB-3660-2B23-5816-CEB013AC1CD3}"/>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34" name="Freeform: Shape 133">
              <a:extLst>
                <a:ext uri="{FF2B5EF4-FFF2-40B4-BE49-F238E27FC236}">
                  <a16:creationId xmlns:a16="http://schemas.microsoft.com/office/drawing/2014/main" id="{C7152738-B4E1-B250-E663-19D3904A4C5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135" name="Freeform: Shape 134">
              <a:extLst>
                <a:ext uri="{FF2B5EF4-FFF2-40B4-BE49-F238E27FC236}">
                  <a16:creationId xmlns:a16="http://schemas.microsoft.com/office/drawing/2014/main" id="{49B93D92-6357-2BDE-D942-5564AB3652D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6" name="Freeform: Shape 135">
              <a:extLst>
                <a:ext uri="{FF2B5EF4-FFF2-40B4-BE49-F238E27FC236}">
                  <a16:creationId xmlns:a16="http://schemas.microsoft.com/office/drawing/2014/main" id="{81F636BF-8910-F683-29EB-69B836D2B9B2}"/>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137" name="Freeform: Shape 136">
              <a:extLst>
                <a:ext uri="{FF2B5EF4-FFF2-40B4-BE49-F238E27FC236}">
                  <a16:creationId xmlns:a16="http://schemas.microsoft.com/office/drawing/2014/main" id="{D4D84103-9B34-CA65-0290-BB7ACE79D30C}"/>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138" name="Freeform: Shape 137">
              <a:extLst>
                <a:ext uri="{FF2B5EF4-FFF2-40B4-BE49-F238E27FC236}">
                  <a16:creationId xmlns:a16="http://schemas.microsoft.com/office/drawing/2014/main" id="{586C9602-6977-13C4-639E-AB65850FED6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9" name="Freeform: Shape 138">
              <a:extLst>
                <a:ext uri="{FF2B5EF4-FFF2-40B4-BE49-F238E27FC236}">
                  <a16:creationId xmlns:a16="http://schemas.microsoft.com/office/drawing/2014/main" id="{512FFB00-D249-4456-F741-5D48C228643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140" name="Freeform: Shape 139">
              <a:extLst>
                <a:ext uri="{FF2B5EF4-FFF2-40B4-BE49-F238E27FC236}">
                  <a16:creationId xmlns:a16="http://schemas.microsoft.com/office/drawing/2014/main" id="{AB85ED14-196B-6FB5-2FA8-F977CFB092D5}"/>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141" name="Freeform: Shape 140">
              <a:extLst>
                <a:ext uri="{FF2B5EF4-FFF2-40B4-BE49-F238E27FC236}">
                  <a16:creationId xmlns:a16="http://schemas.microsoft.com/office/drawing/2014/main" id="{B07EA918-077F-E590-B24F-146291372A3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42" name="Freeform: Shape 141">
              <a:extLst>
                <a:ext uri="{FF2B5EF4-FFF2-40B4-BE49-F238E27FC236}">
                  <a16:creationId xmlns:a16="http://schemas.microsoft.com/office/drawing/2014/main" id="{EF1C3EBB-3591-3992-20AD-BAECA5FABDE0}"/>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143" name="Freeform: Shape 142">
              <a:extLst>
                <a:ext uri="{FF2B5EF4-FFF2-40B4-BE49-F238E27FC236}">
                  <a16:creationId xmlns:a16="http://schemas.microsoft.com/office/drawing/2014/main" id="{2D489C66-EA0F-6F80-7EC9-9CC41B7F6F0E}"/>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144" name="Freeform: Shape 143">
              <a:extLst>
                <a:ext uri="{FF2B5EF4-FFF2-40B4-BE49-F238E27FC236}">
                  <a16:creationId xmlns:a16="http://schemas.microsoft.com/office/drawing/2014/main" id="{E235D21A-A346-1490-003D-278C2CBC2D4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145" name="Freeform: Shape 144">
              <a:extLst>
                <a:ext uri="{FF2B5EF4-FFF2-40B4-BE49-F238E27FC236}">
                  <a16:creationId xmlns:a16="http://schemas.microsoft.com/office/drawing/2014/main" id="{EAB1A95F-610D-0A23-4D20-99B57FEDDC6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146" name="Freeform: Shape 145">
              <a:extLst>
                <a:ext uri="{FF2B5EF4-FFF2-40B4-BE49-F238E27FC236}">
                  <a16:creationId xmlns:a16="http://schemas.microsoft.com/office/drawing/2014/main" id="{284F7901-D7A0-37D1-B28D-FEF2BBB2599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pic>
        <p:nvPicPr>
          <p:cNvPr id="2" name="Imagem 1" descr="Tabela&#10;&#10;Descrição gerada automaticamente">
            <a:extLst>
              <a:ext uri="{FF2B5EF4-FFF2-40B4-BE49-F238E27FC236}">
                <a16:creationId xmlns:a16="http://schemas.microsoft.com/office/drawing/2014/main" id="{10ED5AC1-3D26-5A7A-CC0B-6AE3A1FEB4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88910" y="2117043"/>
            <a:ext cx="6324484" cy="3489665"/>
          </a:xfrm>
          <a:prstGeom prst="rect">
            <a:avLst/>
          </a:prstGeom>
        </p:spPr>
      </p:pic>
      <p:sp>
        <p:nvSpPr>
          <p:cNvPr id="7" name="CaixaDeTexto 6">
            <a:extLst>
              <a:ext uri="{FF2B5EF4-FFF2-40B4-BE49-F238E27FC236}">
                <a16:creationId xmlns:a16="http://schemas.microsoft.com/office/drawing/2014/main" id="{67FDE050-414D-353E-F6F0-A0B309DC6E46}"/>
              </a:ext>
            </a:extLst>
          </p:cNvPr>
          <p:cNvSpPr txBox="1"/>
          <p:nvPr/>
        </p:nvSpPr>
        <p:spPr>
          <a:xfrm>
            <a:off x="384954" y="2117043"/>
            <a:ext cx="4862907" cy="3693319"/>
          </a:xfrm>
          <a:prstGeom prst="rect">
            <a:avLst/>
          </a:prstGeom>
          <a:noFill/>
        </p:spPr>
        <p:txBody>
          <a:bodyPr wrap="square" rtlCol="0">
            <a:spAutoFit/>
          </a:bodyPr>
          <a:lstStyle/>
          <a:p>
            <a:pPr algn="just"/>
            <a:r>
              <a:rPr lang="pt-BR" sz="1800" b="0" i="0" dirty="0">
                <a:effectLst/>
              </a:rPr>
              <a:t>As lesões da fixação do tubo orotraqueal são complicações que podem surgir devido a problemas com a maneira como o tubo é mantido no lugar. </a:t>
            </a:r>
          </a:p>
          <a:p>
            <a:pPr algn="just"/>
            <a:r>
              <a:rPr lang="pt-BR" sz="1800" b="1" i="0" dirty="0">
                <a:effectLst/>
              </a:rPr>
              <a:t>Lesões na pele</a:t>
            </a:r>
            <a:r>
              <a:rPr lang="pt-BR" sz="1800" b="0" i="0" dirty="0">
                <a:effectLst/>
              </a:rPr>
              <a:t>: A fixação inadequada do tubo pode resultar em atrito excessivo entre o tubo e a pele ao redor do rosto ou pescoço, causando irritação, abrasões ou até </a:t>
            </a:r>
            <a:r>
              <a:rPr lang="pt-BR" sz="1800" dirty="0"/>
              <a:t>lesão por</a:t>
            </a:r>
            <a:r>
              <a:rPr lang="pt-BR" sz="1800" b="0" i="0" dirty="0">
                <a:effectLst/>
              </a:rPr>
              <a:t> pressão.</a:t>
            </a:r>
          </a:p>
          <a:p>
            <a:pPr algn="just"/>
            <a:r>
              <a:rPr lang="pt-BR" sz="1800" b="1" i="0" dirty="0">
                <a:effectLst/>
              </a:rPr>
              <a:t>Lesões nas vias aéreas superiores</a:t>
            </a:r>
            <a:r>
              <a:rPr lang="pt-BR" sz="1800" b="0" i="0" dirty="0">
                <a:effectLst/>
              </a:rPr>
              <a:t>: Um tubo mal fixado pode pressionar excessivamente as estruturas anatômicas nas vias aéreas superiores, como as narinas, o lábio superior, o septo nasal ou a língua, causando danos locais.</a:t>
            </a:r>
          </a:p>
        </p:txBody>
      </p:sp>
    </p:spTree>
    <p:extLst>
      <p:ext uri="{BB962C8B-B14F-4D97-AF65-F5344CB8AC3E}">
        <p14:creationId xmlns:p14="http://schemas.microsoft.com/office/powerpoint/2010/main" val="3162715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744937-31D2-B26B-0E34-B38AAEB7BD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think-cell data - do not delete" hidden="1">
                        <a:extLst>
                          <a:ext uri="{FF2B5EF4-FFF2-40B4-BE49-F238E27FC236}">
                            <a16:creationId xmlns:a16="http://schemas.microsoft.com/office/drawing/2014/main" id="{13744937-31D2-B26B-0E34-B38AAEB7BD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3" name="Group 102">
            <a:extLst>
              <a:ext uri="{FF2B5EF4-FFF2-40B4-BE49-F238E27FC236}">
                <a16:creationId xmlns:a16="http://schemas.microsoft.com/office/drawing/2014/main" id="{3D8D8288-B135-7527-016E-57E7EC8BC89A}"/>
              </a:ext>
            </a:extLst>
          </p:cNvPr>
          <p:cNvGrpSpPr/>
          <p:nvPr/>
        </p:nvGrpSpPr>
        <p:grpSpPr>
          <a:xfrm>
            <a:off x="304800" y="249455"/>
            <a:ext cx="1193800" cy="462985"/>
            <a:chOff x="5245100" y="211355"/>
            <a:chExt cx="2036664" cy="789869"/>
          </a:xfrm>
        </p:grpSpPr>
        <p:sp>
          <p:nvSpPr>
            <p:cNvPr id="104" name="Freeform: Shape 103">
              <a:extLst>
                <a:ext uri="{FF2B5EF4-FFF2-40B4-BE49-F238E27FC236}">
                  <a16:creationId xmlns:a16="http://schemas.microsoft.com/office/drawing/2014/main" id="{AA3AA9E8-64F6-4BB2-CE82-B99E050A81FA}"/>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105" name="Freeform: Shape 104">
              <a:extLst>
                <a:ext uri="{FF2B5EF4-FFF2-40B4-BE49-F238E27FC236}">
                  <a16:creationId xmlns:a16="http://schemas.microsoft.com/office/drawing/2014/main" id="{1BC95492-DDEB-B082-215B-B4CE77651A5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106" name="Freeform: Shape 105">
              <a:extLst>
                <a:ext uri="{FF2B5EF4-FFF2-40B4-BE49-F238E27FC236}">
                  <a16:creationId xmlns:a16="http://schemas.microsoft.com/office/drawing/2014/main" id="{2028C36B-DA4C-41E4-2AEA-9A8FD1A40A5B}"/>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107" name="Freeform: Shape 106">
              <a:extLst>
                <a:ext uri="{FF2B5EF4-FFF2-40B4-BE49-F238E27FC236}">
                  <a16:creationId xmlns:a16="http://schemas.microsoft.com/office/drawing/2014/main" id="{A78A8E03-277A-333B-564C-EF9FA2316AD3}"/>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108" name="Freeform: Shape 107">
              <a:extLst>
                <a:ext uri="{FF2B5EF4-FFF2-40B4-BE49-F238E27FC236}">
                  <a16:creationId xmlns:a16="http://schemas.microsoft.com/office/drawing/2014/main" id="{BE46A733-0E5F-CBC9-9AA8-4382184E7DB7}"/>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109" name="Freeform: Shape 108">
              <a:extLst>
                <a:ext uri="{FF2B5EF4-FFF2-40B4-BE49-F238E27FC236}">
                  <a16:creationId xmlns:a16="http://schemas.microsoft.com/office/drawing/2014/main" id="{CC26B1E7-7F77-1F91-71C5-DA5836D441C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110" name="Freeform: Shape 109">
              <a:extLst>
                <a:ext uri="{FF2B5EF4-FFF2-40B4-BE49-F238E27FC236}">
                  <a16:creationId xmlns:a16="http://schemas.microsoft.com/office/drawing/2014/main" id="{73AFC208-CABB-6D40-5EE8-548C9DD5683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1" name="Freeform: Shape 110">
              <a:extLst>
                <a:ext uri="{FF2B5EF4-FFF2-40B4-BE49-F238E27FC236}">
                  <a16:creationId xmlns:a16="http://schemas.microsoft.com/office/drawing/2014/main" id="{9B522916-9608-ABE7-688F-ACDEC7B89CED}"/>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112" name="Freeform: Shape 111">
              <a:extLst>
                <a:ext uri="{FF2B5EF4-FFF2-40B4-BE49-F238E27FC236}">
                  <a16:creationId xmlns:a16="http://schemas.microsoft.com/office/drawing/2014/main" id="{239A6F84-B78E-5A20-56EA-1C5C5C449C12}"/>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13" name="Freeform: Shape 112">
              <a:extLst>
                <a:ext uri="{FF2B5EF4-FFF2-40B4-BE49-F238E27FC236}">
                  <a16:creationId xmlns:a16="http://schemas.microsoft.com/office/drawing/2014/main" id="{F3FA7DD4-0180-B7D2-E233-5F2AEACF0205}"/>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4" name="Freeform: Shape 113">
              <a:extLst>
                <a:ext uri="{FF2B5EF4-FFF2-40B4-BE49-F238E27FC236}">
                  <a16:creationId xmlns:a16="http://schemas.microsoft.com/office/drawing/2014/main" id="{C56DEF46-8D32-3683-CC94-E8A52B1E9E6D}"/>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5" name="Freeform: Shape 114">
              <a:extLst>
                <a:ext uri="{FF2B5EF4-FFF2-40B4-BE49-F238E27FC236}">
                  <a16:creationId xmlns:a16="http://schemas.microsoft.com/office/drawing/2014/main" id="{8DEBC000-2297-4724-ACE5-E1ECEF8478F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116" name="Freeform: Shape 115">
              <a:extLst>
                <a:ext uri="{FF2B5EF4-FFF2-40B4-BE49-F238E27FC236}">
                  <a16:creationId xmlns:a16="http://schemas.microsoft.com/office/drawing/2014/main" id="{AEBC38CE-A480-CE85-73F9-34DC4B2821C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117" name="Freeform: Shape 116">
              <a:extLst>
                <a:ext uri="{FF2B5EF4-FFF2-40B4-BE49-F238E27FC236}">
                  <a16:creationId xmlns:a16="http://schemas.microsoft.com/office/drawing/2014/main" id="{47CA2D04-FFA8-A7C1-7540-D1341251E7BC}"/>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8" name="Freeform: Shape 117">
              <a:extLst>
                <a:ext uri="{FF2B5EF4-FFF2-40B4-BE49-F238E27FC236}">
                  <a16:creationId xmlns:a16="http://schemas.microsoft.com/office/drawing/2014/main" id="{CB6CA7D2-6645-71A9-1FA7-3229EC56C33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119" name="Freeform: Shape 118">
              <a:extLst>
                <a:ext uri="{FF2B5EF4-FFF2-40B4-BE49-F238E27FC236}">
                  <a16:creationId xmlns:a16="http://schemas.microsoft.com/office/drawing/2014/main" id="{59B1EE94-900A-B621-06A5-6FFE009770F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20" name="Freeform: Shape 119">
              <a:extLst>
                <a:ext uri="{FF2B5EF4-FFF2-40B4-BE49-F238E27FC236}">
                  <a16:creationId xmlns:a16="http://schemas.microsoft.com/office/drawing/2014/main" id="{BA177163-A2E5-EA90-21C7-2D53094537A7}"/>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21" name="Freeform: Shape 120">
              <a:extLst>
                <a:ext uri="{FF2B5EF4-FFF2-40B4-BE49-F238E27FC236}">
                  <a16:creationId xmlns:a16="http://schemas.microsoft.com/office/drawing/2014/main" id="{C4256C7B-96E8-3D15-82FA-AC3C73493414}"/>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22" name="Freeform: Shape 121">
              <a:extLst>
                <a:ext uri="{FF2B5EF4-FFF2-40B4-BE49-F238E27FC236}">
                  <a16:creationId xmlns:a16="http://schemas.microsoft.com/office/drawing/2014/main" id="{06D565A1-76C4-6983-2A0E-E3CF482AF0D7}"/>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3" name="Freeform: Shape 122">
              <a:extLst>
                <a:ext uri="{FF2B5EF4-FFF2-40B4-BE49-F238E27FC236}">
                  <a16:creationId xmlns:a16="http://schemas.microsoft.com/office/drawing/2014/main" id="{DDA7AC4B-CA14-1526-4681-445581EBE31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124" name="Freeform: Shape 123">
              <a:extLst>
                <a:ext uri="{FF2B5EF4-FFF2-40B4-BE49-F238E27FC236}">
                  <a16:creationId xmlns:a16="http://schemas.microsoft.com/office/drawing/2014/main" id="{3B30BA7C-7770-C8FB-54F4-04FB7F152086}"/>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5" name="Freeform: Shape 124">
              <a:extLst>
                <a:ext uri="{FF2B5EF4-FFF2-40B4-BE49-F238E27FC236}">
                  <a16:creationId xmlns:a16="http://schemas.microsoft.com/office/drawing/2014/main" id="{87741651-C391-DB54-8A1D-EB76C223819D}"/>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126" name="Freeform: Shape 125">
              <a:extLst>
                <a:ext uri="{FF2B5EF4-FFF2-40B4-BE49-F238E27FC236}">
                  <a16:creationId xmlns:a16="http://schemas.microsoft.com/office/drawing/2014/main" id="{9A778CD6-E22C-1B3D-9618-165D81BAF3D4}"/>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127" name="Freeform: Shape 126">
              <a:extLst>
                <a:ext uri="{FF2B5EF4-FFF2-40B4-BE49-F238E27FC236}">
                  <a16:creationId xmlns:a16="http://schemas.microsoft.com/office/drawing/2014/main" id="{BF917BB7-0F5B-F235-61ED-0C4E4F7075A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128" name="Freeform: Shape 127">
              <a:extLst>
                <a:ext uri="{FF2B5EF4-FFF2-40B4-BE49-F238E27FC236}">
                  <a16:creationId xmlns:a16="http://schemas.microsoft.com/office/drawing/2014/main" id="{9AB02B29-9ABB-7C99-887D-9C2FC4BEF3F5}"/>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129" name="Freeform: Shape 128">
              <a:extLst>
                <a:ext uri="{FF2B5EF4-FFF2-40B4-BE49-F238E27FC236}">
                  <a16:creationId xmlns:a16="http://schemas.microsoft.com/office/drawing/2014/main" id="{311E31BE-8FE7-D07B-63DA-20BEE1202AA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130" name="Freeform: Shape 129">
              <a:extLst>
                <a:ext uri="{FF2B5EF4-FFF2-40B4-BE49-F238E27FC236}">
                  <a16:creationId xmlns:a16="http://schemas.microsoft.com/office/drawing/2014/main" id="{2B1B7368-55F8-5397-2132-D63FFAF86B5C}"/>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131" name="Freeform: Shape 130">
              <a:extLst>
                <a:ext uri="{FF2B5EF4-FFF2-40B4-BE49-F238E27FC236}">
                  <a16:creationId xmlns:a16="http://schemas.microsoft.com/office/drawing/2014/main" id="{526EC8B8-B4D1-994C-23A6-807718FEB559}"/>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132" name="Freeform: Shape 131">
              <a:extLst>
                <a:ext uri="{FF2B5EF4-FFF2-40B4-BE49-F238E27FC236}">
                  <a16:creationId xmlns:a16="http://schemas.microsoft.com/office/drawing/2014/main" id="{3EA49ECB-C752-706D-2003-7AF21752F2BC}"/>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133" name="Freeform: Shape 132">
              <a:extLst>
                <a:ext uri="{FF2B5EF4-FFF2-40B4-BE49-F238E27FC236}">
                  <a16:creationId xmlns:a16="http://schemas.microsoft.com/office/drawing/2014/main" id="{7D5F09CB-3660-2B23-5816-CEB013AC1CD3}"/>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34" name="Freeform: Shape 133">
              <a:extLst>
                <a:ext uri="{FF2B5EF4-FFF2-40B4-BE49-F238E27FC236}">
                  <a16:creationId xmlns:a16="http://schemas.microsoft.com/office/drawing/2014/main" id="{C7152738-B4E1-B250-E663-19D3904A4C5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135" name="Freeform: Shape 134">
              <a:extLst>
                <a:ext uri="{FF2B5EF4-FFF2-40B4-BE49-F238E27FC236}">
                  <a16:creationId xmlns:a16="http://schemas.microsoft.com/office/drawing/2014/main" id="{49B93D92-6357-2BDE-D942-5564AB3652D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6" name="Freeform: Shape 135">
              <a:extLst>
                <a:ext uri="{FF2B5EF4-FFF2-40B4-BE49-F238E27FC236}">
                  <a16:creationId xmlns:a16="http://schemas.microsoft.com/office/drawing/2014/main" id="{81F636BF-8910-F683-29EB-69B836D2B9B2}"/>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137" name="Freeform: Shape 136">
              <a:extLst>
                <a:ext uri="{FF2B5EF4-FFF2-40B4-BE49-F238E27FC236}">
                  <a16:creationId xmlns:a16="http://schemas.microsoft.com/office/drawing/2014/main" id="{D4D84103-9B34-CA65-0290-BB7ACE79D30C}"/>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138" name="Freeform: Shape 137">
              <a:extLst>
                <a:ext uri="{FF2B5EF4-FFF2-40B4-BE49-F238E27FC236}">
                  <a16:creationId xmlns:a16="http://schemas.microsoft.com/office/drawing/2014/main" id="{586C9602-6977-13C4-639E-AB65850FED6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9" name="Freeform: Shape 138">
              <a:extLst>
                <a:ext uri="{FF2B5EF4-FFF2-40B4-BE49-F238E27FC236}">
                  <a16:creationId xmlns:a16="http://schemas.microsoft.com/office/drawing/2014/main" id="{512FFB00-D249-4456-F741-5D48C228643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140" name="Freeform: Shape 139">
              <a:extLst>
                <a:ext uri="{FF2B5EF4-FFF2-40B4-BE49-F238E27FC236}">
                  <a16:creationId xmlns:a16="http://schemas.microsoft.com/office/drawing/2014/main" id="{AB85ED14-196B-6FB5-2FA8-F977CFB092D5}"/>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141" name="Freeform: Shape 140">
              <a:extLst>
                <a:ext uri="{FF2B5EF4-FFF2-40B4-BE49-F238E27FC236}">
                  <a16:creationId xmlns:a16="http://schemas.microsoft.com/office/drawing/2014/main" id="{B07EA918-077F-E590-B24F-146291372A3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42" name="Freeform: Shape 141">
              <a:extLst>
                <a:ext uri="{FF2B5EF4-FFF2-40B4-BE49-F238E27FC236}">
                  <a16:creationId xmlns:a16="http://schemas.microsoft.com/office/drawing/2014/main" id="{EF1C3EBB-3591-3992-20AD-BAECA5FABDE0}"/>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143" name="Freeform: Shape 142">
              <a:extLst>
                <a:ext uri="{FF2B5EF4-FFF2-40B4-BE49-F238E27FC236}">
                  <a16:creationId xmlns:a16="http://schemas.microsoft.com/office/drawing/2014/main" id="{2D489C66-EA0F-6F80-7EC9-9CC41B7F6F0E}"/>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144" name="Freeform: Shape 143">
              <a:extLst>
                <a:ext uri="{FF2B5EF4-FFF2-40B4-BE49-F238E27FC236}">
                  <a16:creationId xmlns:a16="http://schemas.microsoft.com/office/drawing/2014/main" id="{E235D21A-A346-1490-003D-278C2CBC2D4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145" name="Freeform: Shape 144">
              <a:extLst>
                <a:ext uri="{FF2B5EF4-FFF2-40B4-BE49-F238E27FC236}">
                  <a16:creationId xmlns:a16="http://schemas.microsoft.com/office/drawing/2014/main" id="{EAB1A95F-610D-0A23-4D20-99B57FEDDC6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146" name="Freeform: Shape 145">
              <a:extLst>
                <a:ext uri="{FF2B5EF4-FFF2-40B4-BE49-F238E27FC236}">
                  <a16:creationId xmlns:a16="http://schemas.microsoft.com/office/drawing/2014/main" id="{284F7901-D7A0-37D1-B28D-FEF2BBB2599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pic>
        <p:nvPicPr>
          <p:cNvPr id="3" name="Espaço Reservado para Conteúdo 4">
            <a:extLst>
              <a:ext uri="{FF2B5EF4-FFF2-40B4-BE49-F238E27FC236}">
                <a16:creationId xmlns:a16="http://schemas.microsoft.com/office/drawing/2014/main" id="{BDB207A6-67B6-39A4-E53D-73AF55ECFE15}"/>
              </a:ext>
            </a:extLst>
          </p:cNvPr>
          <p:cNvPicPr>
            <a:picLocks noChangeAspect="1"/>
          </p:cNvPicPr>
          <p:nvPr/>
        </p:nvPicPr>
        <p:blipFill>
          <a:blip r:embed="rId5"/>
          <a:stretch>
            <a:fillRect/>
          </a:stretch>
        </p:blipFill>
        <p:spPr>
          <a:xfrm>
            <a:off x="5399513" y="1960095"/>
            <a:ext cx="6334369" cy="3552807"/>
          </a:xfrm>
          <a:prstGeom prst="rect">
            <a:avLst/>
          </a:prstGeom>
        </p:spPr>
      </p:pic>
      <p:sp>
        <p:nvSpPr>
          <p:cNvPr id="5" name="CaixaDeTexto 4">
            <a:extLst>
              <a:ext uri="{FF2B5EF4-FFF2-40B4-BE49-F238E27FC236}">
                <a16:creationId xmlns:a16="http://schemas.microsoft.com/office/drawing/2014/main" id="{B6FEF7B1-9621-D987-F496-6FCA8FD0CA46}"/>
              </a:ext>
            </a:extLst>
          </p:cNvPr>
          <p:cNvSpPr txBox="1"/>
          <p:nvPr/>
        </p:nvSpPr>
        <p:spPr>
          <a:xfrm>
            <a:off x="304800" y="1960096"/>
            <a:ext cx="4913949" cy="3970318"/>
          </a:xfrm>
          <a:prstGeom prst="rect">
            <a:avLst/>
          </a:prstGeom>
          <a:noFill/>
        </p:spPr>
        <p:txBody>
          <a:bodyPr wrap="square" rtlCol="0">
            <a:spAutoFit/>
          </a:bodyPr>
          <a:lstStyle/>
          <a:p>
            <a:r>
              <a:rPr kumimoji="0" lang="pt-BR" altLang="pt-BR" sz="1800" b="0" i="0" u="none" strike="noStrike" cap="none" normalizeH="0" baseline="0" dirty="0">
                <a:ln>
                  <a:noFill/>
                </a:ln>
                <a:effectLst/>
                <a:latin typeface="+mn-lt"/>
              </a:rPr>
              <a:t>A escala de </a:t>
            </a:r>
            <a:r>
              <a:rPr kumimoji="0" lang="pt-BR" altLang="pt-BR" sz="1800" b="0" i="0" u="none" strike="noStrike" cap="none" normalizeH="0" baseline="0" dirty="0" err="1">
                <a:ln>
                  <a:noFill/>
                </a:ln>
                <a:effectLst/>
                <a:latin typeface="+mn-lt"/>
              </a:rPr>
              <a:t>Braden</a:t>
            </a:r>
            <a:r>
              <a:rPr kumimoji="0" lang="pt-BR" altLang="pt-BR" sz="1800" b="0" i="0" u="none" strike="noStrike" cap="none" normalizeH="0" baseline="0" dirty="0">
                <a:ln>
                  <a:noFill/>
                </a:ln>
                <a:effectLst/>
                <a:latin typeface="+mn-lt"/>
              </a:rPr>
              <a:t> é uma ferramenta de avaliação direcionada a adultos e idosos, projetada para avaliar seis áreas-chave de risco de desenvolvimento de úlceras de pressão. Estas áreas incluem percepção sensorial, umidade, atividade, mobilidade, nutrição e fricção/cisalhamento. Cada área é pontuada de 1 (indicando um risco mais elevado) a 4 (indicando um risco mais baixo), exceto para fricção/cisalhamento, que varia de 1 a 3. A pontuação total pode variar de 4 a 23, sendo que pontuações mais baixas indicam um maior risco de desenvolver úlceras por pressão.</a:t>
            </a:r>
            <a:br>
              <a:rPr kumimoji="0" lang="pt-BR" altLang="pt-BR" sz="2000" b="0" i="0" u="none" strike="noStrike" cap="none" normalizeH="0" baseline="0" dirty="0">
                <a:ln>
                  <a:noFill/>
                </a:ln>
                <a:solidFill>
                  <a:schemeClr val="bg1"/>
                </a:solidFill>
                <a:effectLst/>
              </a:rPr>
            </a:br>
            <a:endParaRPr lang="pt-BR" dirty="0"/>
          </a:p>
        </p:txBody>
      </p:sp>
    </p:spTree>
    <p:extLst>
      <p:ext uri="{BB962C8B-B14F-4D97-AF65-F5344CB8AC3E}">
        <p14:creationId xmlns:p14="http://schemas.microsoft.com/office/powerpoint/2010/main" val="2149403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744937-31D2-B26B-0E34-B38AAEB7BD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think-cell data - do not delete" hidden="1">
                        <a:extLst>
                          <a:ext uri="{FF2B5EF4-FFF2-40B4-BE49-F238E27FC236}">
                            <a16:creationId xmlns:a16="http://schemas.microsoft.com/office/drawing/2014/main" id="{13744937-31D2-B26B-0E34-B38AAEB7BD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3" name="Group 102">
            <a:extLst>
              <a:ext uri="{FF2B5EF4-FFF2-40B4-BE49-F238E27FC236}">
                <a16:creationId xmlns:a16="http://schemas.microsoft.com/office/drawing/2014/main" id="{3D8D8288-B135-7527-016E-57E7EC8BC89A}"/>
              </a:ext>
            </a:extLst>
          </p:cNvPr>
          <p:cNvGrpSpPr/>
          <p:nvPr/>
        </p:nvGrpSpPr>
        <p:grpSpPr>
          <a:xfrm>
            <a:off x="304800" y="249455"/>
            <a:ext cx="1193800" cy="462985"/>
            <a:chOff x="5245100" y="211355"/>
            <a:chExt cx="2036664" cy="789869"/>
          </a:xfrm>
        </p:grpSpPr>
        <p:sp>
          <p:nvSpPr>
            <p:cNvPr id="104" name="Freeform: Shape 103">
              <a:extLst>
                <a:ext uri="{FF2B5EF4-FFF2-40B4-BE49-F238E27FC236}">
                  <a16:creationId xmlns:a16="http://schemas.microsoft.com/office/drawing/2014/main" id="{AA3AA9E8-64F6-4BB2-CE82-B99E050A81FA}"/>
                </a:ext>
              </a:extLst>
            </p:cNvPr>
            <p:cNvSpPr/>
            <p:nvPr/>
          </p:nvSpPr>
          <p:spPr>
            <a:xfrm>
              <a:off x="5245100" y="308520"/>
              <a:ext cx="247894" cy="322815"/>
            </a:xfrm>
            <a:custGeom>
              <a:avLst/>
              <a:gdLst>
                <a:gd name="connsiteX0" fmla="*/ 529590 w 986123"/>
                <a:gd name="connsiteY0" fmla="*/ 1284160 h 1284160"/>
                <a:gd name="connsiteX1" fmla="*/ 249650 w 986123"/>
                <a:gd name="connsiteY1" fmla="*/ 1235107 h 1284160"/>
                <a:gd name="connsiteX2" fmla="*/ 0 w 986123"/>
                <a:gd name="connsiteY2" fmla="*/ 1084421 h 1284160"/>
                <a:gd name="connsiteX3" fmla="*/ 162306 w 986123"/>
                <a:gd name="connsiteY3" fmla="*/ 890016 h 1284160"/>
                <a:gd name="connsiteX4" fmla="*/ 337947 w 986123"/>
                <a:gd name="connsiteY4" fmla="*/ 1000601 h 1284160"/>
                <a:gd name="connsiteX5" fmla="*/ 535019 w 986123"/>
                <a:gd name="connsiteY5" fmla="*/ 1041654 h 1284160"/>
                <a:gd name="connsiteX6" fmla="*/ 667893 w 986123"/>
                <a:gd name="connsiteY6" fmla="*/ 1010412 h 1284160"/>
                <a:gd name="connsiteX7" fmla="*/ 715137 w 986123"/>
                <a:gd name="connsiteY7" fmla="*/ 923925 h 1284160"/>
                <a:gd name="connsiteX8" fmla="*/ 715137 w 986123"/>
                <a:gd name="connsiteY8" fmla="*/ 920305 h 1284160"/>
                <a:gd name="connsiteX9" fmla="*/ 705326 w 986123"/>
                <a:gd name="connsiteY9" fmla="*/ 873062 h 1284160"/>
                <a:gd name="connsiteX10" fmla="*/ 667798 w 986123"/>
                <a:gd name="connsiteY10" fmla="*/ 834676 h 1284160"/>
                <a:gd name="connsiteX11" fmla="*/ 590931 w 986123"/>
                <a:gd name="connsiteY11" fmla="*/ 798957 h 1284160"/>
                <a:gd name="connsiteX12" fmla="*/ 463106 w 986123"/>
                <a:gd name="connsiteY12" fmla="*/ 761524 h 1284160"/>
                <a:gd name="connsiteX13" fmla="*/ 291465 w 986123"/>
                <a:gd name="connsiteY13" fmla="*/ 709803 h 1284160"/>
                <a:gd name="connsiteX14" fmla="*/ 160973 w 986123"/>
                <a:gd name="connsiteY14" fmla="*/ 639318 h 1284160"/>
                <a:gd name="connsiteX15" fmla="*/ 77819 w 986123"/>
                <a:gd name="connsiteY15" fmla="*/ 535019 h 1284160"/>
                <a:gd name="connsiteX16" fmla="*/ 48292 w 986123"/>
                <a:gd name="connsiteY16" fmla="*/ 379857 h 1284160"/>
                <a:gd name="connsiteX17" fmla="*/ 48292 w 986123"/>
                <a:gd name="connsiteY17" fmla="*/ 376238 h 1284160"/>
                <a:gd name="connsiteX18" fmla="*/ 80201 w 986123"/>
                <a:gd name="connsiteY18" fmla="*/ 222028 h 1284160"/>
                <a:gd name="connsiteX19" fmla="*/ 169640 w 986123"/>
                <a:gd name="connsiteY19" fmla="*/ 103441 h 1284160"/>
                <a:gd name="connsiteX20" fmla="*/ 307181 w 986123"/>
                <a:gd name="connsiteY20" fmla="*/ 26765 h 1284160"/>
                <a:gd name="connsiteX21" fmla="*/ 483394 w 986123"/>
                <a:gd name="connsiteY21" fmla="*/ 0 h 1284160"/>
                <a:gd name="connsiteX22" fmla="*/ 735711 w 986123"/>
                <a:gd name="connsiteY22" fmla="*/ 41053 h 1284160"/>
                <a:gd name="connsiteX23" fmla="*/ 946976 w 986123"/>
                <a:gd name="connsiteY23" fmla="*/ 158687 h 1284160"/>
                <a:gd name="connsiteX24" fmla="*/ 804291 w 986123"/>
                <a:gd name="connsiteY24" fmla="*/ 365569 h 1284160"/>
                <a:gd name="connsiteX25" fmla="*/ 640271 w 986123"/>
                <a:gd name="connsiteY25" fmla="*/ 275558 h 1284160"/>
                <a:gd name="connsiteX26" fmla="*/ 479774 w 986123"/>
                <a:gd name="connsiteY26" fmla="*/ 242602 h 1284160"/>
                <a:gd name="connsiteX27" fmla="*/ 359378 w 986123"/>
                <a:gd name="connsiteY27" fmla="*/ 273844 h 1284160"/>
                <a:gd name="connsiteX28" fmla="*/ 319278 w 986123"/>
                <a:gd name="connsiteY28" fmla="*/ 351377 h 1284160"/>
                <a:gd name="connsiteX29" fmla="*/ 319278 w 986123"/>
                <a:gd name="connsiteY29" fmla="*/ 354997 h 1284160"/>
                <a:gd name="connsiteX30" fmla="*/ 330899 w 986123"/>
                <a:gd name="connsiteY30" fmla="*/ 407575 h 1284160"/>
                <a:gd name="connsiteX31" fmla="*/ 372904 w 986123"/>
                <a:gd name="connsiteY31" fmla="*/ 447675 h 1284160"/>
                <a:gd name="connsiteX32" fmla="*/ 456057 w 986123"/>
                <a:gd name="connsiteY32" fmla="*/ 481489 h 1284160"/>
                <a:gd name="connsiteX33" fmla="*/ 589217 w 986123"/>
                <a:gd name="connsiteY33" fmla="*/ 518922 h 1284160"/>
                <a:gd name="connsiteX34" fmla="*/ 758190 w 986123"/>
                <a:gd name="connsiteY34" fmla="*/ 575120 h 1284160"/>
                <a:gd name="connsiteX35" fmla="*/ 883349 w 986123"/>
                <a:gd name="connsiteY35" fmla="*/ 649986 h 1284160"/>
                <a:gd name="connsiteX36" fmla="*/ 960215 w 986123"/>
                <a:gd name="connsiteY36" fmla="*/ 752570 h 1284160"/>
                <a:gd name="connsiteX37" fmla="*/ 986123 w 986123"/>
                <a:gd name="connsiteY37" fmla="*/ 893445 h 1284160"/>
                <a:gd name="connsiteX38" fmla="*/ 986123 w 986123"/>
                <a:gd name="connsiteY38" fmla="*/ 897064 h 1284160"/>
                <a:gd name="connsiteX39" fmla="*/ 952500 w 986123"/>
                <a:gd name="connsiteY39" fmla="*/ 1062038 h 1284160"/>
                <a:gd name="connsiteX40" fmla="*/ 858584 w 986123"/>
                <a:gd name="connsiteY40" fmla="*/ 1183291 h 1284160"/>
                <a:gd name="connsiteX41" fmla="*/ 714851 w 986123"/>
                <a:gd name="connsiteY41" fmla="*/ 1258157 h 1284160"/>
                <a:gd name="connsiteX42" fmla="*/ 529685 w 986123"/>
                <a:gd name="connsiteY42" fmla="*/ 1284065 h 128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86123" h="1284160">
                  <a:moveTo>
                    <a:pt x="529590" y="1284160"/>
                  </a:moveTo>
                  <a:cubicBezTo>
                    <a:pt x="434435" y="1284160"/>
                    <a:pt x="341186" y="1267777"/>
                    <a:pt x="249650" y="1235107"/>
                  </a:cubicBezTo>
                  <a:cubicBezTo>
                    <a:pt x="158115" y="1202436"/>
                    <a:pt x="74867" y="1152239"/>
                    <a:pt x="0" y="1084421"/>
                  </a:cubicBezTo>
                  <a:lnTo>
                    <a:pt x="162306" y="890016"/>
                  </a:lnTo>
                  <a:cubicBezTo>
                    <a:pt x="219361" y="936403"/>
                    <a:pt x="277844" y="973264"/>
                    <a:pt x="337947" y="1000601"/>
                  </a:cubicBezTo>
                  <a:cubicBezTo>
                    <a:pt x="397955" y="1027938"/>
                    <a:pt x="463677" y="1041654"/>
                    <a:pt x="535019" y="1041654"/>
                  </a:cubicBezTo>
                  <a:cubicBezTo>
                    <a:pt x="592074" y="1041654"/>
                    <a:pt x="636365" y="1031272"/>
                    <a:pt x="667893" y="1010412"/>
                  </a:cubicBezTo>
                  <a:cubicBezTo>
                    <a:pt x="699421" y="989647"/>
                    <a:pt x="715137" y="960787"/>
                    <a:pt x="715137" y="923925"/>
                  </a:cubicBezTo>
                  <a:lnTo>
                    <a:pt x="715137" y="920305"/>
                  </a:lnTo>
                  <a:cubicBezTo>
                    <a:pt x="715137" y="902494"/>
                    <a:pt x="711803" y="886777"/>
                    <a:pt x="705326" y="873062"/>
                  </a:cubicBezTo>
                  <a:cubicBezTo>
                    <a:pt x="698754" y="859441"/>
                    <a:pt x="686276" y="846582"/>
                    <a:pt x="667798" y="834676"/>
                  </a:cubicBezTo>
                  <a:cubicBezTo>
                    <a:pt x="649319" y="822770"/>
                    <a:pt x="623697" y="810863"/>
                    <a:pt x="590931" y="798957"/>
                  </a:cubicBezTo>
                  <a:cubicBezTo>
                    <a:pt x="558165" y="787146"/>
                    <a:pt x="515493" y="774573"/>
                    <a:pt x="463106" y="761524"/>
                  </a:cubicBezTo>
                  <a:cubicBezTo>
                    <a:pt x="399955" y="746093"/>
                    <a:pt x="342710" y="728853"/>
                    <a:pt x="291465" y="709803"/>
                  </a:cubicBezTo>
                  <a:cubicBezTo>
                    <a:pt x="240221" y="690753"/>
                    <a:pt x="196691" y="667322"/>
                    <a:pt x="160973" y="639318"/>
                  </a:cubicBezTo>
                  <a:cubicBezTo>
                    <a:pt x="125159" y="611410"/>
                    <a:pt x="97536" y="576644"/>
                    <a:pt x="77819" y="535019"/>
                  </a:cubicBezTo>
                  <a:cubicBezTo>
                    <a:pt x="58103" y="493395"/>
                    <a:pt x="48292" y="441674"/>
                    <a:pt x="48292" y="379857"/>
                  </a:cubicBezTo>
                  <a:lnTo>
                    <a:pt x="48292" y="376238"/>
                  </a:lnTo>
                  <a:cubicBezTo>
                    <a:pt x="48292" y="319183"/>
                    <a:pt x="58865" y="267748"/>
                    <a:pt x="80201" y="222028"/>
                  </a:cubicBezTo>
                  <a:cubicBezTo>
                    <a:pt x="101441" y="176308"/>
                    <a:pt x="131255" y="136779"/>
                    <a:pt x="169640" y="103441"/>
                  </a:cubicBezTo>
                  <a:cubicBezTo>
                    <a:pt x="208026" y="70199"/>
                    <a:pt x="253841" y="44577"/>
                    <a:pt x="307181" y="26765"/>
                  </a:cubicBezTo>
                  <a:cubicBezTo>
                    <a:pt x="360426" y="8953"/>
                    <a:pt x="419195" y="0"/>
                    <a:pt x="483394" y="0"/>
                  </a:cubicBezTo>
                  <a:cubicBezTo>
                    <a:pt x="574929" y="0"/>
                    <a:pt x="659035" y="13716"/>
                    <a:pt x="735711" y="41053"/>
                  </a:cubicBezTo>
                  <a:cubicBezTo>
                    <a:pt x="812387" y="68389"/>
                    <a:pt x="882777" y="107632"/>
                    <a:pt x="946976" y="158687"/>
                  </a:cubicBezTo>
                  <a:lnTo>
                    <a:pt x="804291" y="365569"/>
                  </a:lnTo>
                  <a:cubicBezTo>
                    <a:pt x="748379" y="327565"/>
                    <a:pt x="693706" y="297561"/>
                    <a:pt x="640271" y="275558"/>
                  </a:cubicBezTo>
                  <a:cubicBezTo>
                    <a:pt x="586740" y="253555"/>
                    <a:pt x="533305" y="242602"/>
                    <a:pt x="479774" y="242602"/>
                  </a:cubicBezTo>
                  <a:cubicBezTo>
                    <a:pt x="426244" y="242602"/>
                    <a:pt x="386144" y="252984"/>
                    <a:pt x="359378" y="273844"/>
                  </a:cubicBezTo>
                  <a:cubicBezTo>
                    <a:pt x="332613" y="294608"/>
                    <a:pt x="319278" y="320516"/>
                    <a:pt x="319278" y="351377"/>
                  </a:cubicBezTo>
                  <a:lnTo>
                    <a:pt x="319278" y="354997"/>
                  </a:lnTo>
                  <a:cubicBezTo>
                    <a:pt x="319278" y="375190"/>
                    <a:pt x="323183" y="392716"/>
                    <a:pt x="330899" y="407575"/>
                  </a:cubicBezTo>
                  <a:cubicBezTo>
                    <a:pt x="338614" y="422434"/>
                    <a:pt x="352616" y="435864"/>
                    <a:pt x="372904" y="447675"/>
                  </a:cubicBezTo>
                  <a:cubicBezTo>
                    <a:pt x="393192" y="459581"/>
                    <a:pt x="420910" y="470821"/>
                    <a:pt x="456057" y="481489"/>
                  </a:cubicBezTo>
                  <a:cubicBezTo>
                    <a:pt x="491204" y="492157"/>
                    <a:pt x="535591" y="504730"/>
                    <a:pt x="589217" y="518922"/>
                  </a:cubicBezTo>
                  <a:cubicBezTo>
                    <a:pt x="652367" y="535591"/>
                    <a:pt x="708660" y="554260"/>
                    <a:pt x="758190" y="575120"/>
                  </a:cubicBezTo>
                  <a:cubicBezTo>
                    <a:pt x="807625" y="595979"/>
                    <a:pt x="849344" y="620935"/>
                    <a:pt x="883349" y="649986"/>
                  </a:cubicBezTo>
                  <a:cubicBezTo>
                    <a:pt x="917353" y="679132"/>
                    <a:pt x="942975" y="713327"/>
                    <a:pt x="960215" y="752570"/>
                  </a:cubicBezTo>
                  <a:cubicBezTo>
                    <a:pt x="977456" y="791813"/>
                    <a:pt x="986123" y="838772"/>
                    <a:pt x="986123" y="893445"/>
                  </a:cubicBezTo>
                  <a:lnTo>
                    <a:pt x="986123" y="897064"/>
                  </a:lnTo>
                  <a:cubicBezTo>
                    <a:pt x="986123" y="958882"/>
                    <a:pt x="974884" y="1013841"/>
                    <a:pt x="952500" y="1062038"/>
                  </a:cubicBezTo>
                  <a:cubicBezTo>
                    <a:pt x="930021" y="1110139"/>
                    <a:pt x="898779" y="1150620"/>
                    <a:pt x="858584" y="1183291"/>
                  </a:cubicBezTo>
                  <a:cubicBezTo>
                    <a:pt x="818388" y="1216057"/>
                    <a:pt x="770477" y="1241012"/>
                    <a:pt x="714851" y="1258157"/>
                  </a:cubicBezTo>
                  <a:cubicBezTo>
                    <a:pt x="659130" y="1275398"/>
                    <a:pt x="597503" y="1284065"/>
                    <a:pt x="529685" y="1284065"/>
                  </a:cubicBezTo>
                  <a:close/>
                </a:path>
              </a:pathLst>
            </a:custGeom>
            <a:solidFill>
              <a:srgbClr val="44505E"/>
            </a:solidFill>
            <a:ln w="9525" cap="flat">
              <a:noFill/>
              <a:prstDash val="solid"/>
              <a:miter/>
            </a:ln>
          </p:spPr>
          <p:txBody>
            <a:bodyPr rtlCol="0" anchor="ctr"/>
            <a:lstStyle/>
            <a:p>
              <a:endParaRPr lang="pt-BR"/>
            </a:p>
          </p:txBody>
        </p:sp>
        <p:sp>
          <p:nvSpPr>
            <p:cNvPr id="105" name="Freeform: Shape 104">
              <a:extLst>
                <a:ext uri="{FF2B5EF4-FFF2-40B4-BE49-F238E27FC236}">
                  <a16:creationId xmlns:a16="http://schemas.microsoft.com/office/drawing/2014/main" id="{1BC95492-DDEB-B082-215B-B4CE77651A57}"/>
                </a:ext>
              </a:extLst>
            </p:cNvPr>
            <p:cNvSpPr/>
            <p:nvPr/>
          </p:nvSpPr>
          <p:spPr>
            <a:xfrm>
              <a:off x="5492084" y="310867"/>
              <a:ext cx="332584" cy="315991"/>
            </a:xfrm>
            <a:custGeom>
              <a:avLst/>
              <a:gdLst>
                <a:gd name="connsiteX0" fmla="*/ 534924 w 1323022"/>
                <a:gd name="connsiteY0" fmla="*/ 0 h 1257014"/>
                <a:gd name="connsiteX1" fmla="*/ 788099 w 1323022"/>
                <a:gd name="connsiteY1" fmla="*/ 0 h 1257014"/>
                <a:gd name="connsiteX2" fmla="*/ 1323023 w 1323022"/>
                <a:gd name="connsiteY2" fmla="*/ 1257014 h 1257014"/>
                <a:gd name="connsiteX3" fmla="*/ 1035939 w 1323022"/>
                <a:gd name="connsiteY3" fmla="*/ 1257014 h 1257014"/>
                <a:gd name="connsiteX4" fmla="*/ 921829 w 1323022"/>
                <a:gd name="connsiteY4" fmla="*/ 977075 h 1257014"/>
                <a:gd name="connsiteX5" fmla="*/ 394049 w 1323022"/>
                <a:gd name="connsiteY5" fmla="*/ 977075 h 1257014"/>
                <a:gd name="connsiteX6" fmla="*/ 279940 w 1323022"/>
                <a:gd name="connsiteY6" fmla="*/ 1257014 h 1257014"/>
                <a:gd name="connsiteX7" fmla="*/ 0 w 1323022"/>
                <a:gd name="connsiteY7" fmla="*/ 1257014 h 1257014"/>
                <a:gd name="connsiteX8" fmla="*/ 534924 w 1323022"/>
                <a:gd name="connsiteY8" fmla="*/ 0 h 1257014"/>
                <a:gd name="connsiteX9" fmla="*/ 823817 w 1323022"/>
                <a:gd name="connsiteY9" fmla="*/ 734568 h 1257014"/>
                <a:gd name="connsiteX10" fmla="*/ 657987 w 1323022"/>
                <a:gd name="connsiteY10" fmla="*/ 329851 h 1257014"/>
                <a:gd name="connsiteX11" fmla="*/ 492157 w 1323022"/>
                <a:gd name="connsiteY11" fmla="*/ 734568 h 1257014"/>
                <a:gd name="connsiteX12" fmla="*/ 823817 w 1323022"/>
                <a:gd name="connsiteY12" fmla="*/ 734568 h 125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022" h="1257014">
                  <a:moveTo>
                    <a:pt x="534924" y="0"/>
                  </a:moveTo>
                  <a:lnTo>
                    <a:pt x="788099" y="0"/>
                  </a:lnTo>
                  <a:lnTo>
                    <a:pt x="1323023" y="1257014"/>
                  </a:lnTo>
                  <a:lnTo>
                    <a:pt x="1035939" y="1257014"/>
                  </a:lnTo>
                  <a:lnTo>
                    <a:pt x="921829" y="977075"/>
                  </a:lnTo>
                  <a:lnTo>
                    <a:pt x="394049" y="977075"/>
                  </a:lnTo>
                  <a:lnTo>
                    <a:pt x="279940" y="1257014"/>
                  </a:lnTo>
                  <a:lnTo>
                    <a:pt x="0" y="1257014"/>
                  </a:lnTo>
                  <a:lnTo>
                    <a:pt x="534924" y="0"/>
                  </a:lnTo>
                  <a:close/>
                  <a:moveTo>
                    <a:pt x="823817" y="734568"/>
                  </a:moveTo>
                  <a:lnTo>
                    <a:pt x="657987" y="329851"/>
                  </a:lnTo>
                  <a:lnTo>
                    <a:pt x="492157" y="734568"/>
                  </a:lnTo>
                  <a:lnTo>
                    <a:pt x="823817" y="734568"/>
                  </a:lnTo>
                  <a:close/>
                </a:path>
              </a:pathLst>
            </a:custGeom>
            <a:solidFill>
              <a:srgbClr val="44505E"/>
            </a:solidFill>
            <a:ln w="9525" cap="flat">
              <a:noFill/>
              <a:prstDash val="solid"/>
              <a:miter/>
            </a:ln>
          </p:spPr>
          <p:txBody>
            <a:bodyPr rtlCol="0" anchor="ctr"/>
            <a:lstStyle/>
            <a:p>
              <a:endParaRPr lang="pt-BR"/>
            </a:p>
          </p:txBody>
        </p:sp>
        <p:sp>
          <p:nvSpPr>
            <p:cNvPr id="106" name="Freeform: Shape 105">
              <a:extLst>
                <a:ext uri="{FF2B5EF4-FFF2-40B4-BE49-F238E27FC236}">
                  <a16:creationId xmlns:a16="http://schemas.microsoft.com/office/drawing/2014/main" id="{2028C36B-DA4C-41E4-2AEA-9A8FD1A40A5B}"/>
                </a:ext>
              </a:extLst>
            </p:cNvPr>
            <p:cNvSpPr/>
            <p:nvPr/>
          </p:nvSpPr>
          <p:spPr>
            <a:xfrm>
              <a:off x="5834078" y="211355"/>
              <a:ext cx="273442" cy="420435"/>
            </a:xfrm>
            <a:custGeom>
              <a:avLst/>
              <a:gdLst>
                <a:gd name="connsiteX0" fmla="*/ 540258 w 1087754"/>
                <a:gd name="connsiteY0" fmla="*/ 1672495 h 1672494"/>
                <a:gd name="connsiteX1" fmla="*/ 144399 w 1087754"/>
                <a:gd name="connsiteY1" fmla="*/ 1533430 h 1672494"/>
                <a:gd name="connsiteX2" fmla="*/ 0 w 1087754"/>
                <a:gd name="connsiteY2" fmla="*/ 1117949 h 1672494"/>
                <a:gd name="connsiteX3" fmla="*/ 0 w 1087754"/>
                <a:gd name="connsiteY3" fmla="*/ 404717 h 1672494"/>
                <a:gd name="connsiteX4" fmla="*/ 274606 w 1087754"/>
                <a:gd name="connsiteY4" fmla="*/ 404717 h 1672494"/>
                <a:gd name="connsiteX5" fmla="*/ 274606 w 1087754"/>
                <a:gd name="connsiteY5" fmla="*/ 1110806 h 1672494"/>
                <a:gd name="connsiteX6" fmla="*/ 345948 w 1087754"/>
                <a:gd name="connsiteY6" fmla="*/ 1341692 h 1672494"/>
                <a:gd name="connsiteX7" fmla="*/ 543877 w 1087754"/>
                <a:gd name="connsiteY7" fmla="*/ 1419225 h 1672494"/>
                <a:gd name="connsiteX8" fmla="*/ 741807 w 1087754"/>
                <a:gd name="connsiteY8" fmla="*/ 1344359 h 1672494"/>
                <a:gd name="connsiteX9" fmla="*/ 813149 w 1087754"/>
                <a:gd name="connsiteY9" fmla="*/ 1119664 h 1672494"/>
                <a:gd name="connsiteX10" fmla="*/ 813149 w 1087754"/>
                <a:gd name="connsiteY10" fmla="*/ 404717 h 1672494"/>
                <a:gd name="connsiteX11" fmla="*/ 1087755 w 1087754"/>
                <a:gd name="connsiteY11" fmla="*/ 404717 h 1672494"/>
                <a:gd name="connsiteX12" fmla="*/ 1087755 w 1087754"/>
                <a:gd name="connsiteY12" fmla="*/ 1108996 h 1672494"/>
                <a:gd name="connsiteX13" fmla="*/ 1049369 w 1087754"/>
                <a:gd name="connsiteY13" fmla="*/ 1356836 h 1672494"/>
                <a:gd name="connsiteX14" fmla="*/ 939737 w 1087754"/>
                <a:gd name="connsiteY14" fmla="*/ 1532477 h 1672494"/>
                <a:gd name="connsiteX15" fmla="*/ 766763 w 1087754"/>
                <a:gd name="connsiteY15" fmla="*/ 1637729 h 1672494"/>
                <a:gd name="connsiteX16" fmla="*/ 540353 w 1087754"/>
                <a:gd name="connsiteY16" fmla="*/ 1672495 h 1672494"/>
                <a:gd name="connsiteX17" fmla="*/ 622268 w 1087754"/>
                <a:gd name="connsiteY17" fmla="*/ 0 h 1672494"/>
                <a:gd name="connsiteX18" fmla="*/ 855821 w 1087754"/>
                <a:gd name="connsiteY18" fmla="*/ 101632 h 1672494"/>
                <a:gd name="connsiteX19" fmla="*/ 627602 w 1087754"/>
                <a:gd name="connsiteY19" fmla="*/ 315563 h 1672494"/>
                <a:gd name="connsiteX20" fmla="*/ 420719 w 1087754"/>
                <a:gd name="connsiteY20" fmla="*/ 315563 h 1672494"/>
                <a:gd name="connsiteX21" fmla="*/ 622268 w 1087754"/>
                <a:gd name="connsiteY21" fmla="*/ 0 h 16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7754" h="1672494">
                  <a:moveTo>
                    <a:pt x="540258" y="1672495"/>
                  </a:moveTo>
                  <a:cubicBezTo>
                    <a:pt x="372618" y="1672495"/>
                    <a:pt x="240697" y="1626108"/>
                    <a:pt x="144399" y="1533430"/>
                  </a:cubicBezTo>
                  <a:cubicBezTo>
                    <a:pt x="48101" y="1440752"/>
                    <a:pt x="0" y="1302258"/>
                    <a:pt x="0" y="1117949"/>
                  </a:cubicBezTo>
                  <a:lnTo>
                    <a:pt x="0" y="404717"/>
                  </a:lnTo>
                  <a:lnTo>
                    <a:pt x="274606" y="404717"/>
                  </a:lnTo>
                  <a:lnTo>
                    <a:pt x="274606" y="1110806"/>
                  </a:lnTo>
                  <a:cubicBezTo>
                    <a:pt x="274606" y="1213009"/>
                    <a:pt x="298418" y="1289971"/>
                    <a:pt x="345948" y="1341692"/>
                  </a:cubicBezTo>
                  <a:cubicBezTo>
                    <a:pt x="393478" y="1393412"/>
                    <a:pt x="459486" y="1419225"/>
                    <a:pt x="543877" y="1419225"/>
                  </a:cubicBezTo>
                  <a:cubicBezTo>
                    <a:pt x="628269" y="1419225"/>
                    <a:pt x="694277" y="1394270"/>
                    <a:pt x="741807" y="1344359"/>
                  </a:cubicBezTo>
                  <a:cubicBezTo>
                    <a:pt x="789337" y="1294448"/>
                    <a:pt x="813149" y="1219581"/>
                    <a:pt x="813149" y="1119664"/>
                  </a:cubicBezTo>
                  <a:lnTo>
                    <a:pt x="813149" y="404717"/>
                  </a:lnTo>
                  <a:lnTo>
                    <a:pt x="1087755" y="404717"/>
                  </a:lnTo>
                  <a:lnTo>
                    <a:pt x="1087755" y="1108996"/>
                  </a:lnTo>
                  <a:cubicBezTo>
                    <a:pt x="1087755" y="1204151"/>
                    <a:pt x="1074992" y="1286732"/>
                    <a:pt x="1049369" y="1356836"/>
                  </a:cubicBezTo>
                  <a:cubicBezTo>
                    <a:pt x="1023747" y="1426940"/>
                    <a:pt x="987266" y="1485519"/>
                    <a:pt x="939737" y="1532477"/>
                  </a:cubicBezTo>
                  <a:cubicBezTo>
                    <a:pt x="892207" y="1579436"/>
                    <a:pt x="834485" y="1614488"/>
                    <a:pt x="766763" y="1637729"/>
                  </a:cubicBezTo>
                  <a:cubicBezTo>
                    <a:pt x="699040" y="1660874"/>
                    <a:pt x="623507" y="1672495"/>
                    <a:pt x="540353" y="1672495"/>
                  </a:cubicBezTo>
                  <a:close/>
                  <a:moveTo>
                    <a:pt x="622268" y="0"/>
                  </a:moveTo>
                  <a:lnTo>
                    <a:pt x="855821" y="101632"/>
                  </a:lnTo>
                  <a:lnTo>
                    <a:pt x="627602" y="315563"/>
                  </a:lnTo>
                  <a:lnTo>
                    <a:pt x="420719" y="315563"/>
                  </a:lnTo>
                  <a:lnTo>
                    <a:pt x="622268" y="0"/>
                  </a:lnTo>
                  <a:close/>
                </a:path>
              </a:pathLst>
            </a:custGeom>
            <a:solidFill>
              <a:srgbClr val="44505E"/>
            </a:solidFill>
            <a:ln w="9525" cap="flat">
              <a:noFill/>
              <a:prstDash val="solid"/>
              <a:miter/>
            </a:ln>
          </p:spPr>
          <p:txBody>
            <a:bodyPr rtlCol="0" anchor="ctr"/>
            <a:lstStyle/>
            <a:p>
              <a:endParaRPr lang="pt-BR"/>
            </a:p>
          </p:txBody>
        </p:sp>
        <p:sp>
          <p:nvSpPr>
            <p:cNvPr id="107" name="Freeform: Shape 106">
              <a:extLst>
                <a:ext uri="{FF2B5EF4-FFF2-40B4-BE49-F238E27FC236}">
                  <a16:creationId xmlns:a16="http://schemas.microsoft.com/office/drawing/2014/main" id="{A78A8E03-277A-333B-564C-EF9FA2316AD3}"/>
                </a:ext>
              </a:extLst>
            </p:cNvPr>
            <p:cNvSpPr/>
            <p:nvPr/>
          </p:nvSpPr>
          <p:spPr>
            <a:xfrm>
              <a:off x="6143795" y="313094"/>
              <a:ext cx="289101" cy="313764"/>
            </a:xfrm>
            <a:custGeom>
              <a:avLst/>
              <a:gdLst>
                <a:gd name="connsiteX0" fmla="*/ 0 w 1150048"/>
                <a:gd name="connsiteY0" fmla="*/ 0 h 1248155"/>
                <a:gd name="connsiteX1" fmla="*/ 486728 w 1150048"/>
                <a:gd name="connsiteY1" fmla="*/ 0 h 1248155"/>
                <a:gd name="connsiteX2" fmla="*/ 755047 w 1150048"/>
                <a:gd name="connsiteY2" fmla="*/ 47244 h 1248155"/>
                <a:gd name="connsiteX3" fmla="*/ 965454 w 1150048"/>
                <a:gd name="connsiteY3" fmla="*/ 178308 h 1248155"/>
                <a:gd name="connsiteX4" fmla="*/ 1101852 w 1150048"/>
                <a:gd name="connsiteY4" fmla="*/ 375380 h 1248155"/>
                <a:gd name="connsiteX5" fmla="*/ 1150049 w 1150048"/>
                <a:gd name="connsiteY5" fmla="*/ 620554 h 1248155"/>
                <a:gd name="connsiteX6" fmla="*/ 1150049 w 1150048"/>
                <a:gd name="connsiteY6" fmla="*/ 624173 h 1248155"/>
                <a:gd name="connsiteX7" fmla="*/ 1101852 w 1150048"/>
                <a:gd name="connsiteY7" fmla="*/ 870204 h 1248155"/>
                <a:gd name="connsiteX8" fmla="*/ 965454 w 1150048"/>
                <a:gd name="connsiteY8" fmla="*/ 1068134 h 1248155"/>
                <a:gd name="connsiteX9" fmla="*/ 755047 w 1150048"/>
                <a:gd name="connsiteY9" fmla="*/ 1200055 h 1248155"/>
                <a:gd name="connsiteX10" fmla="*/ 486728 w 1150048"/>
                <a:gd name="connsiteY10" fmla="*/ 1248156 h 1248155"/>
                <a:gd name="connsiteX11" fmla="*/ 0 w 1150048"/>
                <a:gd name="connsiteY11" fmla="*/ 1248156 h 1248155"/>
                <a:gd name="connsiteX12" fmla="*/ 0 w 1150048"/>
                <a:gd name="connsiteY12" fmla="*/ 0 h 1248155"/>
                <a:gd name="connsiteX13" fmla="*/ 486728 w 1150048"/>
                <a:gd name="connsiteY13" fmla="*/ 1000315 h 1248155"/>
                <a:gd name="connsiteX14" fmla="*/ 640080 w 1150048"/>
                <a:gd name="connsiteY14" fmla="*/ 973550 h 1248155"/>
                <a:gd name="connsiteX15" fmla="*/ 758667 w 1150048"/>
                <a:gd name="connsiteY15" fmla="*/ 896874 h 1248155"/>
                <a:gd name="connsiteX16" fmla="*/ 835343 w 1150048"/>
                <a:gd name="connsiteY16" fmla="*/ 779240 h 1248155"/>
                <a:gd name="connsiteX17" fmla="*/ 862965 w 1150048"/>
                <a:gd name="connsiteY17" fmla="*/ 627698 h 1248155"/>
                <a:gd name="connsiteX18" fmla="*/ 862965 w 1150048"/>
                <a:gd name="connsiteY18" fmla="*/ 624078 h 1248155"/>
                <a:gd name="connsiteX19" fmla="*/ 835343 w 1150048"/>
                <a:gd name="connsiteY19" fmla="*/ 472535 h 1248155"/>
                <a:gd name="connsiteX20" fmla="*/ 758667 w 1150048"/>
                <a:gd name="connsiteY20" fmla="*/ 353092 h 1248155"/>
                <a:gd name="connsiteX21" fmla="*/ 640080 w 1150048"/>
                <a:gd name="connsiteY21" fmla="*/ 275558 h 1248155"/>
                <a:gd name="connsiteX22" fmla="*/ 486728 w 1150048"/>
                <a:gd name="connsiteY22" fmla="*/ 247936 h 1248155"/>
                <a:gd name="connsiteX23" fmla="*/ 274511 w 1150048"/>
                <a:gd name="connsiteY23" fmla="*/ 247936 h 1248155"/>
                <a:gd name="connsiteX24" fmla="*/ 274511 w 1150048"/>
                <a:gd name="connsiteY24" fmla="*/ 1000411 h 1248155"/>
                <a:gd name="connsiteX25" fmla="*/ 486728 w 1150048"/>
                <a:gd name="connsiteY25" fmla="*/ 1000411 h 124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50048" h="1248155">
                  <a:moveTo>
                    <a:pt x="0" y="0"/>
                  </a:moveTo>
                  <a:lnTo>
                    <a:pt x="486728" y="0"/>
                  </a:lnTo>
                  <a:cubicBezTo>
                    <a:pt x="584168" y="0"/>
                    <a:pt x="673608" y="15811"/>
                    <a:pt x="755047" y="47244"/>
                  </a:cubicBezTo>
                  <a:cubicBezTo>
                    <a:pt x="836486" y="78772"/>
                    <a:pt x="906590" y="122396"/>
                    <a:pt x="965454" y="178308"/>
                  </a:cubicBezTo>
                  <a:cubicBezTo>
                    <a:pt x="1024319" y="234220"/>
                    <a:pt x="1069753" y="299847"/>
                    <a:pt x="1101852" y="375380"/>
                  </a:cubicBezTo>
                  <a:cubicBezTo>
                    <a:pt x="1133951" y="450914"/>
                    <a:pt x="1150049" y="532543"/>
                    <a:pt x="1150049" y="620554"/>
                  </a:cubicBezTo>
                  <a:lnTo>
                    <a:pt x="1150049" y="624173"/>
                  </a:lnTo>
                  <a:cubicBezTo>
                    <a:pt x="1150049" y="712184"/>
                    <a:pt x="1133951" y="794195"/>
                    <a:pt x="1101852" y="870204"/>
                  </a:cubicBezTo>
                  <a:cubicBezTo>
                    <a:pt x="1069753" y="946309"/>
                    <a:pt x="1024319" y="1012222"/>
                    <a:pt x="965454" y="1068134"/>
                  </a:cubicBezTo>
                  <a:cubicBezTo>
                    <a:pt x="906590" y="1124045"/>
                    <a:pt x="836486" y="1167956"/>
                    <a:pt x="755047" y="1200055"/>
                  </a:cubicBezTo>
                  <a:cubicBezTo>
                    <a:pt x="673608" y="1232154"/>
                    <a:pt x="584168" y="1248156"/>
                    <a:pt x="486728" y="1248156"/>
                  </a:cubicBezTo>
                  <a:lnTo>
                    <a:pt x="0" y="1248156"/>
                  </a:lnTo>
                  <a:lnTo>
                    <a:pt x="0" y="0"/>
                  </a:lnTo>
                  <a:close/>
                  <a:moveTo>
                    <a:pt x="486728" y="1000315"/>
                  </a:moveTo>
                  <a:cubicBezTo>
                    <a:pt x="542639" y="1000315"/>
                    <a:pt x="593693" y="991457"/>
                    <a:pt x="640080" y="973550"/>
                  </a:cubicBezTo>
                  <a:cubicBezTo>
                    <a:pt x="686467" y="955739"/>
                    <a:pt x="725900" y="930211"/>
                    <a:pt x="758667" y="896874"/>
                  </a:cubicBezTo>
                  <a:cubicBezTo>
                    <a:pt x="791337" y="863632"/>
                    <a:pt x="816864" y="824389"/>
                    <a:pt x="835343" y="779240"/>
                  </a:cubicBezTo>
                  <a:cubicBezTo>
                    <a:pt x="853726" y="734092"/>
                    <a:pt x="862965" y="683609"/>
                    <a:pt x="862965" y="627698"/>
                  </a:cubicBezTo>
                  <a:lnTo>
                    <a:pt x="862965" y="624078"/>
                  </a:lnTo>
                  <a:cubicBezTo>
                    <a:pt x="862965" y="569404"/>
                    <a:pt x="853726" y="518827"/>
                    <a:pt x="835343" y="472535"/>
                  </a:cubicBezTo>
                  <a:cubicBezTo>
                    <a:pt x="816864" y="426149"/>
                    <a:pt x="791337" y="386334"/>
                    <a:pt x="758667" y="353092"/>
                  </a:cubicBezTo>
                  <a:cubicBezTo>
                    <a:pt x="725996" y="319849"/>
                    <a:pt x="686467" y="293941"/>
                    <a:pt x="640080" y="275558"/>
                  </a:cubicBezTo>
                  <a:cubicBezTo>
                    <a:pt x="593693" y="257175"/>
                    <a:pt x="542639" y="247936"/>
                    <a:pt x="486728" y="247936"/>
                  </a:cubicBezTo>
                  <a:lnTo>
                    <a:pt x="274511" y="247936"/>
                  </a:lnTo>
                  <a:lnTo>
                    <a:pt x="274511" y="1000411"/>
                  </a:lnTo>
                  <a:lnTo>
                    <a:pt x="486728" y="1000411"/>
                  </a:lnTo>
                  <a:close/>
                </a:path>
              </a:pathLst>
            </a:custGeom>
            <a:solidFill>
              <a:srgbClr val="44505E"/>
            </a:solidFill>
            <a:ln w="9525" cap="flat">
              <a:noFill/>
              <a:prstDash val="solid"/>
              <a:miter/>
            </a:ln>
          </p:spPr>
          <p:txBody>
            <a:bodyPr rtlCol="0" anchor="ctr"/>
            <a:lstStyle/>
            <a:p>
              <a:endParaRPr lang="pt-BR"/>
            </a:p>
          </p:txBody>
        </p:sp>
        <p:sp>
          <p:nvSpPr>
            <p:cNvPr id="108" name="Freeform: Shape 107">
              <a:extLst>
                <a:ext uri="{FF2B5EF4-FFF2-40B4-BE49-F238E27FC236}">
                  <a16:creationId xmlns:a16="http://schemas.microsoft.com/office/drawing/2014/main" id="{BE46A733-0E5F-CBC9-9AA8-4382184E7DB7}"/>
                </a:ext>
              </a:extLst>
            </p:cNvPr>
            <p:cNvSpPr/>
            <p:nvPr/>
          </p:nvSpPr>
          <p:spPr>
            <a:xfrm>
              <a:off x="6460217" y="313094"/>
              <a:ext cx="238459" cy="313788"/>
            </a:xfrm>
            <a:custGeom>
              <a:avLst/>
              <a:gdLst>
                <a:gd name="connsiteX0" fmla="*/ 95 w 948594"/>
                <a:gd name="connsiteY0" fmla="*/ 0 h 1248251"/>
                <a:gd name="connsiteX1" fmla="*/ 939737 w 948594"/>
                <a:gd name="connsiteY1" fmla="*/ 0 h 1248251"/>
                <a:gd name="connsiteX2" fmla="*/ 939737 w 948594"/>
                <a:gd name="connsiteY2" fmla="*/ 244316 h 1248251"/>
                <a:gd name="connsiteX3" fmla="*/ 271081 w 948594"/>
                <a:gd name="connsiteY3" fmla="*/ 244316 h 1248251"/>
                <a:gd name="connsiteX4" fmla="*/ 271081 w 948594"/>
                <a:gd name="connsiteY4" fmla="*/ 497491 h 1248251"/>
                <a:gd name="connsiteX5" fmla="*/ 859441 w 948594"/>
                <a:gd name="connsiteY5" fmla="*/ 497491 h 1248251"/>
                <a:gd name="connsiteX6" fmla="*/ 859441 w 948594"/>
                <a:gd name="connsiteY6" fmla="*/ 741807 h 1248251"/>
                <a:gd name="connsiteX7" fmla="*/ 271081 w 948594"/>
                <a:gd name="connsiteY7" fmla="*/ 741807 h 1248251"/>
                <a:gd name="connsiteX8" fmla="*/ 271081 w 948594"/>
                <a:gd name="connsiteY8" fmla="*/ 1003935 h 1248251"/>
                <a:gd name="connsiteX9" fmla="*/ 948595 w 948594"/>
                <a:gd name="connsiteY9" fmla="*/ 1003935 h 1248251"/>
                <a:gd name="connsiteX10" fmla="*/ 948595 w 948594"/>
                <a:gd name="connsiteY10" fmla="*/ 1248251 h 1248251"/>
                <a:gd name="connsiteX11" fmla="*/ 0 w 948594"/>
                <a:gd name="connsiteY11" fmla="*/ 1248251 h 1248251"/>
                <a:gd name="connsiteX12" fmla="*/ 0 w 948594"/>
                <a:gd name="connsiteY12" fmla="*/ 0 h 124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594" h="1248251">
                  <a:moveTo>
                    <a:pt x="95" y="0"/>
                  </a:moveTo>
                  <a:lnTo>
                    <a:pt x="939737" y="0"/>
                  </a:lnTo>
                  <a:lnTo>
                    <a:pt x="939737" y="244316"/>
                  </a:lnTo>
                  <a:lnTo>
                    <a:pt x="271081" y="244316"/>
                  </a:lnTo>
                  <a:lnTo>
                    <a:pt x="271081" y="497491"/>
                  </a:lnTo>
                  <a:lnTo>
                    <a:pt x="859441" y="497491"/>
                  </a:lnTo>
                  <a:lnTo>
                    <a:pt x="859441" y="741807"/>
                  </a:lnTo>
                  <a:lnTo>
                    <a:pt x="271081" y="741807"/>
                  </a:lnTo>
                  <a:lnTo>
                    <a:pt x="271081" y="1003935"/>
                  </a:lnTo>
                  <a:lnTo>
                    <a:pt x="948595" y="1003935"/>
                  </a:lnTo>
                  <a:lnTo>
                    <a:pt x="948595" y="1248251"/>
                  </a:lnTo>
                  <a:lnTo>
                    <a:pt x="0" y="1248251"/>
                  </a:lnTo>
                  <a:lnTo>
                    <a:pt x="0" y="0"/>
                  </a:lnTo>
                  <a:close/>
                </a:path>
              </a:pathLst>
            </a:custGeom>
            <a:solidFill>
              <a:srgbClr val="44505E"/>
            </a:solidFill>
            <a:ln w="9525" cap="flat">
              <a:noFill/>
              <a:prstDash val="solid"/>
              <a:miter/>
            </a:ln>
          </p:spPr>
          <p:txBody>
            <a:bodyPr rtlCol="0" anchor="ctr"/>
            <a:lstStyle/>
            <a:p>
              <a:endParaRPr lang="pt-BR"/>
            </a:p>
          </p:txBody>
        </p:sp>
        <p:sp>
          <p:nvSpPr>
            <p:cNvPr id="109" name="Freeform: Shape 108">
              <a:extLst>
                <a:ext uri="{FF2B5EF4-FFF2-40B4-BE49-F238E27FC236}">
                  <a16:creationId xmlns:a16="http://schemas.microsoft.com/office/drawing/2014/main" id="{CC26B1E7-7F77-1F91-71C5-DA5836D441C1}"/>
                </a:ext>
              </a:extLst>
            </p:cNvPr>
            <p:cNvSpPr/>
            <p:nvPr/>
          </p:nvSpPr>
          <p:spPr>
            <a:xfrm>
              <a:off x="5253193" y="699983"/>
              <a:ext cx="90796" cy="97883"/>
            </a:xfrm>
            <a:custGeom>
              <a:avLst/>
              <a:gdLst>
                <a:gd name="connsiteX0" fmla="*/ 191548 w 361187"/>
                <a:gd name="connsiteY0" fmla="*/ 389382 h 389381"/>
                <a:gd name="connsiteX1" fmla="*/ 116300 w 361187"/>
                <a:gd name="connsiteY1" fmla="*/ 375285 h 389381"/>
                <a:gd name="connsiteX2" fmla="*/ 55531 w 361187"/>
                <a:gd name="connsiteY2" fmla="*/ 335756 h 389381"/>
                <a:gd name="connsiteX3" fmla="*/ 14859 w 361187"/>
                <a:gd name="connsiteY3" fmla="*/ 274606 h 389381"/>
                <a:gd name="connsiteX4" fmla="*/ 0 w 361187"/>
                <a:gd name="connsiteY4" fmla="*/ 195834 h 389381"/>
                <a:gd name="connsiteX5" fmla="*/ 0 w 361187"/>
                <a:gd name="connsiteY5" fmla="*/ 194405 h 389381"/>
                <a:gd name="connsiteX6" fmla="*/ 13430 w 361187"/>
                <a:gd name="connsiteY6" fmla="*/ 118777 h 389381"/>
                <a:gd name="connsiteX7" fmla="*/ 51245 w 361187"/>
                <a:gd name="connsiteY7" fmla="*/ 56959 h 389381"/>
                <a:gd name="connsiteX8" fmla="*/ 108871 w 361187"/>
                <a:gd name="connsiteY8" fmla="*/ 15240 h 389381"/>
                <a:gd name="connsiteX9" fmla="*/ 182404 w 361187"/>
                <a:gd name="connsiteY9" fmla="*/ 0 h 389381"/>
                <a:gd name="connsiteX10" fmla="*/ 260509 w 361187"/>
                <a:gd name="connsiteY10" fmla="*/ 16288 h 389381"/>
                <a:gd name="connsiteX11" fmla="*/ 316325 w 361187"/>
                <a:gd name="connsiteY11" fmla="*/ 60103 h 389381"/>
                <a:gd name="connsiteX12" fmla="*/ 349853 w 361187"/>
                <a:gd name="connsiteY12" fmla="*/ 124015 h 389381"/>
                <a:gd name="connsiteX13" fmla="*/ 361188 w 361187"/>
                <a:gd name="connsiteY13" fmla="*/ 200692 h 389381"/>
                <a:gd name="connsiteX14" fmla="*/ 360807 w 361187"/>
                <a:gd name="connsiteY14" fmla="*/ 212312 h 389381"/>
                <a:gd name="connsiteX15" fmla="*/ 359759 w 361187"/>
                <a:gd name="connsiteY15" fmla="*/ 224695 h 389381"/>
                <a:gd name="connsiteX16" fmla="*/ 85534 w 361187"/>
                <a:gd name="connsiteY16" fmla="*/ 224695 h 389381"/>
                <a:gd name="connsiteX17" fmla="*/ 121920 w 361187"/>
                <a:gd name="connsiteY17" fmla="*/ 294989 h 389381"/>
                <a:gd name="connsiteX18" fmla="*/ 192977 w 361187"/>
                <a:gd name="connsiteY18" fmla="*/ 319373 h 389381"/>
                <a:gd name="connsiteX19" fmla="*/ 248126 w 361187"/>
                <a:gd name="connsiteY19" fmla="*/ 308038 h 389381"/>
                <a:gd name="connsiteX20" fmla="*/ 294037 w 361187"/>
                <a:gd name="connsiteY20" fmla="*/ 274796 h 389381"/>
                <a:gd name="connsiteX21" fmla="*/ 344234 w 361187"/>
                <a:gd name="connsiteY21" fmla="*/ 319278 h 389381"/>
                <a:gd name="connsiteX22" fmla="*/ 280226 w 361187"/>
                <a:gd name="connsiteY22" fmla="*/ 370141 h 389381"/>
                <a:gd name="connsiteX23" fmla="*/ 191548 w 361187"/>
                <a:gd name="connsiteY23" fmla="*/ 389191 h 389381"/>
                <a:gd name="connsiteX24" fmla="*/ 276320 w 361187"/>
                <a:gd name="connsiteY24" fmla="*/ 168211 h 389381"/>
                <a:gd name="connsiteX25" fmla="*/ 267176 w 361187"/>
                <a:gd name="connsiteY25" fmla="*/ 129730 h 389381"/>
                <a:gd name="connsiteX26" fmla="*/ 248126 w 361187"/>
                <a:gd name="connsiteY26" fmla="*/ 98679 h 389381"/>
                <a:gd name="connsiteX27" fmla="*/ 219551 w 361187"/>
                <a:gd name="connsiteY27" fmla="*/ 77819 h 389381"/>
                <a:gd name="connsiteX28" fmla="*/ 181737 w 361187"/>
                <a:gd name="connsiteY28" fmla="*/ 70009 h 389381"/>
                <a:gd name="connsiteX29" fmla="*/ 116396 w 361187"/>
                <a:gd name="connsiteY29" fmla="*/ 97250 h 389381"/>
                <a:gd name="connsiteX30" fmla="*/ 84963 w 361187"/>
                <a:gd name="connsiteY30" fmla="*/ 168307 h 389381"/>
                <a:gd name="connsiteX31" fmla="*/ 276511 w 361187"/>
                <a:gd name="connsiteY31" fmla="*/ 168307 h 38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187" h="389381">
                  <a:moveTo>
                    <a:pt x="191548" y="389382"/>
                  </a:moveTo>
                  <a:cubicBezTo>
                    <a:pt x="164687" y="389382"/>
                    <a:pt x="139637" y="384715"/>
                    <a:pt x="116300" y="375285"/>
                  </a:cubicBezTo>
                  <a:cubicBezTo>
                    <a:pt x="92964" y="365855"/>
                    <a:pt x="72771" y="352711"/>
                    <a:pt x="55531" y="335756"/>
                  </a:cubicBezTo>
                  <a:cubicBezTo>
                    <a:pt x="38291" y="318802"/>
                    <a:pt x="24765" y="298418"/>
                    <a:pt x="14859" y="274606"/>
                  </a:cubicBezTo>
                  <a:cubicBezTo>
                    <a:pt x="4953" y="250793"/>
                    <a:pt x="0" y="224599"/>
                    <a:pt x="0" y="195834"/>
                  </a:cubicBezTo>
                  <a:lnTo>
                    <a:pt x="0" y="194405"/>
                  </a:lnTo>
                  <a:cubicBezTo>
                    <a:pt x="0" y="167545"/>
                    <a:pt x="4477" y="142399"/>
                    <a:pt x="13430" y="118777"/>
                  </a:cubicBezTo>
                  <a:cubicBezTo>
                    <a:pt x="22384" y="95250"/>
                    <a:pt x="34957" y="74581"/>
                    <a:pt x="51245" y="56959"/>
                  </a:cubicBezTo>
                  <a:cubicBezTo>
                    <a:pt x="67532" y="39338"/>
                    <a:pt x="86677" y="25432"/>
                    <a:pt x="108871" y="15240"/>
                  </a:cubicBezTo>
                  <a:cubicBezTo>
                    <a:pt x="131064" y="5143"/>
                    <a:pt x="155543" y="0"/>
                    <a:pt x="182404" y="0"/>
                  </a:cubicBezTo>
                  <a:cubicBezTo>
                    <a:pt x="212122" y="0"/>
                    <a:pt x="238125" y="5429"/>
                    <a:pt x="260509" y="16288"/>
                  </a:cubicBezTo>
                  <a:cubicBezTo>
                    <a:pt x="282893" y="27146"/>
                    <a:pt x="301466" y="41719"/>
                    <a:pt x="316325" y="60103"/>
                  </a:cubicBezTo>
                  <a:cubicBezTo>
                    <a:pt x="331184" y="78486"/>
                    <a:pt x="342329" y="99822"/>
                    <a:pt x="349853" y="124015"/>
                  </a:cubicBezTo>
                  <a:cubicBezTo>
                    <a:pt x="357378" y="148304"/>
                    <a:pt x="361188" y="173831"/>
                    <a:pt x="361188" y="200692"/>
                  </a:cubicBezTo>
                  <a:cubicBezTo>
                    <a:pt x="361188" y="204502"/>
                    <a:pt x="361093" y="208312"/>
                    <a:pt x="360807" y="212312"/>
                  </a:cubicBezTo>
                  <a:cubicBezTo>
                    <a:pt x="360521" y="216313"/>
                    <a:pt x="360236" y="220409"/>
                    <a:pt x="359759" y="224695"/>
                  </a:cubicBezTo>
                  <a:lnTo>
                    <a:pt x="85534" y="224695"/>
                  </a:lnTo>
                  <a:cubicBezTo>
                    <a:pt x="90202" y="255365"/>
                    <a:pt x="102394" y="278797"/>
                    <a:pt x="121920" y="294989"/>
                  </a:cubicBezTo>
                  <a:cubicBezTo>
                    <a:pt x="141446" y="311277"/>
                    <a:pt x="165164" y="319373"/>
                    <a:pt x="192977" y="319373"/>
                  </a:cubicBezTo>
                  <a:cubicBezTo>
                    <a:pt x="214217" y="319373"/>
                    <a:pt x="232505" y="315563"/>
                    <a:pt x="248126" y="308038"/>
                  </a:cubicBezTo>
                  <a:cubicBezTo>
                    <a:pt x="263652" y="300514"/>
                    <a:pt x="278987" y="289465"/>
                    <a:pt x="294037" y="274796"/>
                  </a:cubicBezTo>
                  <a:lnTo>
                    <a:pt x="344234" y="319278"/>
                  </a:lnTo>
                  <a:cubicBezTo>
                    <a:pt x="326327" y="340519"/>
                    <a:pt x="304991" y="357473"/>
                    <a:pt x="280226" y="370141"/>
                  </a:cubicBezTo>
                  <a:cubicBezTo>
                    <a:pt x="255461" y="382810"/>
                    <a:pt x="225933" y="389191"/>
                    <a:pt x="191548" y="389191"/>
                  </a:cubicBezTo>
                  <a:close/>
                  <a:moveTo>
                    <a:pt x="276320" y="168211"/>
                  </a:moveTo>
                  <a:cubicBezTo>
                    <a:pt x="274892" y="154591"/>
                    <a:pt x="271844" y="141732"/>
                    <a:pt x="267176" y="129730"/>
                  </a:cubicBezTo>
                  <a:cubicBezTo>
                    <a:pt x="262414" y="117729"/>
                    <a:pt x="256127" y="107347"/>
                    <a:pt x="248126" y="98679"/>
                  </a:cubicBezTo>
                  <a:cubicBezTo>
                    <a:pt x="240125" y="89916"/>
                    <a:pt x="230600" y="82963"/>
                    <a:pt x="219551" y="77819"/>
                  </a:cubicBezTo>
                  <a:cubicBezTo>
                    <a:pt x="208502" y="72676"/>
                    <a:pt x="195834" y="70009"/>
                    <a:pt x="181737" y="70009"/>
                  </a:cubicBezTo>
                  <a:cubicBezTo>
                    <a:pt x="155353" y="70009"/>
                    <a:pt x="133541" y="79057"/>
                    <a:pt x="116396" y="97250"/>
                  </a:cubicBezTo>
                  <a:cubicBezTo>
                    <a:pt x="99155" y="115348"/>
                    <a:pt x="88678" y="139065"/>
                    <a:pt x="84963" y="168307"/>
                  </a:cubicBezTo>
                  <a:lnTo>
                    <a:pt x="276511" y="168307"/>
                  </a:lnTo>
                  <a:close/>
                </a:path>
              </a:pathLst>
            </a:custGeom>
            <a:solidFill>
              <a:srgbClr val="44505E"/>
            </a:solidFill>
            <a:ln w="9525" cap="flat">
              <a:noFill/>
              <a:prstDash val="solid"/>
              <a:miter/>
            </a:ln>
          </p:spPr>
          <p:txBody>
            <a:bodyPr rtlCol="0" anchor="ctr"/>
            <a:lstStyle/>
            <a:p>
              <a:endParaRPr lang="pt-BR"/>
            </a:p>
          </p:txBody>
        </p:sp>
        <p:sp>
          <p:nvSpPr>
            <p:cNvPr id="110" name="Freeform: Shape 109">
              <a:extLst>
                <a:ext uri="{FF2B5EF4-FFF2-40B4-BE49-F238E27FC236}">
                  <a16:creationId xmlns:a16="http://schemas.microsoft.com/office/drawing/2014/main" id="{73AFC208-CABB-6D40-5EE8-548C9DD56834}"/>
                </a:ext>
              </a:extLst>
            </p:cNvPr>
            <p:cNvSpPr/>
            <p:nvPr/>
          </p:nvSpPr>
          <p:spPr>
            <a:xfrm>
              <a:off x="5365659"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5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8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3 w 568166"/>
                <a:gd name="connsiteY21" fmla="*/ 381000 h 381000"/>
                <a:gd name="connsiteX22" fmla="*/ 240983 w 568166"/>
                <a:gd name="connsiteY22" fmla="*/ 168783 h 381000"/>
                <a:gd name="connsiteX23" fmla="*/ 221266 w 568166"/>
                <a:gd name="connsiteY23" fmla="*/ 101822 h 381000"/>
                <a:gd name="connsiteX24" fmla="*/ 165640 w 568166"/>
                <a:gd name="connsiteY24" fmla="*/ 78581 h 381000"/>
                <a:gd name="connsiteX25" fmla="*/ 108014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70" y="48196"/>
                    <a:pt x="105918" y="40576"/>
                  </a:cubicBezTo>
                  <a:cubicBezTo>
                    <a:pt x="112967" y="32956"/>
                    <a:pt x="121063" y="26099"/>
                    <a:pt x="130207" y="19907"/>
                  </a:cubicBezTo>
                  <a:cubicBezTo>
                    <a:pt x="139351" y="13716"/>
                    <a:pt x="149733" y="8858"/>
                    <a:pt x="161163" y="5334"/>
                  </a:cubicBezTo>
                  <a:cubicBezTo>
                    <a:pt x="172688" y="1714"/>
                    <a:pt x="185452" y="0"/>
                    <a:pt x="199549" y="0"/>
                  </a:cubicBezTo>
                  <a:cubicBezTo>
                    <a:pt x="226314" y="0"/>
                    <a:pt x="248984" y="6096"/>
                    <a:pt x="267557" y="18193"/>
                  </a:cubicBezTo>
                  <a:cubicBezTo>
                    <a:pt x="286131" y="30289"/>
                    <a:pt x="300323" y="46387"/>
                    <a:pt x="310134" y="66294"/>
                  </a:cubicBezTo>
                  <a:cubicBezTo>
                    <a:pt x="325279" y="46387"/>
                    <a:pt x="343091" y="30289"/>
                    <a:pt x="363665" y="18193"/>
                  </a:cubicBezTo>
                  <a:cubicBezTo>
                    <a:pt x="384239" y="6096"/>
                    <a:pt x="408718" y="0"/>
                    <a:pt x="437007" y="0"/>
                  </a:cubicBezTo>
                  <a:cubicBezTo>
                    <a:pt x="478060"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8" y="78486"/>
                  </a:cubicBezTo>
                  <a:cubicBezTo>
                    <a:pt x="382810" y="78486"/>
                    <a:pt x="364141" y="86392"/>
                    <a:pt x="349377" y="102108"/>
                  </a:cubicBezTo>
                  <a:cubicBezTo>
                    <a:pt x="334613" y="117824"/>
                    <a:pt x="327184" y="140779"/>
                    <a:pt x="327184" y="170879"/>
                  </a:cubicBezTo>
                  <a:lnTo>
                    <a:pt x="327184" y="381000"/>
                  </a:lnTo>
                  <a:lnTo>
                    <a:pt x="240983" y="381000"/>
                  </a:lnTo>
                  <a:lnTo>
                    <a:pt x="240983" y="168783"/>
                  </a:lnTo>
                  <a:cubicBezTo>
                    <a:pt x="240983" y="139637"/>
                    <a:pt x="234410" y="117348"/>
                    <a:pt x="221266" y="101822"/>
                  </a:cubicBezTo>
                  <a:cubicBezTo>
                    <a:pt x="208121" y="86296"/>
                    <a:pt x="189643" y="78581"/>
                    <a:pt x="165640" y="78581"/>
                  </a:cubicBezTo>
                  <a:cubicBezTo>
                    <a:pt x="141637" y="78581"/>
                    <a:pt x="122492" y="86773"/>
                    <a:pt x="108014"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1" name="Freeform: Shape 110">
              <a:extLst>
                <a:ext uri="{FF2B5EF4-FFF2-40B4-BE49-F238E27FC236}">
                  <a16:creationId xmlns:a16="http://schemas.microsoft.com/office/drawing/2014/main" id="{9B522916-9608-ABE7-688F-ACDEC7B89CED}"/>
                </a:ext>
              </a:extLst>
            </p:cNvPr>
            <p:cNvSpPr/>
            <p:nvPr/>
          </p:nvSpPr>
          <p:spPr>
            <a:xfrm>
              <a:off x="5587693" y="700007"/>
              <a:ext cx="84211" cy="95752"/>
            </a:xfrm>
            <a:custGeom>
              <a:avLst/>
              <a:gdLst>
                <a:gd name="connsiteX0" fmla="*/ 95 w 334994"/>
                <a:gd name="connsiteY0" fmla="*/ 7715 h 380904"/>
                <a:gd name="connsiteX1" fmla="*/ 86296 w 334994"/>
                <a:gd name="connsiteY1" fmla="*/ 7715 h 380904"/>
                <a:gd name="connsiteX2" fmla="*/ 86296 w 334994"/>
                <a:gd name="connsiteY2" fmla="*/ 66294 h 380904"/>
                <a:gd name="connsiteX3" fmla="*/ 106394 w 334994"/>
                <a:gd name="connsiteY3" fmla="*/ 40958 h 380904"/>
                <a:gd name="connsiteX4" fmla="*/ 131731 w 334994"/>
                <a:gd name="connsiteY4" fmla="*/ 19907 h 380904"/>
                <a:gd name="connsiteX5" fmla="*/ 163449 w 334994"/>
                <a:gd name="connsiteY5" fmla="*/ 5334 h 380904"/>
                <a:gd name="connsiteX6" fmla="*/ 202597 w 334994"/>
                <a:gd name="connsiteY6" fmla="*/ 0 h 380904"/>
                <a:gd name="connsiteX7" fmla="*/ 300514 w 334994"/>
                <a:gd name="connsiteY7" fmla="*/ 38862 h 380904"/>
                <a:gd name="connsiteX8" fmla="*/ 334994 w 334994"/>
                <a:gd name="connsiteY8" fmla="*/ 143446 h 380904"/>
                <a:gd name="connsiteX9" fmla="*/ 334994 w 334994"/>
                <a:gd name="connsiteY9" fmla="*/ 380905 h 380904"/>
                <a:gd name="connsiteX10" fmla="*/ 248793 w 334994"/>
                <a:gd name="connsiteY10" fmla="*/ 380905 h 380904"/>
                <a:gd name="connsiteX11" fmla="*/ 248793 w 334994"/>
                <a:gd name="connsiteY11" fmla="*/ 169450 h 380904"/>
                <a:gd name="connsiteX12" fmla="*/ 228124 w 334994"/>
                <a:gd name="connsiteY12" fmla="*/ 102108 h 380904"/>
                <a:gd name="connsiteX13" fmla="*/ 169640 w 334994"/>
                <a:gd name="connsiteY13" fmla="*/ 78486 h 380904"/>
                <a:gd name="connsiteX14" fmla="*/ 109347 w 334994"/>
                <a:gd name="connsiteY14" fmla="*/ 102775 h 380904"/>
                <a:gd name="connsiteX15" fmla="*/ 86201 w 334994"/>
                <a:gd name="connsiteY15" fmla="*/ 170783 h 380904"/>
                <a:gd name="connsiteX16" fmla="*/ 86201 w 334994"/>
                <a:gd name="connsiteY16" fmla="*/ 380905 h 380904"/>
                <a:gd name="connsiteX17" fmla="*/ 0 w 334994"/>
                <a:gd name="connsiteY17" fmla="*/ 380905 h 380904"/>
                <a:gd name="connsiteX18" fmla="*/ 0 w 334994"/>
                <a:gd name="connsiteY18" fmla="*/ 7810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4994" h="380904">
                  <a:moveTo>
                    <a:pt x="95" y="7715"/>
                  </a:moveTo>
                  <a:lnTo>
                    <a:pt x="86296" y="7715"/>
                  </a:lnTo>
                  <a:lnTo>
                    <a:pt x="86296" y="66294"/>
                  </a:lnTo>
                  <a:cubicBezTo>
                    <a:pt x="92392" y="57245"/>
                    <a:pt x="99060" y="48863"/>
                    <a:pt x="106394" y="40958"/>
                  </a:cubicBezTo>
                  <a:cubicBezTo>
                    <a:pt x="113633" y="33147"/>
                    <a:pt x="122110" y="26099"/>
                    <a:pt x="131731" y="19907"/>
                  </a:cubicBezTo>
                  <a:cubicBezTo>
                    <a:pt x="141351" y="13716"/>
                    <a:pt x="151924" y="8858"/>
                    <a:pt x="163449" y="5334"/>
                  </a:cubicBezTo>
                  <a:cubicBezTo>
                    <a:pt x="174974" y="1714"/>
                    <a:pt x="188024" y="0"/>
                    <a:pt x="202597" y="0"/>
                  </a:cubicBezTo>
                  <a:cubicBezTo>
                    <a:pt x="244888" y="0"/>
                    <a:pt x="277559" y="12954"/>
                    <a:pt x="300514" y="38862"/>
                  </a:cubicBezTo>
                  <a:cubicBezTo>
                    <a:pt x="323564" y="64770"/>
                    <a:pt x="334994" y="99631"/>
                    <a:pt x="334994" y="143446"/>
                  </a:cubicBezTo>
                  <a:lnTo>
                    <a:pt x="334994" y="380905"/>
                  </a:lnTo>
                  <a:lnTo>
                    <a:pt x="248793" y="380905"/>
                  </a:lnTo>
                  <a:lnTo>
                    <a:pt x="248793" y="169450"/>
                  </a:lnTo>
                  <a:cubicBezTo>
                    <a:pt x="248793" y="140303"/>
                    <a:pt x="241935" y="117824"/>
                    <a:pt x="228124" y="102108"/>
                  </a:cubicBezTo>
                  <a:cubicBezTo>
                    <a:pt x="214313" y="86392"/>
                    <a:pt x="194881" y="78486"/>
                    <a:pt x="169640" y="78486"/>
                  </a:cubicBezTo>
                  <a:cubicBezTo>
                    <a:pt x="144399" y="78486"/>
                    <a:pt x="124777" y="86582"/>
                    <a:pt x="109347" y="102775"/>
                  </a:cubicBezTo>
                  <a:cubicBezTo>
                    <a:pt x="93917" y="118967"/>
                    <a:pt x="86201" y="141637"/>
                    <a:pt x="86201" y="170783"/>
                  </a:cubicBezTo>
                  <a:lnTo>
                    <a:pt x="86201" y="380905"/>
                  </a:lnTo>
                  <a:lnTo>
                    <a:pt x="0" y="380905"/>
                  </a:lnTo>
                  <a:lnTo>
                    <a:pt x="0" y="7810"/>
                  </a:lnTo>
                  <a:close/>
                </a:path>
              </a:pathLst>
            </a:custGeom>
            <a:solidFill>
              <a:srgbClr val="44505E"/>
            </a:solidFill>
            <a:ln w="9525" cap="flat">
              <a:noFill/>
              <a:prstDash val="solid"/>
              <a:miter/>
            </a:ln>
          </p:spPr>
          <p:txBody>
            <a:bodyPr rtlCol="0" anchor="ctr"/>
            <a:lstStyle/>
            <a:p>
              <a:endParaRPr lang="pt-BR"/>
            </a:p>
          </p:txBody>
        </p:sp>
        <p:sp>
          <p:nvSpPr>
            <p:cNvPr id="112" name="Freeform: Shape 111">
              <a:extLst>
                <a:ext uri="{FF2B5EF4-FFF2-40B4-BE49-F238E27FC236}">
                  <a16:creationId xmlns:a16="http://schemas.microsoft.com/office/drawing/2014/main" id="{239A6F84-B78E-5A20-56EA-1C5C5C449C12}"/>
                </a:ext>
              </a:extLst>
            </p:cNvPr>
            <p:cNvSpPr/>
            <p:nvPr/>
          </p:nvSpPr>
          <p:spPr>
            <a:xfrm>
              <a:off x="5692712" y="699959"/>
              <a:ext cx="100015" cy="97908"/>
            </a:xfrm>
            <a:custGeom>
              <a:avLst/>
              <a:gdLst>
                <a:gd name="connsiteX0" fmla="*/ 197834 w 397859"/>
                <a:gd name="connsiteY0" fmla="*/ 389477 h 389477"/>
                <a:gd name="connsiteX1" fmla="*/ 119063 w 397859"/>
                <a:gd name="connsiteY1" fmla="*/ 374237 h 389477"/>
                <a:gd name="connsiteX2" fmla="*/ 56197 w 397859"/>
                <a:gd name="connsiteY2" fmla="*/ 332899 h 389477"/>
                <a:gd name="connsiteX3" fmla="*/ 14859 w 397859"/>
                <a:gd name="connsiteY3" fmla="*/ 271463 h 389477"/>
                <a:gd name="connsiteX4" fmla="*/ 0 w 397859"/>
                <a:gd name="connsiteY4" fmla="*/ 196501 h 389477"/>
                <a:gd name="connsiteX5" fmla="*/ 0 w 397859"/>
                <a:gd name="connsiteY5" fmla="*/ 195072 h 389477"/>
                <a:gd name="connsiteX6" fmla="*/ 15145 w 397859"/>
                <a:gd name="connsiteY6" fmla="*/ 119444 h 389477"/>
                <a:gd name="connsiteX7" fmla="*/ 56864 w 397859"/>
                <a:gd name="connsiteY7" fmla="*/ 57626 h 389477"/>
                <a:gd name="connsiteX8" fmla="*/ 119729 w 397859"/>
                <a:gd name="connsiteY8" fmla="*/ 15526 h 389477"/>
                <a:gd name="connsiteX9" fmla="*/ 199263 w 397859"/>
                <a:gd name="connsiteY9" fmla="*/ 0 h 389477"/>
                <a:gd name="connsiteX10" fmla="*/ 278797 w 397859"/>
                <a:gd name="connsiteY10" fmla="*/ 15240 h 389477"/>
                <a:gd name="connsiteX11" fmla="*/ 341662 w 397859"/>
                <a:gd name="connsiteY11" fmla="*/ 56959 h 389477"/>
                <a:gd name="connsiteX12" fmla="*/ 383000 w 397859"/>
                <a:gd name="connsiteY12" fmla="*/ 118396 h 389477"/>
                <a:gd name="connsiteX13" fmla="*/ 397859 w 397859"/>
                <a:gd name="connsiteY13" fmla="*/ 193643 h 389477"/>
                <a:gd name="connsiteX14" fmla="*/ 397859 w 397859"/>
                <a:gd name="connsiteY14" fmla="*/ 195072 h 389477"/>
                <a:gd name="connsiteX15" fmla="*/ 382619 w 397859"/>
                <a:gd name="connsiteY15" fmla="*/ 270034 h 389477"/>
                <a:gd name="connsiteX16" fmla="*/ 340900 w 397859"/>
                <a:gd name="connsiteY16" fmla="*/ 331851 h 389477"/>
                <a:gd name="connsiteX17" fmla="*/ 277654 w 397859"/>
                <a:gd name="connsiteY17" fmla="*/ 373856 h 389477"/>
                <a:gd name="connsiteX18" fmla="*/ 197834 w 397859"/>
                <a:gd name="connsiteY18" fmla="*/ 389382 h 389477"/>
                <a:gd name="connsiteX19" fmla="*/ 199263 w 397859"/>
                <a:gd name="connsiteY19" fmla="*/ 315278 h 389477"/>
                <a:gd name="connsiteX20" fmla="*/ 245935 w 397859"/>
                <a:gd name="connsiteY20" fmla="*/ 305753 h 389477"/>
                <a:gd name="connsiteX21" fmla="*/ 281368 w 397859"/>
                <a:gd name="connsiteY21" fmla="*/ 279940 h 389477"/>
                <a:gd name="connsiteX22" fmla="*/ 303847 w 397859"/>
                <a:gd name="connsiteY22" fmla="*/ 242125 h 389477"/>
                <a:gd name="connsiteX23" fmla="*/ 311563 w 397859"/>
                <a:gd name="connsiteY23" fmla="*/ 196501 h 389477"/>
                <a:gd name="connsiteX24" fmla="*/ 311563 w 397859"/>
                <a:gd name="connsiteY24" fmla="*/ 195072 h 389477"/>
                <a:gd name="connsiteX25" fmla="*/ 303181 w 397859"/>
                <a:gd name="connsiteY25" fmla="*/ 148400 h 389477"/>
                <a:gd name="connsiteX26" fmla="*/ 279654 w 397859"/>
                <a:gd name="connsiteY26" fmla="*/ 110204 h 389477"/>
                <a:gd name="connsiteX27" fmla="*/ 243840 w 397859"/>
                <a:gd name="connsiteY27" fmla="*/ 84392 h 389477"/>
                <a:gd name="connsiteX28" fmla="*/ 197834 w 397859"/>
                <a:gd name="connsiteY28" fmla="*/ 74867 h 389477"/>
                <a:gd name="connsiteX29" fmla="*/ 151829 w 397859"/>
                <a:gd name="connsiteY29" fmla="*/ 84392 h 389477"/>
                <a:gd name="connsiteX30" fmla="*/ 116396 w 397859"/>
                <a:gd name="connsiteY30" fmla="*/ 109823 h 389477"/>
                <a:gd name="connsiteX31" fmla="*/ 93917 w 397859"/>
                <a:gd name="connsiteY31" fmla="*/ 147638 h 389477"/>
                <a:gd name="connsiteX32" fmla="*/ 86201 w 397859"/>
                <a:gd name="connsiteY32" fmla="*/ 193548 h 389477"/>
                <a:gd name="connsiteX33" fmla="*/ 86201 w 397859"/>
                <a:gd name="connsiteY33" fmla="*/ 194977 h 389477"/>
                <a:gd name="connsiteX34" fmla="*/ 94583 w 397859"/>
                <a:gd name="connsiteY34" fmla="*/ 241268 h 389477"/>
                <a:gd name="connsiteX35" fmla="*/ 118110 w 397859"/>
                <a:gd name="connsiteY35" fmla="*/ 279463 h 389477"/>
                <a:gd name="connsiteX36" fmla="*/ 153924 w 397859"/>
                <a:gd name="connsiteY36" fmla="*/ 305562 h 389477"/>
                <a:gd name="connsiteX37" fmla="*/ 199263 w 397859"/>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859" h="389477">
                  <a:moveTo>
                    <a:pt x="197834" y="389477"/>
                  </a:moveTo>
                  <a:cubicBezTo>
                    <a:pt x="169545" y="389477"/>
                    <a:pt x="143351" y="384429"/>
                    <a:pt x="119063" y="374237"/>
                  </a:cubicBezTo>
                  <a:cubicBezTo>
                    <a:pt x="94774" y="364141"/>
                    <a:pt x="73819" y="350330"/>
                    <a:pt x="56197" y="332899"/>
                  </a:cubicBezTo>
                  <a:cubicBezTo>
                    <a:pt x="38481" y="315468"/>
                    <a:pt x="24765" y="294989"/>
                    <a:pt x="14859" y="271463"/>
                  </a:cubicBezTo>
                  <a:cubicBezTo>
                    <a:pt x="4953" y="247936"/>
                    <a:pt x="0" y="222980"/>
                    <a:pt x="0" y="196501"/>
                  </a:cubicBezTo>
                  <a:lnTo>
                    <a:pt x="0" y="195072"/>
                  </a:lnTo>
                  <a:cubicBezTo>
                    <a:pt x="0" y="168212"/>
                    <a:pt x="5048" y="143066"/>
                    <a:pt x="15145" y="119444"/>
                  </a:cubicBezTo>
                  <a:cubicBezTo>
                    <a:pt x="25241" y="95917"/>
                    <a:pt x="39148" y="75248"/>
                    <a:pt x="56864" y="57626"/>
                  </a:cubicBezTo>
                  <a:cubicBezTo>
                    <a:pt x="74581" y="39910"/>
                    <a:pt x="95536" y="25908"/>
                    <a:pt x="119729" y="15526"/>
                  </a:cubicBezTo>
                  <a:cubicBezTo>
                    <a:pt x="144018" y="5144"/>
                    <a:pt x="170497" y="0"/>
                    <a:pt x="199263" y="0"/>
                  </a:cubicBezTo>
                  <a:cubicBezTo>
                    <a:pt x="228029" y="0"/>
                    <a:pt x="254508" y="5048"/>
                    <a:pt x="278797" y="15240"/>
                  </a:cubicBezTo>
                  <a:cubicBezTo>
                    <a:pt x="303085" y="25337"/>
                    <a:pt x="324041" y="39243"/>
                    <a:pt x="341662" y="56959"/>
                  </a:cubicBezTo>
                  <a:cubicBezTo>
                    <a:pt x="359378" y="74676"/>
                    <a:pt x="373094" y="95155"/>
                    <a:pt x="383000" y="118396"/>
                  </a:cubicBezTo>
                  <a:cubicBezTo>
                    <a:pt x="392906" y="141732"/>
                    <a:pt x="397859" y="166783"/>
                    <a:pt x="397859" y="193643"/>
                  </a:cubicBezTo>
                  <a:lnTo>
                    <a:pt x="397859" y="195072"/>
                  </a:lnTo>
                  <a:cubicBezTo>
                    <a:pt x="397859" y="221456"/>
                    <a:pt x="392811" y="246412"/>
                    <a:pt x="382619" y="270034"/>
                  </a:cubicBezTo>
                  <a:cubicBezTo>
                    <a:pt x="372523" y="293561"/>
                    <a:pt x="358616" y="314230"/>
                    <a:pt x="340900" y="331851"/>
                  </a:cubicBezTo>
                  <a:cubicBezTo>
                    <a:pt x="323183" y="349472"/>
                    <a:pt x="302133" y="363569"/>
                    <a:pt x="277654" y="373856"/>
                  </a:cubicBezTo>
                  <a:cubicBezTo>
                    <a:pt x="253175" y="384238"/>
                    <a:pt x="226504" y="389382"/>
                    <a:pt x="197834" y="389382"/>
                  </a:cubicBezTo>
                  <a:close/>
                  <a:moveTo>
                    <a:pt x="199263" y="315278"/>
                  </a:moveTo>
                  <a:cubicBezTo>
                    <a:pt x="216598" y="315278"/>
                    <a:pt x="232124" y="312039"/>
                    <a:pt x="245935" y="305753"/>
                  </a:cubicBezTo>
                  <a:cubicBezTo>
                    <a:pt x="259747" y="299371"/>
                    <a:pt x="271558" y="290798"/>
                    <a:pt x="281368" y="279940"/>
                  </a:cubicBezTo>
                  <a:cubicBezTo>
                    <a:pt x="291179" y="269081"/>
                    <a:pt x="298704" y="256508"/>
                    <a:pt x="303847" y="242125"/>
                  </a:cubicBezTo>
                  <a:cubicBezTo>
                    <a:pt x="308991" y="227743"/>
                    <a:pt x="311563" y="212598"/>
                    <a:pt x="311563" y="196501"/>
                  </a:cubicBezTo>
                  <a:lnTo>
                    <a:pt x="311563" y="195072"/>
                  </a:lnTo>
                  <a:cubicBezTo>
                    <a:pt x="311563" y="178594"/>
                    <a:pt x="308800" y="163068"/>
                    <a:pt x="303181" y="148400"/>
                  </a:cubicBezTo>
                  <a:cubicBezTo>
                    <a:pt x="297561" y="133826"/>
                    <a:pt x="289750" y="121063"/>
                    <a:pt x="279654" y="110204"/>
                  </a:cubicBezTo>
                  <a:cubicBezTo>
                    <a:pt x="269558" y="99346"/>
                    <a:pt x="257651" y="90773"/>
                    <a:pt x="243840" y="84392"/>
                  </a:cubicBezTo>
                  <a:cubicBezTo>
                    <a:pt x="230029" y="78010"/>
                    <a:pt x="214693" y="74867"/>
                    <a:pt x="197834" y="74867"/>
                  </a:cubicBezTo>
                  <a:cubicBezTo>
                    <a:pt x="180975" y="74867"/>
                    <a:pt x="165640" y="78010"/>
                    <a:pt x="151829" y="84392"/>
                  </a:cubicBezTo>
                  <a:cubicBezTo>
                    <a:pt x="138017" y="90773"/>
                    <a:pt x="126206" y="99250"/>
                    <a:pt x="116396" y="109823"/>
                  </a:cubicBezTo>
                  <a:cubicBezTo>
                    <a:pt x="106585" y="120396"/>
                    <a:pt x="99060" y="133064"/>
                    <a:pt x="93917" y="147638"/>
                  </a:cubicBezTo>
                  <a:cubicBezTo>
                    <a:pt x="88773" y="162211"/>
                    <a:pt x="86201" y="177546"/>
                    <a:pt x="86201" y="193548"/>
                  </a:cubicBezTo>
                  <a:lnTo>
                    <a:pt x="86201" y="194977"/>
                  </a:lnTo>
                  <a:cubicBezTo>
                    <a:pt x="86201" y="211455"/>
                    <a:pt x="88963" y="226886"/>
                    <a:pt x="94583" y="241268"/>
                  </a:cubicBezTo>
                  <a:cubicBezTo>
                    <a:pt x="100203" y="255651"/>
                    <a:pt x="108013" y="268319"/>
                    <a:pt x="118110" y="279463"/>
                  </a:cubicBezTo>
                  <a:cubicBezTo>
                    <a:pt x="128206" y="290513"/>
                    <a:pt x="140113" y="299275"/>
                    <a:pt x="153924" y="305562"/>
                  </a:cubicBezTo>
                  <a:cubicBezTo>
                    <a:pt x="167735" y="311944"/>
                    <a:pt x="182880"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13" name="Freeform: Shape 112">
              <a:extLst>
                <a:ext uri="{FF2B5EF4-FFF2-40B4-BE49-F238E27FC236}">
                  <a16:creationId xmlns:a16="http://schemas.microsoft.com/office/drawing/2014/main" id="{F3FA7DD4-0180-B7D2-E233-5F2AEACF0205}"/>
                </a:ext>
              </a:extLst>
            </p:cNvPr>
            <p:cNvSpPr/>
            <p:nvPr/>
          </p:nvSpPr>
          <p:spPr>
            <a:xfrm>
              <a:off x="5806925"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2 w 296894"/>
                <a:gd name="connsiteY36" fmla="*/ 224980 h 386714"/>
                <a:gd name="connsiteX37" fmla="*/ 296894 w 296894"/>
                <a:gd name="connsiteY37" fmla="*/ 267938 h 386714"/>
                <a:gd name="connsiteX38" fmla="*/ 296894 w 296894"/>
                <a:gd name="connsiteY38" fmla="*/ 269367 h 386714"/>
                <a:gd name="connsiteX39" fmla="*/ 286322 w 296894"/>
                <a:gd name="connsiteY39" fmla="*/ 320897 h 386714"/>
                <a:gd name="connsiteX40" fmla="*/ 256984 w 296894"/>
                <a:gd name="connsiteY40" fmla="*/ 357188 h 386714"/>
                <a:gd name="connsiteX41" fmla="*/ 212789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8" y="298704"/>
                    <a:pt x="100013" y="306514"/>
                  </a:cubicBezTo>
                  <a:cubicBezTo>
                    <a:pt x="120967" y="314325"/>
                    <a:pt x="141161" y="318135"/>
                    <a:pt x="160401" y="318135"/>
                  </a:cubicBezTo>
                  <a:cubicBezTo>
                    <a:pt x="179642" y="318135"/>
                    <a:pt x="192976"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2" y="241078"/>
                    <a:pt x="176498" y="237553"/>
                    <a:pt x="166402" y="234220"/>
                  </a:cubicBezTo>
                  <a:cubicBezTo>
                    <a:pt x="156305" y="230886"/>
                    <a:pt x="145733" y="227647"/>
                    <a:pt x="134969" y="224314"/>
                  </a:cubicBezTo>
                  <a:cubicBezTo>
                    <a:pt x="121253" y="220599"/>
                    <a:pt x="107537" y="216122"/>
                    <a:pt x="93631" y="210884"/>
                  </a:cubicBezTo>
                  <a:cubicBezTo>
                    <a:pt x="79724" y="205740"/>
                    <a:pt x="67246" y="198977"/>
                    <a:pt x="56197" y="190786"/>
                  </a:cubicBezTo>
                  <a:cubicBezTo>
                    <a:pt x="45149" y="182594"/>
                    <a:pt x="36100" y="172307"/>
                    <a:pt x="28956" y="160115"/>
                  </a:cubicBezTo>
                  <a:cubicBezTo>
                    <a:pt x="21908"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5"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7" y="156210"/>
                    <a:pt x="180975" y="159448"/>
                  </a:cubicBezTo>
                  <a:cubicBezTo>
                    <a:pt x="194596" y="163639"/>
                    <a:pt x="208312" y="168592"/>
                    <a:pt x="222028" y="174212"/>
                  </a:cubicBezTo>
                  <a:cubicBezTo>
                    <a:pt x="235649" y="179832"/>
                    <a:pt x="248031" y="186785"/>
                    <a:pt x="259080" y="194977"/>
                  </a:cubicBezTo>
                  <a:cubicBezTo>
                    <a:pt x="270129" y="203168"/>
                    <a:pt x="279273" y="213169"/>
                    <a:pt x="286322" y="224980"/>
                  </a:cubicBezTo>
                  <a:cubicBezTo>
                    <a:pt x="293370" y="236696"/>
                    <a:pt x="296894" y="251079"/>
                    <a:pt x="296894" y="267938"/>
                  </a:cubicBezTo>
                  <a:lnTo>
                    <a:pt x="296894" y="269367"/>
                  </a:lnTo>
                  <a:cubicBezTo>
                    <a:pt x="296894" y="289084"/>
                    <a:pt x="293370" y="306229"/>
                    <a:pt x="286322" y="320897"/>
                  </a:cubicBezTo>
                  <a:cubicBezTo>
                    <a:pt x="279273" y="335470"/>
                    <a:pt x="269462" y="347567"/>
                    <a:pt x="256984" y="357188"/>
                  </a:cubicBezTo>
                  <a:cubicBezTo>
                    <a:pt x="244507" y="366808"/>
                    <a:pt x="229743" y="374142"/>
                    <a:pt x="212789"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4" name="Freeform: Shape 113">
              <a:extLst>
                <a:ext uri="{FF2B5EF4-FFF2-40B4-BE49-F238E27FC236}">
                  <a16:creationId xmlns:a16="http://schemas.microsoft.com/office/drawing/2014/main" id="{C56DEF46-8D32-3683-CC94-E8A52B1E9E6D}"/>
                </a:ext>
              </a:extLst>
            </p:cNvPr>
            <p:cNvSpPr/>
            <p:nvPr/>
          </p:nvSpPr>
          <p:spPr>
            <a:xfrm>
              <a:off x="589573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6 w 296894"/>
                <a:gd name="connsiteY9" fmla="*/ 258223 h 386714"/>
                <a:gd name="connsiteX10" fmla="*/ 193262 w 296894"/>
                <a:gd name="connsiteY10" fmla="*/ 244792 h 386714"/>
                <a:gd name="connsiteX11" fmla="*/ 166402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6 w 296894"/>
                <a:gd name="connsiteY23" fmla="*/ 42863 h 386714"/>
                <a:gd name="connsiteX24" fmla="*/ 254317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8 w 296894"/>
                <a:gd name="connsiteY30" fmla="*/ 124587 h 386714"/>
                <a:gd name="connsiteX31" fmla="*/ 122682 w 296894"/>
                <a:gd name="connsiteY31" fmla="*/ 138017 h 386714"/>
                <a:gd name="connsiteX32" fmla="*/ 149542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160" y="318135"/>
                    <a:pt x="160401" y="318135"/>
                  </a:cubicBezTo>
                  <a:cubicBezTo>
                    <a:pt x="179641" y="318135"/>
                    <a:pt x="192976"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779" y="0"/>
                    <a:pt x="151162" y="0"/>
                  </a:cubicBezTo>
                  <a:cubicBezTo>
                    <a:pt x="174688" y="0"/>
                    <a:pt x="198501" y="3810"/>
                    <a:pt x="222504" y="11430"/>
                  </a:cubicBezTo>
                  <a:cubicBezTo>
                    <a:pt x="246507" y="19050"/>
                    <a:pt x="268414" y="29527"/>
                    <a:pt x="288226" y="42863"/>
                  </a:cubicBezTo>
                  <a:lnTo>
                    <a:pt x="254317" y="103918"/>
                  </a:lnTo>
                  <a:cubicBezTo>
                    <a:pt x="236410"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8" y="124587"/>
                  </a:cubicBezTo>
                  <a:cubicBezTo>
                    <a:pt x="108585" y="129540"/>
                    <a:pt x="114871" y="134017"/>
                    <a:pt x="122682" y="138017"/>
                  </a:cubicBezTo>
                  <a:cubicBezTo>
                    <a:pt x="130492" y="142018"/>
                    <a:pt x="139351" y="145732"/>
                    <a:pt x="149542"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792"/>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15" name="Freeform: Shape 114">
              <a:extLst>
                <a:ext uri="{FF2B5EF4-FFF2-40B4-BE49-F238E27FC236}">
                  <a16:creationId xmlns:a16="http://schemas.microsoft.com/office/drawing/2014/main" id="{8DEBC000-2297-4724-ACE5-E1ECEF8478F7}"/>
                </a:ext>
              </a:extLst>
            </p:cNvPr>
            <p:cNvSpPr/>
            <p:nvPr/>
          </p:nvSpPr>
          <p:spPr>
            <a:xfrm>
              <a:off x="5985812" y="700558"/>
              <a:ext cx="85097" cy="97141"/>
            </a:xfrm>
            <a:custGeom>
              <a:avLst/>
              <a:gdLst>
                <a:gd name="connsiteX0" fmla="*/ 253651 w 338518"/>
                <a:gd name="connsiteY0" fmla="*/ 378619 h 386429"/>
                <a:gd name="connsiteX1" fmla="*/ 253651 w 338518"/>
                <a:gd name="connsiteY1" fmla="*/ 332708 h 386429"/>
                <a:gd name="connsiteX2" fmla="*/ 204883 w 338518"/>
                <a:gd name="connsiteY2" fmla="*/ 370904 h 386429"/>
                <a:gd name="connsiteX3" fmla="*/ 132779 w 338518"/>
                <a:gd name="connsiteY3" fmla="*/ 386429 h 386429"/>
                <a:gd name="connsiteX4" fmla="*/ 81915 w 338518"/>
                <a:gd name="connsiteY4" fmla="*/ 379000 h 386429"/>
                <a:gd name="connsiteX5" fmla="*/ 39910 w 338518"/>
                <a:gd name="connsiteY5" fmla="*/ 357092 h 386429"/>
                <a:gd name="connsiteX6" fmla="*/ 10954 w 338518"/>
                <a:gd name="connsiteY6" fmla="*/ 321088 h 386429"/>
                <a:gd name="connsiteX7" fmla="*/ 0 w 338518"/>
                <a:gd name="connsiteY7" fmla="*/ 271272 h 386429"/>
                <a:gd name="connsiteX8" fmla="*/ 0 w 338518"/>
                <a:gd name="connsiteY8" fmla="*/ 269843 h 386429"/>
                <a:gd name="connsiteX9" fmla="*/ 11335 w 338518"/>
                <a:gd name="connsiteY9" fmla="*/ 215741 h 386429"/>
                <a:gd name="connsiteX10" fmla="*/ 42767 w 338518"/>
                <a:gd name="connsiteY10" fmla="*/ 177546 h 386429"/>
                <a:gd name="connsiteX11" fmla="*/ 90773 w 338518"/>
                <a:gd name="connsiteY11" fmla="*/ 154972 h 386429"/>
                <a:gd name="connsiteX12" fmla="*/ 151162 w 338518"/>
                <a:gd name="connsiteY12" fmla="*/ 147542 h 386429"/>
                <a:gd name="connsiteX13" fmla="*/ 208788 w 338518"/>
                <a:gd name="connsiteY13" fmla="*/ 151829 h 386429"/>
                <a:gd name="connsiteX14" fmla="*/ 254413 w 338518"/>
                <a:gd name="connsiteY14" fmla="*/ 163163 h 386429"/>
                <a:gd name="connsiteX15" fmla="*/ 254413 w 338518"/>
                <a:gd name="connsiteY15" fmla="*/ 156115 h 386429"/>
                <a:gd name="connsiteX16" fmla="*/ 230696 w 338518"/>
                <a:gd name="connsiteY16" fmla="*/ 96774 h 386429"/>
                <a:gd name="connsiteX17" fmla="*/ 162496 w 338518"/>
                <a:gd name="connsiteY17" fmla="*/ 76295 h 386429"/>
                <a:gd name="connsiteX18" fmla="*/ 106013 w 338518"/>
                <a:gd name="connsiteY18" fmla="*/ 82677 h 386429"/>
                <a:gd name="connsiteX19" fmla="*/ 55816 w 338518"/>
                <a:gd name="connsiteY19" fmla="*/ 99632 h 386429"/>
                <a:gd name="connsiteX20" fmla="*/ 32480 w 338518"/>
                <a:gd name="connsiteY20" fmla="*/ 31052 h 386429"/>
                <a:gd name="connsiteX21" fmla="*/ 96107 w 338518"/>
                <a:gd name="connsiteY21" fmla="*/ 8477 h 386429"/>
                <a:gd name="connsiteX22" fmla="*/ 174593 w 338518"/>
                <a:gd name="connsiteY22" fmla="*/ 0 h 386429"/>
                <a:gd name="connsiteX23" fmla="*/ 298228 w 338518"/>
                <a:gd name="connsiteY23" fmla="*/ 41338 h 386429"/>
                <a:gd name="connsiteX24" fmla="*/ 338519 w 338518"/>
                <a:gd name="connsiteY24" fmla="*/ 157544 h 386429"/>
                <a:gd name="connsiteX25" fmla="*/ 338519 w 338518"/>
                <a:gd name="connsiteY25" fmla="*/ 378714 h 386429"/>
                <a:gd name="connsiteX26" fmla="*/ 253746 w 338518"/>
                <a:gd name="connsiteY26" fmla="*/ 378714 h 386429"/>
                <a:gd name="connsiteX27" fmla="*/ 255746 w 338518"/>
                <a:gd name="connsiteY27" fmla="*/ 222409 h 386429"/>
                <a:gd name="connsiteX28" fmla="*/ 217265 w 338518"/>
                <a:gd name="connsiteY28" fmla="*/ 211836 h 386429"/>
                <a:gd name="connsiteX29" fmla="*/ 170307 w 338518"/>
                <a:gd name="connsiteY29" fmla="*/ 207550 h 386429"/>
                <a:gd name="connsiteX30" fmla="*/ 107442 w 338518"/>
                <a:gd name="connsiteY30" fmla="*/ 223075 h 386429"/>
                <a:gd name="connsiteX31" fmla="*/ 84868 w 338518"/>
                <a:gd name="connsiteY31" fmla="*/ 265462 h 386429"/>
                <a:gd name="connsiteX32" fmla="*/ 84868 w 338518"/>
                <a:gd name="connsiteY32" fmla="*/ 266891 h 386429"/>
                <a:gd name="connsiteX33" fmla="*/ 105728 w 338518"/>
                <a:gd name="connsiteY33" fmla="*/ 307848 h 386429"/>
                <a:gd name="connsiteX34" fmla="*/ 156972 w 338518"/>
                <a:gd name="connsiteY34" fmla="*/ 321945 h 386429"/>
                <a:gd name="connsiteX35" fmla="*/ 196215 w 338518"/>
                <a:gd name="connsiteY35" fmla="*/ 316325 h 386429"/>
                <a:gd name="connsiteX36" fmla="*/ 227647 w 338518"/>
                <a:gd name="connsiteY36" fmla="*/ 300419 h 386429"/>
                <a:gd name="connsiteX37" fmla="*/ 248507 w 338518"/>
                <a:gd name="connsiteY37" fmla="*/ 275654 h 386429"/>
                <a:gd name="connsiteX38" fmla="*/ 255937 w 338518"/>
                <a:gd name="connsiteY38" fmla="*/ 243459 h 386429"/>
                <a:gd name="connsiteX39" fmla="*/ 255937 w 338518"/>
                <a:gd name="connsiteY39" fmla="*/ 222218 h 3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8518" h="386429">
                  <a:moveTo>
                    <a:pt x="253651" y="378619"/>
                  </a:moveTo>
                  <a:lnTo>
                    <a:pt x="253651" y="332708"/>
                  </a:lnTo>
                  <a:cubicBezTo>
                    <a:pt x="240887" y="347758"/>
                    <a:pt x="224695" y="360521"/>
                    <a:pt x="204883" y="370904"/>
                  </a:cubicBezTo>
                  <a:cubicBezTo>
                    <a:pt x="185071" y="381286"/>
                    <a:pt x="161068" y="386429"/>
                    <a:pt x="132779" y="386429"/>
                  </a:cubicBezTo>
                  <a:cubicBezTo>
                    <a:pt x="114871" y="386429"/>
                    <a:pt x="97917" y="383953"/>
                    <a:pt x="81915" y="379000"/>
                  </a:cubicBezTo>
                  <a:cubicBezTo>
                    <a:pt x="65913" y="374047"/>
                    <a:pt x="51911" y="366713"/>
                    <a:pt x="39910" y="357092"/>
                  </a:cubicBezTo>
                  <a:cubicBezTo>
                    <a:pt x="27908" y="347472"/>
                    <a:pt x="18193" y="335471"/>
                    <a:pt x="10954" y="321088"/>
                  </a:cubicBezTo>
                  <a:cubicBezTo>
                    <a:pt x="3620" y="306705"/>
                    <a:pt x="0" y="290132"/>
                    <a:pt x="0" y="271272"/>
                  </a:cubicBezTo>
                  <a:lnTo>
                    <a:pt x="0" y="269843"/>
                  </a:lnTo>
                  <a:cubicBezTo>
                    <a:pt x="0" y="249079"/>
                    <a:pt x="3810" y="231077"/>
                    <a:pt x="11335" y="215741"/>
                  </a:cubicBezTo>
                  <a:cubicBezTo>
                    <a:pt x="18859" y="200406"/>
                    <a:pt x="29337" y="187738"/>
                    <a:pt x="42767" y="177546"/>
                  </a:cubicBezTo>
                  <a:cubicBezTo>
                    <a:pt x="56197" y="167450"/>
                    <a:pt x="72199" y="159925"/>
                    <a:pt x="90773" y="154972"/>
                  </a:cubicBezTo>
                  <a:cubicBezTo>
                    <a:pt x="109347" y="150019"/>
                    <a:pt x="129540" y="147542"/>
                    <a:pt x="151162" y="147542"/>
                  </a:cubicBezTo>
                  <a:cubicBezTo>
                    <a:pt x="172783" y="147542"/>
                    <a:pt x="192976" y="148971"/>
                    <a:pt x="208788" y="151829"/>
                  </a:cubicBezTo>
                  <a:cubicBezTo>
                    <a:pt x="224599" y="154686"/>
                    <a:pt x="239744" y="158401"/>
                    <a:pt x="254413" y="163163"/>
                  </a:cubicBezTo>
                  <a:lnTo>
                    <a:pt x="254413" y="156115"/>
                  </a:lnTo>
                  <a:cubicBezTo>
                    <a:pt x="254413" y="130207"/>
                    <a:pt x="246507" y="110395"/>
                    <a:pt x="230696" y="96774"/>
                  </a:cubicBezTo>
                  <a:cubicBezTo>
                    <a:pt x="214884" y="83153"/>
                    <a:pt x="192214" y="76295"/>
                    <a:pt x="162496" y="76295"/>
                  </a:cubicBezTo>
                  <a:cubicBezTo>
                    <a:pt x="141351" y="76295"/>
                    <a:pt x="122491" y="78391"/>
                    <a:pt x="106013" y="82677"/>
                  </a:cubicBezTo>
                  <a:cubicBezTo>
                    <a:pt x="89535" y="86963"/>
                    <a:pt x="72771" y="92583"/>
                    <a:pt x="55816" y="99632"/>
                  </a:cubicBezTo>
                  <a:lnTo>
                    <a:pt x="32480" y="31052"/>
                  </a:lnTo>
                  <a:cubicBezTo>
                    <a:pt x="53149" y="21622"/>
                    <a:pt x="74390" y="14097"/>
                    <a:pt x="96107" y="8477"/>
                  </a:cubicBezTo>
                  <a:cubicBezTo>
                    <a:pt x="117729" y="2858"/>
                    <a:pt x="143923" y="0"/>
                    <a:pt x="174593" y="0"/>
                  </a:cubicBezTo>
                  <a:cubicBezTo>
                    <a:pt x="230124" y="0"/>
                    <a:pt x="271367" y="13811"/>
                    <a:pt x="298228" y="41338"/>
                  </a:cubicBezTo>
                  <a:cubicBezTo>
                    <a:pt x="325088" y="68866"/>
                    <a:pt x="338519" y="107633"/>
                    <a:pt x="338519" y="157544"/>
                  </a:cubicBezTo>
                  <a:lnTo>
                    <a:pt x="338519" y="378714"/>
                  </a:lnTo>
                  <a:lnTo>
                    <a:pt x="253746" y="378714"/>
                  </a:lnTo>
                  <a:close/>
                  <a:moveTo>
                    <a:pt x="255746" y="222409"/>
                  </a:moveTo>
                  <a:cubicBezTo>
                    <a:pt x="244888" y="218123"/>
                    <a:pt x="232029" y="214598"/>
                    <a:pt x="217265" y="211836"/>
                  </a:cubicBezTo>
                  <a:cubicBezTo>
                    <a:pt x="202406" y="208979"/>
                    <a:pt x="186785" y="207550"/>
                    <a:pt x="170307" y="207550"/>
                  </a:cubicBezTo>
                  <a:cubicBezTo>
                    <a:pt x="143446" y="207550"/>
                    <a:pt x="122491" y="212693"/>
                    <a:pt x="107442" y="223075"/>
                  </a:cubicBezTo>
                  <a:cubicBezTo>
                    <a:pt x="92392" y="233458"/>
                    <a:pt x="84868" y="247555"/>
                    <a:pt x="84868" y="265462"/>
                  </a:cubicBezTo>
                  <a:lnTo>
                    <a:pt x="84868" y="266891"/>
                  </a:lnTo>
                  <a:cubicBezTo>
                    <a:pt x="84868" y="284798"/>
                    <a:pt x="91821" y="298418"/>
                    <a:pt x="105728" y="307848"/>
                  </a:cubicBezTo>
                  <a:cubicBezTo>
                    <a:pt x="119634" y="317278"/>
                    <a:pt x="136684" y="321945"/>
                    <a:pt x="156972" y="321945"/>
                  </a:cubicBezTo>
                  <a:cubicBezTo>
                    <a:pt x="171069" y="321945"/>
                    <a:pt x="184213" y="320040"/>
                    <a:pt x="196215" y="316325"/>
                  </a:cubicBezTo>
                  <a:cubicBezTo>
                    <a:pt x="208216" y="312515"/>
                    <a:pt x="218694" y="307277"/>
                    <a:pt x="227647" y="300419"/>
                  </a:cubicBezTo>
                  <a:cubicBezTo>
                    <a:pt x="236601" y="293561"/>
                    <a:pt x="243554" y="285369"/>
                    <a:pt x="248507" y="275654"/>
                  </a:cubicBezTo>
                  <a:cubicBezTo>
                    <a:pt x="253460" y="266033"/>
                    <a:pt x="255937" y="255270"/>
                    <a:pt x="255937" y="243459"/>
                  </a:cubicBezTo>
                  <a:lnTo>
                    <a:pt x="255937" y="222218"/>
                  </a:lnTo>
                  <a:close/>
                </a:path>
              </a:pathLst>
            </a:custGeom>
            <a:solidFill>
              <a:srgbClr val="44505E"/>
            </a:solidFill>
            <a:ln w="9525" cap="flat">
              <a:noFill/>
              <a:prstDash val="solid"/>
              <a:miter/>
            </a:ln>
          </p:spPr>
          <p:txBody>
            <a:bodyPr rtlCol="0" anchor="ctr"/>
            <a:lstStyle/>
            <a:p>
              <a:endParaRPr lang="pt-BR"/>
            </a:p>
          </p:txBody>
        </p:sp>
        <p:sp>
          <p:nvSpPr>
            <p:cNvPr id="116" name="Freeform: Shape 115">
              <a:extLst>
                <a:ext uri="{FF2B5EF4-FFF2-40B4-BE49-F238E27FC236}">
                  <a16:creationId xmlns:a16="http://schemas.microsoft.com/office/drawing/2014/main" id="{AEBC38CE-A480-CE85-73F9-34DC4B2821CA}"/>
                </a:ext>
              </a:extLst>
            </p:cNvPr>
            <p:cNvSpPr/>
            <p:nvPr/>
          </p:nvSpPr>
          <p:spPr>
            <a:xfrm>
              <a:off x="6088843" y="700318"/>
              <a:ext cx="74610" cy="97213"/>
            </a:xfrm>
            <a:custGeom>
              <a:avLst/>
              <a:gdLst>
                <a:gd name="connsiteX0" fmla="*/ 158305 w 296799"/>
                <a:gd name="connsiteY0" fmla="*/ 386715 h 386714"/>
                <a:gd name="connsiteX1" fmla="*/ 76676 w 296799"/>
                <a:gd name="connsiteY1" fmla="*/ 372427 h 386714"/>
                <a:gd name="connsiteX2" fmla="*/ 0 w 296799"/>
                <a:gd name="connsiteY2" fmla="*/ 330327 h 386714"/>
                <a:gd name="connsiteX3" fmla="*/ 38195 w 296799"/>
                <a:gd name="connsiteY3" fmla="*/ 272224 h 386714"/>
                <a:gd name="connsiteX4" fmla="*/ 100013 w 296799"/>
                <a:gd name="connsiteY4" fmla="*/ 306514 h 386714"/>
                <a:gd name="connsiteX5" fmla="*/ 160401 w 296799"/>
                <a:gd name="connsiteY5" fmla="*/ 318135 h 386714"/>
                <a:gd name="connsiteX6" fmla="*/ 203168 w 296799"/>
                <a:gd name="connsiteY6" fmla="*/ 307181 h 386714"/>
                <a:gd name="connsiteX7" fmla="*/ 218408 w 296799"/>
                <a:gd name="connsiteY7" fmla="*/ 277939 h 386714"/>
                <a:gd name="connsiteX8" fmla="*/ 218408 w 296799"/>
                <a:gd name="connsiteY8" fmla="*/ 276511 h 386714"/>
                <a:gd name="connsiteX9" fmla="*/ 211646 w 296799"/>
                <a:gd name="connsiteY9" fmla="*/ 258223 h 386714"/>
                <a:gd name="connsiteX10" fmla="*/ 193262 w 296799"/>
                <a:gd name="connsiteY10" fmla="*/ 244792 h 386714"/>
                <a:gd name="connsiteX11" fmla="*/ 166402 w 296799"/>
                <a:gd name="connsiteY11" fmla="*/ 234220 h 386714"/>
                <a:gd name="connsiteX12" fmla="*/ 134969 w 296799"/>
                <a:gd name="connsiteY12" fmla="*/ 224314 h 386714"/>
                <a:gd name="connsiteX13" fmla="*/ 93631 w 296799"/>
                <a:gd name="connsiteY13" fmla="*/ 210884 h 386714"/>
                <a:gd name="connsiteX14" fmla="*/ 56197 w 296799"/>
                <a:gd name="connsiteY14" fmla="*/ 190786 h 386714"/>
                <a:gd name="connsiteX15" fmla="*/ 28956 w 296799"/>
                <a:gd name="connsiteY15" fmla="*/ 160115 h 386714"/>
                <a:gd name="connsiteX16" fmla="*/ 18383 w 296799"/>
                <a:gd name="connsiteY16" fmla="*/ 114967 h 386714"/>
                <a:gd name="connsiteX17" fmla="*/ 18383 w 296799"/>
                <a:gd name="connsiteY17" fmla="*/ 113538 h 386714"/>
                <a:gd name="connsiteX18" fmla="*/ 28575 w 296799"/>
                <a:gd name="connsiteY18" fmla="*/ 66294 h 386714"/>
                <a:gd name="connsiteX19" fmla="*/ 56864 w 296799"/>
                <a:gd name="connsiteY19" fmla="*/ 30385 h 386714"/>
                <a:gd name="connsiteX20" fmla="*/ 99250 w 296799"/>
                <a:gd name="connsiteY20" fmla="*/ 7810 h 386714"/>
                <a:gd name="connsiteX21" fmla="*/ 151162 w 296799"/>
                <a:gd name="connsiteY21" fmla="*/ 0 h 386714"/>
                <a:gd name="connsiteX22" fmla="*/ 222504 w 296799"/>
                <a:gd name="connsiteY22" fmla="*/ 11430 h 386714"/>
                <a:gd name="connsiteX23" fmla="*/ 288227 w 296799"/>
                <a:gd name="connsiteY23" fmla="*/ 42863 h 386714"/>
                <a:gd name="connsiteX24" fmla="*/ 254317 w 296799"/>
                <a:gd name="connsiteY24" fmla="*/ 103918 h 386714"/>
                <a:gd name="connsiteX25" fmla="*/ 199930 w 296799"/>
                <a:gd name="connsiteY25" fmla="*/ 78105 h 386714"/>
                <a:gd name="connsiteX26" fmla="*/ 149066 w 296799"/>
                <a:gd name="connsiteY26" fmla="*/ 68580 h 386714"/>
                <a:gd name="connsiteX27" fmla="*/ 110585 w 296799"/>
                <a:gd name="connsiteY27" fmla="*/ 79153 h 386714"/>
                <a:gd name="connsiteX28" fmla="*/ 96774 w 296799"/>
                <a:gd name="connsiteY28" fmla="*/ 105918 h 386714"/>
                <a:gd name="connsiteX29" fmla="*/ 96774 w 296799"/>
                <a:gd name="connsiteY29" fmla="*/ 107347 h 386714"/>
                <a:gd name="connsiteX30" fmla="*/ 103822 w 296799"/>
                <a:gd name="connsiteY30" fmla="*/ 124587 h 386714"/>
                <a:gd name="connsiteX31" fmla="*/ 122587 w 296799"/>
                <a:gd name="connsiteY31" fmla="*/ 138017 h 386714"/>
                <a:gd name="connsiteX32" fmla="*/ 149447 w 296799"/>
                <a:gd name="connsiteY32" fmla="*/ 149257 h 386714"/>
                <a:gd name="connsiteX33" fmla="*/ 180880 w 296799"/>
                <a:gd name="connsiteY33" fmla="*/ 159448 h 386714"/>
                <a:gd name="connsiteX34" fmla="*/ 221837 w 296799"/>
                <a:gd name="connsiteY34" fmla="*/ 174212 h 386714"/>
                <a:gd name="connsiteX35" fmla="*/ 258985 w 296799"/>
                <a:gd name="connsiteY35" fmla="*/ 194977 h 386714"/>
                <a:gd name="connsiteX36" fmla="*/ 286226 w 296799"/>
                <a:gd name="connsiteY36" fmla="*/ 224980 h 386714"/>
                <a:gd name="connsiteX37" fmla="*/ 296799 w 296799"/>
                <a:gd name="connsiteY37" fmla="*/ 267938 h 386714"/>
                <a:gd name="connsiteX38" fmla="*/ 296799 w 296799"/>
                <a:gd name="connsiteY38" fmla="*/ 269367 h 386714"/>
                <a:gd name="connsiteX39" fmla="*/ 286226 w 296799"/>
                <a:gd name="connsiteY39" fmla="*/ 320897 h 386714"/>
                <a:gd name="connsiteX40" fmla="*/ 256889 w 296799"/>
                <a:gd name="connsiteY40" fmla="*/ 357188 h 386714"/>
                <a:gd name="connsiteX41" fmla="*/ 212693 w 296799"/>
                <a:gd name="connsiteY41" fmla="*/ 379095 h 386714"/>
                <a:gd name="connsiteX42" fmla="*/ 158305 w 296799"/>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799" h="386714">
                  <a:moveTo>
                    <a:pt x="158305" y="386715"/>
                  </a:moveTo>
                  <a:cubicBezTo>
                    <a:pt x="131445" y="386715"/>
                    <a:pt x="104204" y="381952"/>
                    <a:pt x="76676" y="372427"/>
                  </a:cubicBezTo>
                  <a:cubicBezTo>
                    <a:pt x="49149" y="362902"/>
                    <a:pt x="23527" y="348901"/>
                    <a:pt x="0" y="330327"/>
                  </a:cubicBezTo>
                  <a:lnTo>
                    <a:pt x="38195" y="272224"/>
                  </a:lnTo>
                  <a:cubicBezTo>
                    <a:pt x="58483" y="287274"/>
                    <a:pt x="79057" y="298704"/>
                    <a:pt x="100013" y="306514"/>
                  </a:cubicBezTo>
                  <a:cubicBezTo>
                    <a:pt x="120967" y="314325"/>
                    <a:pt x="141065" y="318135"/>
                    <a:pt x="160401" y="318135"/>
                  </a:cubicBezTo>
                  <a:cubicBezTo>
                    <a:pt x="179737" y="318135"/>
                    <a:pt x="193072" y="314515"/>
                    <a:pt x="203168" y="307181"/>
                  </a:cubicBezTo>
                  <a:cubicBezTo>
                    <a:pt x="213265" y="299847"/>
                    <a:pt x="218408" y="290131"/>
                    <a:pt x="218408" y="277939"/>
                  </a:cubicBezTo>
                  <a:lnTo>
                    <a:pt x="218408" y="276511"/>
                  </a:lnTo>
                  <a:cubicBezTo>
                    <a:pt x="218408" y="269462"/>
                    <a:pt x="216122" y="263366"/>
                    <a:pt x="211646" y="258223"/>
                  </a:cubicBezTo>
                  <a:cubicBezTo>
                    <a:pt x="207169" y="253079"/>
                    <a:pt x="201073" y="248602"/>
                    <a:pt x="193262" y="244792"/>
                  </a:cubicBezTo>
                  <a:cubicBezTo>
                    <a:pt x="185452" y="241078"/>
                    <a:pt x="176498" y="237553"/>
                    <a:pt x="166402" y="234220"/>
                  </a:cubicBezTo>
                  <a:cubicBezTo>
                    <a:pt x="156305" y="230886"/>
                    <a:pt x="145828" y="227647"/>
                    <a:pt x="134969" y="224314"/>
                  </a:cubicBezTo>
                  <a:cubicBezTo>
                    <a:pt x="121348" y="220599"/>
                    <a:pt x="107537" y="216122"/>
                    <a:pt x="93631" y="210884"/>
                  </a:cubicBezTo>
                  <a:cubicBezTo>
                    <a:pt x="79724" y="205740"/>
                    <a:pt x="67246" y="198977"/>
                    <a:pt x="56197" y="190786"/>
                  </a:cubicBezTo>
                  <a:cubicBezTo>
                    <a:pt x="45148" y="182594"/>
                    <a:pt x="36004" y="172307"/>
                    <a:pt x="28956" y="160115"/>
                  </a:cubicBezTo>
                  <a:cubicBezTo>
                    <a:pt x="21907" y="147923"/>
                    <a:pt x="18383" y="132874"/>
                    <a:pt x="18383" y="114967"/>
                  </a:cubicBezTo>
                  <a:lnTo>
                    <a:pt x="18383" y="113538"/>
                  </a:lnTo>
                  <a:cubicBezTo>
                    <a:pt x="18383" y="96107"/>
                    <a:pt x="21812" y="80391"/>
                    <a:pt x="28575" y="66294"/>
                  </a:cubicBezTo>
                  <a:cubicBezTo>
                    <a:pt x="35433" y="52197"/>
                    <a:pt x="44863" y="40195"/>
                    <a:pt x="56864" y="30385"/>
                  </a:cubicBezTo>
                  <a:cubicBezTo>
                    <a:pt x="68866" y="20479"/>
                    <a:pt x="82963" y="12954"/>
                    <a:pt x="99250" y="7810"/>
                  </a:cubicBezTo>
                  <a:cubicBezTo>
                    <a:pt x="115538" y="2667"/>
                    <a:pt x="132874" y="0"/>
                    <a:pt x="151162" y="0"/>
                  </a:cubicBezTo>
                  <a:cubicBezTo>
                    <a:pt x="174688" y="0"/>
                    <a:pt x="198501" y="3810"/>
                    <a:pt x="222504" y="11430"/>
                  </a:cubicBezTo>
                  <a:cubicBezTo>
                    <a:pt x="246507" y="19050"/>
                    <a:pt x="268414" y="29527"/>
                    <a:pt x="288227" y="42863"/>
                  </a:cubicBezTo>
                  <a:lnTo>
                    <a:pt x="254317"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774" y="95155"/>
                    <a:pt x="96774" y="105918"/>
                  </a:cubicBezTo>
                  <a:lnTo>
                    <a:pt x="96774" y="107347"/>
                  </a:lnTo>
                  <a:cubicBezTo>
                    <a:pt x="96774" y="113919"/>
                    <a:pt x="99155" y="119634"/>
                    <a:pt x="103822" y="124587"/>
                  </a:cubicBezTo>
                  <a:cubicBezTo>
                    <a:pt x="108490" y="129540"/>
                    <a:pt x="114776" y="134017"/>
                    <a:pt x="122587" y="138017"/>
                  </a:cubicBezTo>
                  <a:cubicBezTo>
                    <a:pt x="130397" y="142018"/>
                    <a:pt x="139351" y="145732"/>
                    <a:pt x="149447" y="149257"/>
                  </a:cubicBezTo>
                  <a:cubicBezTo>
                    <a:pt x="159544" y="152781"/>
                    <a:pt x="170021" y="156210"/>
                    <a:pt x="180880" y="159448"/>
                  </a:cubicBezTo>
                  <a:cubicBezTo>
                    <a:pt x="194500" y="163639"/>
                    <a:pt x="208216" y="168592"/>
                    <a:pt x="221837" y="174212"/>
                  </a:cubicBezTo>
                  <a:cubicBezTo>
                    <a:pt x="235458" y="179832"/>
                    <a:pt x="247840" y="186785"/>
                    <a:pt x="258985" y="194977"/>
                  </a:cubicBezTo>
                  <a:cubicBezTo>
                    <a:pt x="270034" y="203168"/>
                    <a:pt x="279178" y="213169"/>
                    <a:pt x="286226" y="224980"/>
                  </a:cubicBezTo>
                  <a:cubicBezTo>
                    <a:pt x="293275" y="236696"/>
                    <a:pt x="296799" y="251079"/>
                    <a:pt x="296799" y="267938"/>
                  </a:cubicBezTo>
                  <a:lnTo>
                    <a:pt x="296799" y="269367"/>
                  </a:lnTo>
                  <a:cubicBezTo>
                    <a:pt x="296799" y="289084"/>
                    <a:pt x="293275" y="306229"/>
                    <a:pt x="286226" y="320897"/>
                  </a:cubicBezTo>
                  <a:cubicBezTo>
                    <a:pt x="279178" y="335470"/>
                    <a:pt x="269367" y="347567"/>
                    <a:pt x="256889" y="357188"/>
                  </a:cubicBezTo>
                  <a:cubicBezTo>
                    <a:pt x="244412" y="366808"/>
                    <a:pt x="229648" y="374142"/>
                    <a:pt x="212693" y="379095"/>
                  </a:cubicBezTo>
                  <a:cubicBezTo>
                    <a:pt x="195739" y="384048"/>
                    <a:pt x="177641" y="386524"/>
                    <a:pt x="158305" y="386524"/>
                  </a:cubicBezTo>
                  <a:close/>
                </a:path>
              </a:pathLst>
            </a:custGeom>
            <a:solidFill>
              <a:srgbClr val="44505E"/>
            </a:solidFill>
            <a:ln w="9525" cap="flat">
              <a:noFill/>
              <a:prstDash val="solid"/>
              <a:miter/>
            </a:ln>
          </p:spPr>
          <p:txBody>
            <a:bodyPr rtlCol="0" anchor="ctr"/>
            <a:lstStyle/>
            <a:p>
              <a:endParaRPr lang="pt-BR"/>
            </a:p>
          </p:txBody>
        </p:sp>
        <p:sp>
          <p:nvSpPr>
            <p:cNvPr id="117" name="Freeform: Shape 116">
              <a:extLst>
                <a:ext uri="{FF2B5EF4-FFF2-40B4-BE49-F238E27FC236}">
                  <a16:creationId xmlns:a16="http://schemas.microsoft.com/office/drawing/2014/main" id="{47CA2D04-FFA8-A7C1-7540-D1341251E7BC}"/>
                </a:ext>
              </a:extLst>
            </p:cNvPr>
            <p:cNvSpPr/>
            <p:nvPr/>
          </p:nvSpPr>
          <p:spPr>
            <a:xfrm>
              <a:off x="6238590" y="700007"/>
              <a:ext cx="142827" cy="95777"/>
            </a:xfrm>
            <a:custGeom>
              <a:avLst/>
              <a:gdLst>
                <a:gd name="connsiteX0" fmla="*/ 0 w 568166"/>
                <a:gd name="connsiteY0" fmla="*/ 7715 h 381000"/>
                <a:gd name="connsiteX1" fmla="*/ 86201 w 568166"/>
                <a:gd name="connsiteY1" fmla="*/ 7715 h 381000"/>
                <a:gd name="connsiteX2" fmla="*/ 86201 w 568166"/>
                <a:gd name="connsiteY2" fmla="*/ 64865 h 381000"/>
                <a:gd name="connsiteX3" fmla="*/ 105918 w 568166"/>
                <a:gd name="connsiteY3" fmla="*/ 40576 h 381000"/>
                <a:gd name="connsiteX4" fmla="*/ 130207 w 568166"/>
                <a:gd name="connsiteY4" fmla="*/ 19907 h 381000"/>
                <a:gd name="connsiteX5" fmla="*/ 161163 w 568166"/>
                <a:gd name="connsiteY5" fmla="*/ 5334 h 381000"/>
                <a:gd name="connsiteX6" fmla="*/ 199549 w 568166"/>
                <a:gd name="connsiteY6" fmla="*/ 0 h 381000"/>
                <a:gd name="connsiteX7" fmla="*/ 267557 w 568166"/>
                <a:gd name="connsiteY7" fmla="*/ 18193 h 381000"/>
                <a:gd name="connsiteX8" fmla="*/ 310134 w 568166"/>
                <a:gd name="connsiteY8" fmla="*/ 66294 h 381000"/>
                <a:gd name="connsiteX9" fmla="*/ 363664 w 568166"/>
                <a:gd name="connsiteY9" fmla="*/ 18193 h 381000"/>
                <a:gd name="connsiteX10" fmla="*/ 437007 w 568166"/>
                <a:gd name="connsiteY10" fmla="*/ 0 h 381000"/>
                <a:gd name="connsiteX11" fmla="*/ 533400 w 568166"/>
                <a:gd name="connsiteY11" fmla="*/ 37147 h 381000"/>
                <a:gd name="connsiteX12" fmla="*/ 568166 w 568166"/>
                <a:gd name="connsiteY12" fmla="*/ 142780 h 381000"/>
                <a:gd name="connsiteX13" fmla="*/ 568166 w 568166"/>
                <a:gd name="connsiteY13" fmla="*/ 380905 h 381000"/>
                <a:gd name="connsiteX14" fmla="*/ 481965 w 568166"/>
                <a:gd name="connsiteY14" fmla="*/ 380905 h 381000"/>
                <a:gd name="connsiteX15" fmla="*/ 481965 w 568166"/>
                <a:gd name="connsiteY15" fmla="*/ 169450 h 381000"/>
                <a:gd name="connsiteX16" fmla="*/ 462248 w 568166"/>
                <a:gd name="connsiteY16" fmla="*/ 101727 h 381000"/>
                <a:gd name="connsiteX17" fmla="*/ 406717 w 568166"/>
                <a:gd name="connsiteY17" fmla="*/ 78486 h 381000"/>
                <a:gd name="connsiteX18" fmla="*/ 349377 w 568166"/>
                <a:gd name="connsiteY18" fmla="*/ 102108 h 381000"/>
                <a:gd name="connsiteX19" fmla="*/ 327184 w 568166"/>
                <a:gd name="connsiteY19" fmla="*/ 170879 h 381000"/>
                <a:gd name="connsiteX20" fmla="*/ 327184 w 568166"/>
                <a:gd name="connsiteY20" fmla="*/ 381000 h 381000"/>
                <a:gd name="connsiteX21" fmla="*/ 240982 w 568166"/>
                <a:gd name="connsiteY21" fmla="*/ 381000 h 381000"/>
                <a:gd name="connsiteX22" fmla="*/ 240982 w 568166"/>
                <a:gd name="connsiteY22" fmla="*/ 168783 h 381000"/>
                <a:gd name="connsiteX23" fmla="*/ 221266 w 568166"/>
                <a:gd name="connsiteY23" fmla="*/ 101822 h 381000"/>
                <a:gd name="connsiteX24" fmla="*/ 165640 w 568166"/>
                <a:gd name="connsiteY24" fmla="*/ 78581 h 381000"/>
                <a:gd name="connsiteX25" fmla="*/ 108013 w 568166"/>
                <a:gd name="connsiteY25" fmla="*/ 103251 h 381000"/>
                <a:gd name="connsiteX26" fmla="*/ 86201 w 568166"/>
                <a:gd name="connsiteY26" fmla="*/ 171641 h 381000"/>
                <a:gd name="connsiteX27" fmla="*/ 86201 w 568166"/>
                <a:gd name="connsiteY27" fmla="*/ 381000 h 381000"/>
                <a:gd name="connsiteX28" fmla="*/ 0 w 568166"/>
                <a:gd name="connsiteY28" fmla="*/ 381000 h 381000"/>
                <a:gd name="connsiteX29" fmla="*/ 0 w 568166"/>
                <a:gd name="connsiteY29" fmla="*/ 790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8166" h="381000">
                  <a:moveTo>
                    <a:pt x="0" y="7715"/>
                  </a:moveTo>
                  <a:lnTo>
                    <a:pt x="86201" y="7715"/>
                  </a:lnTo>
                  <a:lnTo>
                    <a:pt x="86201" y="64865"/>
                  </a:lnTo>
                  <a:cubicBezTo>
                    <a:pt x="92297" y="56293"/>
                    <a:pt x="98869" y="48196"/>
                    <a:pt x="105918" y="40576"/>
                  </a:cubicBezTo>
                  <a:cubicBezTo>
                    <a:pt x="112966" y="32956"/>
                    <a:pt x="121063" y="26099"/>
                    <a:pt x="130207" y="19907"/>
                  </a:cubicBezTo>
                  <a:cubicBezTo>
                    <a:pt x="139351" y="13716"/>
                    <a:pt x="149638" y="8858"/>
                    <a:pt x="161163" y="5334"/>
                  </a:cubicBezTo>
                  <a:cubicBezTo>
                    <a:pt x="172688" y="1714"/>
                    <a:pt x="185452" y="0"/>
                    <a:pt x="199549" y="0"/>
                  </a:cubicBezTo>
                  <a:cubicBezTo>
                    <a:pt x="226314" y="0"/>
                    <a:pt x="248983" y="6096"/>
                    <a:pt x="267557" y="18193"/>
                  </a:cubicBezTo>
                  <a:cubicBezTo>
                    <a:pt x="286131" y="30289"/>
                    <a:pt x="300323" y="46387"/>
                    <a:pt x="310134" y="66294"/>
                  </a:cubicBezTo>
                  <a:cubicBezTo>
                    <a:pt x="325279" y="46387"/>
                    <a:pt x="343090" y="30289"/>
                    <a:pt x="363664" y="18193"/>
                  </a:cubicBezTo>
                  <a:cubicBezTo>
                    <a:pt x="384238" y="6096"/>
                    <a:pt x="408718" y="0"/>
                    <a:pt x="437007" y="0"/>
                  </a:cubicBezTo>
                  <a:cubicBezTo>
                    <a:pt x="478155" y="0"/>
                    <a:pt x="510254" y="12383"/>
                    <a:pt x="533400" y="37147"/>
                  </a:cubicBezTo>
                  <a:cubicBezTo>
                    <a:pt x="556546" y="61913"/>
                    <a:pt x="568166" y="97060"/>
                    <a:pt x="568166" y="142780"/>
                  </a:cubicBezTo>
                  <a:lnTo>
                    <a:pt x="568166" y="380905"/>
                  </a:lnTo>
                  <a:lnTo>
                    <a:pt x="481965" y="380905"/>
                  </a:lnTo>
                  <a:lnTo>
                    <a:pt x="481965" y="169450"/>
                  </a:lnTo>
                  <a:cubicBezTo>
                    <a:pt x="481965" y="139827"/>
                    <a:pt x="475393" y="117253"/>
                    <a:pt x="462248" y="101727"/>
                  </a:cubicBezTo>
                  <a:cubicBezTo>
                    <a:pt x="449104" y="86201"/>
                    <a:pt x="430625" y="78486"/>
                    <a:pt x="406717" y="78486"/>
                  </a:cubicBezTo>
                  <a:cubicBezTo>
                    <a:pt x="382809" y="78486"/>
                    <a:pt x="364141" y="86392"/>
                    <a:pt x="349377" y="102108"/>
                  </a:cubicBezTo>
                  <a:cubicBezTo>
                    <a:pt x="334613" y="117824"/>
                    <a:pt x="327184" y="140779"/>
                    <a:pt x="327184" y="170879"/>
                  </a:cubicBezTo>
                  <a:lnTo>
                    <a:pt x="327184" y="381000"/>
                  </a:lnTo>
                  <a:lnTo>
                    <a:pt x="240982" y="381000"/>
                  </a:lnTo>
                  <a:lnTo>
                    <a:pt x="240982" y="168783"/>
                  </a:lnTo>
                  <a:cubicBezTo>
                    <a:pt x="240982" y="139637"/>
                    <a:pt x="234410" y="117348"/>
                    <a:pt x="221266" y="101822"/>
                  </a:cubicBezTo>
                  <a:cubicBezTo>
                    <a:pt x="208121" y="86296"/>
                    <a:pt x="189547" y="78581"/>
                    <a:pt x="165640" y="78581"/>
                  </a:cubicBezTo>
                  <a:cubicBezTo>
                    <a:pt x="141732" y="78581"/>
                    <a:pt x="122491" y="86773"/>
                    <a:pt x="108013" y="103251"/>
                  </a:cubicBezTo>
                  <a:cubicBezTo>
                    <a:pt x="93440" y="119729"/>
                    <a:pt x="86201" y="142494"/>
                    <a:pt x="86201" y="171641"/>
                  </a:cubicBezTo>
                  <a:lnTo>
                    <a:pt x="86201" y="381000"/>
                  </a:lnTo>
                  <a:lnTo>
                    <a:pt x="0" y="381000"/>
                  </a:lnTo>
                  <a:lnTo>
                    <a:pt x="0" y="7906"/>
                  </a:lnTo>
                  <a:close/>
                </a:path>
              </a:pathLst>
            </a:custGeom>
            <a:solidFill>
              <a:srgbClr val="44505E"/>
            </a:solidFill>
            <a:ln w="9525" cap="flat">
              <a:noFill/>
              <a:prstDash val="solid"/>
              <a:miter/>
            </a:ln>
          </p:spPr>
          <p:txBody>
            <a:bodyPr rtlCol="0" anchor="ctr"/>
            <a:lstStyle/>
            <a:p>
              <a:endParaRPr lang="pt-BR"/>
            </a:p>
          </p:txBody>
        </p:sp>
        <p:sp>
          <p:nvSpPr>
            <p:cNvPr id="118" name="Freeform: Shape 117">
              <a:extLst>
                <a:ext uri="{FF2B5EF4-FFF2-40B4-BE49-F238E27FC236}">
                  <a16:creationId xmlns:a16="http://schemas.microsoft.com/office/drawing/2014/main" id="{CB6CA7D2-6645-71A9-1FA7-3229EC56C33E}"/>
                </a:ext>
              </a:extLst>
            </p:cNvPr>
            <p:cNvSpPr/>
            <p:nvPr/>
          </p:nvSpPr>
          <p:spPr>
            <a:xfrm>
              <a:off x="6400979" y="664258"/>
              <a:ext cx="85097" cy="133441"/>
            </a:xfrm>
            <a:custGeom>
              <a:avLst/>
              <a:gdLst>
                <a:gd name="connsiteX0" fmla="*/ 253651 w 338518"/>
                <a:gd name="connsiteY0" fmla="*/ 523018 h 530828"/>
                <a:gd name="connsiteX1" fmla="*/ 253651 w 338518"/>
                <a:gd name="connsiteY1" fmla="*/ 477107 h 530828"/>
                <a:gd name="connsiteX2" fmla="*/ 204883 w 338518"/>
                <a:gd name="connsiteY2" fmla="*/ 515303 h 530828"/>
                <a:gd name="connsiteX3" fmla="*/ 132779 w 338518"/>
                <a:gd name="connsiteY3" fmla="*/ 530828 h 530828"/>
                <a:gd name="connsiteX4" fmla="*/ 81915 w 338518"/>
                <a:gd name="connsiteY4" fmla="*/ 523399 h 530828"/>
                <a:gd name="connsiteX5" fmla="*/ 39910 w 338518"/>
                <a:gd name="connsiteY5" fmla="*/ 501491 h 530828"/>
                <a:gd name="connsiteX6" fmla="*/ 10954 w 338518"/>
                <a:gd name="connsiteY6" fmla="*/ 465487 h 530828"/>
                <a:gd name="connsiteX7" fmla="*/ 0 w 338518"/>
                <a:gd name="connsiteY7" fmla="*/ 415671 h 530828"/>
                <a:gd name="connsiteX8" fmla="*/ 0 w 338518"/>
                <a:gd name="connsiteY8" fmla="*/ 414242 h 530828"/>
                <a:gd name="connsiteX9" fmla="*/ 11335 w 338518"/>
                <a:gd name="connsiteY9" fmla="*/ 360140 h 530828"/>
                <a:gd name="connsiteX10" fmla="*/ 42767 w 338518"/>
                <a:gd name="connsiteY10" fmla="*/ 321945 h 530828"/>
                <a:gd name="connsiteX11" fmla="*/ 90773 w 338518"/>
                <a:gd name="connsiteY11" fmla="*/ 299371 h 530828"/>
                <a:gd name="connsiteX12" fmla="*/ 151162 w 338518"/>
                <a:gd name="connsiteY12" fmla="*/ 291941 h 530828"/>
                <a:gd name="connsiteX13" fmla="*/ 208788 w 338518"/>
                <a:gd name="connsiteY13" fmla="*/ 296228 h 530828"/>
                <a:gd name="connsiteX14" fmla="*/ 254413 w 338518"/>
                <a:gd name="connsiteY14" fmla="*/ 307562 h 530828"/>
                <a:gd name="connsiteX15" fmla="*/ 254413 w 338518"/>
                <a:gd name="connsiteY15" fmla="*/ 300514 h 530828"/>
                <a:gd name="connsiteX16" fmla="*/ 230696 w 338518"/>
                <a:gd name="connsiteY16" fmla="*/ 241173 h 530828"/>
                <a:gd name="connsiteX17" fmla="*/ 162496 w 338518"/>
                <a:gd name="connsiteY17" fmla="*/ 220694 h 530828"/>
                <a:gd name="connsiteX18" fmla="*/ 106013 w 338518"/>
                <a:gd name="connsiteY18" fmla="*/ 227076 h 530828"/>
                <a:gd name="connsiteX19" fmla="*/ 55817 w 338518"/>
                <a:gd name="connsiteY19" fmla="*/ 244031 h 530828"/>
                <a:gd name="connsiteX20" fmla="*/ 32480 w 338518"/>
                <a:gd name="connsiteY20" fmla="*/ 175451 h 530828"/>
                <a:gd name="connsiteX21" fmla="*/ 96107 w 338518"/>
                <a:gd name="connsiteY21" fmla="*/ 152876 h 530828"/>
                <a:gd name="connsiteX22" fmla="*/ 174593 w 338518"/>
                <a:gd name="connsiteY22" fmla="*/ 144399 h 530828"/>
                <a:gd name="connsiteX23" fmla="*/ 298228 w 338518"/>
                <a:gd name="connsiteY23" fmla="*/ 185738 h 530828"/>
                <a:gd name="connsiteX24" fmla="*/ 338519 w 338518"/>
                <a:gd name="connsiteY24" fmla="*/ 301943 h 530828"/>
                <a:gd name="connsiteX25" fmla="*/ 338519 w 338518"/>
                <a:gd name="connsiteY25" fmla="*/ 523113 h 530828"/>
                <a:gd name="connsiteX26" fmla="*/ 253746 w 338518"/>
                <a:gd name="connsiteY26" fmla="*/ 523113 h 530828"/>
                <a:gd name="connsiteX27" fmla="*/ 45911 w 338518"/>
                <a:gd name="connsiteY27" fmla="*/ 95441 h 530828"/>
                <a:gd name="connsiteX28" fmla="*/ 75248 w 338518"/>
                <a:gd name="connsiteY28" fmla="*/ 29718 h 530828"/>
                <a:gd name="connsiteX29" fmla="*/ 125063 w 338518"/>
                <a:gd name="connsiteY29" fmla="*/ 7144 h 530828"/>
                <a:gd name="connsiteX30" fmla="*/ 154019 w 338518"/>
                <a:gd name="connsiteY30" fmla="*/ 11716 h 530828"/>
                <a:gd name="connsiteX31" fmla="*/ 181261 w 338518"/>
                <a:gd name="connsiteY31" fmla="*/ 21622 h 530828"/>
                <a:gd name="connsiteX32" fmla="*/ 205645 w 338518"/>
                <a:gd name="connsiteY32" fmla="*/ 31147 h 530828"/>
                <a:gd name="connsiteX33" fmla="*/ 226790 w 338518"/>
                <a:gd name="connsiteY33" fmla="*/ 35338 h 530828"/>
                <a:gd name="connsiteX34" fmla="*/ 250127 w 338518"/>
                <a:gd name="connsiteY34" fmla="*/ 26861 h 530828"/>
                <a:gd name="connsiteX35" fmla="*/ 265652 w 338518"/>
                <a:gd name="connsiteY35" fmla="*/ 0 h 530828"/>
                <a:gd name="connsiteX36" fmla="*/ 312991 w 338518"/>
                <a:gd name="connsiteY36" fmla="*/ 14859 h 530828"/>
                <a:gd name="connsiteX37" fmla="*/ 283655 w 338518"/>
                <a:gd name="connsiteY37" fmla="*/ 79820 h 530828"/>
                <a:gd name="connsiteX38" fmla="*/ 233839 w 338518"/>
                <a:gd name="connsiteY38" fmla="*/ 102394 h 530828"/>
                <a:gd name="connsiteX39" fmla="*/ 204883 w 338518"/>
                <a:gd name="connsiteY39" fmla="*/ 98203 h 530828"/>
                <a:gd name="connsiteX40" fmla="*/ 177641 w 338518"/>
                <a:gd name="connsiteY40" fmla="*/ 88678 h 530828"/>
                <a:gd name="connsiteX41" fmla="*/ 152876 w 338518"/>
                <a:gd name="connsiteY41" fmla="*/ 78772 h 530828"/>
                <a:gd name="connsiteX42" fmla="*/ 132017 w 338518"/>
                <a:gd name="connsiteY42" fmla="*/ 74200 h 530828"/>
                <a:gd name="connsiteX43" fmla="*/ 108680 w 338518"/>
                <a:gd name="connsiteY43" fmla="*/ 82677 h 530828"/>
                <a:gd name="connsiteX44" fmla="*/ 93154 w 338518"/>
                <a:gd name="connsiteY44" fmla="*/ 109538 h 530828"/>
                <a:gd name="connsiteX45" fmla="*/ 45815 w 338518"/>
                <a:gd name="connsiteY45" fmla="*/ 95441 h 530828"/>
                <a:gd name="connsiteX46" fmla="*/ 255842 w 338518"/>
                <a:gd name="connsiteY46" fmla="*/ 366808 h 530828"/>
                <a:gd name="connsiteX47" fmla="*/ 217361 w 338518"/>
                <a:gd name="connsiteY47" fmla="*/ 356235 h 530828"/>
                <a:gd name="connsiteX48" fmla="*/ 170402 w 338518"/>
                <a:gd name="connsiteY48" fmla="*/ 351949 h 530828"/>
                <a:gd name="connsiteX49" fmla="*/ 107537 w 338518"/>
                <a:gd name="connsiteY49" fmla="*/ 367475 h 530828"/>
                <a:gd name="connsiteX50" fmla="*/ 84963 w 338518"/>
                <a:gd name="connsiteY50" fmla="*/ 409861 h 530828"/>
                <a:gd name="connsiteX51" fmla="*/ 84963 w 338518"/>
                <a:gd name="connsiteY51" fmla="*/ 411290 h 530828"/>
                <a:gd name="connsiteX52" fmla="*/ 105823 w 338518"/>
                <a:gd name="connsiteY52" fmla="*/ 452247 h 530828"/>
                <a:gd name="connsiteX53" fmla="*/ 157067 w 338518"/>
                <a:gd name="connsiteY53" fmla="*/ 466344 h 530828"/>
                <a:gd name="connsiteX54" fmla="*/ 196310 w 338518"/>
                <a:gd name="connsiteY54" fmla="*/ 460724 h 530828"/>
                <a:gd name="connsiteX55" fmla="*/ 227743 w 338518"/>
                <a:gd name="connsiteY55" fmla="*/ 444818 h 530828"/>
                <a:gd name="connsiteX56" fmla="*/ 248603 w 338518"/>
                <a:gd name="connsiteY56" fmla="*/ 420053 h 530828"/>
                <a:gd name="connsiteX57" fmla="*/ 256032 w 338518"/>
                <a:gd name="connsiteY57" fmla="*/ 387858 h 530828"/>
                <a:gd name="connsiteX58" fmla="*/ 256032 w 338518"/>
                <a:gd name="connsiteY58" fmla="*/ 366617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8518" h="530828">
                  <a:moveTo>
                    <a:pt x="253651" y="523018"/>
                  </a:moveTo>
                  <a:lnTo>
                    <a:pt x="253651" y="477107"/>
                  </a:lnTo>
                  <a:cubicBezTo>
                    <a:pt x="240887" y="492157"/>
                    <a:pt x="224695" y="504920"/>
                    <a:pt x="204883" y="515303"/>
                  </a:cubicBezTo>
                  <a:cubicBezTo>
                    <a:pt x="185071" y="525685"/>
                    <a:pt x="161068" y="530828"/>
                    <a:pt x="132779" y="530828"/>
                  </a:cubicBezTo>
                  <a:cubicBezTo>
                    <a:pt x="114871" y="530828"/>
                    <a:pt x="97917" y="528352"/>
                    <a:pt x="81915" y="523399"/>
                  </a:cubicBezTo>
                  <a:cubicBezTo>
                    <a:pt x="65913" y="518446"/>
                    <a:pt x="51911" y="511112"/>
                    <a:pt x="39910" y="501491"/>
                  </a:cubicBezTo>
                  <a:cubicBezTo>
                    <a:pt x="27908" y="491871"/>
                    <a:pt x="18193" y="479870"/>
                    <a:pt x="10954" y="465487"/>
                  </a:cubicBezTo>
                  <a:cubicBezTo>
                    <a:pt x="3620" y="451104"/>
                    <a:pt x="0" y="434531"/>
                    <a:pt x="0" y="415671"/>
                  </a:cubicBezTo>
                  <a:lnTo>
                    <a:pt x="0" y="414242"/>
                  </a:lnTo>
                  <a:cubicBezTo>
                    <a:pt x="0" y="393478"/>
                    <a:pt x="3810" y="375476"/>
                    <a:pt x="11335" y="360140"/>
                  </a:cubicBezTo>
                  <a:cubicBezTo>
                    <a:pt x="18860" y="344805"/>
                    <a:pt x="29337" y="332137"/>
                    <a:pt x="42767" y="321945"/>
                  </a:cubicBezTo>
                  <a:cubicBezTo>
                    <a:pt x="56198" y="311849"/>
                    <a:pt x="72200" y="304324"/>
                    <a:pt x="90773" y="299371"/>
                  </a:cubicBezTo>
                  <a:cubicBezTo>
                    <a:pt x="109347" y="294418"/>
                    <a:pt x="129540" y="291941"/>
                    <a:pt x="151162" y="291941"/>
                  </a:cubicBezTo>
                  <a:cubicBezTo>
                    <a:pt x="172784" y="291941"/>
                    <a:pt x="192977" y="293370"/>
                    <a:pt x="208788" y="296228"/>
                  </a:cubicBezTo>
                  <a:cubicBezTo>
                    <a:pt x="224600" y="299085"/>
                    <a:pt x="239744" y="302800"/>
                    <a:pt x="254413" y="307562"/>
                  </a:cubicBezTo>
                  <a:lnTo>
                    <a:pt x="254413" y="300514"/>
                  </a:lnTo>
                  <a:cubicBezTo>
                    <a:pt x="254413" y="274606"/>
                    <a:pt x="246507" y="254794"/>
                    <a:pt x="230696" y="241173"/>
                  </a:cubicBezTo>
                  <a:cubicBezTo>
                    <a:pt x="214884" y="227552"/>
                    <a:pt x="192215" y="220694"/>
                    <a:pt x="162496" y="220694"/>
                  </a:cubicBezTo>
                  <a:cubicBezTo>
                    <a:pt x="141351" y="220694"/>
                    <a:pt x="122492" y="222790"/>
                    <a:pt x="106013" y="227076"/>
                  </a:cubicBezTo>
                  <a:cubicBezTo>
                    <a:pt x="89535" y="231362"/>
                    <a:pt x="72771" y="236982"/>
                    <a:pt x="55817" y="244031"/>
                  </a:cubicBezTo>
                  <a:lnTo>
                    <a:pt x="32480" y="175451"/>
                  </a:lnTo>
                  <a:cubicBezTo>
                    <a:pt x="53150" y="166021"/>
                    <a:pt x="74390" y="158496"/>
                    <a:pt x="96107" y="152876"/>
                  </a:cubicBezTo>
                  <a:cubicBezTo>
                    <a:pt x="117729" y="147257"/>
                    <a:pt x="143923" y="144399"/>
                    <a:pt x="174593" y="144399"/>
                  </a:cubicBezTo>
                  <a:cubicBezTo>
                    <a:pt x="230124" y="144399"/>
                    <a:pt x="271367" y="158210"/>
                    <a:pt x="298228" y="185738"/>
                  </a:cubicBezTo>
                  <a:cubicBezTo>
                    <a:pt x="325088" y="213265"/>
                    <a:pt x="338519" y="252032"/>
                    <a:pt x="338519" y="301943"/>
                  </a:cubicBezTo>
                  <a:lnTo>
                    <a:pt x="338519" y="523113"/>
                  </a:lnTo>
                  <a:lnTo>
                    <a:pt x="253746" y="523113"/>
                  </a:lnTo>
                  <a:close/>
                  <a:moveTo>
                    <a:pt x="45911" y="95441"/>
                  </a:moveTo>
                  <a:cubicBezTo>
                    <a:pt x="53912" y="66675"/>
                    <a:pt x="63722" y="44768"/>
                    <a:pt x="75248" y="29718"/>
                  </a:cubicBezTo>
                  <a:cubicBezTo>
                    <a:pt x="86773" y="14669"/>
                    <a:pt x="103442" y="7144"/>
                    <a:pt x="125063" y="7144"/>
                  </a:cubicBezTo>
                  <a:cubicBezTo>
                    <a:pt x="134969" y="7144"/>
                    <a:pt x="144590" y="8668"/>
                    <a:pt x="154019" y="11716"/>
                  </a:cubicBezTo>
                  <a:cubicBezTo>
                    <a:pt x="163449" y="14764"/>
                    <a:pt x="172498" y="18098"/>
                    <a:pt x="181261" y="21622"/>
                  </a:cubicBezTo>
                  <a:cubicBezTo>
                    <a:pt x="189929" y="25146"/>
                    <a:pt x="198120" y="28385"/>
                    <a:pt x="205645" y="31147"/>
                  </a:cubicBezTo>
                  <a:cubicBezTo>
                    <a:pt x="213170" y="34004"/>
                    <a:pt x="220218" y="35338"/>
                    <a:pt x="226790" y="35338"/>
                  </a:cubicBezTo>
                  <a:cubicBezTo>
                    <a:pt x="237173" y="35338"/>
                    <a:pt x="244888" y="32480"/>
                    <a:pt x="250127" y="26861"/>
                  </a:cubicBezTo>
                  <a:cubicBezTo>
                    <a:pt x="255270" y="21241"/>
                    <a:pt x="260509" y="12287"/>
                    <a:pt x="265652" y="0"/>
                  </a:cubicBezTo>
                  <a:lnTo>
                    <a:pt x="312991" y="14859"/>
                  </a:lnTo>
                  <a:cubicBezTo>
                    <a:pt x="304991" y="43148"/>
                    <a:pt x="295180" y="64770"/>
                    <a:pt x="283655" y="79820"/>
                  </a:cubicBezTo>
                  <a:cubicBezTo>
                    <a:pt x="272129" y="94869"/>
                    <a:pt x="255461" y="102394"/>
                    <a:pt x="233839" y="102394"/>
                  </a:cubicBezTo>
                  <a:cubicBezTo>
                    <a:pt x="223933" y="102394"/>
                    <a:pt x="214313" y="100965"/>
                    <a:pt x="204883" y="98203"/>
                  </a:cubicBezTo>
                  <a:cubicBezTo>
                    <a:pt x="195453" y="95345"/>
                    <a:pt x="186404" y="92202"/>
                    <a:pt x="177641" y="88678"/>
                  </a:cubicBezTo>
                  <a:cubicBezTo>
                    <a:pt x="168878" y="85154"/>
                    <a:pt x="160687" y="81820"/>
                    <a:pt x="152876" y="78772"/>
                  </a:cubicBezTo>
                  <a:cubicBezTo>
                    <a:pt x="145066" y="75724"/>
                    <a:pt x="138113" y="74200"/>
                    <a:pt x="132017" y="74200"/>
                  </a:cubicBezTo>
                  <a:cubicBezTo>
                    <a:pt x="121634" y="74200"/>
                    <a:pt x="113919" y="77057"/>
                    <a:pt x="108680" y="82677"/>
                  </a:cubicBezTo>
                  <a:cubicBezTo>
                    <a:pt x="103537" y="88297"/>
                    <a:pt x="98298" y="97250"/>
                    <a:pt x="93154" y="109538"/>
                  </a:cubicBezTo>
                  <a:lnTo>
                    <a:pt x="45815" y="95441"/>
                  </a:lnTo>
                  <a:close/>
                  <a:moveTo>
                    <a:pt x="255842" y="366808"/>
                  </a:moveTo>
                  <a:cubicBezTo>
                    <a:pt x="244983" y="362522"/>
                    <a:pt x="232124" y="358997"/>
                    <a:pt x="217361" y="356235"/>
                  </a:cubicBezTo>
                  <a:cubicBezTo>
                    <a:pt x="202502" y="353378"/>
                    <a:pt x="186880" y="351949"/>
                    <a:pt x="170402" y="351949"/>
                  </a:cubicBezTo>
                  <a:cubicBezTo>
                    <a:pt x="143542" y="351949"/>
                    <a:pt x="122587" y="357092"/>
                    <a:pt x="107537" y="367475"/>
                  </a:cubicBezTo>
                  <a:cubicBezTo>
                    <a:pt x="92488" y="377857"/>
                    <a:pt x="84963" y="391954"/>
                    <a:pt x="84963" y="409861"/>
                  </a:cubicBezTo>
                  <a:lnTo>
                    <a:pt x="84963" y="411290"/>
                  </a:lnTo>
                  <a:cubicBezTo>
                    <a:pt x="84963" y="429197"/>
                    <a:pt x="91916" y="442817"/>
                    <a:pt x="105823" y="452247"/>
                  </a:cubicBezTo>
                  <a:cubicBezTo>
                    <a:pt x="119729" y="461677"/>
                    <a:pt x="136779" y="466344"/>
                    <a:pt x="157067" y="466344"/>
                  </a:cubicBezTo>
                  <a:cubicBezTo>
                    <a:pt x="171164" y="466344"/>
                    <a:pt x="184309" y="464439"/>
                    <a:pt x="196310" y="460724"/>
                  </a:cubicBezTo>
                  <a:cubicBezTo>
                    <a:pt x="208312" y="456914"/>
                    <a:pt x="218789" y="451676"/>
                    <a:pt x="227743" y="444818"/>
                  </a:cubicBezTo>
                  <a:cubicBezTo>
                    <a:pt x="236696" y="437960"/>
                    <a:pt x="243650" y="429768"/>
                    <a:pt x="248603" y="420053"/>
                  </a:cubicBezTo>
                  <a:cubicBezTo>
                    <a:pt x="253555" y="410432"/>
                    <a:pt x="256032" y="399669"/>
                    <a:pt x="256032" y="387858"/>
                  </a:cubicBezTo>
                  <a:lnTo>
                    <a:pt x="256032" y="366617"/>
                  </a:lnTo>
                  <a:close/>
                </a:path>
              </a:pathLst>
            </a:custGeom>
            <a:solidFill>
              <a:srgbClr val="44505E"/>
            </a:solidFill>
            <a:ln w="9525" cap="flat">
              <a:noFill/>
              <a:prstDash val="solid"/>
              <a:miter/>
            </a:ln>
          </p:spPr>
          <p:txBody>
            <a:bodyPr rtlCol="0" anchor="ctr"/>
            <a:lstStyle/>
            <a:p>
              <a:endParaRPr lang="pt-BR"/>
            </a:p>
          </p:txBody>
        </p:sp>
        <p:sp>
          <p:nvSpPr>
            <p:cNvPr id="119" name="Freeform: Shape 118">
              <a:extLst>
                <a:ext uri="{FF2B5EF4-FFF2-40B4-BE49-F238E27FC236}">
                  <a16:creationId xmlns:a16="http://schemas.microsoft.com/office/drawing/2014/main" id="{59B1EE94-900A-B621-06A5-6FFE009770FF}"/>
                </a:ext>
              </a:extLst>
            </p:cNvPr>
            <p:cNvSpPr/>
            <p:nvPr/>
          </p:nvSpPr>
          <p:spPr>
            <a:xfrm>
              <a:off x="6506477" y="699959"/>
              <a:ext cx="100038" cy="97908"/>
            </a:xfrm>
            <a:custGeom>
              <a:avLst/>
              <a:gdLst>
                <a:gd name="connsiteX0" fmla="*/ 197834 w 397954"/>
                <a:gd name="connsiteY0" fmla="*/ 389477 h 389477"/>
                <a:gd name="connsiteX1" fmla="*/ 119063 w 397954"/>
                <a:gd name="connsiteY1" fmla="*/ 374237 h 389477"/>
                <a:gd name="connsiteX2" fmla="*/ 56198 w 397954"/>
                <a:gd name="connsiteY2" fmla="*/ 332899 h 389477"/>
                <a:gd name="connsiteX3" fmla="*/ 14859 w 397954"/>
                <a:gd name="connsiteY3" fmla="*/ 271463 h 389477"/>
                <a:gd name="connsiteX4" fmla="*/ 0 w 397954"/>
                <a:gd name="connsiteY4" fmla="*/ 196501 h 389477"/>
                <a:gd name="connsiteX5" fmla="*/ 0 w 397954"/>
                <a:gd name="connsiteY5" fmla="*/ 195072 h 389477"/>
                <a:gd name="connsiteX6" fmla="*/ 15240 w 397954"/>
                <a:gd name="connsiteY6" fmla="*/ 119444 h 389477"/>
                <a:gd name="connsiteX7" fmla="*/ 56960 w 397954"/>
                <a:gd name="connsiteY7" fmla="*/ 57626 h 389477"/>
                <a:gd name="connsiteX8" fmla="*/ 119825 w 397954"/>
                <a:gd name="connsiteY8" fmla="*/ 15526 h 389477"/>
                <a:gd name="connsiteX9" fmla="*/ 199358 w 397954"/>
                <a:gd name="connsiteY9" fmla="*/ 0 h 389477"/>
                <a:gd name="connsiteX10" fmla="*/ 278892 w 397954"/>
                <a:gd name="connsiteY10" fmla="*/ 15240 h 389477"/>
                <a:gd name="connsiteX11" fmla="*/ 341757 w 397954"/>
                <a:gd name="connsiteY11" fmla="*/ 56959 h 389477"/>
                <a:gd name="connsiteX12" fmla="*/ 383096 w 397954"/>
                <a:gd name="connsiteY12" fmla="*/ 118396 h 389477"/>
                <a:gd name="connsiteX13" fmla="*/ 397955 w 397954"/>
                <a:gd name="connsiteY13" fmla="*/ 193643 h 389477"/>
                <a:gd name="connsiteX14" fmla="*/ 397955 w 397954"/>
                <a:gd name="connsiteY14" fmla="*/ 195072 h 389477"/>
                <a:gd name="connsiteX15" fmla="*/ 382714 w 397954"/>
                <a:gd name="connsiteY15" fmla="*/ 270034 h 389477"/>
                <a:gd name="connsiteX16" fmla="*/ 340995 w 397954"/>
                <a:gd name="connsiteY16" fmla="*/ 331851 h 389477"/>
                <a:gd name="connsiteX17" fmla="*/ 277749 w 397954"/>
                <a:gd name="connsiteY17" fmla="*/ 373856 h 389477"/>
                <a:gd name="connsiteX18" fmla="*/ 197834 w 397954"/>
                <a:gd name="connsiteY18" fmla="*/ 389382 h 389477"/>
                <a:gd name="connsiteX19" fmla="*/ 199263 w 397954"/>
                <a:gd name="connsiteY19" fmla="*/ 315278 h 389477"/>
                <a:gd name="connsiteX20" fmla="*/ 245936 w 397954"/>
                <a:gd name="connsiteY20" fmla="*/ 305753 h 389477"/>
                <a:gd name="connsiteX21" fmla="*/ 281369 w 397954"/>
                <a:gd name="connsiteY21" fmla="*/ 279940 h 389477"/>
                <a:gd name="connsiteX22" fmla="*/ 303848 w 397954"/>
                <a:gd name="connsiteY22" fmla="*/ 242125 h 389477"/>
                <a:gd name="connsiteX23" fmla="*/ 311563 w 397954"/>
                <a:gd name="connsiteY23" fmla="*/ 196501 h 389477"/>
                <a:gd name="connsiteX24" fmla="*/ 311563 w 397954"/>
                <a:gd name="connsiteY24" fmla="*/ 195072 h 389477"/>
                <a:gd name="connsiteX25" fmla="*/ 303181 w 397954"/>
                <a:gd name="connsiteY25" fmla="*/ 148400 h 389477"/>
                <a:gd name="connsiteX26" fmla="*/ 279654 w 397954"/>
                <a:gd name="connsiteY26" fmla="*/ 110204 h 389477"/>
                <a:gd name="connsiteX27" fmla="*/ 243840 w 397954"/>
                <a:gd name="connsiteY27" fmla="*/ 84392 h 389477"/>
                <a:gd name="connsiteX28" fmla="*/ 197834 w 397954"/>
                <a:gd name="connsiteY28" fmla="*/ 74867 h 389477"/>
                <a:gd name="connsiteX29" fmla="*/ 151829 w 397954"/>
                <a:gd name="connsiteY29" fmla="*/ 84392 h 389477"/>
                <a:gd name="connsiteX30" fmla="*/ 116396 w 397954"/>
                <a:gd name="connsiteY30" fmla="*/ 109823 h 389477"/>
                <a:gd name="connsiteX31" fmla="*/ 93916 w 397954"/>
                <a:gd name="connsiteY31" fmla="*/ 147638 h 389477"/>
                <a:gd name="connsiteX32" fmla="*/ 86201 w 397954"/>
                <a:gd name="connsiteY32" fmla="*/ 193548 h 389477"/>
                <a:gd name="connsiteX33" fmla="*/ 86201 w 397954"/>
                <a:gd name="connsiteY33" fmla="*/ 194977 h 389477"/>
                <a:gd name="connsiteX34" fmla="*/ 94583 w 397954"/>
                <a:gd name="connsiteY34" fmla="*/ 241268 h 389477"/>
                <a:gd name="connsiteX35" fmla="*/ 118110 w 397954"/>
                <a:gd name="connsiteY35" fmla="*/ 279463 h 389477"/>
                <a:gd name="connsiteX36" fmla="*/ 153924 w 397954"/>
                <a:gd name="connsiteY36" fmla="*/ 305562 h 389477"/>
                <a:gd name="connsiteX37" fmla="*/ 199263 w 397954"/>
                <a:gd name="connsiteY37" fmla="*/ 315087 h 38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97954" h="389477">
                  <a:moveTo>
                    <a:pt x="197834" y="389477"/>
                  </a:moveTo>
                  <a:cubicBezTo>
                    <a:pt x="169545" y="389477"/>
                    <a:pt x="143351" y="384429"/>
                    <a:pt x="119063" y="374237"/>
                  </a:cubicBezTo>
                  <a:cubicBezTo>
                    <a:pt x="94774" y="364141"/>
                    <a:pt x="73819" y="350330"/>
                    <a:pt x="56198" y="332899"/>
                  </a:cubicBezTo>
                  <a:cubicBezTo>
                    <a:pt x="38576" y="315468"/>
                    <a:pt x="24765" y="294989"/>
                    <a:pt x="14859" y="271463"/>
                  </a:cubicBezTo>
                  <a:cubicBezTo>
                    <a:pt x="4953" y="247936"/>
                    <a:pt x="0" y="222980"/>
                    <a:pt x="0" y="196501"/>
                  </a:cubicBezTo>
                  <a:lnTo>
                    <a:pt x="0" y="195072"/>
                  </a:lnTo>
                  <a:cubicBezTo>
                    <a:pt x="0" y="168212"/>
                    <a:pt x="5049" y="143066"/>
                    <a:pt x="15240" y="119444"/>
                  </a:cubicBezTo>
                  <a:cubicBezTo>
                    <a:pt x="25337" y="95917"/>
                    <a:pt x="39243" y="75248"/>
                    <a:pt x="56960" y="57626"/>
                  </a:cubicBezTo>
                  <a:cubicBezTo>
                    <a:pt x="74676" y="39910"/>
                    <a:pt x="95631" y="25908"/>
                    <a:pt x="119825" y="15526"/>
                  </a:cubicBezTo>
                  <a:cubicBezTo>
                    <a:pt x="144113" y="5144"/>
                    <a:pt x="170593" y="0"/>
                    <a:pt x="199358" y="0"/>
                  </a:cubicBezTo>
                  <a:cubicBezTo>
                    <a:pt x="228124" y="0"/>
                    <a:pt x="254604" y="5048"/>
                    <a:pt x="278892" y="15240"/>
                  </a:cubicBezTo>
                  <a:cubicBezTo>
                    <a:pt x="303181" y="25337"/>
                    <a:pt x="324136" y="39243"/>
                    <a:pt x="341757" y="56959"/>
                  </a:cubicBezTo>
                  <a:cubicBezTo>
                    <a:pt x="359379" y="74676"/>
                    <a:pt x="373189" y="95155"/>
                    <a:pt x="383096" y="118396"/>
                  </a:cubicBezTo>
                  <a:cubicBezTo>
                    <a:pt x="393002" y="141732"/>
                    <a:pt x="397955" y="166783"/>
                    <a:pt x="397955" y="193643"/>
                  </a:cubicBezTo>
                  <a:lnTo>
                    <a:pt x="397955" y="195072"/>
                  </a:lnTo>
                  <a:cubicBezTo>
                    <a:pt x="397955" y="221456"/>
                    <a:pt x="392906" y="246412"/>
                    <a:pt x="382714" y="270034"/>
                  </a:cubicBezTo>
                  <a:cubicBezTo>
                    <a:pt x="372618" y="293561"/>
                    <a:pt x="358712" y="314230"/>
                    <a:pt x="340995" y="331851"/>
                  </a:cubicBezTo>
                  <a:cubicBezTo>
                    <a:pt x="323279" y="349472"/>
                    <a:pt x="302229" y="363569"/>
                    <a:pt x="277749" y="373856"/>
                  </a:cubicBezTo>
                  <a:cubicBezTo>
                    <a:pt x="253270" y="384238"/>
                    <a:pt x="226600" y="389382"/>
                    <a:pt x="197834" y="389382"/>
                  </a:cubicBezTo>
                  <a:close/>
                  <a:moveTo>
                    <a:pt x="199263" y="315278"/>
                  </a:moveTo>
                  <a:cubicBezTo>
                    <a:pt x="216598" y="315278"/>
                    <a:pt x="232124" y="312039"/>
                    <a:pt x="245936" y="305753"/>
                  </a:cubicBezTo>
                  <a:cubicBezTo>
                    <a:pt x="259747" y="299371"/>
                    <a:pt x="271558" y="290798"/>
                    <a:pt x="281369" y="279940"/>
                  </a:cubicBezTo>
                  <a:cubicBezTo>
                    <a:pt x="291179" y="269081"/>
                    <a:pt x="298704" y="256508"/>
                    <a:pt x="303848" y="242125"/>
                  </a:cubicBezTo>
                  <a:cubicBezTo>
                    <a:pt x="308991" y="227743"/>
                    <a:pt x="311563" y="212598"/>
                    <a:pt x="311563" y="196501"/>
                  </a:cubicBezTo>
                  <a:lnTo>
                    <a:pt x="311563" y="195072"/>
                  </a:lnTo>
                  <a:cubicBezTo>
                    <a:pt x="311563" y="178594"/>
                    <a:pt x="308706" y="163068"/>
                    <a:pt x="303181" y="148400"/>
                  </a:cubicBezTo>
                  <a:cubicBezTo>
                    <a:pt x="297561" y="133826"/>
                    <a:pt x="289750" y="121063"/>
                    <a:pt x="279654" y="110204"/>
                  </a:cubicBezTo>
                  <a:cubicBezTo>
                    <a:pt x="269557" y="99346"/>
                    <a:pt x="257651" y="90773"/>
                    <a:pt x="243840" y="84392"/>
                  </a:cubicBezTo>
                  <a:cubicBezTo>
                    <a:pt x="230029" y="78010"/>
                    <a:pt x="214694" y="74867"/>
                    <a:pt x="197834" y="74867"/>
                  </a:cubicBezTo>
                  <a:cubicBezTo>
                    <a:pt x="180975" y="74867"/>
                    <a:pt x="165640" y="78010"/>
                    <a:pt x="151829" y="84392"/>
                  </a:cubicBezTo>
                  <a:cubicBezTo>
                    <a:pt x="138017" y="90773"/>
                    <a:pt x="126206" y="99250"/>
                    <a:pt x="116396" y="109823"/>
                  </a:cubicBezTo>
                  <a:cubicBezTo>
                    <a:pt x="106585" y="120396"/>
                    <a:pt x="99060" y="133064"/>
                    <a:pt x="93916" y="147638"/>
                  </a:cubicBezTo>
                  <a:cubicBezTo>
                    <a:pt x="88773" y="162211"/>
                    <a:pt x="86201" y="177546"/>
                    <a:pt x="86201" y="193548"/>
                  </a:cubicBezTo>
                  <a:lnTo>
                    <a:pt x="86201" y="194977"/>
                  </a:lnTo>
                  <a:cubicBezTo>
                    <a:pt x="86201" y="211455"/>
                    <a:pt x="89059" y="226886"/>
                    <a:pt x="94583" y="241268"/>
                  </a:cubicBezTo>
                  <a:cubicBezTo>
                    <a:pt x="100203" y="255651"/>
                    <a:pt x="108014" y="268319"/>
                    <a:pt x="118110" y="279463"/>
                  </a:cubicBezTo>
                  <a:cubicBezTo>
                    <a:pt x="128207" y="290608"/>
                    <a:pt x="140113" y="299275"/>
                    <a:pt x="153924" y="305562"/>
                  </a:cubicBezTo>
                  <a:cubicBezTo>
                    <a:pt x="167735" y="311944"/>
                    <a:pt x="182785" y="315087"/>
                    <a:pt x="199263" y="315087"/>
                  </a:cubicBezTo>
                  <a:close/>
                </a:path>
              </a:pathLst>
            </a:custGeom>
            <a:solidFill>
              <a:srgbClr val="44505E"/>
            </a:solidFill>
            <a:ln w="9525" cap="flat">
              <a:noFill/>
              <a:prstDash val="solid"/>
              <a:miter/>
            </a:ln>
          </p:spPr>
          <p:txBody>
            <a:bodyPr rtlCol="0" anchor="ctr"/>
            <a:lstStyle/>
            <a:p>
              <a:endParaRPr lang="pt-BR"/>
            </a:p>
          </p:txBody>
        </p:sp>
        <p:sp>
          <p:nvSpPr>
            <p:cNvPr id="120" name="Freeform: Shape 119">
              <a:extLst>
                <a:ext uri="{FF2B5EF4-FFF2-40B4-BE49-F238E27FC236}">
                  <a16:creationId xmlns:a16="http://schemas.microsoft.com/office/drawing/2014/main" id="{BA177163-A2E5-EA90-21C7-2D53094537A7}"/>
                </a:ext>
              </a:extLst>
            </p:cNvPr>
            <p:cNvSpPr/>
            <p:nvPr/>
          </p:nvSpPr>
          <p:spPr>
            <a:xfrm>
              <a:off x="6620714" y="700318"/>
              <a:ext cx="74634" cy="97213"/>
            </a:xfrm>
            <a:custGeom>
              <a:avLst/>
              <a:gdLst>
                <a:gd name="connsiteX0" fmla="*/ 158305 w 296894"/>
                <a:gd name="connsiteY0" fmla="*/ 386715 h 386714"/>
                <a:gd name="connsiteX1" fmla="*/ 76676 w 296894"/>
                <a:gd name="connsiteY1" fmla="*/ 372427 h 386714"/>
                <a:gd name="connsiteX2" fmla="*/ 0 w 296894"/>
                <a:gd name="connsiteY2" fmla="*/ 330327 h 386714"/>
                <a:gd name="connsiteX3" fmla="*/ 38195 w 296894"/>
                <a:gd name="connsiteY3" fmla="*/ 272224 h 386714"/>
                <a:gd name="connsiteX4" fmla="*/ 100013 w 296894"/>
                <a:gd name="connsiteY4" fmla="*/ 306514 h 386714"/>
                <a:gd name="connsiteX5" fmla="*/ 160401 w 296894"/>
                <a:gd name="connsiteY5" fmla="*/ 318135 h 386714"/>
                <a:gd name="connsiteX6" fmla="*/ 203168 w 296894"/>
                <a:gd name="connsiteY6" fmla="*/ 307181 h 386714"/>
                <a:gd name="connsiteX7" fmla="*/ 218408 w 296894"/>
                <a:gd name="connsiteY7" fmla="*/ 277939 h 386714"/>
                <a:gd name="connsiteX8" fmla="*/ 218408 w 296894"/>
                <a:gd name="connsiteY8" fmla="*/ 276511 h 386714"/>
                <a:gd name="connsiteX9" fmla="*/ 211645 w 296894"/>
                <a:gd name="connsiteY9" fmla="*/ 258223 h 386714"/>
                <a:gd name="connsiteX10" fmla="*/ 193262 w 296894"/>
                <a:gd name="connsiteY10" fmla="*/ 244792 h 386714"/>
                <a:gd name="connsiteX11" fmla="*/ 166401 w 296894"/>
                <a:gd name="connsiteY11" fmla="*/ 234220 h 386714"/>
                <a:gd name="connsiteX12" fmla="*/ 134969 w 296894"/>
                <a:gd name="connsiteY12" fmla="*/ 224314 h 386714"/>
                <a:gd name="connsiteX13" fmla="*/ 93631 w 296894"/>
                <a:gd name="connsiteY13" fmla="*/ 210884 h 386714"/>
                <a:gd name="connsiteX14" fmla="*/ 56197 w 296894"/>
                <a:gd name="connsiteY14" fmla="*/ 190786 h 386714"/>
                <a:gd name="connsiteX15" fmla="*/ 28956 w 296894"/>
                <a:gd name="connsiteY15" fmla="*/ 160115 h 386714"/>
                <a:gd name="connsiteX16" fmla="*/ 18383 w 296894"/>
                <a:gd name="connsiteY16" fmla="*/ 114967 h 386714"/>
                <a:gd name="connsiteX17" fmla="*/ 18383 w 296894"/>
                <a:gd name="connsiteY17" fmla="*/ 113538 h 386714"/>
                <a:gd name="connsiteX18" fmla="*/ 28575 w 296894"/>
                <a:gd name="connsiteY18" fmla="*/ 66294 h 386714"/>
                <a:gd name="connsiteX19" fmla="*/ 56864 w 296894"/>
                <a:gd name="connsiteY19" fmla="*/ 30385 h 386714"/>
                <a:gd name="connsiteX20" fmla="*/ 99250 w 296894"/>
                <a:gd name="connsiteY20" fmla="*/ 7810 h 386714"/>
                <a:gd name="connsiteX21" fmla="*/ 151162 w 296894"/>
                <a:gd name="connsiteY21" fmla="*/ 0 h 386714"/>
                <a:gd name="connsiteX22" fmla="*/ 222504 w 296894"/>
                <a:gd name="connsiteY22" fmla="*/ 11430 h 386714"/>
                <a:gd name="connsiteX23" fmla="*/ 288227 w 296894"/>
                <a:gd name="connsiteY23" fmla="*/ 42863 h 386714"/>
                <a:gd name="connsiteX24" fmla="*/ 254318 w 296894"/>
                <a:gd name="connsiteY24" fmla="*/ 103918 h 386714"/>
                <a:gd name="connsiteX25" fmla="*/ 199930 w 296894"/>
                <a:gd name="connsiteY25" fmla="*/ 78105 h 386714"/>
                <a:gd name="connsiteX26" fmla="*/ 149066 w 296894"/>
                <a:gd name="connsiteY26" fmla="*/ 68580 h 386714"/>
                <a:gd name="connsiteX27" fmla="*/ 110585 w 296894"/>
                <a:gd name="connsiteY27" fmla="*/ 79153 h 386714"/>
                <a:gd name="connsiteX28" fmla="*/ 96869 w 296894"/>
                <a:gd name="connsiteY28" fmla="*/ 105918 h 386714"/>
                <a:gd name="connsiteX29" fmla="*/ 96869 w 296894"/>
                <a:gd name="connsiteY29" fmla="*/ 107347 h 386714"/>
                <a:gd name="connsiteX30" fmla="*/ 103917 w 296894"/>
                <a:gd name="connsiteY30" fmla="*/ 124587 h 386714"/>
                <a:gd name="connsiteX31" fmla="*/ 122682 w 296894"/>
                <a:gd name="connsiteY31" fmla="*/ 138017 h 386714"/>
                <a:gd name="connsiteX32" fmla="*/ 149543 w 296894"/>
                <a:gd name="connsiteY32" fmla="*/ 149257 h 386714"/>
                <a:gd name="connsiteX33" fmla="*/ 180975 w 296894"/>
                <a:gd name="connsiteY33" fmla="*/ 159448 h 386714"/>
                <a:gd name="connsiteX34" fmla="*/ 222028 w 296894"/>
                <a:gd name="connsiteY34" fmla="*/ 174212 h 386714"/>
                <a:gd name="connsiteX35" fmla="*/ 259080 w 296894"/>
                <a:gd name="connsiteY35" fmla="*/ 194977 h 386714"/>
                <a:gd name="connsiteX36" fmla="*/ 286321 w 296894"/>
                <a:gd name="connsiteY36" fmla="*/ 224980 h 386714"/>
                <a:gd name="connsiteX37" fmla="*/ 296894 w 296894"/>
                <a:gd name="connsiteY37" fmla="*/ 267938 h 386714"/>
                <a:gd name="connsiteX38" fmla="*/ 296894 w 296894"/>
                <a:gd name="connsiteY38" fmla="*/ 269367 h 386714"/>
                <a:gd name="connsiteX39" fmla="*/ 286321 w 296894"/>
                <a:gd name="connsiteY39" fmla="*/ 320897 h 386714"/>
                <a:gd name="connsiteX40" fmla="*/ 256984 w 296894"/>
                <a:gd name="connsiteY40" fmla="*/ 357188 h 386714"/>
                <a:gd name="connsiteX41" fmla="*/ 212788 w 296894"/>
                <a:gd name="connsiteY41" fmla="*/ 379095 h 386714"/>
                <a:gd name="connsiteX42" fmla="*/ 158401 w 296894"/>
                <a:gd name="connsiteY42" fmla="*/ 386524 h 38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6894" h="386714">
                  <a:moveTo>
                    <a:pt x="158305" y="386715"/>
                  </a:moveTo>
                  <a:cubicBezTo>
                    <a:pt x="131445" y="386715"/>
                    <a:pt x="104204" y="381952"/>
                    <a:pt x="76676" y="372427"/>
                  </a:cubicBezTo>
                  <a:cubicBezTo>
                    <a:pt x="49149" y="362902"/>
                    <a:pt x="23526" y="348901"/>
                    <a:pt x="0" y="330327"/>
                  </a:cubicBezTo>
                  <a:lnTo>
                    <a:pt x="38195" y="272224"/>
                  </a:lnTo>
                  <a:cubicBezTo>
                    <a:pt x="58484" y="287274"/>
                    <a:pt x="79057" y="298704"/>
                    <a:pt x="100013" y="306514"/>
                  </a:cubicBezTo>
                  <a:cubicBezTo>
                    <a:pt x="120968" y="314325"/>
                    <a:pt x="141161" y="318135"/>
                    <a:pt x="160401" y="318135"/>
                  </a:cubicBezTo>
                  <a:cubicBezTo>
                    <a:pt x="179641" y="318135"/>
                    <a:pt x="192977" y="314515"/>
                    <a:pt x="203168" y="307181"/>
                  </a:cubicBezTo>
                  <a:cubicBezTo>
                    <a:pt x="213265" y="299847"/>
                    <a:pt x="218408" y="290131"/>
                    <a:pt x="218408" y="277939"/>
                  </a:cubicBezTo>
                  <a:lnTo>
                    <a:pt x="218408" y="276511"/>
                  </a:lnTo>
                  <a:cubicBezTo>
                    <a:pt x="218408" y="269462"/>
                    <a:pt x="216122" y="263366"/>
                    <a:pt x="211645" y="258223"/>
                  </a:cubicBezTo>
                  <a:cubicBezTo>
                    <a:pt x="207169" y="253079"/>
                    <a:pt x="201073" y="248602"/>
                    <a:pt x="193262" y="244792"/>
                  </a:cubicBezTo>
                  <a:cubicBezTo>
                    <a:pt x="185451" y="241078"/>
                    <a:pt x="176498" y="237553"/>
                    <a:pt x="166401" y="234220"/>
                  </a:cubicBezTo>
                  <a:cubicBezTo>
                    <a:pt x="156305" y="230886"/>
                    <a:pt x="145732" y="227647"/>
                    <a:pt x="134969" y="224314"/>
                  </a:cubicBezTo>
                  <a:cubicBezTo>
                    <a:pt x="121253" y="220599"/>
                    <a:pt x="107537" y="216122"/>
                    <a:pt x="93631" y="210884"/>
                  </a:cubicBezTo>
                  <a:cubicBezTo>
                    <a:pt x="79724" y="205740"/>
                    <a:pt x="67246" y="198977"/>
                    <a:pt x="56197" y="190786"/>
                  </a:cubicBezTo>
                  <a:cubicBezTo>
                    <a:pt x="45148" y="182594"/>
                    <a:pt x="36100" y="172307"/>
                    <a:pt x="28956" y="160115"/>
                  </a:cubicBezTo>
                  <a:cubicBezTo>
                    <a:pt x="21907" y="147923"/>
                    <a:pt x="18383" y="132874"/>
                    <a:pt x="18383" y="114967"/>
                  </a:cubicBezTo>
                  <a:lnTo>
                    <a:pt x="18383" y="113538"/>
                  </a:lnTo>
                  <a:cubicBezTo>
                    <a:pt x="18383" y="96107"/>
                    <a:pt x="21812" y="80391"/>
                    <a:pt x="28575" y="66294"/>
                  </a:cubicBezTo>
                  <a:cubicBezTo>
                    <a:pt x="35433" y="52197"/>
                    <a:pt x="44862" y="40195"/>
                    <a:pt x="56864" y="30385"/>
                  </a:cubicBezTo>
                  <a:cubicBezTo>
                    <a:pt x="68866" y="20479"/>
                    <a:pt x="82962" y="12954"/>
                    <a:pt x="99250" y="7810"/>
                  </a:cubicBezTo>
                  <a:cubicBezTo>
                    <a:pt x="115538" y="2667"/>
                    <a:pt x="132779" y="0"/>
                    <a:pt x="151162" y="0"/>
                  </a:cubicBezTo>
                  <a:cubicBezTo>
                    <a:pt x="174688" y="0"/>
                    <a:pt x="198501" y="3810"/>
                    <a:pt x="222504" y="11430"/>
                  </a:cubicBezTo>
                  <a:cubicBezTo>
                    <a:pt x="246507" y="19050"/>
                    <a:pt x="268414" y="29527"/>
                    <a:pt x="288227" y="42863"/>
                  </a:cubicBezTo>
                  <a:lnTo>
                    <a:pt x="254318" y="103918"/>
                  </a:lnTo>
                  <a:cubicBezTo>
                    <a:pt x="236411" y="93059"/>
                    <a:pt x="218313" y="84487"/>
                    <a:pt x="199930" y="78105"/>
                  </a:cubicBezTo>
                  <a:cubicBezTo>
                    <a:pt x="181546" y="71723"/>
                    <a:pt x="164592" y="68580"/>
                    <a:pt x="149066" y="68580"/>
                  </a:cubicBezTo>
                  <a:cubicBezTo>
                    <a:pt x="132588" y="68580"/>
                    <a:pt x="119729" y="72104"/>
                    <a:pt x="110585" y="79153"/>
                  </a:cubicBezTo>
                  <a:cubicBezTo>
                    <a:pt x="101441" y="86201"/>
                    <a:pt x="96869" y="95155"/>
                    <a:pt x="96869" y="105918"/>
                  </a:cubicBezTo>
                  <a:lnTo>
                    <a:pt x="96869" y="107347"/>
                  </a:lnTo>
                  <a:cubicBezTo>
                    <a:pt x="96869" y="113919"/>
                    <a:pt x="99250" y="119634"/>
                    <a:pt x="103917" y="124587"/>
                  </a:cubicBezTo>
                  <a:cubicBezTo>
                    <a:pt x="108585" y="129540"/>
                    <a:pt x="114871" y="134017"/>
                    <a:pt x="122682" y="138017"/>
                  </a:cubicBezTo>
                  <a:cubicBezTo>
                    <a:pt x="130493" y="142018"/>
                    <a:pt x="139351" y="145732"/>
                    <a:pt x="149543" y="149257"/>
                  </a:cubicBezTo>
                  <a:cubicBezTo>
                    <a:pt x="159639" y="152781"/>
                    <a:pt x="170116" y="156210"/>
                    <a:pt x="180975" y="159448"/>
                  </a:cubicBezTo>
                  <a:cubicBezTo>
                    <a:pt x="194596" y="163639"/>
                    <a:pt x="208312" y="168592"/>
                    <a:pt x="222028" y="174212"/>
                  </a:cubicBezTo>
                  <a:cubicBezTo>
                    <a:pt x="235648" y="179832"/>
                    <a:pt x="248031" y="186785"/>
                    <a:pt x="259080" y="194977"/>
                  </a:cubicBezTo>
                  <a:cubicBezTo>
                    <a:pt x="270129" y="203168"/>
                    <a:pt x="279273" y="213169"/>
                    <a:pt x="286321" y="224980"/>
                  </a:cubicBezTo>
                  <a:cubicBezTo>
                    <a:pt x="293370" y="236696"/>
                    <a:pt x="296894" y="251079"/>
                    <a:pt x="296894" y="267938"/>
                  </a:cubicBezTo>
                  <a:lnTo>
                    <a:pt x="296894" y="269367"/>
                  </a:lnTo>
                  <a:cubicBezTo>
                    <a:pt x="296894" y="289084"/>
                    <a:pt x="293370" y="306229"/>
                    <a:pt x="286321" y="320897"/>
                  </a:cubicBezTo>
                  <a:cubicBezTo>
                    <a:pt x="279273" y="335470"/>
                    <a:pt x="269462" y="347567"/>
                    <a:pt x="256984" y="357188"/>
                  </a:cubicBezTo>
                  <a:cubicBezTo>
                    <a:pt x="244507" y="366808"/>
                    <a:pt x="229743" y="374142"/>
                    <a:pt x="212788" y="379095"/>
                  </a:cubicBezTo>
                  <a:cubicBezTo>
                    <a:pt x="195834" y="384048"/>
                    <a:pt x="177641" y="386524"/>
                    <a:pt x="158401" y="386524"/>
                  </a:cubicBezTo>
                  <a:close/>
                </a:path>
              </a:pathLst>
            </a:custGeom>
            <a:solidFill>
              <a:srgbClr val="44505E"/>
            </a:solidFill>
            <a:ln w="9525" cap="flat">
              <a:noFill/>
              <a:prstDash val="solid"/>
              <a:miter/>
            </a:ln>
          </p:spPr>
          <p:txBody>
            <a:bodyPr rtlCol="0" anchor="ctr"/>
            <a:lstStyle/>
            <a:p>
              <a:endParaRPr lang="pt-BR"/>
            </a:p>
          </p:txBody>
        </p:sp>
        <p:sp>
          <p:nvSpPr>
            <p:cNvPr id="121" name="Freeform: Shape 120">
              <a:extLst>
                <a:ext uri="{FF2B5EF4-FFF2-40B4-BE49-F238E27FC236}">
                  <a16:creationId xmlns:a16="http://schemas.microsoft.com/office/drawing/2014/main" id="{C4256C7B-96E8-3D15-82FA-AC3C73493414}"/>
                </a:ext>
              </a:extLst>
            </p:cNvPr>
            <p:cNvSpPr/>
            <p:nvPr/>
          </p:nvSpPr>
          <p:spPr>
            <a:xfrm>
              <a:off x="526693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4 w 202977"/>
                <a:gd name="connsiteY17" fmla="*/ 19907 h 239267"/>
                <a:gd name="connsiteX18" fmla="*/ 59246 w 202977"/>
                <a:gd name="connsiteY18" fmla="*/ 5429 h 239267"/>
                <a:gd name="connsiteX19" fmla="*/ 104299 w 202977"/>
                <a:gd name="connsiteY19" fmla="*/ 0 h 239267"/>
                <a:gd name="connsiteX20" fmla="*/ 178880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5 w 202977"/>
                <a:gd name="connsiteY27" fmla="*/ 211169 h 239267"/>
                <a:gd name="connsiteX28" fmla="*/ 122968 w 202977"/>
                <a:gd name="connsiteY28" fmla="*/ 206788 h 239267"/>
                <a:gd name="connsiteX29" fmla="*/ 147257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9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9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3" y="99155"/>
                    <a:pt x="58674" y="95917"/>
                  </a:cubicBezTo>
                  <a:cubicBezTo>
                    <a:pt x="70771" y="92678"/>
                    <a:pt x="84011" y="90964"/>
                    <a:pt x="98584" y="90964"/>
                  </a:cubicBezTo>
                  <a:cubicBezTo>
                    <a:pt x="113157" y="90964"/>
                    <a:pt x="126301" y="91821"/>
                    <a:pt x="137160" y="93631"/>
                  </a:cubicBezTo>
                  <a:cubicBezTo>
                    <a:pt x="148019" y="95440"/>
                    <a:pt x="158687" y="97822"/>
                    <a:pt x="169069" y="100774"/>
                  </a:cubicBezTo>
                  <a:lnTo>
                    <a:pt x="169069" y="93726"/>
                  </a:lnTo>
                  <a:cubicBezTo>
                    <a:pt x="169069" y="73342"/>
                    <a:pt x="163068" y="57912"/>
                    <a:pt x="151162" y="47339"/>
                  </a:cubicBezTo>
                  <a:cubicBezTo>
                    <a:pt x="139256" y="36862"/>
                    <a:pt x="122492" y="31623"/>
                    <a:pt x="100679" y="31623"/>
                  </a:cubicBezTo>
                  <a:cubicBezTo>
                    <a:pt x="86963" y="31623"/>
                    <a:pt x="74581" y="33147"/>
                    <a:pt x="63437" y="36100"/>
                  </a:cubicBezTo>
                  <a:cubicBezTo>
                    <a:pt x="52292" y="39053"/>
                    <a:pt x="41339" y="43053"/>
                    <a:pt x="30671" y="48196"/>
                  </a:cubicBezTo>
                  <a:lnTo>
                    <a:pt x="20384" y="19907"/>
                  </a:lnTo>
                  <a:cubicBezTo>
                    <a:pt x="33147" y="13906"/>
                    <a:pt x="46101" y="9049"/>
                    <a:pt x="59246" y="5429"/>
                  </a:cubicBezTo>
                  <a:cubicBezTo>
                    <a:pt x="72295" y="1810"/>
                    <a:pt x="87344" y="0"/>
                    <a:pt x="104299" y="0"/>
                  </a:cubicBezTo>
                  <a:cubicBezTo>
                    <a:pt x="137065" y="0"/>
                    <a:pt x="161925" y="8477"/>
                    <a:pt x="178880"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99" y="239173"/>
                    <a:pt x="86011" y="239173"/>
                  </a:cubicBezTo>
                  <a:close/>
                  <a:moveTo>
                    <a:pt x="93155" y="211169"/>
                  </a:moveTo>
                  <a:cubicBezTo>
                    <a:pt x="103823" y="211169"/>
                    <a:pt x="113728" y="209740"/>
                    <a:pt x="122968" y="206788"/>
                  </a:cubicBezTo>
                  <a:cubicBezTo>
                    <a:pt x="132207" y="203835"/>
                    <a:pt x="140208" y="199644"/>
                    <a:pt x="147257"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9" y="121444"/>
                  </a:cubicBezTo>
                  <a:cubicBezTo>
                    <a:pt x="129445" y="119348"/>
                    <a:pt x="116776"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244" y="190500"/>
                    <a:pt x="47435" y="195358"/>
                    <a:pt x="52769" y="199263"/>
                  </a:cubicBezTo>
                  <a:cubicBezTo>
                    <a:pt x="58103" y="203073"/>
                    <a:pt x="64294" y="206026"/>
                    <a:pt x="71247" y="208121"/>
                  </a:cubicBezTo>
                  <a:cubicBezTo>
                    <a:pt x="78200" y="210217"/>
                    <a:pt x="85535"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22" name="Freeform: Shape 121">
              <a:extLst>
                <a:ext uri="{FF2B5EF4-FFF2-40B4-BE49-F238E27FC236}">
                  <a16:creationId xmlns:a16="http://schemas.microsoft.com/office/drawing/2014/main" id="{06D565A1-76C4-6983-2A0E-E3CF482AF0D7}"/>
                </a:ext>
              </a:extLst>
            </p:cNvPr>
            <p:cNvSpPr/>
            <p:nvPr/>
          </p:nvSpPr>
          <p:spPr>
            <a:xfrm>
              <a:off x="5331227"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9" y="303276"/>
                    <a:pt x="71438" y="300895"/>
                  </a:cubicBezTo>
                  <a:cubicBezTo>
                    <a:pt x="63437"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2"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3" name="Freeform: Shape 122">
              <a:extLst>
                <a:ext uri="{FF2B5EF4-FFF2-40B4-BE49-F238E27FC236}">
                  <a16:creationId xmlns:a16="http://schemas.microsoft.com/office/drawing/2014/main" id="{DDA7AC4B-CA14-1526-4681-445581EBE311}"/>
                </a:ext>
              </a:extLst>
            </p:cNvPr>
            <p:cNvSpPr/>
            <p:nvPr/>
          </p:nvSpPr>
          <p:spPr>
            <a:xfrm>
              <a:off x="5381845"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191 w 39242"/>
                <a:gd name="connsiteY5" fmla="*/ 88392 h 319182"/>
                <a:gd name="connsiteX6" fmla="*/ 36576 w 39242"/>
                <a:gd name="connsiteY6" fmla="*/ 88392 h 319182"/>
                <a:gd name="connsiteX7" fmla="*/ 36576 w 39242"/>
                <a:gd name="connsiteY7" fmla="*/ 319183 h 319182"/>
                <a:gd name="connsiteX8" fmla="*/ 2191 w 39242"/>
                <a:gd name="connsiteY8" fmla="*/ 319183 h 319182"/>
                <a:gd name="connsiteX9" fmla="*/ 2191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191" y="88392"/>
                  </a:moveTo>
                  <a:lnTo>
                    <a:pt x="36576" y="88392"/>
                  </a:lnTo>
                  <a:lnTo>
                    <a:pt x="36576" y="319183"/>
                  </a:lnTo>
                  <a:lnTo>
                    <a:pt x="2191" y="319183"/>
                  </a:lnTo>
                  <a:lnTo>
                    <a:pt x="2191" y="88392"/>
                  </a:lnTo>
                  <a:close/>
                </a:path>
              </a:pathLst>
            </a:custGeom>
            <a:solidFill>
              <a:srgbClr val="44505E"/>
            </a:solidFill>
            <a:ln w="9525" cap="flat">
              <a:noFill/>
              <a:prstDash val="solid"/>
              <a:miter/>
            </a:ln>
          </p:spPr>
          <p:txBody>
            <a:bodyPr rtlCol="0" anchor="ctr"/>
            <a:lstStyle/>
            <a:p>
              <a:endParaRPr lang="pt-BR"/>
            </a:p>
          </p:txBody>
        </p:sp>
        <p:sp>
          <p:nvSpPr>
            <p:cNvPr id="124" name="Freeform: Shape 123">
              <a:extLst>
                <a:ext uri="{FF2B5EF4-FFF2-40B4-BE49-F238E27FC236}">
                  <a16:creationId xmlns:a16="http://schemas.microsoft.com/office/drawing/2014/main" id="{3B30BA7C-7770-C8FB-54F4-04FB7F152086}"/>
                </a:ext>
              </a:extLst>
            </p:cNvPr>
            <p:cNvSpPr/>
            <p:nvPr/>
          </p:nvSpPr>
          <p:spPr>
            <a:xfrm>
              <a:off x="5406076" y="907746"/>
              <a:ext cx="35126" cy="76549"/>
            </a:xfrm>
            <a:custGeom>
              <a:avLst/>
              <a:gdLst>
                <a:gd name="connsiteX0" fmla="*/ 97345 w 139731"/>
                <a:gd name="connsiteY0" fmla="*/ 304514 h 304514"/>
                <a:gd name="connsiteX1" fmla="*/ 71438 w 139731"/>
                <a:gd name="connsiteY1" fmla="*/ 300895 h 304514"/>
                <a:gd name="connsiteX2" fmla="*/ 50673 w 139731"/>
                <a:gd name="connsiteY2" fmla="*/ 289465 h 304514"/>
                <a:gd name="connsiteX3" fmla="*/ 37052 w 139731"/>
                <a:gd name="connsiteY3" fmla="*/ 269177 h 304514"/>
                <a:gd name="connsiteX4" fmla="*/ 32099 w 139731"/>
                <a:gd name="connsiteY4" fmla="*/ 239268 h 304514"/>
                <a:gd name="connsiteX5" fmla="*/ 32099 w 139731"/>
                <a:gd name="connsiteY5" fmla="*/ 100013 h 304514"/>
                <a:gd name="connsiteX6" fmla="*/ 0 w 139731"/>
                <a:gd name="connsiteY6" fmla="*/ 100013 h 304514"/>
                <a:gd name="connsiteX7" fmla="*/ 0 w 139731"/>
                <a:gd name="connsiteY7" fmla="*/ 69628 h 304514"/>
                <a:gd name="connsiteX8" fmla="*/ 32099 w 139731"/>
                <a:gd name="connsiteY8" fmla="*/ 69628 h 304514"/>
                <a:gd name="connsiteX9" fmla="*/ 32099 w 139731"/>
                <a:gd name="connsiteY9" fmla="*/ 0 h 304514"/>
                <a:gd name="connsiteX10" fmla="*/ 66484 w 139731"/>
                <a:gd name="connsiteY10" fmla="*/ 0 h 304514"/>
                <a:gd name="connsiteX11" fmla="*/ 66484 w 139731"/>
                <a:gd name="connsiteY11" fmla="*/ 69628 h 304514"/>
                <a:gd name="connsiteX12" fmla="*/ 139732 w 139731"/>
                <a:gd name="connsiteY12" fmla="*/ 69628 h 304514"/>
                <a:gd name="connsiteX13" fmla="*/ 139732 w 139731"/>
                <a:gd name="connsiteY13" fmla="*/ 100013 h 304514"/>
                <a:gd name="connsiteX14" fmla="*/ 66484 w 139731"/>
                <a:gd name="connsiteY14" fmla="*/ 100013 h 304514"/>
                <a:gd name="connsiteX15" fmla="*/ 66484 w 139731"/>
                <a:gd name="connsiteY15" fmla="*/ 234410 h 304514"/>
                <a:gd name="connsiteX16" fmla="*/ 77248 w 139731"/>
                <a:gd name="connsiteY16" fmla="*/ 264223 h 304514"/>
                <a:gd name="connsiteX17" fmla="*/ 105346 w 139731"/>
                <a:gd name="connsiteY17" fmla="*/ 272701 h 304514"/>
                <a:gd name="connsiteX18" fmla="*/ 122111 w 139731"/>
                <a:gd name="connsiteY18" fmla="*/ 270986 h 304514"/>
                <a:gd name="connsiteX19" fmla="*/ 138874 w 139731"/>
                <a:gd name="connsiteY19" fmla="*/ 265081 h 304514"/>
                <a:gd name="connsiteX20" fmla="*/ 138874 w 139731"/>
                <a:gd name="connsiteY20" fmla="*/ 294513 h 304514"/>
                <a:gd name="connsiteX21" fmla="*/ 119920 w 139731"/>
                <a:gd name="connsiteY21" fmla="*/ 301847 h 304514"/>
                <a:gd name="connsiteX22" fmla="*/ 97345 w 139731"/>
                <a:gd name="connsiteY22" fmla="*/ 304324 h 30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31" h="304514">
                  <a:moveTo>
                    <a:pt x="97345" y="304514"/>
                  </a:moveTo>
                  <a:cubicBezTo>
                    <a:pt x="88106" y="304514"/>
                    <a:pt x="79438" y="303276"/>
                    <a:pt x="71438" y="300895"/>
                  </a:cubicBezTo>
                  <a:cubicBezTo>
                    <a:pt x="63436" y="298513"/>
                    <a:pt x="56483" y="294704"/>
                    <a:pt x="50673" y="289465"/>
                  </a:cubicBezTo>
                  <a:cubicBezTo>
                    <a:pt x="44863" y="284226"/>
                    <a:pt x="40291" y="277463"/>
                    <a:pt x="37052" y="269177"/>
                  </a:cubicBezTo>
                  <a:cubicBezTo>
                    <a:pt x="33814" y="260890"/>
                    <a:pt x="32099" y="250888"/>
                    <a:pt x="32099" y="239268"/>
                  </a:cubicBezTo>
                  <a:lnTo>
                    <a:pt x="32099" y="100013"/>
                  </a:lnTo>
                  <a:lnTo>
                    <a:pt x="0" y="100013"/>
                  </a:lnTo>
                  <a:lnTo>
                    <a:pt x="0" y="69628"/>
                  </a:lnTo>
                  <a:lnTo>
                    <a:pt x="32099" y="69628"/>
                  </a:lnTo>
                  <a:lnTo>
                    <a:pt x="32099" y="0"/>
                  </a:lnTo>
                  <a:lnTo>
                    <a:pt x="66484" y="0"/>
                  </a:lnTo>
                  <a:lnTo>
                    <a:pt x="66484" y="69628"/>
                  </a:lnTo>
                  <a:lnTo>
                    <a:pt x="139732" y="69628"/>
                  </a:lnTo>
                  <a:lnTo>
                    <a:pt x="139732" y="100013"/>
                  </a:lnTo>
                  <a:lnTo>
                    <a:pt x="66484" y="100013"/>
                  </a:lnTo>
                  <a:lnTo>
                    <a:pt x="66484" y="234410"/>
                  </a:lnTo>
                  <a:cubicBezTo>
                    <a:pt x="66484" y="248603"/>
                    <a:pt x="70104" y="258604"/>
                    <a:pt x="77248" y="264223"/>
                  </a:cubicBezTo>
                  <a:cubicBezTo>
                    <a:pt x="84391" y="269843"/>
                    <a:pt x="93726" y="272701"/>
                    <a:pt x="105346" y="272701"/>
                  </a:cubicBezTo>
                  <a:cubicBezTo>
                    <a:pt x="111252" y="272701"/>
                    <a:pt x="116872" y="272129"/>
                    <a:pt x="122111" y="270986"/>
                  </a:cubicBezTo>
                  <a:cubicBezTo>
                    <a:pt x="127349" y="269843"/>
                    <a:pt x="132874" y="267938"/>
                    <a:pt x="138874" y="265081"/>
                  </a:cubicBezTo>
                  <a:lnTo>
                    <a:pt x="138874" y="294513"/>
                  </a:lnTo>
                  <a:cubicBezTo>
                    <a:pt x="132874" y="297847"/>
                    <a:pt x="126587" y="300228"/>
                    <a:pt x="119920" y="301847"/>
                  </a:cubicBezTo>
                  <a:cubicBezTo>
                    <a:pt x="113252" y="303467"/>
                    <a:pt x="105727" y="304324"/>
                    <a:pt x="97345" y="304324"/>
                  </a:cubicBezTo>
                  <a:close/>
                </a:path>
              </a:pathLst>
            </a:custGeom>
            <a:solidFill>
              <a:srgbClr val="44505E"/>
            </a:solidFill>
            <a:ln w="9525" cap="flat">
              <a:noFill/>
              <a:prstDash val="solid"/>
              <a:miter/>
            </a:ln>
          </p:spPr>
          <p:txBody>
            <a:bodyPr rtlCol="0" anchor="ctr"/>
            <a:lstStyle/>
            <a:p>
              <a:endParaRPr lang="pt-BR"/>
            </a:p>
          </p:txBody>
        </p:sp>
        <p:sp>
          <p:nvSpPr>
            <p:cNvPr id="125" name="Freeform: Shape 124">
              <a:extLst>
                <a:ext uri="{FF2B5EF4-FFF2-40B4-BE49-F238E27FC236}">
                  <a16:creationId xmlns:a16="http://schemas.microsoft.com/office/drawing/2014/main" id="{87741651-C391-DB54-8A1D-EB76C223819D}"/>
                </a:ext>
              </a:extLst>
            </p:cNvPr>
            <p:cNvSpPr/>
            <p:nvPr/>
          </p:nvSpPr>
          <p:spPr>
            <a:xfrm>
              <a:off x="5455545" y="925297"/>
              <a:ext cx="50594" cy="59238"/>
            </a:xfrm>
            <a:custGeom>
              <a:avLst/>
              <a:gdLst>
                <a:gd name="connsiteX0" fmla="*/ 88392 w 201263"/>
                <a:gd name="connsiteY0" fmla="*/ 235648 h 235648"/>
                <a:gd name="connsiteX1" fmla="*/ 51149 w 201263"/>
                <a:gd name="connsiteY1" fmla="*/ 228981 h 235648"/>
                <a:gd name="connsiteX2" fmla="*/ 23431 w 201263"/>
                <a:gd name="connsiteY2" fmla="*/ 210026 h 235648"/>
                <a:gd name="connsiteX3" fmla="*/ 6001 w 201263"/>
                <a:gd name="connsiteY3" fmla="*/ 180784 h 235648"/>
                <a:gd name="connsiteX4" fmla="*/ 0 w 201263"/>
                <a:gd name="connsiteY4" fmla="*/ 143256 h 235648"/>
                <a:gd name="connsiteX5" fmla="*/ 0 w 201263"/>
                <a:gd name="connsiteY5" fmla="*/ 0 h 235648"/>
                <a:gd name="connsiteX6" fmla="*/ 34385 w 201263"/>
                <a:gd name="connsiteY6" fmla="*/ 0 h 235648"/>
                <a:gd name="connsiteX7" fmla="*/ 34385 w 201263"/>
                <a:gd name="connsiteY7" fmla="*/ 134493 h 235648"/>
                <a:gd name="connsiteX8" fmla="*/ 50864 w 201263"/>
                <a:gd name="connsiteY8" fmla="*/ 185261 h 235648"/>
                <a:gd name="connsiteX9" fmla="*/ 98203 w 201263"/>
                <a:gd name="connsiteY9" fmla="*/ 203930 h 235648"/>
                <a:gd name="connsiteX10" fmla="*/ 125635 w 201263"/>
                <a:gd name="connsiteY10" fmla="*/ 198787 h 235648"/>
                <a:gd name="connsiteX11" fmla="*/ 147542 w 201263"/>
                <a:gd name="connsiteY11" fmla="*/ 184118 h 235648"/>
                <a:gd name="connsiteX12" fmla="*/ 162020 w 201263"/>
                <a:gd name="connsiteY12" fmla="*/ 161163 h 235648"/>
                <a:gd name="connsiteX13" fmla="*/ 167354 w 201263"/>
                <a:gd name="connsiteY13" fmla="*/ 131826 h 235648"/>
                <a:gd name="connsiteX14" fmla="*/ 167354 w 201263"/>
                <a:gd name="connsiteY14" fmla="*/ 0 h 235648"/>
                <a:gd name="connsiteX15" fmla="*/ 201263 w 201263"/>
                <a:gd name="connsiteY15" fmla="*/ 0 h 235648"/>
                <a:gd name="connsiteX16" fmla="*/ 201263 w 201263"/>
                <a:gd name="connsiteY16" fmla="*/ 230791 h 235648"/>
                <a:gd name="connsiteX17" fmla="*/ 167354 w 201263"/>
                <a:gd name="connsiteY17" fmla="*/ 230791 h 235648"/>
                <a:gd name="connsiteX18" fmla="*/ 167354 w 201263"/>
                <a:gd name="connsiteY18" fmla="*/ 190595 h 235648"/>
                <a:gd name="connsiteX19" fmla="*/ 136969 w 201263"/>
                <a:gd name="connsiteY19" fmla="*/ 222504 h 235648"/>
                <a:gd name="connsiteX20" fmla="*/ 88297 w 201263"/>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263" h="235648">
                  <a:moveTo>
                    <a:pt x="88392" y="235648"/>
                  </a:moveTo>
                  <a:cubicBezTo>
                    <a:pt x="74390" y="235648"/>
                    <a:pt x="62008" y="233363"/>
                    <a:pt x="51149" y="228981"/>
                  </a:cubicBezTo>
                  <a:cubicBezTo>
                    <a:pt x="40291" y="224504"/>
                    <a:pt x="31052" y="218218"/>
                    <a:pt x="23431"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864" y="185261"/>
                  </a:cubicBezTo>
                  <a:cubicBezTo>
                    <a:pt x="61913" y="197739"/>
                    <a:pt x="77629" y="203930"/>
                    <a:pt x="98203" y="203930"/>
                  </a:cubicBezTo>
                  <a:cubicBezTo>
                    <a:pt x="108014" y="203930"/>
                    <a:pt x="117158" y="202216"/>
                    <a:pt x="125635" y="198787"/>
                  </a:cubicBezTo>
                  <a:cubicBezTo>
                    <a:pt x="134112" y="195358"/>
                    <a:pt x="141351" y="190500"/>
                    <a:pt x="147542" y="184118"/>
                  </a:cubicBezTo>
                  <a:cubicBezTo>
                    <a:pt x="153638" y="177736"/>
                    <a:pt x="158496" y="170116"/>
                    <a:pt x="162020" y="161163"/>
                  </a:cubicBezTo>
                  <a:cubicBezTo>
                    <a:pt x="165640" y="152305"/>
                    <a:pt x="167354" y="142494"/>
                    <a:pt x="167354" y="131826"/>
                  </a:cubicBezTo>
                  <a:lnTo>
                    <a:pt x="167354" y="0"/>
                  </a:lnTo>
                  <a:lnTo>
                    <a:pt x="201263" y="0"/>
                  </a:lnTo>
                  <a:lnTo>
                    <a:pt x="201263" y="230791"/>
                  </a:lnTo>
                  <a:lnTo>
                    <a:pt x="167354" y="230791"/>
                  </a:lnTo>
                  <a:lnTo>
                    <a:pt x="167354" y="190595"/>
                  </a:lnTo>
                  <a:cubicBezTo>
                    <a:pt x="159639" y="203073"/>
                    <a:pt x="149447" y="213741"/>
                    <a:pt x="136969" y="222504"/>
                  </a:cubicBezTo>
                  <a:cubicBezTo>
                    <a:pt x="124492" y="231267"/>
                    <a:pt x="108299" y="235648"/>
                    <a:pt x="88297" y="235648"/>
                  </a:cubicBezTo>
                  <a:close/>
                </a:path>
              </a:pathLst>
            </a:custGeom>
            <a:solidFill>
              <a:srgbClr val="44505E"/>
            </a:solidFill>
            <a:ln w="9525" cap="flat">
              <a:noFill/>
              <a:prstDash val="solid"/>
              <a:miter/>
            </a:ln>
          </p:spPr>
          <p:txBody>
            <a:bodyPr rtlCol="0" anchor="ctr"/>
            <a:lstStyle/>
            <a:p>
              <a:endParaRPr lang="pt-BR"/>
            </a:p>
          </p:txBody>
        </p:sp>
        <p:sp>
          <p:nvSpPr>
            <p:cNvPr id="126" name="Freeform: Shape 125">
              <a:extLst>
                <a:ext uri="{FF2B5EF4-FFF2-40B4-BE49-F238E27FC236}">
                  <a16:creationId xmlns:a16="http://schemas.microsoft.com/office/drawing/2014/main" id="{9A778CD6-E22C-1B3D-9618-165D81BAF3D4}"/>
                </a:ext>
              </a:extLst>
            </p:cNvPr>
            <p:cNvSpPr/>
            <p:nvPr/>
          </p:nvSpPr>
          <p:spPr>
            <a:xfrm>
              <a:off x="5522205" y="901353"/>
              <a:ext cx="58567" cy="83182"/>
            </a:xfrm>
            <a:custGeom>
              <a:avLst/>
              <a:gdLst>
                <a:gd name="connsiteX0" fmla="*/ 110204 w 232981"/>
                <a:gd name="connsiteY0" fmla="*/ 330898 h 330898"/>
                <a:gd name="connsiteX1" fmla="*/ 69628 w 232981"/>
                <a:gd name="connsiteY1" fmla="*/ 322897 h 330898"/>
                <a:gd name="connsiteX2" fmla="*/ 34385 w 232981"/>
                <a:gd name="connsiteY2" fmla="*/ 299466 h 330898"/>
                <a:gd name="connsiteX3" fmla="*/ 9334 w 232981"/>
                <a:gd name="connsiteY3" fmla="*/ 261938 h 330898"/>
                <a:gd name="connsiteX4" fmla="*/ 0 w 232981"/>
                <a:gd name="connsiteY4" fmla="*/ 211264 h 330898"/>
                <a:gd name="connsiteX5" fmla="*/ 0 w 232981"/>
                <a:gd name="connsiteY5" fmla="*/ 210407 h 330898"/>
                <a:gd name="connsiteX6" fmla="*/ 9334 w 232981"/>
                <a:gd name="connsiteY6" fmla="*/ 159925 h 330898"/>
                <a:gd name="connsiteX7" fmla="*/ 34385 w 232981"/>
                <a:gd name="connsiteY7" fmla="*/ 122206 h 330898"/>
                <a:gd name="connsiteX8" fmla="*/ 69628 w 232981"/>
                <a:gd name="connsiteY8" fmla="*/ 98488 h 330898"/>
                <a:gd name="connsiteX9" fmla="*/ 110204 w 232981"/>
                <a:gd name="connsiteY9" fmla="*/ 90202 h 330898"/>
                <a:gd name="connsiteX10" fmla="*/ 139636 w 232981"/>
                <a:gd name="connsiteY10" fmla="*/ 94202 h 330898"/>
                <a:gd name="connsiteX11" fmla="*/ 163735 w 232981"/>
                <a:gd name="connsiteY11" fmla="*/ 104870 h 330898"/>
                <a:gd name="connsiteX12" fmla="*/ 183166 w 232981"/>
                <a:gd name="connsiteY12" fmla="*/ 120491 h 330898"/>
                <a:gd name="connsiteX13" fmla="*/ 198596 w 232981"/>
                <a:gd name="connsiteY13" fmla="*/ 139255 h 330898"/>
                <a:gd name="connsiteX14" fmla="*/ 198596 w 232981"/>
                <a:gd name="connsiteY14" fmla="*/ 0 h 330898"/>
                <a:gd name="connsiteX15" fmla="*/ 232981 w 232981"/>
                <a:gd name="connsiteY15" fmla="*/ 0 h 330898"/>
                <a:gd name="connsiteX16" fmla="*/ 232981 w 232981"/>
                <a:gd name="connsiteY16" fmla="*/ 325850 h 330898"/>
                <a:gd name="connsiteX17" fmla="*/ 198596 w 232981"/>
                <a:gd name="connsiteY17" fmla="*/ 325850 h 330898"/>
                <a:gd name="connsiteX18" fmla="*/ 198596 w 232981"/>
                <a:gd name="connsiteY18" fmla="*/ 279463 h 330898"/>
                <a:gd name="connsiteX19" fmla="*/ 182785 w 232981"/>
                <a:gd name="connsiteY19" fmla="*/ 299085 h 330898"/>
                <a:gd name="connsiteX20" fmla="*/ 163354 w 232981"/>
                <a:gd name="connsiteY20" fmla="*/ 315658 h 330898"/>
                <a:gd name="connsiteX21" fmla="*/ 139446 w 232981"/>
                <a:gd name="connsiteY21" fmla="*/ 326803 h 330898"/>
                <a:gd name="connsiteX22" fmla="*/ 110204 w 232981"/>
                <a:gd name="connsiteY22" fmla="*/ 330803 h 330898"/>
                <a:gd name="connsiteX23" fmla="*/ 116491 w 232981"/>
                <a:gd name="connsiteY23" fmla="*/ 300133 h 330898"/>
                <a:gd name="connsiteX24" fmla="*/ 147542 w 232981"/>
                <a:gd name="connsiteY24" fmla="*/ 293656 h 330898"/>
                <a:gd name="connsiteX25" fmla="*/ 174307 w 232981"/>
                <a:gd name="connsiteY25" fmla="*/ 275368 h 330898"/>
                <a:gd name="connsiteX26" fmla="*/ 193072 w 232981"/>
                <a:gd name="connsiteY26" fmla="*/ 247269 h 330898"/>
                <a:gd name="connsiteX27" fmla="*/ 200025 w 232981"/>
                <a:gd name="connsiteY27" fmla="*/ 210883 h 330898"/>
                <a:gd name="connsiteX28" fmla="*/ 200025 w 232981"/>
                <a:gd name="connsiteY28" fmla="*/ 210026 h 330898"/>
                <a:gd name="connsiteX29" fmla="*/ 193072 w 232981"/>
                <a:gd name="connsiteY29" fmla="*/ 173641 h 330898"/>
                <a:gd name="connsiteX30" fmla="*/ 174307 w 232981"/>
                <a:gd name="connsiteY30" fmla="*/ 145732 h 330898"/>
                <a:gd name="connsiteX31" fmla="*/ 147542 w 232981"/>
                <a:gd name="connsiteY31" fmla="*/ 127635 h 330898"/>
                <a:gd name="connsiteX32" fmla="*/ 116491 w 232981"/>
                <a:gd name="connsiteY32" fmla="*/ 121158 h 330898"/>
                <a:gd name="connsiteX33" fmla="*/ 84772 w 232981"/>
                <a:gd name="connsiteY33" fmla="*/ 127159 h 330898"/>
                <a:gd name="connsiteX34" fmla="*/ 59150 w 232981"/>
                <a:gd name="connsiteY34" fmla="*/ 144589 h 330898"/>
                <a:gd name="connsiteX35" fmla="*/ 41719 w 232981"/>
                <a:gd name="connsiteY35" fmla="*/ 172498 h 330898"/>
                <a:gd name="connsiteX36" fmla="*/ 35242 w 232981"/>
                <a:gd name="connsiteY36" fmla="*/ 210026 h 330898"/>
                <a:gd name="connsiteX37" fmla="*/ 35242 w 232981"/>
                <a:gd name="connsiteY37" fmla="*/ 210883 h 330898"/>
                <a:gd name="connsiteX38" fmla="*/ 41719 w 232981"/>
                <a:gd name="connsiteY38" fmla="*/ 247936 h 330898"/>
                <a:gd name="connsiteX39" fmla="*/ 59341 w 232981"/>
                <a:gd name="connsiteY39" fmla="*/ 276034 h 330898"/>
                <a:gd name="connsiteX40" fmla="*/ 85249 w 232981"/>
                <a:gd name="connsiteY40" fmla="*/ 293941 h 330898"/>
                <a:gd name="connsiteX41" fmla="*/ 116491 w 23298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30898">
                  <a:moveTo>
                    <a:pt x="110204" y="330898"/>
                  </a:moveTo>
                  <a:cubicBezTo>
                    <a:pt x="96202" y="330898"/>
                    <a:pt x="82677" y="328231"/>
                    <a:pt x="69628" y="322897"/>
                  </a:cubicBezTo>
                  <a:cubicBezTo>
                    <a:pt x="56578" y="317563"/>
                    <a:pt x="44767" y="309753"/>
                    <a:pt x="34385" y="299466"/>
                  </a:cubicBezTo>
                  <a:cubicBezTo>
                    <a:pt x="24003" y="289179"/>
                    <a:pt x="15621" y="276701"/>
                    <a:pt x="9334" y="261938"/>
                  </a:cubicBezTo>
                  <a:cubicBezTo>
                    <a:pt x="3048" y="247174"/>
                    <a:pt x="0" y="230314"/>
                    <a:pt x="0" y="211264"/>
                  </a:cubicBezTo>
                  <a:lnTo>
                    <a:pt x="0" y="210407"/>
                  </a:lnTo>
                  <a:cubicBezTo>
                    <a:pt x="0" y="191643"/>
                    <a:pt x="3143" y="174879"/>
                    <a:pt x="9334" y="159925"/>
                  </a:cubicBezTo>
                  <a:cubicBezTo>
                    <a:pt x="15621" y="145066"/>
                    <a:pt x="23908" y="132493"/>
                    <a:pt x="34385" y="122206"/>
                  </a:cubicBezTo>
                  <a:cubicBezTo>
                    <a:pt x="44767" y="111919"/>
                    <a:pt x="56578" y="104013"/>
                    <a:pt x="69628" y="98488"/>
                  </a:cubicBezTo>
                  <a:cubicBezTo>
                    <a:pt x="82677" y="92964"/>
                    <a:pt x="96298" y="90202"/>
                    <a:pt x="110204" y="90202"/>
                  </a:cubicBezTo>
                  <a:cubicBezTo>
                    <a:pt x="120967" y="90202"/>
                    <a:pt x="130778" y="91535"/>
                    <a:pt x="139636" y="94202"/>
                  </a:cubicBezTo>
                  <a:cubicBezTo>
                    <a:pt x="148590" y="96869"/>
                    <a:pt x="156591" y="100489"/>
                    <a:pt x="163735" y="104870"/>
                  </a:cubicBezTo>
                  <a:cubicBezTo>
                    <a:pt x="170878" y="109347"/>
                    <a:pt x="177356" y="114586"/>
                    <a:pt x="183166" y="120491"/>
                  </a:cubicBezTo>
                  <a:cubicBezTo>
                    <a:pt x="188976" y="126492"/>
                    <a:pt x="194119" y="132683"/>
                    <a:pt x="198596" y="139255"/>
                  </a:cubicBezTo>
                  <a:lnTo>
                    <a:pt x="198596" y="0"/>
                  </a:lnTo>
                  <a:lnTo>
                    <a:pt x="232981" y="0"/>
                  </a:lnTo>
                  <a:lnTo>
                    <a:pt x="232981" y="325850"/>
                  </a:lnTo>
                  <a:lnTo>
                    <a:pt x="198596" y="325850"/>
                  </a:lnTo>
                  <a:lnTo>
                    <a:pt x="198596" y="279463"/>
                  </a:lnTo>
                  <a:cubicBezTo>
                    <a:pt x="193834" y="286321"/>
                    <a:pt x="188595" y="292894"/>
                    <a:pt x="182785" y="299085"/>
                  </a:cubicBezTo>
                  <a:cubicBezTo>
                    <a:pt x="176974" y="305371"/>
                    <a:pt x="170498" y="310896"/>
                    <a:pt x="163354" y="315658"/>
                  </a:cubicBezTo>
                  <a:cubicBezTo>
                    <a:pt x="156210" y="320421"/>
                    <a:pt x="148209" y="324136"/>
                    <a:pt x="139446" y="326803"/>
                  </a:cubicBezTo>
                  <a:cubicBezTo>
                    <a:pt x="130683" y="329470"/>
                    <a:pt x="120967" y="330803"/>
                    <a:pt x="110204" y="330803"/>
                  </a:cubicBezTo>
                  <a:close/>
                  <a:moveTo>
                    <a:pt x="116491" y="300133"/>
                  </a:moveTo>
                  <a:cubicBezTo>
                    <a:pt x="127159" y="300133"/>
                    <a:pt x="137541" y="297942"/>
                    <a:pt x="147542" y="293656"/>
                  </a:cubicBezTo>
                  <a:cubicBezTo>
                    <a:pt x="157544" y="289369"/>
                    <a:pt x="166402" y="283273"/>
                    <a:pt x="174307" y="275368"/>
                  </a:cubicBezTo>
                  <a:cubicBezTo>
                    <a:pt x="182213" y="267462"/>
                    <a:pt x="188404" y="258127"/>
                    <a:pt x="193072" y="247269"/>
                  </a:cubicBezTo>
                  <a:cubicBezTo>
                    <a:pt x="197644" y="236410"/>
                    <a:pt x="200025" y="224314"/>
                    <a:pt x="200025" y="210883"/>
                  </a:cubicBezTo>
                  <a:lnTo>
                    <a:pt x="200025" y="210026"/>
                  </a:lnTo>
                  <a:cubicBezTo>
                    <a:pt x="200025" y="196596"/>
                    <a:pt x="197739" y="184499"/>
                    <a:pt x="193072" y="173641"/>
                  </a:cubicBezTo>
                  <a:cubicBezTo>
                    <a:pt x="188500" y="162782"/>
                    <a:pt x="182213" y="153448"/>
                    <a:pt x="174307" y="145732"/>
                  </a:cubicBezTo>
                  <a:cubicBezTo>
                    <a:pt x="166402" y="138017"/>
                    <a:pt x="157448" y="132016"/>
                    <a:pt x="147542" y="127635"/>
                  </a:cubicBezTo>
                  <a:cubicBezTo>
                    <a:pt x="137541" y="123349"/>
                    <a:pt x="127254" y="121158"/>
                    <a:pt x="116491" y="121158"/>
                  </a:cubicBezTo>
                  <a:cubicBezTo>
                    <a:pt x="105156" y="121158"/>
                    <a:pt x="94583" y="123158"/>
                    <a:pt x="84772" y="127159"/>
                  </a:cubicBezTo>
                  <a:cubicBezTo>
                    <a:pt x="74962" y="131159"/>
                    <a:pt x="66389" y="136969"/>
                    <a:pt x="59150" y="144589"/>
                  </a:cubicBezTo>
                  <a:cubicBezTo>
                    <a:pt x="51816" y="152114"/>
                    <a:pt x="46101" y="161449"/>
                    <a:pt x="41719" y="172498"/>
                  </a:cubicBezTo>
                  <a:cubicBezTo>
                    <a:pt x="37433" y="183451"/>
                    <a:pt x="35242" y="196024"/>
                    <a:pt x="35242" y="210026"/>
                  </a:cubicBezTo>
                  <a:lnTo>
                    <a:pt x="35242" y="210883"/>
                  </a:lnTo>
                  <a:cubicBezTo>
                    <a:pt x="35242" y="224599"/>
                    <a:pt x="37433" y="236982"/>
                    <a:pt x="41719" y="247936"/>
                  </a:cubicBezTo>
                  <a:cubicBezTo>
                    <a:pt x="46006" y="258984"/>
                    <a:pt x="51911" y="268319"/>
                    <a:pt x="59341" y="276034"/>
                  </a:cubicBezTo>
                  <a:cubicBezTo>
                    <a:pt x="66770" y="283750"/>
                    <a:pt x="75438" y="289750"/>
                    <a:pt x="85249" y="293941"/>
                  </a:cubicBezTo>
                  <a:cubicBezTo>
                    <a:pt x="95059" y="298132"/>
                    <a:pt x="105442" y="300228"/>
                    <a:pt x="116491" y="300228"/>
                  </a:cubicBezTo>
                  <a:close/>
                </a:path>
              </a:pathLst>
            </a:custGeom>
            <a:solidFill>
              <a:srgbClr val="44505E"/>
            </a:solidFill>
            <a:ln w="9525" cap="flat">
              <a:noFill/>
              <a:prstDash val="solid"/>
              <a:miter/>
            </a:ln>
          </p:spPr>
          <p:txBody>
            <a:bodyPr rtlCol="0" anchor="ctr"/>
            <a:lstStyle/>
            <a:p>
              <a:endParaRPr lang="pt-BR"/>
            </a:p>
          </p:txBody>
        </p:sp>
        <p:sp>
          <p:nvSpPr>
            <p:cNvPr id="127" name="Freeform: Shape 126">
              <a:extLst>
                <a:ext uri="{FF2B5EF4-FFF2-40B4-BE49-F238E27FC236}">
                  <a16:creationId xmlns:a16="http://schemas.microsoft.com/office/drawing/2014/main" id="{BF917BB7-0F5B-F235-61ED-0C4E4F7075A5}"/>
                </a:ext>
              </a:extLst>
            </p:cNvPr>
            <p:cNvSpPr/>
            <p:nvPr/>
          </p:nvSpPr>
          <p:spPr>
            <a:xfrm>
              <a:off x="5596504"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6963 w 218217"/>
                <a:gd name="connsiteY3" fmla="*/ 206026 h 241077"/>
                <a:gd name="connsiteX4" fmla="*/ 116015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8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1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452 w 218217"/>
                <a:gd name="connsiteY25" fmla="*/ 106299 h 241077"/>
                <a:gd name="connsiteX26" fmla="*/ 176784 w 218217"/>
                <a:gd name="connsiteY26" fmla="*/ 76771 h 241077"/>
                <a:gd name="connsiteX27" fmla="*/ 162306 w 218217"/>
                <a:gd name="connsiteY27" fmla="*/ 52101 h 241077"/>
                <a:gd name="connsiteX28" fmla="*/ 140018 w 218217"/>
                <a:gd name="connsiteY28" fmla="*/ 35242 h 241077"/>
                <a:gd name="connsiteX29" fmla="*/ 109919 w 218217"/>
                <a:gd name="connsiteY29" fmla="*/ 29051 h 241077"/>
                <a:gd name="connsiteX30" fmla="*/ 82201 w 218217"/>
                <a:gd name="connsiteY30" fmla="*/ 34766 h 241077"/>
                <a:gd name="connsiteX31" fmla="*/ 59436 w 218217"/>
                <a:gd name="connsiteY31" fmla="*/ 50959 h 241077"/>
                <a:gd name="connsiteX32" fmla="*/ 43148 w 218217"/>
                <a:gd name="connsiteY32" fmla="*/ 75628 h 241077"/>
                <a:gd name="connsiteX33" fmla="*/ 34862 w 218217"/>
                <a:gd name="connsiteY33" fmla="*/ 106204 h 241077"/>
                <a:gd name="connsiteX34" fmla="*/ 183547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724" y="202597"/>
                    <a:pt x="86963" y="206026"/>
                  </a:cubicBezTo>
                  <a:cubicBezTo>
                    <a:pt x="96203" y="209455"/>
                    <a:pt x="105823" y="211169"/>
                    <a:pt x="116015" y="211169"/>
                  </a:cubicBezTo>
                  <a:cubicBezTo>
                    <a:pt x="132112" y="211169"/>
                    <a:pt x="145828" y="208216"/>
                    <a:pt x="157353" y="202216"/>
                  </a:cubicBezTo>
                  <a:cubicBezTo>
                    <a:pt x="168783" y="196310"/>
                    <a:pt x="179261" y="188404"/>
                    <a:pt x="188786" y="178594"/>
                  </a:cubicBezTo>
                  <a:lnTo>
                    <a:pt x="210217" y="197834"/>
                  </a:lnTo>
                  <a:cubicBezTo>
                    <a:pt x="198596" y="210979"/>
                    <a:pt x="185357" y="221361"/>
                    <a:pt x="170498" y="229267"/>
                  </a:cubicBezTo>
                  <a:cubicBezTo>
                    <a:pt x="155639"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679" y="0"/>
                    <a:pt x="110681"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452" y="106299"/>
                  </a:moveTo>
                  <a:cubicBezTo>
                    <a:pt x="182594" y="95917"/>
                    <a:pt x="180308" y="86106"/>
                    <a:pt x="176784" y="76771"/>
                  </a:cubicBezTo>
                  <a:cubicBezTo>
                    <a:pt x="173165" y="67437"/>
                    <a:pt x="168402" y="59245"/>
                    <a:pt x="162306" y="52101"/>
                  </a:cubicBezTo>
                  <a:cubicBezTo>
                    <a:pt x="156210" y="44958"/>
                    <a:pt x="148781" y="39338"/>
                    <a:pt x="140018" y="35242"/>
                  </a:cubicBezTo>
                  <a:cubicBezTo>
                    <a:pt x="131254" y="31147"/>
                    <a:pt x="121158" y="29051"/>
                    <a:pt x="109919" y="29051"/>
                  </a:cubicBezTo>
                  <a:cubicBezTo>
                    <a:pt x="100108" y="29051"/>
                    <a:pt x="90869" y="30956"/>
                    <a:pt x="82201" y="34766"/>
                  </a:cubicBezTo>
                  <a:cubicBezTo>
                    <a:pt x="73533" y="38671"/>
                    <a:pt x="66008" y="44005"/>
                    <a:pt x="59436" y="50959"/>
                  </a:cubicBezTo>
                  <a:cubicBezTo>
                    <a:pt x="52864" y="57912"/>
                    <a:pt x="47435" y="66103"/>
                    <a:pt x="43148" y="75628"/>
                  </a:cubicBezTo>
                  <a:cubicBezTo>
                    <a:pt x="38862" y="85058"/>
                    <a:pt x="36100" y="95345"/>
                    <a:pt x="34862" y="106204"/>
                  </a:cubicBezTo>
                  <a:lnTo>
                    <a:pt x="183547" y="106204"/>
                  </a:lnTo>
                  <a:close/>
                </a:path>
              </a:pathLst>
            </a:custGeom>
            <a:solidFill>
              <a:srgbClr val="44505E"/>
            </a:solidFill>
            <a:ln w="9525" cap="flat">
              <a:noFill/>
              <a:prstDash val="solid"/>
              <a:miter/>
            </a:ln>
          </p:spPr>
          <p:txBody>
            <a:bodyPr rtlCol="0" anchor="ctr"/>
            <a:lstStyle/>
            <a:p>
              <a:endParaRPr lang="pt-BR"/>
            </a:p>
          </p:txBody>
        </p:sp>
        <p:sp>
          <p:nvSpPr>
            <p:cNvPr id="128" name="Freeform: Shape 127">
              <a:extLst>
                <a:ext uri="{FF2B5EF4-FFF2-40B4-BE49-F238E27FC236}">
                  <a16:creationId xmlns:a16="http://schemas.microsoft.com/office/drawing/2014/main" id="{9AB02B29-9ABB-7C99-887D-9C2FC4BEF3F5}"/>
                </a:ext>
              </a:extLst>
            </p:cNvPr>
            <p:cNvSpPr/>
            <p:nvPr/>
          </p:nvSpPr>
          <p:spPr>
            <a:xfrm>
              <a:off x="5661680" y="924268"/>
              <a:ext cx="44656" cy="60195"/>
            </a:xfrm>
            <a:custGeom>
              <a:avLst/>
              <a:gdLst>
                <a:gd name="connsiteX0" fmla="*/ 95536 w 177641"/>
                <a:gd name="connsiteY0" fmla="*/ 239268 h 239458"/>
                <a:gd name="connsiteX1" fmla="*/ 45053 w 177641"/>
                <a:gd name="connsiteY1" fmla="*/ 230124 h 239458"/>
                <a:gd name="connsiteX2" fmla="*/ 0 w 177641"/>
                <a:gd name="connsiteY2" fmla="*/ 205359 h 239458"/>
                <a:gd name="connsiteX3" fmla="*/ 17431 w 177641"/>
                <a:gd name="connsiteY3" fmla="*/ 180785 h 239458"/>
                <a:gd name="connsiteX4" fmla="*/ 56483 w 177641"/>
                <a:gd name="connsiteY4" fmla="*/ 202692 h 239458"/>
                <a:gd name="connsiteX5" fmla="*/ 97346 w 177641"/>
                <a:gd name="connsiteY5" fmla="*/ 210217 h 239458"/>
                <a:gd name="connsiteX6" fmla="*/ 131731 w 177641"/>
                <a:gd name="connsiteY6" fmla="*/ 200406 h 239458"/>
                <a:gd name="connsiteX7" fmla="*/ 145161 w 177641"/>
                <a:gd name="connsiteY7" fmla="*/ 173641 h 239458"/>
                <a:gd name="connsiteX8" fmla="*/ 145161 w 177641"/>
                <a:gd name="connsiteY8" fmla="*/ 172784 h 239458"/>
                <a:gd name="connsiteX9" fmla="*/ 140494 w 177641"/>
                <a:gd name="connsiteY9" fmla="*/ 158020 h 239458"/>
                <a:gd name="connsiteX10" fmla="*/ 127730 w 177641"/>
                <a:gd name="connsiteY10" fmla="*/ 147066 h 239458"/>
                <a:gd name="connsiteX11" fmla="*/ 109157 w 177641"/>
                <a:gd name="connsiteY11" fmla="*/ 138779 h 239458"/>
                <a:gd name="connsiteX12" fmla="*/ 87535 w 177641"/>
                <a:gd name="connsiteY12" fmla="*/ 132112 h 239458"/>
                <a:gd name="connsiteX13" fmla="*/ 60484 w 177641"/>
                <a:gd name="connsiteY13" fmla="*/ 123444 h 239458"/>
                <a:gd name="connsiteX14" fmla="*/ 35909 w 177641"/>
                <a:gd name="connsiteY14" fmla="*/ 111633 h 239458"/>
                <a:gd name="connsiteX15" fmla="*/ 18098 w 177641"/>
                <a:gd name="connsiteY15" fmla="*/ 93726 h 239458"/>
                <a:gd name="connsiteX16" fmla="*/ 11144 w 177641"/>
                <a:gd name="connsiteY16" fmla="*/ 66961 h 239458"/>
                <a:gd name="connsiteX17" fmla="*/ 11144 w 177641"/>
                <a:gd name="connsiteY17" fmla="*/ 66008 h 239458"/>
                <a:gd name="connsiteX18" fmla="*/ 16954 w 177641"/>
                <a:gd name="connsiteY18" fmla="*/ 39053 h 239458"/>
                <a:gd name="connsiteX19" fmla="*/ 33242 w 177641"/>
                <a:gd name="connsiteY19" fmla="*/ 18098 h 239458"/>
                <a:gd name="connsiteX20" fmla="*/ 58293 w 177641"/>
                <a:gd name="connsiteY20" fmla="*/ 4667 h 239458"/>
                <a:gd name="connsiteX21" fmla="*/ 89725 w 177641"/>
                <a:gd name="connsiteY21" fmla="*/ 0 h 239458"/>
                <a:gd name="connsiteX22" fmla="*/ 133064 w 177641"/>
                <a:gd name="connsiteY22" fmla="*/ 6953 h 239458"/>
                <a:gd name="connsiteX23" fmla="*/ 172784 w 177641"/>
                <a:gd name="connsiteY23" fmla="*/ 25527 h 239458"/>
                <a:gd name="connsiteX24" fmla="*/ 157163 w 177641"/>
                <a:gd name="connsiteY24" fmla="*/ 51435 h 239458"/>
                <a:gd name="connsiteX25" fmla="*/ 123444 w 177641"/>
                <a:gd name="connsiteY25" fmla="*/ 35147 h 239458"/>
                <a:gd name="connsiteX26" fmla="*/ 88868 w 177641"/>
                <a:gd name="connsiteY26" fmla="*/ 29146 h 239458"/>
                <a:gd name="connsiteX27" fmla="*/ 56293 w 177641"/>
                <a:gd name="connsiteY27" fmla="*/ 38767 h 239458"/>
                <a:gd name="connsiteX28" fmla="*/ 44196 w 177641"/>
                <a:gd name="connsiteY28" fmla="*/ 62675 h 239458"/>
                <a:gd name="connsiteX29" fmla="*/ 44196 w 177641"/>
                <a:gd name="connsiteY29" fmla="*/ 63627 h 239458"/>
                <a:gd name="connsiteX30" fmla="*/ 49149 w 177641"/>
                <a:gd name="connsiteY30" fmla="*/ 77724 h 239458"/>
                <a:gd name="connsiteX31" fmla="*/ 62294 w 177641"/>
                <a:gd name="connsiteY31" fmla="*/ 88202 h 239458"/>
                <a:gd name="connsiteX32" fmla="*/ 81248 w 177641"/>
                <a:gd name="connsiteY32" fmla="*/ 96203 h 239458"/>
                <a:gd name="connsiteX33" fmla="*/ 103537 w 177641"/>
                <a:gd name="connsiteY33" fmla="*/ 103346 h 239458"/>
                <a:gd name="connsiteX34" fmla="*/ 130112 w 177641"/>
                <a:gd name="connsiteY34" fmla="*/ 112300 h 239458"/>
                <a:gd name="connsiteX35" fmla="*/ 154019 w 177641"/>
                <a:gd name="connsiteY35" fmla="*/ 124778 h 239458"/>
                <a:gd name="connsiteX36" fmla="*/ 171164 w 177641"/>
                <a:gd name="connsiteY36" fmla="*/ 143066 h 239458"/>
                <a:gd name="connsiteX37" fmla="*/ 177641 w 177641"/>
                <a:gd name="connsiteY37" fmla="*/ 169450 h 239458"/>
                <a:gd name="connsiteX38" fmla="*/ 177641 w 177641"/>
                <a:gd name="connsiteY38" fmla="*/ 170307 h 239458"/>
                <a:gd name="connsiteX39" fmla="*/ 171164 w 177641"/>
                <a:gd name="connsiteY39" fmla="*/ 199549 h 239458"/>
                <a:gd name="connsiteX40" fmla="*/ 153734 w 177641"/>
                <a:gd name="connsiteY40" fmla="*/ 221171 h 239458"/>
                <a:gd name="connsiteX41" fmla="*/ 127825 w 177641"/>
                <a:gd name="connsiteY41" fmla="*/ 234791 h 239458"/>
                <a:gd name="connsiteX42" fmla="*/ 95441 w 177641"/>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641" h="239458">
                  <a:moveTo>
                    <a:pt x="95536" y="239268"/>
                  </a:moveTo>
                  <a:cubicBezTo>
                    <a:pt x="78867" y="239268"/>
                    <a:pt x="62008" y="236220"/>
                    <a:pt x="45053" y="230124"/>
                  </a:cubicBezTo>
                  <a:cubicBezTo>
                    <a:pt x="28099" y="224028"/>
                    <a:pt x="13049" y="215741"/>
                    <a:pt x="0" y="205359"/>
                  </a:cubicBezTo>
                  <a:lnTo>
                    <a:pt x="17431" y="180785"/>
                  </a:lnTo>
                  <a:cubicBezTo>
                    <a:pt x="29908"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542" y="162211"/>
                    <a:pt x="140494" y="158020"/>
                  </a:cubicBezTo>
                  <a:cubicBezTo>
                    <a:pt x="137350" y="153829"/>
                    <a:pt x="133160" y="150209"/>
                    <a:pt x="127730" y="147066"/>
                  </a:cubicBezTo>
                  <a:cubicBezTo>
                    <a:pt x="122396" y="143923"/>
                    <a:pt x="116205" y="141161"/>
                    <a:pt x="109157" y="138779"/>
                  </a:cubicBezTo>
                  <a:cubicBezTo>
                    <a:pt x="102203" y="136398"/>
                    <a:pt x="94964" y="134207"/>
                    <a:pt x="87535" y="132112"/>
                  </a:cubicBezTo>
                  <a:cubicBezTo>
                    <a:pt x="78581" y="129445"/>
                    <a:pt x="69628" y="126492"/>
                    <a:pt x="60484" y="123444"/>
                  </a:cubicBezTo>
                  <a:cubicBezTo>
                    <a:pt x="51435" y="120301"/>
                    <a:pt x="43244" y="116396"/>
                    <a:pt x="35909" y="111633"/>
                  </a:cubicBezTo>
                  <a:cubicBezTo>
                    <a:pt x="28575" y="106871"/>
                    <a:pt x="22670" y="100870"/>
                    <a:pt x="18098" y="93726"/>
                  </a:cubicBezTo>
                  <a:cubicBezTo>
                    <a:pt x="13525" y="86582"/>
                    <a:pt x="11144" y="77629"/>
                    <a:pt x="11144" y="66961"/>
                  </a:cubicBezTo>
                  <a:lnTo>
                    <a:pt x="11144" y="66008"/>
                  </a:lnTo>
                  <a:cubicBezTo>
                    <a:pt x="11144" y="56198"/>
                    <a:pt x="13049" y="47149"/>
                    <a:pt x="16954" y="39053"/>
                  </a:cubicBezTo>
                  <a:cubicBezTo>
                    <a:pt x="20860" y="30861"/>
                    <a:pt x="26289" y="23908"/>
                    <a:pt x="33242" y="18098"/>
                  </a:cubicBezTo>
                  <a:cubicBezTo>
                    <a:pt x="40196" y="12287"/>
                    <a:pt x="48578" y="7811"/>
                    <a:pt x="58293" y="4667"/>
                  </a:cubicBezTo>
                  <a:cubicBezTo>
                    <a:pt x="67913" y="1524"/>
                    <a:pt x="78486" y="0"/>
                    <a:pt x="89725" y="0"/>
                  </a:cubicBezTo>
                  <a:cubicBezTo>
                    <a:pt x="104013" y="0"/>
                    <a:pt x="118396" y="2286"/>
                    <a:pt x="133064" y="6953"/>
                  </a:cubicBezTo>
                  <a:cubicBezTo>
                    <a:pt x="147638" y="11621"/>
                    <a:pt x="160877" y="17717"/>
                    <a:pt x="172784" y="25527"/>
                  </a:cubicBezTo>
                  <a:lnTo>
                    <a:pt x="157163" y="51435"/>
                  </a:lnTo>
                  <a:cubicBezTo>
                    <a:pt x="146399" y="44577"/>
                    <a:pt x="135255" y="39148"/>
                    <a:pt x="123444" y="35147"/>
                  </a:cubicBezTo>
                  <a:cubicBezTo>
                    <a:pt x="111728" y="31147"/>
                    <a:pt x="100203" y="29146"/>
                    <a:pt x="88868" y="29146"/>
                  </a:cubicBezTo>
                  <a:cubicBezTo>
                    <a:pt x="75152" y="29146"/>
                    <a:pt x="64294" y="32385"/>
                    <a:pt x="56293" y="38767"/>
                  </a:cubicBezTo>
                  <a:cubicBezTo>
                    <a:pt x="48292" y="45149"/>
                    <a:pt x="44196" y="53150"/>
                    <a:pt x="44196" y="62675"/>
                  </a:cubicBezTo>
                  <a:lnTo>
                    <a:pt x="44196" y="63627"/>
                  </a:lnTo>
                  <a:cubicBezTo>
                    <a:pt x="44196" y="68961"/>
                    <a:pt x="45815" y="73628"/>
                    <a:pt x="49149" y="77724"/>
                  </a:cubicBezTo>
                  <a:cubicBezTo>
                    <a:pt x="52388" y="81725"/>
                    <a:pt x="56769" y="85249"/>
                    <a:pt x="62294" y="88202"/>
                  </a:cubicBezTo>
                  <a:cubicBezTo>
                    <a:pt x="67818" y="91154"/>
                    <a:pt x="74104" y="93821"/>
                    <a:pt x="81248" y="96203"/>
                  </a:cubicBezTo>
                  <a:cubicBezTo>
                    <a:pt x="88392" y="98584"/>
                    <a:pt x="95821" y="100965"/>
                    <a:pt x="103537" y="103346"/>
                  </a:cubicBezTo>
                  <a:cubicBezTo>
                    <a:pt x="112490" y="106013"/>
                    <a:pt x="121349" y="108966"/>
                    <a:pt x="130112" y="112300"/>
                  </a:cubicBezTo>
                  <a:cubicBezTo>
                    <a:pt x="138875" y="115538"/>
                    <a:pt x="146875" y="119729"/>
                    <a:pt x="154019" y="124778"/>
                  </a:cubicBezTo>
                  <a:cubicBezTo>
                    <a:pt x="161163" y="129826"/>
                    <a:pt x="166878" y="135922"/>
                    <a:pt x="171164" y="143066"/>
                  </a:cubicBezTo>
                  <a:cubicBezTo>
                    <a:pt x="175450" y="150209"/>
                    <a:pt x="177641" y="158972"/>
                    <a:pt x="177641" y="169450"/>
                  </a:cubicBezTo>
                  <a:lnTo>
                    <a:pt x="177641" y="170307"/>
                  </a:lnTo>
                  <a:cubicBezTo>
                    <a:pt x="177641" y="181356"/>
                    <a:pt x="175450" y="191071"/>
                    <a:pt x="171164" y="199549"/>
                  </a:cubicBezTo>
                  <a:cubicBezTo>
                    <a:pt x="166878" y="208026"/>
                    <a:pt x="161068" y="215265"/>
                    <a:pt x="153734" y="221171"/>
                  </a:cubicBezTo>
                  <a:cubicBezTo>
                    <a:pt x="146495" y="227171"/>
                    <a:pt x="137827" y="231648"/>
                    <a:pt x="127825" y="234791"/>
                  </a:cubicBezTo>
                  <a:cubicBezTo>
                    <a:pt x="117824" y="237935"/>
                    <a:pt x="107061" y="239459"/>
                    <a:pt x="95441" y="239459"/>
                  </a:cubicBezTo>
                  <a:close/>
                </a:path>
              </a:pathLst>
            </a:custGeom>
            <a:solidFill>
              <a:srgbClr val="44505E"/>
            </a:solidFill>
            <a:ln w="9525" cap="flat">
              <a:noFill/>
              <a:prstDash val="solid"/>
              <a:miter/>
            </a:ln>
          </p:spPr>
          <p:txBody>
            <a:bodyPr rtlCol="0" anchor="ctr"/>
            <a:lstStyle/>
            <a:p>
              <a:endParaRPr lang="pt-BR"/>
            </a:p>
          </p:txBody>
        </p:sp>
        <p:sp>
          <p:nvSpPr>
            <p:cNvPr id="129" name="Freeform: Shape 128">
              <a:extLst>
                <a:ext uri="{FF2B5EF4-FFF2-40B4-BE49-F238E27FC236}">
                  <a16:creationId xmlns:a16="http://schemas.microsoft.com/office/drawing/2014/main" id="{311E31BE-8FE7-D07B-63DA-20BEE1202AA9}"/>
                </a:ext>
              </a:extLst>
            </p:cNvPr>
            <p:cNvSpPr/>
            <p:nvPr/>
          </p:nvSpPr>
          <p:spPr>
            <a:xfrm>
              <a:off x="5752668" y="924028"/>
              <a:ext cx="58567" cy="77196"/>
            </a:xfrm>
            <a:custGeom>
              <a:avLst/>
              <a:gdLst>
                <a:gd name="connsiteX0" fmla="*/ 198596 w 232981"/>
                <a:gd name="connsiteY0" fmla="*/ 189357 h 307085"/>
                <a:gd name="connsiteX1" fmla="*/ 182785 w 232981"/>
                <a:gd name="connsiteY1" fmla="*/ 208978 h 307085"/>
                <a:gd name="connsiteX2" fmla="*/ 163354 w 232981"/>
                <a:gd name="connsiteY2" fmla="*/ 225552 h 307085"/>
                <a:gd name="connsiteX3" fmla="*/ 139446 w 232981"/>
                <a:gd name="connsiteY3" fmla="*/ 236696 h 307085"/>
                <a:gd name="connsiteX4" fmla="*/ 110204 w 232981"/>
                <a:gd name="connsiteY4" fmla="*/ 240697 h 307085"/>
                <a:gd name="connsiteX5" fmla="*/ 69628 w 232981"/>
                <a:gd name="connsiteY5" fmla="*/ 232696 h 307085"/>
                <a:gd name="connsiteX6" fmla="*/ 34385 w 232981"/>
                <a:gd name="connsiteY6" fmla="*/ 209264 h 307085"/>
                <a:gd name="connsiteX7" fmla="*/ 9335 w 232981"/>
                <a:gd name="connsiteY7" fmla="*/ 171736 h 307085"/>
                <a:gd name="connsiteX8" fmla="*/ 0 w 232981"/>
                <a:gd name="connsiteY8" fmla="*/ 121063 h 307085"/>
                <a:gd name="connsiteX9" fmla="*/ 0 w 232981"/>
                <a:gd name="connsiteY9" fmla="*/ 120205 h 307085"/>
                <a:gd name="connsiteX10" fmla="*/ 9335 w 232981"/>
                <a:gd name="connsiteY10" fmla="*/ 69723 h 307085"/>
                <a:gd name="connsiteX11" fmla="*/ 34385 w 232981"/>
                <a:gd name="connsiteY11" fmla="*/ 32004 h 307085"/>
                <a:gd name="connsiteX12" fmla="*/ 69628 w 232981"/>
                <a:gd name="connsiteY12" fmla="*/ 8287 h 307085"/>
                <a:gd name="connsiteX13" fmla="*/ 110204 w 232981"/>
                <a:gd name="connsiteY13" fmla="*/ 0 h 307085"/>
                <a:gd name="connsiteX14" fmla="*/ 139637 w 232981"/>
                <a:gd name="connsiteY14" fmla="*/ 4000 h 307085"/>
                <a:gd name="connsiteX15" fmla="*/ 163735 w 232981"/>
                <a:gd name="connsiteY15" fmla="*/ 14668 h 307085"/>
                <a:gd name="connsiteX16" fmla="*/ 183166 w 232981"/>
                <a:gd name="connsiteY16" fmla="*/ 30289 h 307085"/>
                <a:gd name="connsiteX17" fmla="*/ 198596 w 232981"/>
                <a:gd name="connsiteY17" fmla="*/ 49054 h 307085"/>
                <a:gd name="connsiteX18" fmla="*/ 198596 w 232981"/>
                <a:gd name="connsiteY18" fmla="*/ 4858 h 307085"/>
                <a:gd name="connsiteX19" fmla="*/ 232982 w 232981"/>
                <a:gd name="connsiteY19" fmla="*/ 4858 h 307085"/>
                <a:gd name="connsiteX20" fmla="*/ 232982 w 232981"/>
                <a:gd name="connsiteY20" fmla="*/ 307086 h 307085"/>
                <a:gd name="connsiteX21" fmla="*/ 198596 w 232981"/>
                <a:gd name="connsiteY21" fmla="*/ 307086 h 307085"/>
                <a:gd name="connsiteX22" fmla="*/ 198596 w 232981"/>
                <a:gd name="connsiteY22" fmla="*/ 189262 h 307085"/>
                <a:gd name="connsiteX23" fmla="*/ 116491 w 232981"/>
                <a:gd name="connsiteY23" fmla="*/ 209931 h 307085"/>
                <a:gd name="connsiteX24" fmla="*/ 147542 w 232981"/>
                <a:gd name="connsiteY24" fmla="*/ 203454 h 307085"/>
                <a:gd name="connsiteX25" fmla="*/ 174308 w 232981"/>
                <a:gd name="connsiteY25" fmla="*/ 185166 h 307085"/>
                <a:gd name="connsiteX26" fmla="*/ 193072 w 232981"/>
                <a:gd name="connsiteY26" fmla="*/ 157067 h 307085"/>
                <a:gd name="connsiteX27" fmla="*/ 200025 w 232981"/>
                <a:gd name="connsiteY27" fmla="*/ 120682 h 307085"/>
                <a:gd name="connsiteX28" fmla="*/ 200025 w 232981"/>
                <a:gd name="connsiteY28" fmla="*/ 119824 h 307085"/>
                <a:gd name="connsiteX29" fmla="*/ 193072 w 232981"/>
                <a:gd name="connsiteY29" fmla="*/ 83439 h 307085"/>
                <a:gd name="connsiteX30" fmla="*/ 174308 w 232981"/>
                <a:gd name="connsiteY30" fmla="*/ 55531 h 307085"/>
                <a:gd name="connsiteX31" fmla="*/ 147542 w 232981"/>
                <a:gd name="connsiteY31" fmla="*/ 37433 h 307085"/>
                <a:gd name="connsiteX32" fmla="*/ 116491 w 232981"/>
                <a:gd name="connsiteY32" fmla="*/ 30956 h 307085"/>
                <a:gd name="connsiteX33" fmla="*/ 84773 w 232981"/>
                <a:gd name="connsiteY33" fmla="*/ 36957 h 307085"/>
                <a:gd name="connsiteX34" fmla="*/ 59150 w 232981"/>
                <a:gd name="connsiteY34" fmla="*/ 54388 h 307085"/>
                <a:gd name="connsiteX35" fmla="*/ 41720 w 232981"/>
                <a:gd name="connsiteY35" fmla="*/ 82296 h 307085"/>
                <a:gd name="connsiteX36" fmla="*/ 35242 w 232981"/>
                <a:gd name="connsiteY36" fmla="*/ 119824 h 307085"/>
                <a:gd name="connsiteX37" fmla="*/ 35242 w 232981"/>
                <a:gd name="connsiteY37" fmla="*/ 120682 h 307085"/>
                <a:gd name="connsiteX38" fmla="*/ 41720 w 232981"/>
                <a:gd name="connsiteY38" fmla="*/ 157734 h 307085"/>
                <a:gd name="connsiteX39" fmla="*/ 59341 w 232981"/>
                <a:gd name="connsiteY39" fmla="*/ 185833 h 307085"/>
                <a:gd name="connsiteX40" fmla="*/ 85249 w 232981"/>
                <a:gd name="connsiteY40" fmla="*/ 203740 h 307085"/>
                <a:gd name="connsiteX41" fmla="*/ 116491 w 232981"/>
                <a:gd name="connsiteY41" fmla="*/ 210026 h 30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2981" h="307085">
                  <a:moveTo>
                    <a:pt x="198596" y="189357"/>
                  </a:moveTo>
                  <a:cubicBezTo>
                    <a:pt x="193834" y="196215"/>
                    <a:pt x="188595" y="202787"/>
                    <a:pt x="182785" y="208978"/>
                  </a:cubicBezTo>
                  <a:cubicBezTo>
                    <a:pt x="176975" y="215265"/>
                    <a:pt x="170498" y="220789"/>
                    <a:pt x="163354" y="225552"/>
                  </a:cubicBezTo>
                  <a:cubicBezTo>
                    <a:pt x="156210" y="230314"/>
                    <a:pt x="148209" y="234029"/>
                    <a:pt x="139446" y="236696"/>
                  </a:cubicBezTo>
                  <a:cubicBezTo>
                    <a:pt x="130683" y="239363"/>
                    <a:pt x="120967" y="240697"/>
                    <a:pt x="110204" y="240697"/>
                  </a:cubicBezTo>
                  <a:cubicBezTo>
                    <a:pt x="96203" y="240697"/>
                    <a:pt x="82677" y="238030"/>
                    <a:pt x="69628" y="232696"/>
                  </a:cubicBezTo>
                  <a:cubicBezTo>
                    <a:pt x="56579" y="227362"/>
                    <a:pt x="44767" y="219551"/>
                    <a:pt x="34385" y="209264"/>
                  </a:cubicBezTo>
                  <a:cubicBezTo>
                    <a:pt x="24003" y="198977"/>
                    <a:pt x="15621" y="186499"/>
                    <a:pt x="9335" y="171736"/>
                  </a:cubicBezTo>
                  <a:cubicBezTo>
                    <a:pt x="3048" y="156972"/>
                    <a:pt x="0" y="140113"/>
                    <a:pt x="0" y="121063"/>
                  </a:cubicBezTo>
                  <a:lnTo>
                    <a:pt x="0" y="120205"/>
                  </a:lnTo>
                  <a:cubicBezTo>
                    <a:pt x="0" y="101441"/>
                    <a:pt x="3143" y="84677"/>
                    <a:pt x="9335" y="69723"/>
                  </a:cubicBezTo>
                  <a:cubicBezTo>
                    <a:pt x="15621" y="54864"/>
                    <a:pt x="23908" y="42291"/>
                    <a:pt x="34385" y="32004"/>
                  </a:cubicBezTo>
                  <a:cubicBezTo>
                    <a:pt x="44767" y="21717"/>
                    <a:pt x="56579" y="13811"/>
                    <a:pt x="69628" y="8287"/>
                  </a:cubicBezTo>
                  <a:cubicBezTo>
                    <a:pt x="82677" y="2762"/>
                    <a:pt x="96298" y="0"/>
                    <a:pt x="110204" y="0"/>
                  </a:cubicBezTo>
                  <a:cubicBezTo>
                    <a:pt x="120967" y="0"/>
                    <a:pt x="130778" y="1333"/>
                    <a:pt x="139637" y="4000"/>
                  </a:cubicBezTo>
                  <a:cubicBezTo>
                    <a:pt x="148590" y="6667"/>
                    <a:pt x="156591" y="10287"/>
                    <a:pt x="163735" y="14668"/>
                  </a:cubicBezTo>
                  <a:cubicBezTo>
                    <a:pt x="170879" y="19145"/>
                    <a:pt x="177356" y="24384"/>
                    <a:pt x="183166" y="30289"/>
                  </a:cubicBezTo>
                  <a:cubicBezTo>
                    <a:pt x="188976" y="36290"/>
                    <a:pt x="194120" y="42481"/>
                    <a:pt x="198596" y="49054"/>
                  </a:cubicBezTo>
                  <a:lnTo>
                    <a:pt x="198596" y="4858"/>
                  </a:lnTo>
                  <a:lnTo>
                    <a:pt x="232982" y="4858"/>
                  </a:lnTo>
                  <a:lnTo>
                    <a:pt x="232982" y="307086"/>
                  </a:lnTo>
                  <a:lnTo>
                    <a:pt x="198596" y="307086"/>
                  </a:lnTo>
                  <a:lnTo>
                    <a:pt x="198596" y="189262"/>
                  </a:lnTo>
                  <a:close/>
                  <a:moveTo>
                    <a:pt x="116491" y="209931"/>
                  </a:moveTo>
                  <a:cubicBezTo>
                    <a:pt x="127159" y="209931"/>
                    <a:pt x="137541" y="207740"/>
                    <a:pt x="147542" y="203454"/>
                  </a:cubicBezTo>
                  <a:cubicBezTo>
                    <a:pt x="157544" y="199168"/>
                    <a:pt x="166402" y="193072"/>
                    <a:pt x="174308" y="185166"/>
                  </a:cubicBezTo>
                  <a:cubicBezTo>
                    <a:pt x="182213" y="177260"/>
                    <a:pt x="188404" y="167926"/>
                    <a:pt x="193072" y="157067"/>
                  </a:cubicBezTo>
                  <a:cubicBezTo>
                    <a:pt x="197739" y="146209"/>
                    <a:pt x="200025" y="134112"/>
                    <a:pt x="200025" y="120682"/>
                  </a:cubicBezTo>
                  <a:lnTo>
                    <a:pt x="200025" y="119824"/>
                  </a:lnTo>
                  <a:cubicBezTo>
                    <a:pt x="200025" y="106394"/>
                    <a:pt x="197739" y="94297"/>
                    <a:pt x="193072" y="83439"/>
                  </a:cubicBezTo>
                  <a:cubicBezTo>
                    <a:pt x="188500" y="72580"/>
                    <a:pt x="182213" y="63246"/>
                    <a:pt x="174308" y="55531"/>
                  </a:cubicBezTo>
                  <a:cubicBezTo>
                    <a:pt x="166402" y="47815"/>
                    <a:pt x="157544" y="41815"/>
                    <a:pt x="147542" y="37433"/>
                  </a:cubicBezTo>
                  <a:cubicBezTo>
                    <a:pt x="137541" y="33147"/>
                    <a:pt x="127254" y="30956"/>
                    <a:pt x="116491" y="30956"/>
                  </a:cubicBezTo>
                  <a:cubicBezTo>
                    <a:pt x="105156" y="30956"/>
                    <a:pt x="94583" y="32956"/>
                    <a:pt x="84773" y="36957"/>
                  </a:cubicBezTo>
                  <a:cubicBezTo>
                    <a:pt x="74962" y="40957"/>
                    <a:pt x="66389" y="46767"/>
                    <a:pt x="59150" y="54388"/>
                  </a:cubicBezTo>
                  <a:cubicBezTo>
                    <a:pt x="51816" y="61913"/>
                    <a:pt x="46101" y="71247"/>
                    <a:pt x="41720" y="82296"/>
                  </a:cubicBezTo>
                  <a:cubicBezTo>
                    <a:pt x="37433" y="93250"/>
                    <a:pt x="35242" y="105823"/>
                    <a:pt x="35242" y="119824"/>
                  </a:cubicBezTo>
                  <a:lnTo>
                    <a:pt x="35242" y="120682"/>
                  </a:lnTo>
                  <a:cubicBezTo>
                    <a:pt x="35242" y="134398"/>
                    <a:pt x="37433" y="146780"/>
                    <a:pt x="41720" y="157734"/>
                  </a:cubicBezTo>
                  <a:cubicBezTo>
                    <a:pt x="46006" y="168783"/>
                    <a:pt x="51911" y="178117"/>
                    <a:pt x="59341" y="185833"/>
                  </a:cubicBezTo>
                  <a:cubicBezTo>
                    <a:pt x="66770" y="193548"/>
                    <a:pt x="75438" y="199549"/>
                    <a:pt x="85249" y="203740"/>
                  </a:cubicBezTo>
                  <a:cubicBezTo>
                    <a:pt x="95060" y="207931"/>
                    <a:pt x="105442" y="210026"/>
                    <a:pt x="116491" y="210026"/>
                  </a:cubicBezTo>
                  <a:close/>
                </a:path>
              </a:pathLst>
            </a:custGeom>
            <a:solidFill>
              <a:srgbClr val="44505E"/>
            </a:solidFill>
            <a:ln w="9525" cap="flat">
              <a:noFill/>
              <a:prstDash val="solid"/>
              <a:miter/>
            </a:ln>
          </p:spPr>
          <p:txBody>
            <a:bodyPr rtlCol="0" anchor="ctr"/>
            <a:lstStyle/>
            <a:p>
              <a:endParaRPr lang="pt-BR"/>
            </a:p>
          </p:txBody>
        </p:sp>
        <p:sp>
          <p:nvSpPr>
            <p:cNvPr id="130" name="Freeform: Shape 129">
              <a:extLst>
                <a:ext uri="{FF2B5EF4-FFF2-40B4-BE49-F238E27FC236}">
                  <a16:creationId xmlns:a16="http://schemas.microsoft.com/office/drawing/2014/main" id="{2B1B7368-55F8-5397-2132-D63FFAF86B5C}"/>
                </a:ext>
              </a:extLst>
            </p:cNvPr>
            <p:cNvSpPr/>
            <p:nvPr/>
          </p:nvSpPr>
          <p:spPr>
            <a:xfrm>
              <a:off x="5829624" y="925297"/>
              <a:ext cx="50618" cy="59238"/>
            </a:xfrm>
            <a:custGeom>
              <a:avLst/>
              <a:gdLst>
                <a:gd name="connsiteX0" fmla="*/ 88392 w 201358"/>
                <a:gd name="connsiteY0" fmla="*/ 235648 h 235648"/>
                <a:gd name="connsiteX1" fmla="*/ 51149 w 201358"/>
                <a:gd name="connsiteY1" fmla="*/ 228981 h 235648"/>
                <a:gd name="connsiteX2" fmla="*/ 23432 w 201358"/>
                <a:gd name="connsiteY2" fmla="*/ 210026 h 235648"/>
                <a:gd name="connsiteX3" fmla="*/ 6001 w 201358"/>
                <a:gd name="connsiteY3" fmla="*/ 180784 h 235648"/>
                <a:gd name="connsiteX4" fmla="*/ 0 w 201358"/>
                <a:gd name="connsiteY4" fmla="*/ 143256 h 235648"/>
                <a:gd name="connsiteX5" fmla="*/ 0 w 201358"/>
                <a:gd name="connsiteY5" fmla="*/ 0 h 235648"/>
                <a:gd name="connsiteX6" fmla="*/ 34385 w 201358"/>
                <a:gd name="connsiteY6" fmla="*/ 0 h 235648"/>
                <a:gd name="connsiteX7" fmla="*/ 34385 w 201358"/>
                <a:gd name="connsiteY7" fmla="*/ 134493 h 235648"/>
                <a:gd name="connsiteX8" fmla="*/ 50959 w 201358"/>
                <a:gd name="connsiteY8" fmla="*/ 185261 h 235648"/>
                <a:gd name="connsiteX9" fmla="*/ 98298 w 201358"/>
                <a:gd name="connsiteY9" fmla="*/ 203930 h 235648"/>
                <a:gd name="connsiteX10" fmla="*/ 125730 w 201358"/>
                <a:gd name="connsiteY10" fmla="*/ 198787 h 235648"/>
                <a:gd name="connsiteX11" fmla="*/ 147638 w 201358"/>
                <a:gd name="connsiteY11" fmla="*/ 184118 h 235648"/>
                <a:gd name="connsiteX12" fmla="*/ 162116 w 201358"/>
                <a:gd name="connsiteY12" fmla="*/ 161163 h 235648"/>
                <a:gd name="connsiteX13" fmla="*/ 167450 w 201358"/>
                <a:gd name="connsiteY13" fmla="*/ 131826 h 235648"/>
                <a:gd name="connsiteX14" fmla="*/ 167450 w 201358"/>
                <a:gd name="connsiteY14" fmla="*/ 0 h 235648"/>
                <a:gd name="connsiteX15" fmla="*/ 201359 w 201358"/>
                <a:gd name="connsiteY15" fmla="*/ 0 h 235648"/>
                <a:gd name="connsiteX16" fmla="*/ 201359 w 201358"/>
                <a:gd name="connsiteY16" fmla="*/ 230791 h 235648"/>
                <a:gd name="connsiteX17" fmla="*/ 167450 w 201358"/>
                <a:gd name="connsiteY17" fmla="*/ 230791 h 235648"/>
                <a:gd name="connsiteX18" fmla="*/ 167450 w 201358"/>
                <a:gd name="connsiteY18" fmla="*/ 190595 h 235648"/>
                <a:gd name="connsiteX19" fmla="*/ 137065 w 201358"/>
                <a:gd name="connsiteY19" fmla="*/ 222504 h 235648"/>
                <a:gd name="connsiteX20" fmla="*/ 88392 w 201358"/>
                <a:gd name="connsiteY20" fmla="*/ 23564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1358" h="235648">
                  <a:moveTo>
                    <a:pt x="88392" y="235648"/>
                  </a:moveTo>
                  <a:cubicBezTo>
                    <a:pt x="74390" y="235648"/>
                    <a:pt x="62008" y="233363"/>
                    <a:pt x="51149" y="228981"/>
                  </a:cubicBezTo>
                  <a:cubicBezTo>
                    <a:pt x="40291" y="224504"/>
                    <a:pt x="31052" y="218218"/>
                    <a:pt x="23432" y="210026"/>
                  </a:cubicBezTo>
                  <a:cubicBezTo>
                    <a:pt x="15812" y="201834"/>
                    <a:pt x="10001" y="192119"/>
                    <a:pt x="6001" y="180784"/>
                  </a:cubicBezTo>
                  <a:cubicBezTo>
                    <a:pt x="2000" y="169450"/>
                    <a:pt x="0" y="156972"/>
                    <a:pt x="0" y="143256"/>
                  </a:cubicBezTo>
                  <a:lnTo>
                    <a:pt x="0" y="0"/>
                  </a:lnTo>
                  <a:lnTo>
                    <a:pt x="34385" y="0"/>
                  </a:lnTo>
                  <a:lnTo>
                    <a:pt x="34385" y="134493"/>
                  </a:lnTo>
                  <a:cubicBezTo>
                    <a:pt x="34385" y="155829"/>
                    <a:pt x="39910" y="172783"/>
                    <a:pt x="50959" y="185261"/>
                  </a:cubicBezTo>
                  <a:cubicBezTo>
                    <a:pt x="61913" y="197739"/>
                    <a:pt x="77724" y="203930"/>
                    <a:pt x="98298" y="203930"/>
                  </a:cubicBezTo>
                  <a:cubicBezTo>
                    <a:pt x="108109" y="203930"/>
                    <a:pt x="117253" y="202216"/>
                    <a:pt x="125730" y="198787"/>
                  </a:cubicBezTo>
                  <a:cubicBezTo>
                    <a:pt x="134207" y="195358"/>
                    <a:pt x="141446" y="190500"/>
                    <a:pt x="147638" y="184118"/>
                  </a:cubicBezTo>
                  <a:cubicBezTo>
                    <a:pt x="153734" y="177736"/>
                    <a:pt x="158591" y="170116"/>
                    <a:pt x="162116" y="161163"/>
                  </a:cubicBezTo>
                  <a:cubicBezTo>
                    <a:pt x="165735" y="152305"/>
                    <a:pt x="167450" y="142494"/>
                    <a:pt x="167450" y="131826"/>
                  </a:cubicBezTo>
                  <a:lnTo>
                    <a:pt x="167450" y="0"/>
                  </a:lnTo>
                  <a:lnTo>
                    <a:pt x="201359" y="0"/>
                  </a:lnTo>
                  <a:lnTo>
                    <a:pt x="201359" y="230791"/>
                  </a:lnTo>
                  <a:lnTo>
                    <a:pt x="167450" y="230791"/>
                  </a:lnTo>
                  <a:lnTo>
                    <a:pt x="167450" y="190595"/>
                  </a:lnTo>
                  <a:cubicBezTo>
                    <a:pt x="159734" y="203073"/>
                    <a:pt x="149543" y="213741"/>
                    <a:pt x="137065" y="222504"/>
                  </a:cubicBezTo>
                  <a:cubicBezTo>
                    <a:pt x="124587" y="231267"/>
                    <a:pt x="108395" y="235648"/>
                    <a:pt x="88392" y="235648"/>
                  </a:cubicBezTo>
                  <a:close/>
                </a:path>
              </a:pathLst>
            </a:custGeom>
            <a:solidFill>
              <a:srgbClr val="44505E"/>
            </a:solidFill>
            <a:ln w="9525" cap="flat">
              <a:noFill/>
              <a:prstDash val="solid"/>
              <a:miter/>
            </a:ln>
          </p:spPr>
          <p:txBody>
            <a:bodyPr rtlCol="0" anchor="ctr"/>
            <a:lstStyle/>
            <a:p>
              <a:endParaRPr lang="pt-BR"/>
            </a:p>
          </p:txBody>
        </p:sp>
        <p:sp>
          <p:nvSpPr>
            <p:cNvPr id="131" name="Freeform: Shape 130">
              <a:extLst>
                <a:ext uri="{FF2B5EF4-FFF2-40B4-BE49-F238E27FC236}">
                  <a16:creationId xmlns:a16="http://schemas.microsoft.com/office/drawing/2014/main" id="{526EC8B8-B4D1-994C-23A6-807718FEB559}"/>
                </a:ext>
              </a:extLst>
            </p:cNvPr>
            <p:cNvSpPr/>
            <p:nvPr/>
          </p:nvSpPr>
          <p:spPr>
            <a:xfrm>
              <a:off x="5896069" y="924028"/>
              <a:ext cx="54856" cy="60602"/>
            </a:xfrm>
            <a:custGeom>
              <a:avLst/>
              <a:gdLst>
                <a:gd name="connsiteX0" fmla="*/ 34766 w 218217"/>
                <a:gd name="connsiteY0" fmla="*/ 134398 h 241077"/>
                <a:gd name="connsiteX1" fmla="*/ 43720 w 218217"/>
                <a:gd name="connsiteY1" fmla="*/ 166973 h 241077"/>
                <a:gd name="connsiteX2" fmla="*/ 62008 w 218217"/>
                <a:gd name="connsiteY2" fmla="*/ 191071 h 241077"/>
                <a:gd name="connsiteX3" fmla="*/ 87059 w 218217"/>
                <a:gd name="connsiteY3" fmla="*/ 206026 h 241077"/>
                <a:gd name="connsiteX4" fmla="*/ 116110 w 218217"/>
                <a:gd name="connsiteY4" fmla="*/ 211169 h 241077"/>
                <a:gd name="connsiteX5" fmla="*/ 157353 w 218217"/>
                <a:gd name="connsiteY5" fmla="*/ 202216 h 241077"/>
                <a:gd name="connsiteX6" fmla="*/ 188786 w 218217"/>
                <a:gd name="connsiteY6" fmla="*/ 178594 h 241077"/>
                <a:gd name="connsiteX7" fmla="*/ 210217 w 218217"/>
                <a:gd name="connsiteY7" fmla="*/ 197834 h 241077"/>
                <a:gd name="connsiteX8" fmla="*/ 170497 w 218217"/>
                <a:gd name="connsiteY8" fmla="*/ 229267 h 241077"/>
                <a:gd name="connsiteX9" fmla="*/ 115157 w 218217"/>
                <a:gd name="connsiteY9" fmla="*/ 241078 h 241077"/>
                <a:gd name="connsiteX10" fmla="*/ 70485 w 218217"/>
                <a:gd name="connsiteY10" fmla="*/ 232410 h 241077"/>
                <a:gd name="connsiteX11" fmla="*/ 33909 w 218217"/>
                <a:gd name="connsiteY11" fmla="*/ 207835 h 241077"/>
                <a:gd name="connsiteX12" fmla="*/ 9144 w 218217"/>
                <a:gd name="connsiteY12" fmla="*/ 169640 h 241077"/>
                <a:gd name="connsiteX13" fmla="*/ 0 w 218217"/>
                <a:gd name="connsiteY13" fmla="*/ 120491 h 241077"/>
                <a:gd name="connsiteX14" fmla="*/ 8287 w 218217"/>
                <a:gd name="connsiteY14" fmla="*/ 73438 h 241077"/>
                <a:gd name="connsiteX15" fmla="*/ 31242 w 218217"/>
                <a:gd name="connsiteY15" fmla="*/ 35052 h 241077"/>
                <a:gd name="connsiteX16" fmla="*/ 66294 w 218217"/>
                <a:gd name="connsiteY16" fmla="*/ 9430 h 241077"/>
                <a:gd name="connsiteX17" fmla="*/ 110680 w 218217"/>
                <a:gd name="connsiteY17" fmla="*/ 0 h 241077"/>
                <a:gd name="connsiteX18" fmla="*/ 156210 w 218217"/>
                <a:gd name="connsiteY18" fmla="*/ 9620 h 241077"/>
                <a:gd name="connsiteX19" fmla="*/ 190119 w 218217"/>
                <a:gd name="connsiteY19" fmla="*/ 35719 h 241077"/>
                <a:gd name="connsiteX20" fmla="*/ 211074 w 218217"/>
                <a:gd name="connsiteY20" fmla="*/ 74581 h 241077"/>
                <a:gd name="connsiteX21" fmla="*/ 218218 w 218217"/>
                <a:gd name="connsiteY21" fmla="*/ 122301 h 241077"/>
                <a:gd name="connsiteX22" fmla="*/ 218218 w 218217"/>
                <a:gd name="connsiteY22" fmla="*/ 127444 h 241077"/>
                <a:gd name="connsiteX23" fmla="*/ 217742 w 218217"/>
                <a:gd name="connsiteY23" fmla="*/ 134398 h 241077"/>
                <a:gd name="connsiteX24" fmla="*/ 34766 w 218217"/>
                <a:gd name="connsiteY24" fmla="*/ 134398 h 241077"/>
                <a:gd name="connsiteX25" fmla="*/ 183356 w 218217"/>
                <a:gd name="connsiteY25" fmla="*/ 106299 h 241077"/>
                <a:gd name="connsiteX26" fmla="*/ 176689 w 218217"/>
                <a:gd name="connsiteY26" fmla="*/ 76771 h 241077"/>
                <a:gd name="connsiteX27" fmla="*/ 162211 w 218217"/>
                <a:gd name="connsiteY27" fmla="*/ 52101 h 241077"/>
                <a:gd name="connsiteX28" fmla="*/ 139922 w 218217"/>
                <a:gd name="connsiteY28" fmla="*/ 35242 h 241077"/>
                <a:gd name="connsiteX29" fmla="*/ 109823 w 218217"/>
                <a:gd name="connsiteY29" fmla="*/ 29051 h 241077"/>
                <a:gd name="connsiteX30" fmla="*/ 82105 w 218217"/>
                <a:gd name="connsiteY30" fmla="*/ 34766 h 241077"/>
                <a:gd name="connsiteX31" fmla="*/ 59341 w 218217"/>
                <a:gd name="connsiteY31" fmla="*/ 50959 h 241077"/>
                <a:gd name="connsiteX32" fmla="*/ 43053 w 218217"/>
                <a:gd name="connsiteY32" fmla="*/ 75628 h 241077"/>
                <a:gd name="connsiteX33" fmla="*/ 34766 w 218217"/>
                <a:gd name="connsiteY33" fmla="*/ 106204 h 241077"/>
                <a:gd name="connsiteX34" fmla="*/ 183356 w 218217"/>
                <a:gd name="connsiteY34" fmla="*/ 106204 h 24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217" h="241077">
                  <a:moveTo>
                    <a:pt x="34766" y="134398"/>
                  </a:moveTo>
                  <a:cubicBezTo>
                    <a:pt x="35909" y="146590"/>
                    <a:pt x="38957" y="157448"/>
                    <a:pt x="43720" y="166973"/>
                  </a:cubicBezTo>
                  <a:cubicBezTo>
                    <a:pt x="48482" y="176498"/>
                    <a:pt x="54578" y="184499"/>
                    <a:pt x="62008" y="191071"/>
                  </a:cubicBezTo>
                  <a:cubicBezTo>
                    <a:pt x="69437" y="197644"/>
                    <a:pt x="77819" y="202597"/>
                    <a:pt x="87059" y="206026"/>
                  </a:cubicBezTo>
                  <a:cubicBezTo>
                    <a:pt x="96298" y="209455"/>
                    <a:pt x="105918" y="211169"/>
                    <a:pt x="116110" y="211169"/>
                  </a:cubicBezTo>
                  <a:cubicBezTo>
                    <a:pt x="132207" y="211169"/>
                    <a:pt x="145923" y="208216"/>
                    <a:pt x="157353" y="202216"/>
                  </a:cubicBezTo>
                  <a:cubicBezTo>
                    <a:pt x="168783" y="196310"/>
                    <a:pt x="179261" y="188404"/>
                    <a:pt x="188786" y="178594"/>
                  </a:cubicBezTo>
                  <a:lnTo>
                    <a:pt x="210217" y="197834"/>
                  </a:lnTo>
                  <a:cubicBezTo>
                    <a:pt x="198596" y="210979"/>
                    <a:pt x="185356" y="221361"/>
                    <a:pt x="170497" y="229267"/>
                  </a:cubicBezTo>
                  <a:cubicBezTo>
                    <a:pt x="155638" y="237172"/>
                    <a:pt x="137160" y="241078"/>
                    <a:pt x="115157" y="241078"/>
                  </a:cubicBezTo>
                  <a:cubicBezTo>
                    <a:pt x="99346" y="241078"/>
                    <a:pt x="84487" y="238220"/>
                    <a:pt x="70485" y="232410"/>
                  </a:cubicBezTo>
                  <a:cubicBezTo>
                    <a:pt x="56483" y="226600"/>
                    <a:pt x="44291" y="218408"/>
                    <a:pt x="33909" y="207835"/>
                  </a:cubicBezTo>
                  <a:cubicBezTo>
                    <a:pt x="23527" y="197263"/>
                    <a:pt x="15240" y="184594"/>
                    <a:pt x="9144" y="169640"/>
                  </a:cubicBezTo>
                  <a:cubicBezTo>
                    <a:pt x="3048" y="154781"/>
                    <a:pt x="0" y="138398"/>
                    <a:pt x="0" y="120491"/>
                  </a:cubicBezTo>
                  <a:cubicBezTo>
                    <a:pt x="0" y="103822"/>
                    <a:pt x="2762" y="88106"/>
                    <a:pt x="8287" y="73438"/>
                  </a:cubicBezTo>
                  <a:cubicBezTo>
                    <a:pt x="13811" y="58674"/>
                    <a:pt x="21431" y="45910"/>
                    <a:pt x="31242" y="35052"/>
                  </a:cubicBezTo>
                  <a:cubicBezTo>
                    <a:pt x="41053" y="24193"/>
                    <a:pt x="52769" y="15621"/>
                    <a:pt x="66294" y="9430"/>
                  </a:cubicBezTo>
                  <a:cubicBezTo>
                    <a:pt x="79820" y="3143"/>
                    <a:pt x="94583" y="0"/>
                    <a:pt x="110680" y="0"/>
                  </a:cubicBezTo>
                  <a:cubicBezTo>
                    <a:pt x="127635" y="0"/>
                    <a:pt x="142780" y="3238"/>
                    <a:pt x="156210" y="9620"/>
                  </a:cubicBezTo>
                  <a:cubicBezTo>
                    <a:pt x="169640" y="16002"/>
                    <a:pt x="180880" y="24765"/>
                    <a:pt x="190119" y="35719"/>
                  </a:cubicBezTo>
                  <a:cubicBezTo>
                    <a:pt x="199358" y="46767"/>
                    <a:pt x="206312" y="59722"/>
                    <a:pt x="211074" y="74581"/>
                  </a:cubicBezTo>
                  <a:cubicBezTo>
                    <a:pt x="215837" y="89440"/>
                    <a:pt x="218218" y="105346"/>
                    <a:pt x="218218" y="122301"/>
                  </a:cubicBezTo>
                  <a:lnTo>
                    <a:pt x="218218" y="127444"/>
                  </a:lnTo>
                  <a:cubicBezTo>
                    <a:pt x="218218" y="129445"/>
                    <a:pt x="218027" y="131731"/>
                    <a:pt x="217742" y="134398"/>
                  </a:cubicBezTo>
                  <a:lnTo>
                    <a:pt x="34766" y="134398"/>
                  </a:lnTo>
                  <a:close/>
                  <a:moveTo>
                    <a:pt x="183356" y="106299"/>
                  </a:moveTo>
                  <a:cubicBezTo>
                    <a:pt x="182499" y="95917"/>
                    <a:pt x="180213" y="86106"/>
                    <a:pt x="176689" y="76771"/>
                  </a:cubicBezTo>
                  <a:cubicBezTo>
                    <a:pt x="173069" y="67437"/>
                    <a:pt x="168307" y="59245"/>
                    <a:pt x="162211" y="52101"/>
                  </a:cubicBezTo>
                  <a:cubicBezTo>
                    <a:pt x="156115" y="44958"/>
                    <a:pt x="148685" y="39338"/>
                    <a:pt x="139922" y="35242"/>
                  </a:cubicBezTo>
                  <a:cubicBezTo>
                    <a:pt x="131159" y="31147"/>
                    <a:pt x="121063" y="29051"/>
                    <a:pt x="109823" y="29051"/>
                  </a:cubicBezTo>
                  <a:cubicBezTo>
                    <a:pt x="100013" y="29051"/>
                    <a:pt x="90773" y="30956"/>
                    <a:pt x="82105" y="34766"/>
                  </a:cubicBezTo>
                  <a:cubicBezTo>
                    <a:pt x="73438" y="38671"/>
                    <a:pt x="65913" y="44005"/>
                    <a:pt x="59341" y="50959"/>
                  </a:cubicBezTo>
                  <a:cubicBezTo>
                    <a:pt x="52769" y="57912"/>
                    <a:pt x="47339" y="66103"/>
                    <a:pt x="43053" y="75628"/>
                  </a:cubicBezTo>
                  <a:cubicBezTo>
                    <a:pt x="38767" y="85058"/>
                    <a:pt x="36004" y="95345"/>
                    <a:pt x="34766" y="106204"/>
                  </a:cubicBezTo>
                  <a:lnTo>
                    <a:pt x="183356" y="106204"/>
                  </a:lnTo>
                  <a:close/>
                </a:path>
              </a:pathLst>
            </a:custGeom>
            <a:solidFill>
              <a:srgbClr val="44505E"/>
            </a:solidFill>
            <a:ln w="9525" cap="flat">
              <a:noFill/>
              <a:prstDash val="solid"/>
              <a:miter/>
            </a:ln>
          </p:spPr>
          <p:txBody>
            <a:bodyPr rtlCol="0" anchor="ctr"/>
            <a:lstStyle/>
            <a:p>
              <a:endParaRPr lang="pt-BR"/>
            </a:p>
          </p:txBody>
        </p:sp>
        <p:sp>
          <p:nvSpPr>
            <p:cNvPr id="132" name="Freeform: Shape 131">
              <a:extLst>
                <a:ext uri="{FF2B5EF4-FFF2-40B4-BE49-F238E27FC236}">
                  <a16:creationId xmlns:a16="http://schemas.microsoft.com/office/drawing/2014/main" id="{3EA49ECB-C752-706D-2003-7AF21752F2BC}"/>
                </a:ext>
              </a:extLst>
            </p:cNvPr>
            <p:cNvSpPr/>
            <p:nvPr/>
          </p:nvSpPr>
          <p:spPr>
            <a:xfrm>
              <a:off x="5994910" y="924268"/>
              <a:ext cx="44680" cy="60195"/>
            </a:xfrm>
            <a:custGeom>
              <a:avLst/>
              <a:gdLst>
                <a:gd name="connsiteX0" fmla="*/ 95536 w 177736"/>
                <a:gd name="connsiteY0" fmla="*/ 239268 h 239458"/>
                <a:gd name="connsiteX1" fmla="*/ 45053 w 177736"/>
                <a:gd name="connsiteY1" fmla="*/ 230124 h 239458"/>
                <a:gd name="connsiteX2" fmla="*/ 0 w 177736"/>
                <a:gd name="connsiteY2" fmla="*/ 205359 h 239458"/>
                <a:gd name="connsiteX3" fmla="*/ 17431 w 177736"/>
                <a:gd name="connsiteY3" fmla="*/ 180785 h 239458"/>
                <a:gd name="connsiteX4" fmla="*/ 56483 w 177736"/>
                <a:gd name="connsiteY4" fmla="*/ 202692 h 239458"/>
                <a:gd name="connsiteX5" fmla="*/ 97346 w 177736"/>
                <a:gd name="connsiteY5" fmla="*/ 210217 h 239458"/>
                <a:gd name="connsiteX6" fmla="*/ 131731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730 w 177736"/>
                <a:gd name="connsiteY10" fmla="*/ 147066 h 239458"/>
                <a:gd name="connsiteX11" fmla="*/ 109252 w 177736"/>
                <a:gd name="connsiteY11" fmla="*/ 138779 h 239458"/>
                <a:gd name="connsiteX12" fmla="*/ 87630 w 177736"/>
                <a:gd name="connsiteY12" fmla="*/ 132112 h 239458"/>
                <a:gd name="connsiteX13" fmla="*/ 60674 w 177736"/>
                <a:gd name="connsiteY13" fmla="*/ 123444 h 239458"/>
                <a:gd name="connsiteX14" fmla="*/ 36100 w 177736"/>
                <a:gd name="connsiteY14" fmla="*/ 111633 h 239458"/>
                <a:gd name="connsiteX15" fmla="*/ 18193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60 w 177736"/>
                <a:gd name="connsiteY22" fmla="*/ 6953 h 239458"/>
                <a:gd name="connsiteX23" fmla="*/ 172879 w 177736"/>
                <a:gd name="connsiteY23" fmla="*/ 25527 h 239458"/>
                <a:gd name="connsiteX24" fmla="*/ 157258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4 w 177736"/>
                <a:gd name="connsiteY32" fmla="*/ 96203 h 239458"/>
                <a:gd name="connsiteX33" fmla="*/ 103632 w 177736"/>
                <a:gd name="connsiteY33" fmla="*/ 103346 h 239458"/>
                <a:gd name="connsiteX34" fmla="*/ 130207 w 177736"/>
                <a:gd name="connsiteY34" fmla="*/ 112300 h 239458"/>
                <a:gd name="connsiteX35" fmla="*/ 154114 w 177736"/>
                <a:gd name="connsiteY35" fmla="*/ 124778 h 239458"/>
                <a:gd name="connsiteX36" fmla="*/ 171260 w 177736"/>
                <a:gd name="connsiteY36" fmla="*/ 143066 h 239458"/>
                <a:gd name="connsiteX37" fmla="*/ 177737 w 177736"/>
                <a:gd name="connsiteY37" fmla="*/ 169450 h 239458"/>
                <a:gd name="connsiteX38" fmla="*/ 177737 w 177736"/>
                <a:gd name="connsiteY38" fmla="*/ 170307 h 239458"/>
                <a:gd name="connsiteX39" fmla="*/ 171260 w 177736"/>
                <a:gd name="connsiteY39" fmla="*/ 199549 h 239458"/>
                <a:gd name="connsiteX40" fmla="*/ 153829 w 177736"/>
                <a:gd name="connsiteY40" fmla="*/ 221171 h 239458"/>
                <a:gd name="connsiteX41" fmla="*/ 127921 w 177736"/>
                <a:gd name="connsiteY41" fmla="*/ 234791 h 239458"/>
                <a:gd name="connsiteX42" fmla="*/ 95536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6" y="239268"/>
                  </a:moveTo>
                  <a:cubicBezTo>
                    <a:pt x="78867" y="239268"/>
                    <a:pt x="62008" y="236220"/>
                    <a:pt x="45053" y="230124"/>
                  </a:cubicBezTo>
                  <a:cubicBezTo>
                    <a:pt x="28099" y="224028"/>
                    <a:pt x="13049" y="215741"/>
                    <a:pt x="0" y="205359"/>
                  </a:cubicBezTo>
                  <a:lnTo>
                    <a:pt x="17431" y="180785"/>
                  </a:lnTo>
                  <a:cubicBezTo>
                    <a:pt x="29909" y="190310"/>
                    <a:pt x="42958" y="197644"/>
                    <a:pt x="56483" y="202692"/>
                  </a:cubicBezTo>
                  <a:cubicBezTo>
                    <a:pt x="70009" y="207740"/>
                    <a:pt x="83629" y="210217"/>
                    <a:pt x="97346" y="210217"/>
                  </a:cubicBezTo>
                  <a:cubicBezTo>
                    <a:pt x="111062" y="210217"/>
                    <a:pt x="122777" y="206978"/>
                    <a:pt x="131731" y="200406"/>
                  </a:cubicBezTo>
                  <a:cubicBezTo>
                    <a:pt x="140684" y="193834"/>
                    <a:pt x="145161" y="184976"/>
                    <a:pt x="145161" y="173641"/>
                  </a:cubicBezTo>
                  <a:lnTo>
                    <a:pt x="145161" y="172784"/>
                  </a:lnTo>
                  <a:cubicBezTo>
                    <a:pt x="145161" y="167164"/>
                    <a:pt x="143637" y="162211"/>
                    <a:pt x="140494" y="158020"/>
                  </a:cubicBezTo>
                  <a:cubicBezTo>
                    <a:pt x="137351" y="153829"/>
                    <a:pt x="133160" y="150209"/>
                    <a:pt x="127730" y="147066"/>
                  </a:cubicBezTo>
                  <a:cubicBezTo>
                    <a:pt x="122396" y="143923"/>
                    <a:pt x="116205" y="141161"/>
                    <a:pt x="109252" y="138779"/>
                  </a:cubicBezTo>
                  <a:cubicBezTo>
                    <a:pt x="102299" y="136398"/>
                    <a:pt x="95060" y="134207"/>
                    <a:pt x="87630" y="132112"/>
                  </a:cubicBezTo>
                  <a:cubicBezTo>
                    <a:pt x="78677" y="129445"/>
                    <a:pt x="69723" y="126492"/>
                    <a:pt x="60674" y="123444"/>
                  </a:cubicBezTo>
                  <a:cubicBezTo>
                    <a:pt x="51626" y="120301"/>
                    <a:pt x="43434" y="116396"/>
                    <a:pt x="36100" y="111633"/>
                  </a:cubicBezTo>
                  <a:cubicBezTo>
                    <a:pt x="28766" y="106871"/>
                    <a:pt x="22860" y="100870"/>
                    <a:pt x="18193" y="93726"/>
                  </a:cubicBezTo>
                  <a:cubicBezTo>
                    <a:pt x="13621" y="86582"/>
                    <a:pt x="11239" y="77629"/>
                    <a:pt x="11239" y="66961"/>
                  </a:cubicBezTo>
                  <a:lnTo>
                    <a:pt x="11239" y="66008"/>
                  </a:lnTo>
                  <a:cubicBezTo>
                    <a:pt x="11239" y="56198"/>
                    <a:pt x="13145" y="47149"/>
                    <a:pt x="17050" y="39053"/>
                  </a:cubicBezTo>
                  <a:cubicBezTo>
                    <a:pt x="20860" y="30861"/>
                    <a:pt x="26289" y="23908"/>
                    <a:pt x="33338" y="18098"/>
                  </a:cubicBezTo>
                  <a:cubicBezTo>
                    <a:pt x="40291" y="12287"/>
                    <a:pt x="48673" y="7811"/>
                    <a:pt x="58388" y="4667"/>
                  </a:cubicBezTo>
                  <a:cubicBezTo>
                    <a:pt x="68009" y="1524"/>
                    <a:pt x="78581" y="0"/>
                    <a:pt x="89821" y="0"/>
                  </a:cubicBezTo>
                  <a:cubicBezTo>
                    <a:pt x="104108" y="0"/>
                    <a:pt x="118491" y="2286"/>
                    <a:pt x="133160" y="6953"/>
                  </a:cubicBezTo>
                  <a:cubicBezTo>
                    <a:pt x="147733" y="11621"/>
                    <a:pt x="160972" y="17717"/>
                    <a:pt x="172879" y="25527"/>
                  </a:cubicBezTo>
                  <a:lnTo>
                    <a:pt x="157258" y="51435"/>
                  </a:lnTo>
                  <a:cubicBezTo>
                    <a:pt x="146495" y="44577"/>
                    <a:pt x="135350" y="39148"/>
                    <a:pt x="123539" y="35147"/>
                  </a:cubicBezTo>
                  <a:cubicBezTo>
                    <a:pt x="111824" y="31147"/>
                    <a:pt x="100298" y="29146"/>
                    <a:pt x="88963" y="29146"/>
                  </a:cubicBezTo>
                  <a:cubicBezTo>
                    <a:pt x="75247" y="29146"/>
                    <a:pt x="64389" y="32385"/>
                    <a:pt x="56388" y="38767"/>
                  </a:cubicBezTo>
                  <a:cubicBezTo>
                    <a:pt x="48387" y="45149"/>
                    <a:pt x="44291" y="53150"/>
                    <a:pt x="44291" y="62675"/>
                  </a:cubicBezTo>
                  <a:lnTo>
                    <a:pt x="44291" y="63627"/>
                  </a:lnTo>
                  <a:cubicBezTo>
                    <a:pt x="44291" y="68961"/>
                    <a:pt x="45911" y="73628"/>
                    <a:pt x="49244" y="77724"/>
                  </a:cubicBezTo>
                  <a:cubicBezTo>
                    <a:pt x="52483" y="81725"/>
                    <a:pt x="56960" y="85249"/>
                    <a:pt x="62389" y="88202"/>
                  </a:cubicBezTo>
                  <a:cubicBezTo>
                    <a:pt x="67913" y="91154"/>
                    <a:pt x="74200" y="93821"/>
                    <a:pt x="81344" y="96203"/>
                  </a:cubicBezTo>
                  <a:cubicBezTo>
                    <a:pt x="88487" y="98584"/>
                    <a:pt x="95917" y="100965"/>
                    <a:pt x="103632" y="103346"/>
                  </a:cubicBezTo>
                  <a:cubicBezTo>
                    <a:pt x="112586" y="106013"/>
                    <a:pt x="121444" y="108966"/>
                    <a:pt x="130207" y="112300"/>
                  </a:cubicBezTo>
                  <a:cubicBezTo>
                    <a:pt x="138970" y="115538"/>
                    <a:pt x="146971" y="119729"/>
                    <a:pt x="154114" y="124778"/>
                  </a:cubicBezTo>
                  <a:cubicBezTo>
                    <a:pt x="161258" y="129826"/>
                    <a:pt x="166973" y="135922"/>
                    <a:pt x="171260" y="143066"/>
                  </a:cubicBezTo>
                  <a:cubicBezTo>
                    <a:pt x="175546" y="150209"/>
                    <a:pt x="177737" y="158972"/>
                    <a:pt x="177737" y="169450"/>
                  </a:cubicBezTo>
                  <a:lnTo>
                    <a:pt x="177737" y="170307"/>
                  </a:lnTo>
                  <a:cubicBezTo>
                    <a:pt x="177737" y="181356"/>
                    <a:pt x="175546" y="191071"/>
                    <a:pt x="171260" y="199549"/>
                  </a:cubicBezTo>
                  <a:cubicBezTo>
                    <a:pt x="166973" y="208026"/>
                    <a:pt x="161163" y="215265"/>
                    <a:pt x="153829" y="221171"/>
                  </a:cubicBezTo>
                  <a:cubicBezTo>
                    <a:pt x="146495" y="227171"/>
                    <a:pt x="137922" y="231648"/>
                    <a:pt x="127921" y="234791"/>
                  </a:cubicBezTo>
                  <a:cubicBezTo>
                    <a:pt x="117920" y="237935"/>
                    <a:pt x="107156" y="239459"/>
                    <a:pt x="95536" y="239459"/>
                  </a:cubicBezTo>
                  <a:close/>
                </a:path>
              </a:pathLst>
            </a:custGeom>
            <a:solidFill>
              <a:srgbClr val="44505E"/>
            </a:solidFill>
            <a:ln w="9525" cap="flat">
              <a:noFill/>
              <a:prstDash val="solid"/>
              <a:miter/>
            </a:ln>
          </p:spPr>
          <p:txBody>
            <a:bodyPr rtlCol="0" anchor="ctr"/>
            <a:lstStyle/>
            <a:p>
              <a:endParaRPr lang="pt-BR"/>
            </a:p>
          </p:txBody>
        </p:sp>
        <p:sp>
          <p:nvSpPr>
            <p:cNvPr id="133" name="Freeform: Shape 132">
              <a:extLst>
                <a:ext uri="{FF2B5EF4-FFF2-40B4-BE49-F238E27FC236}">
                  <a16:creationId xmlns:a16="http://schemas.microsoft.com/office/drawing/2014/main" id="{7D5F09CB-3660-2B23-5816-CEB013AC1CD3}"/>
                </a:ext>
              </a:extLst>
            </p:cNvPr>
            <p:cNvSpPr/>
            <p:nvPr/>
          </p:nvSpPr>
          <p:spPr>
            <a:xfrm>
              <a:off x="605122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4 w 202977"/>
                <a:gd name="connsiteY30" fmla="*/ 174593 h 239267"/>
                <a:gd name="connsiteX31" fmla="*/ 169735 w 202977"/>
                <a:gd name="connsiteY31" fmla="*/ 149447 h 239267"/>
                <a:gd name="connsiteX32" fmla="*/ 169735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0"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0" y="90964"/>
                    <a:pt x="98584" y="90964"/>
                  </a:cubicBezTo>
                  <a:cubicBezTo>
                    <a:pt x="113157" y="90964"/>
                    <a:pt x="126301"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1" y="33147"/>
                    <a:pt x="63436" y="36100"/>
                  </a:cubicBezTo>
                  <a:cubicBezTo>
                    <a:pt x="52292" y="39053"/>
                    <a:pt x="41338" y="43053"/>
                    <a:pt x="30671" y="48196"/>
                  </a:cubicBezTo>
                  <a:lnTo>
                    <a:pt x="20383" y="19907"/>
                  </a:lnTo>
                  <a:cubicBezTo>
                    <a:pt x="33147" y="13906"/>
                    <a:pt x="46101" y="9049"/>
                    <a:pt x="59246" y="5429"/>
                  </a:cubicBezTo>
                  <a:cubicBezTo>
                    <a:pt x="72295"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1" y="239173"/>
                  </a:cubicBezTo>
                  <a:close/>
                  <a:moveTo>
                    <a:pt x="93154" y="211169"/>
                  </a:moveTo>
                  <a:cubicBezTo>
                    <a:pt x="103822" y="211169"/>
                    <a:pt x="113728" y="209740"/>
                    <a:pt x="122967" y="206788"/>
                  </a:cubicBezTo>
                  <a:cubicBezTo>
                    <a:pt x="132207" y="203835"/>
                    <a:pt x="140208" y="199644"/>
                    <a:pt x="147256" y="194120"/>
                  </a:cubicBezTo>
                  <a:cubicBezTo>
                    <a:pt x="154209" y="188595"/>
                    <a:pt x="159734" y="182118"/>
                    <a:pt x="163734" y="174593"/>
                  </a:cubicBezTo>
                  <a:cubicBezTo>
                    <a:pt x="167735" y="167068"/>
                    <a:pt x="169735" y="158687"/>
                    <a:pt x="169735" y="149447"/>
                  </a:cubicBezTo>
                  <a:lnTo>
                    <a:pt x="169735" y="128111"/>
                  </a:lnTo>
                  <a:cubicBezTo>
                    <a:pt x="161163" y="125730"/>
                    <a:pt x="151352" y="123539"/>
                    <a:pt x="140398" y="121444"/>
                  </a:cubicBezTo>
                  <a:cubicBezTo>
                    <a:pt x="129445" y="119348"/>
                    <a:pt x="116872"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34" name="Freeform: Shape 133">
              <a:extLst>
                <a:ext uri="{FF2B5EF4-FFF2-40B4-BE49-F238E27FC236}">
                  <a16:creationId xmlns:a16="http://schemas.microsoft.com/office/drawing/2014/main" id="{C7152738-B4E1-B250-E663-19D3904A4C59}"/>
                </a:ext>
              </a:extLst>
            </p:cNvPr>
            <p:cNvSpPr/>
            <p:nvPr/>
          </p:nvSpPr>
          <p:spPr>
            <a:xfrm>
              <a:off x="6121359" y="901377"/>
              <a:ext cx="8644" cy="81913"/>
            </a:xfrm>
            <a:custGeom>
              <a:avLst/>
              <a:gdLst>
                <a:gd name="connsiteX0" fmla="*/ 0 w 34385"/>
                <a:gd name="connsiteY0" fmla="*/ 0 h 325850"/>
                <a:gd name="connsiteX1" fmla="*/ 34385 w 34385"/>
                <a:gd name="connsiteY1" fmla="*/ 0 h 325850"/>
                <a:gd name="connsiteX2" fmla="*/ 34385 w 34385"/>
                <a:gd name="connsiteY2" fmla="*/ 325850 h 325850"/>
                <a:gd name="connsiteX3" fmla="*/ 0 w 34385"/>
                <a:gd name="connsiteY3" fmla="*/ 325850 h 325850"/>
                <a:gd name="connsiteX4" fmla="*/ 0 w 34385"/>
                <a:gd name="connsiteY4" fmla="*/ 0 h 32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 h="325850">
                  <a:moveTo>
                    <a:pt x="0" y="0"/>
                  </a:moveTo>
                  <a:lnTo>
                    <a:pt x="34385" y="0"/>
                  </a:lnTo>
                  <a:lnTo>
                    <a:pt x="34385" y="325850"/>
                  </a:lnTo>
                  <a:lnTo>
                    <a:pt x="0" y="325850"/>
                  </a:lnTo>
                  <a:lnTo>
                    <a:pt x="0" y="0"/>
                  </a:lnTo>
                  <a:close/>
                </a:path>
              </a:pathLst>
            </a:custGeom>
            <a:solidFill>
              <a:srgbClr val="44505E"/>
            </a:solidFill>
            <a:ln w="9525" cap="flat">
              <a:noFill/>
              <a:prstDash val="solid"/>
              <a:miter/>
            </a:ln>
          </p:spPr>
          <p:txBody>
            <a:bodyPr rtlCol="0" anchor="ctr"/>
            <a:lstStyle/>
            <a:p>
              <a:endParaRPr lang="pt-BR"/>
            </a:p>
          </p:txBody>
        </p:sp>
        <p:sp>
          <p:nvSpPr>
            <p:cNvPr id="135" name="Freeform: Shape 134">
              <a:extLst>
                <a:ext uri="{FF2B5EF4-FFF2-40B4-BE49-F238E27FC236}">
                  <a16:creationId xmlns:a16="http://schemas.microsoft.com/office/drawing/2014/main" id="{49B93D92-6357-2BDE-D942-5564AB3652DC}"/>
                </a:ext>
              </a:extLst>
            </p:cNvPr>
            <p:cNvSpPr/>
            <p:nvPr/>
          </p:nvSpPr>
          <p:spPr>
            <a:xfrm>
              <a:off x="6144346" y="925273"/>
              <a:ext cx="58016" cy="58448"/>
            </a:xfrm>
            <a:custGeom>
              <a:avLst/>
              <a:gdLst>
                <a:gd name="connsiteX0" fmla="*/ 95 w 230790"/>
                <a:gd name="connsiteY0" fmla="*/ 0 h 232505"/>
                <a:gd name="connsiteX1" fmla="*/ 38005 w 230790"/>
                <a:gd name="connsiteY1" fmla="*/ 0 h 232505"/>
                <a:gd name="connsiteX2" fmla="*/ 115634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4"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6" name="Freeform: Shape 135">
              <a:extLst>
                <a:ext uri="{FF2B5EF4-FFF2-40B4-BE49-F238E27FC236}">
                  <a16:creationId xmlns:a16="http://schemas.microsoft.com/office/drawing/2014/main" id="{81F636BF-8910-F683-29EB-69B836D2B9B2}"/>
                </a:ext>
              </a:extLst>
            </p:cNvPr>
            <p:cNvSpPr/>
            <p:nvPr/>
          </p:nvSpPr>
          <p:spPr>
            <a:xfrm>
              <a:off x="6211557"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7 w 202977"/>
                <a:gd name="connsiteY15" fmla="*/ 36100 h 239267"/>
                <a:gd name="connsiteX16" fmla="*/ 30671 w 202977"/>
                <a:gd name="connsiteY16" fmla="*/ 48196 h 239267"/>
                <a:gd name="connsiteX17" fmla="*/ 20383 w 202977"/>
                <a:gd name="connsiteY17" fmla="*/ 19907 h 239267"/>
                <a:gd name="connsiteX18" fmla="*/ 59246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1 w 202977"/>
                <a:gd name="connsiteY26" fmla="*/ 239173 h 239267"/>
                <a:gd name="connsiteX27" fmla="*/ 93154 w 202977"/>
                <a:gd name="connsiteY27" fmla="*/ 211169 h 239267"/>
                <a:gd name="connsiteX28" fmla="*/ 122968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338 w 202977"/>
                <a:gd name="connsiteY36" fmla="*/ 164497 h 239267"/>
                <a:gd name="connsiteX37" fmla="*/ 35338 w 202977"/>
                <a:gd name="connsiteY37" fmla="*/ 165449 h 239267"/>
                <a:gd name="connsiteX38" fmla="*/ 40005 w 202977"/>
                <a:gd name="connsiteY38" fmla="*/ 184785 h 239267"/>
                <a:gd name="connsiteX39" fmla="*/ 52673 w 202977"/>
                <a:gd name="connsiteY39" fmla="*/ 199263 h 239267"/>
                <a:gd name="connsiteX40" fmla="*/ 71152 w 202977"/>
                <a:gd name="connsiteY40" fmla="*/ 208121 h 239267"/>
                <a:gd name="connsiteX41" fmla="*/ 93154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438" y="239268"/>
                    <a:pt x="64961" y="237744"/>
                    <a:pt x="54483" y="234791"/>
                  </a:cubicBezTo>
                  <a:cubicBezTo>
                    <a:pt x="44101" y="231838"/>
                    <a:pt x="34862" y="227266"/>
                    <a:pt x="26765" y="221171"/>
                  </a:cubicBezTo>
                  <a:cubicBezTo>
                    <a:pt x="18764"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771" y="92678"/>
                    <a:pt x="84011" y="90964"/>
                    <a:pt x="98584" y="90964"/>
                  </a:cubicBezTo>
                  <a:cubicBezTo>
                    <a:pt x="113157" y="90964"/>
                    <a:pt x="126302" y="91821"/>
                    <a:pt x="137160" y="93631"/>
                  </a:cubicBezTo>
                  <a:cubicBezTo>
                    <a:pt x="148019" y="95440"/>
                    <a:pt x="158687" y="97822"/>
                    <a:pt x="169069" y="100774"/>
                  </a:cubicBezTo>
                  <a:lnTo>
                    <a:pt x="169069" y="93726"/>
                  </a:lnTo>
                  <a:cubicBezTo>
                    <a:pt x="169069" y="73342"/>
                    <a:pt x="163068" y="57912"/>
                    <a:pt x="151162" y="47339"/>
                  </a:cubicBezTo>
                  <a:cubicBezTo>
                    <a:pt x="139255" y="36862"/>
                    <a:pt x="122491" y="31623"/>
                    <a:pt x="100679" y="31623"/>
                  </a:cubicBezTo>
                  <a:cubicBezTo>
                    <a:pt x="86963" y="31623"/>
                    <a:pt x="74581" y="33147"/>
                    <a:pt x="63437" y="36100"/>
                  </a:cubicBezTo>
                  <a:cubicBezTo>
                    <a:pt x="52292" y="39053"/>
                    <a:pt x="41338" y="43053"/>
                    <a:pt x="30671" y="48196"/>
                  </a:cubicBezTo>
                  <a:lnTo>
                    <a:pt x="20383" y="19907"/>
                  </a:lnTo>
                  <a:cubicBezTo>
                    <a:pt x="33147" y="13906"/>
                    <a:pt x="46101" y="9049"/>
                    <a:pt x="59246" y="5429"/>
                  </a:cubicBezTo>
                  <a:cubicBezTo>
                    <a:pt x="72390" y="1810"/>
                    <a:pt x="87344" y="0"/>
                    <a:pt x="104299" y="0"/>
                  </a:cubicBezTo>
                  <a:cubicBezTo>
                    <a:pt x="137065" y="0"/>
                    <a:pt x="161925" y="8477"/>
                    <a:pt x="178879" y="25432"/>
                  </a:cubicBezTo>
                  <a:cubicBezTo>
                    <a:pt x="194977" y="41529"/>
                    <a:pt x="202978" y="64103"/>
                    <a:pt x="202978" y="93250"/>
                  </a:cubicBezTo>
                  <a:lnTo>
                    <a:pt x="202978" y="234315"/>
                  </a:lnTo>
                  <a:lnTo>
                    <a:pt x="169069" y="234315"/>
                  </a:lnTo>
                  <a:lnTo>
                    <a:pt x="169069" y="199930"/>
                  </a:lnTo>
                  <a:cubicBezTo>
                    <a:pt x="161068" y="210312"/>
                    <a:pt x="150209" y="219456"/>
                    <a:pt x="136684" y="227362"/>
                  </a:cubicBezTo>
                  <a:cubicBezTo>
                    <a:pt x="123158" y="235267"/>
                    <a:pt x="106204" y="239173"/>
                    <a:pt x="86011" y="239173"/>
                  </a:cubicBezTo>
                  <a:close/>
                  <a:moveTo>
                    <a:pt x="93154" y="211169"/>
                  </a:moveTo>
                  <a:cubicBezTo>
                    <a:pt x="103822" y="211169"/>
                    <a:pt x="113824" y="209740"/>
                    <a:pt x="122968" y="206788"/>
                  </a:cubicBezTo>
                  <a:cubicBezTo>
                    <a:pt x="132112"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5" y="119348"/>
                    <a:pt x="116777" y="118300"/>
                    <a:pt x="102584" y="118300"/>
                  </a:cubicBezTo>
                  <a:cubicBezTo>
                    <a:pt x="81248" y="118300"/>
                    <a:pt x="64675" y="122491"/>
                    <a:pt x="52959" y="130969"/>
                  </a:cubicBezTo>
                  <a:cubicBezTo>
                    <a:pt x="41243" y="139446"/>
                    <a:pt x="35338" y="150590"/>
                    <a:pt x="35338" y="164497"/>
                  </a:cubicBezTo>
                  <a:lnTo>
                    <a:pt x="35338" y="165449"/>
                  </a:lnTo>
                  <a:cubicBezTo>
                    <a:pt x="35338" y="172498"/>
                    <a:pt x="36862" y="178975"/>
                    <a:pt x="40005" y="184785"/>
                  </a:cubicBezTo>
                  <a:cubicBezTo>
                    <a:pt x="43148" y="190500"/>
                    <a:pt x="47339" y="195358"/>
                    <a:pt x="52673" y="199263"/>
                  </a:cubicBezTo>
                  <a:cubicBezTo>
                    <a:pt x="58007" y="203073"/>
                    <a:pt x="64198" y="206026"/>
                    <a:pt x="71152" y="208121"/>
                  </a:cubicBezTo>
                  <a:cubicBezTo>
                    <a:pt x="78105" y="210217"/>
                    <a:pt x="85439" y="211169"/>
                    <a:pt x="93154" y="211169"/>
                  </a:cubicBezTo>
                  <a:close/>
                </a:path>
              </a:pathLst>
            </a:custGeom>
            <a:solidFill>
              <a:srgbClr val="44505E"/>
            </a:solidFill>
            <a:ln w="9525" cap="flat">
              <a:noFill/>
              <a:prstDash val="solid"/>
              <a:miter/>
            </a:ln>
          </p:spPr>
          <p:txBody>
            <a:bodyPr rtlCol="0" anchor="ctr"/>
            <a:lstStyle/>
            <a:p>
              <a:endParaRPr lang="pt-BR"/>
            </a:p>
          </p:txBody>
        </p:sp>
        <p:sp>
          <p:nvSpPr>
            <p:cNvPr id="137" name="Freeform: Shape 136">
              <a:extLst>
                <a:ext uri="{FF2B5EF4-FFF2-40B4-BE49-F238E27FC236}">
                  <a16:creationId xmlns:a16="http://schemas.microsoft.com/office/drawing/2014/main" id="{D4D84103-9B34-CA65-0290-BB7ACE79D30C}"/>
                </a:ext>
              </a:extLst>
            </p:cNvPr>
            <p:cNvSpPr/>
            <p:nvPr/>
          </p:nvSpPr>
          <p:spPr>
            <a:xfrm>
              <a:off x="6280899" y="923980"/>
              <a:ext cx="87995" cy="59238"/>
            </a:xfrm>
            <a:custGeom>
              <a:avLst/>
              <a:gdLst>
                <a:gd name="connsiteX0" fmla="*/ 0 w 350043"/>
                <a:gd name="connsiteY0" fmla="*/ 5144 h 235648"/>
                <a:gd name="connsiteX1" fmla="*/ 34385 w 350043"/>
                <a:gd name="connsiteY1" fmla="*/ 5144 h 235648"/>
                <a:gd name="connsiteX2" fmla="*/ 34385 w 350043"/>
                <a:gd name="connsiteY2" fmla="*/ 44005 h 235648"/>
                <a:gd name="connsiteX3" fmla="*/ 47149 w 350043"/>
                <a:gd name="connsiteY3" fmla="*/ 27432 h 235648"/>
                <a:gd name="connsiteX4" fmla="*/ 62960 w 350043"/>
                <a:gd name="connsiteY4" fmla="*/ 13335 h 235648"/>
                <a:gd name="connsiteX5" fmla="*/ 83058 w 350043"/>
                <a:gd name="connsiteY5" fmla="*/ 3715 h 235648"/>
                <a:gd name="connsiteX6" fmla="*/ 108966 w 350043"/>
                <a:gd name="connsiteY6" fmla="*/ 95 h 235648"/>
                <a:gd name="connsiteX7" fmla="*/ 155448 w 350043"/>
                <a:gd name="connsiteY7" fmla="*/ 13240 h 235648"/>
                <a:gd name="connsiteX8" fmla="*/ 183166 w 350043"/>
                <a:gd name="connsiteY8" fmla="*/ 46006 h 235648"/>
                <a:gd name="connsiteX9" fmla="*/ 197168 w 350043"/>
                <a:gd name="connsiteY9" fmla="*/ 28194 h 235648"/>
                <a:gd name="connsiteX10" fmla="*/ 214789 w 350043"/>
                <a:gd name="connsiteY10" fmla="*/ 13430 h 235648"/>
                <a:gd name="connsiteX11" fmla="*/ 236887 w 350043"/>
                <a:gd name="connsiteY11" fmla="*/ 3620 h 235648"/>
                <a:gd name="connsiteX12" fmla="*/ 264319 w 350043"/>
                <a:gd name="connsiteY12" fmla="*/ 0 h 235648"/>
                <a:gd name="connsiteX13" fmla="*/ 327279 w 350043"/>
                <a:gd name="connsiteY13" fmla="*/ 24765 h 235648"/>
                <a:gd name="connsiteX14" fmla="*/ 350044 w 350043"/>
                <a:gd name="connsiteY14" fmla="*/ 92773 h 235648"/>
                <a:gd name="connsiteX15" fmla="*/ 350044 w 350043"/>
                <a:gd name="connsiteY15" fmla="*/ 235648 h 235648"/>
                <a:gd name="connsiteX16" fmla="*/ 315659 w 350043"/>
                <a:gd name="connsiteY16" fmla="*/ 235648 h 235648"/>
                <a:gd name="connsiteX17" fmla="*/ 315659 w 350043"/>
                <a:gd name="connsiteY17" fmla="*/ 101155 h 235648"/>
                <a:gd name="connsiteX18" fmla="*/ 299847 w 350043"/>
                <a:gd name="connsiteY18" fmla="*/ 49721 h 235648"/>
                <a:gd name="connsiteX19" fmla="*/ 255937 w 350043"/>
                <a:gd name="connsiteY19" fmla="*/ 31718 h 235648"/>
                <a:gd name="connsiteX20" fmla="*/ 231362 w 350043"/>
                <a:gd name="connsiteY20" fmla="*/ 36386 h 235648"/>
                <a:gd name="connsiteX21" fmla="*/ 211074 w 350043"/>
                <a:gd name="connsiteY21" fmla="*/ 50197 h 235648"/>
                <a:gd name="connsiteX22" fmla="*/ 197263 w 350043"/>
                <a:gd name="connsiteY22" fmla="*/ 72676 h 235648"/>
                <a:gd name="connsiteX23" fmla="*/ 192119 w 350043"/>
                <a:gd name="connsiteY23" fmla="*/ 102965 h 235648"/>
                <a:gd name="connsiteX24" fmla="*/ 192119 w 350043"/>
                <a:gd name="connsiteY24" fmla="*/ 235648 h 235648"/>
                <a:gd name="connsiteX25" fmla="*/ 158210 w 350043"/>
                <a:gd name="connsiteY25" fmla="*/ 235648 h 235648"/>
                <a:gd name="connsiteX26" fmla="*/ 158210 w 350043"/>
                <a:gd name="connsiteY26" fmla="*/ 100298 h 235648"/>
                <a:gd name="connsiteX27" fmla="*/ 142399 w 350043"/>
                <a:gd name="connsiteY27" fmla="*/ 49721 h 235648"/>
                <a:gd name="connsiteX28" fmla="*/ 98870 w 350043"/>
                <a:gd name="connsiteY28" fmla="*/ 31718 h 235648"/>
                <a:gd name="connsiteX29" fmla="*/ 73438 w 350043"/>
                <a:gd name="connsiteY29" fmla="*/ 37052 h 235648"/>
                <a:gd name="connsiteX30" fmla="*/ 53150 w 350043"/>
                <a:gd name="connsiteY30" fmla="*/ 52197 h 235648"/>
                <a:gd name="connsiteX31" fmla="*/ 39529 w 350043"/>
                <a:gd name="connsiteY31" fmla="*/ 75152 h 235648"/>
                <a:gd name="connsiteX32" fmla="*/ 34576 w 350043"/>
                <a:gd name="connsiteY32" fmla="*/ 104299 h 235648"/>
                <a:gd name="connsiteX33" fmla="*/ 34576 w 350043"/>
                <a:gd name="connsiteY33" fmla="*/ 235648 h 235648"/>
                <a:gd name="connsiteX34" fmla="*/ 190 w 350043"/>
                <a:gd name="connsiteY34" fmla="*/ 235648 h 235648"/>
                <a:gd name="connsiteX35" fmla="*/ 190 w 350043"/>
                <a:gd name="connsiteY35" fmla="*/ 4858 h 23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43" h="235648">
                  <a:moveTo>
                    <a:pt x="0" y="5144"/>
                  </a:moveTo>
                  <a:lnTo>
                    <a:pt x="34385" y="5144"/>
                  </a:lnTo>
                  <a:lnTo>
                    <a:pt x="34385" y="44005"/>
                  </a:lnTo>
                  <a:cubicBezTo>
                    <a:pt x="38290" y="38386"/>
                    <a:pt x="42481" y="32861"/>
                    <a:pt x="47149" y="27432"/>
                  </a:cubicBezTo>
                  <a:cubicBezTo>
                    <a:pt x="51721" y="22098"/>
                    <a:pt x="57055" y="17431"/>
                    <a:pt x="62960" y="13335"/>
                  </a:cubicBezTo>
                  <a:cubicBezTo>
                    <a:pt x="68866" y="9335"/>
                    <a:pt x="75629" y="6096"/>
                    <a:pt x="83058" y="3715"/>
                  </a:cubicBezTo>
                  <a:cubicBezTo>
                    <a:pt x="90488" y="1334"/>
                    <a:pt x="99155" y="95"/>
                    <a:pt x="108966" y="95"/>
                  </a:cubicBezTo>
                  <a:cubicBezTo>
                    <a:pt x="127730" y="95"/>
                    <a:pt x="143161" y="4477"/>
                    <a:pt x="155448" y="13240"/>
                  </a:cubicBezTo>
                  <a:cubicBezTo>
                    <a:pt x="167640" y="22003"/>
                    <a:pt x="176879" y="32956"/>
                    <a:pt x="183166" y="46006"/>
                  </a:cubicBezTo>
                  <a:cubicBezTo>
                    <a:pt x="187357" y="39719"/>
                    <a:pt x="192024" y="33814"/>
                    <a:pt x="197168" y="28194"/>
                  </a:cubicBezTo>
                  <a:cubicBezTo>
                    <a:pt x="202406" y="22574"/>
                    <a:pt x="208217" y="17621"/>
                    <a:pt x="214789" y="13430"/>
                  </a:cubicBezTo>
                  <a:cubicBezTo>
                    <a:pt x="221361" y="9239"/>
                    <a:pt x="228695" y="6001"/>
                    <a:pt x="236887" y="3620"/>
                  </a:cubicBezTo>
                  <a:cubicBezTo>
                    <a:pt x="245078" y="1238"/>
                    <a:pt x="254222" y="0"/>
                    <a:pt x="264319" y="0"/>
                  </a:cubicBezTo>
                  <a:cubicBezTo>
                    <a:pt x="291084" y="0"/>
                    <a:pt x="312039" y="8287"/>
                    <a:pt x="327279" y="24765"/>
                  </a:cubicBezTo>
                  <a:cubicBezTo>
                    <a:pt x="342519" y="41243"/>
                    <a:pt x="350044" y="63913"/>
                    <a:pt x="350044" y="92773"/>
                  </a:cubicBezTo>
                  <a:lnTo>
                    <a:pt x="350044" y="235648"/>
                  </a:lnTo>
                  <a:lnTo>
                    <a:pt x="315659" y="235648"/>
                  </a:lnTo>
                  <a:lnTo>
                    <a:pt x="315659" y="101155"/>
                  </a:lnTo>
                  <a:cubicBezTo>
                    <a:pt x="315659" y="78867"/>
                    <a:pt x="310420" y="61722"/>
                    <a:pt x="299847" y="49721"/>
                  </a:cubicBezTo>
                  <a:cubicBezTo>
                    <a:pt x="289274" y="37719"/>
                    <a:pt x="274606" y="31718"/>
                    <a:pt x="255937" y="31718"/>
                  </a:cubicBezTo>
                  <a:cubicBezTo>
                    <a:pt x="247269" y="31718"/>
                    <a:pt x="239078" y="33242"/>
                    <a:pt x="231362" y="36386"/>
                  </a:cubicBezTo>
                  <a:cubicBezTo>
                    <a:pt x="223647" y="39529"/>
                    <a:pt x="216884" y="44101"/>
                    <a:pt x="211074" y="50197"/>
                  </a:cubicBezTo>
                  <a:cubicBezTo>
                    <a:pt x="205264" y="56293"/>
                    <a:pt x="200692" y="63818"/>
                    <a:pt x="197263" y="72676"/>
                  </a:cubicBezTo>
                  <a:cubicBezTo>
                    <a:pt x="193834" y="81629"/>
                    <a:pt x="192119" y="91726"/>
                    <a:pt x="192119" y="102965"/>
                  </a:cubicBezTo>
                  <a:lnTo>
                    <a:pt x="192119" y="235648"/>
                  </a:lnTo>
                  <a:lnTo>
                    <a:pt x="158210" y="235648"/>
                  </a:lnTo>
                  <a:lnTo>
                    <a:pt x="158210" y="100298"/>
                  </a:lnTo>
                  <a:cubicBezTo>
                    <a:pt x="158210" y="78677"/>
                    <a:pt x="152971" y="61817"/>
                    <a:pt x="142399" y="49721"/>
                  </a:cubicBezTo>
                  <a:cubicBezTo>
                    <a:pt x="131826" y="37719"/>
                    <a:pt x="117348" y="31718"/>
                    <a:pt x="98870" y="31718"/>
                  </a:cubicBezTo>
                  <a:cubicBezTo>
                    <a:pt x="89630" y="31718"/>
                    <a:pt x="81153" y="33528"/>
                    <a:pt x="73438" y="37052"/>
                  </a:cubicBezTo>
                  <a:cubicBezTo>
                    <a:pt x="65722" y="40672"/>
                    <a:pt x="58960" y="45720"/>
                    <a:pt x="53150" y="52197"/>
                  </a:cubicBezTo>
                  <a:cubicBezTo>
                    <a:pt x="47339" y="58769"/>
                    <a:pt x="42767" y="66389"/>
                    <a:pt x="39529" y="75152"/>
                  </a:cubicBezTo>
                  <a:cubicBezTo>
                    <a:pt x="36290" y="83915"/>
                    <a:pt x="34576" y="93631"/>
                    <a:pt x="34576" y="104299"/>
                  </a:cubicBezTo>
                  <a:lnTo>
                    <a:pt x="34576" y="235648"/>
                  </a:lnTo>
                  <a:lnTo>
                    <a:pt x="190" y="235648"/>
                  </a:lnTo>
                  <a:lnTo>
                    <a:pt x="190" y="4858"/>
                  </a:lnTo>
                  <a:close/>
                </a:path>
              </a:pathLst>
            </a:custGeom>
            <a:solidFill>
              <a:srgbClr val="44505E"/>
            </a:solidFill>
            <a:ln w="9525" cap="flat">
              <a:noFill/>
              <a:prstDash val="solid"/>
              <a:miter/>
            </a:ln>
          </p:spPr>
          <p:txBody>
            <a:bodyPr rtlCol="0" anchor="ctr"/>
            <a:lstStyle/>
            <a:p>
              <a:endParaRPr lang="pt-BR"/>
            </a:p>
          </p:txBody>
        </p:sp>
        <p:sp>
          <p:nvSpPr>
            <p:cNvPr id="138" name="Freeform: Shape 137">
              <a:extLst>
                <a:ext uri="{FF2B5EF4-FFF2-40B4-BE49-F238E27FC236}">
                  <a16:creationId xmlns:a16="http://schemas.microsoft.com/office/drawing/2014/main" id="{586C9602-6977-13C4-639E-AB65850FED60}"/>
                </a:ext>
              </a:extLst>
            </p:cNvPr>
            <p:cNvSpPr/>
            <p:nvPr/>
          </p:nvSpPr>
          <p:spPr>
            <a:xfrm>
              <a:off x="6415537" y="925273"/>
              <a:ext cx="58016" cy="58448"/>
            </a:xfrm>
            <a:custGeom>
              <a:avLst/>
              <a:gdLst>
                <a:gd name="connsiteX0" fmla="*/ 95 w 230790"/>
                <a:gd name="connsiteY0" fmla="*/ 0 h 232505"/>
                <a:gd name="connsiteX1" fmla="*/ 38005 w 230790"/>
                <a:gd name="connsiteY1" fmla="*/ 0 h 232505"/>
                <a:gd name="connsiteX2" fmla="*/ 115633 w 230790"/>
                <a:gd name="connsiteY2" fmla="*/ 191453 h 232505"/>
                <a:gd name="connsiteX3" fmla="*/ 193738 w 230790"/>
                <a:gd name="connsiteY3" fmla="*/ 0 h 232505"/>
                <a:gd name="connsiteX4" fmla="*/ 230791 w 230790"/>
                <a:gd name="connsiteY4" fmla="*/ 0 h 232505"/>
                <a:gd name="connsiteX5" fmla="*/ 130397 w 230790"/>
                <a:gd name="connsiteY5" fmla="*/ 232505 h 232505"/>
                <a:gd name="connsiteX6" fmla="*/ 100013 w 230790"/>
                <a:gd name="connsiteY6" fmla="*/ 232505 h 232505"/>
                <a:gd name="connsiteX7" fmla="*/ 0 w 230790"/>
                <a:gd name="connsiteY7" fmla="*/ 0 h 23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790" h="232505">
                  <a:moveTo>
                    <a:pt x="95" y="0"/>
                  </a:moveTo>
                  <a:lnTo>
                    <a:pt x="38005" y="0"/>
                  </a:lnTo>
                  <a:lnTo>
                    <a:pt x="115633" y="191453"/>
                  </a:lnTo>
                  <a:lnTo>
                    <a:pt x="193738" y="0"/>
                  </a:lnTo>
                  <a:lnTo>
                    <a:pt x="230791" y="0"/>
                  </a:lnTo>
                  <a:lnTo>
                    <a:pt x="130397" y="232505"/>
                  </a:lnTo>
                  <a:lnTo>
                    <a:pt x="100013" y="232505"/>
                  </a:lnTo>
                  <a:lnTo>
                    <a:pt x="0" y="0"/>
                  </a:lnTo>
                  <a:close/>
                </a:path>
              </a:pathLst>
            </a:custGeom>
            <a:solidFill>
              <a:srgbClr val="44505E"/>
            </a:solidFill>
            <a:ln w="9525" cap="flat">
              <a:noFill/>
              <a:prstDash val="solid"/>
              <a:miter/>
            </a:ln>
          </p:spPr>
          <p:txBody>
            <a:bodyPr rtlCol="0" anchor="ctr"/>
            <a:lstStyle/>
            <a:p>
              <a:endParaRPr lang="pt-BR"/>
            </a:p>
          </p:txBody>
        </p:sp>
        <p:sp>
          <p:nvSpPr>
            <p:cNvPr id="139" name="Freeform: Shape 138">
              <a:extLst>
                <a:ext uri="{FF2B5EF4-FFF2-40B4-BE49-F238E27FC236}">
                  <a16:creationId xmlns:a16="http://schemas.microsoft.com/office/drawing/2014/main" id="{512FFB00-D249-4456-F741-5D48C2286438}"/>
                </a:ext>
              </a:extLst>
            </p:cNvPr>
            <p:cNvSpPr/>
            <p:nvPr/>
          </p:nvSpPr>
          <p:spPr>
            <a:xfrm>
              <a:off x="6487369" y="903077"/>
              <a:ext cx="9865" cy="80237"/>
            </a:xfrm>
            <a:custGeom>
              <a:avLst/>
              <a:gdLst>
                <a:gd name="connsiteX0" fmla="*/ 0 w 39242"/>
                <a:gd name="connsiteY0" fmla="*/ 0 h 319182"/>
                <a:gd name="connsiteX1" fmla="*/ 39243 w 39242"/>
                <a:gd name="connsiteY1" fmla="*/ 0 h 319182"/>
                <a:gd name="connsiteX2" fmla="*/ 39243 w 39242"/>
                <a:gd name="connsiteY2" fmla="*/ 37909 h 319182"/>
                <a:gd name="connsiteX3" fmla="*/ 0 w 39242"/>
                <a:gd name="connsiteY3" fmla="*/ 37909 h 319182"/>
                <a:gd name="connsiteX4" fmla="*/ 0 w 39242"/>
                <a:gd name="connsiteY4" fmla="*/ 0 h 319182"/>
                <a:gd name="connsiteX5" fmla="*/ 2286 w 39242"/>
                <a:gd name="connsiteY5" fmla="*/ 88392 h 319182"/>
                <a:gd name="connsiteX6" fmla="*/ 36671 w 39242"/>
                <a:gd name="connsiteY6" fmla="*/ 88392 h 319182"/>
                <a:gd name="connsiteX7" fmla="*/ 36671 w 39242"/>
                <a:gd name="connsiteY7" fmla="*/ 319183 h 319182"/>
                <a:gd name="connsiteX8" fmla="*/ 2286 w 39242"/>
                <a:gd name="connsiteY8" fmla="*/ 319183 h 319182"/>
                <a:gd name="connsiteX9" fmla="*/ 2286 w 39242"/>
                <a:gd name="connsiteY9" fmla="*/ 88392 h 3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2" h="319182">
                  <a:moveTo>
                    <a:pt x="0" y="0"/>
                  </a:moveTo>
                  <a:lnTo>
                    <a:pt x="39243" y="0"/>
                  </a:lnTo>
                  <a:lnTo>
                    <a:pt x="39243" y="37909"/>
                  </a:lnTo>
                  <a:lnTo>
                    <a:pt x="0" y="37909"/>
                  </a:lnTo>
                  <a:lnTo>
                    <a:pt x="0" y="0"/>
                  </a:lnTo>
                  <a:close/>
                  <a:moveTo>
                    <a:pt x="2286" y="88392"/>
                  </a:moveTo>
                  <a:lnTo>
                    <a:pt x="36671" y="88392"/>
                  </a:lnTo>
                  <a:lnTo>
                    <a:pt x="36671" y="319183"/>
                  </a:lnTo>
                  <a:lnTo>
                    <a:pt x="2286" y="319183"/>
                  </a:lnTo>
                  <a:lnTo>
                    <a:pt x="2286" y="88392"/>
                  </a:lnTo>
                  <a:close/>
                </a:path>
              </a:pathLst>
            </a:custGeom>
            <a:solidFill>
              <a:srgbClr val="44505E"/>
            </a:solidFill>
            <a:ln w="9525" cap="flat">
              <a:noFill/>
              <a:prstDash val="solid"/>
              <a:miter/>
            </a:ln>
          </p:spPr>
          <p:txBody>
            <a:bodyPr rtlCol="0" anchor="ctr"/>
            <a:lstStyle/>
            <a:p>
              <a:endParaRPr lang="pt-BR"/>
            </a:p>
          </p:txBody>
        </p:sp>
        <p:sp>
          <p:nvSpPr>
            <p:cNvPr id="140" name="Freeform: Shape 139">
              <a:extLst>
                <a:ext uri="{FF2B5EF4-FFF2-40B4-BE49-F238E27FC236}">
                  <a16:creationId xmlns:a16="http://schemas.microsoft.com/office/drawing/2014/main" id="{AB85ED14-196B-6FB5-2FA8-F977CFB092D5}"/>
                </a:ext>
              </a:extLst>
            </p:cNvPr>
            <p:cNvSpPr/>
            <p:nvPr/>
          </p:nvSpPr>
          <p:spPr>
            <a:xfrm>
              <a:off x="6513253" y="901353"/>
              <a:ext cx="58615" cy="83182"/>
            </a:xfrm>
            <a:custGeom>
              <a:avLst/>
              <a:gdLst>
                <a:gd name="connsiteX0" fmla="*/ 110394 w 233171"/>
                <a:gd name="connsiteY0" fmla="*/ 330898 h 330898"/>
                <a:gd name="connsiteX1" fmla="*/ 69723 w 233171"/>
                <a:gd name="connsiteY1" fmla="*/ 322897 h 330898"/>
                <a:gd name="connsiteX2" fmla="*/ 34480 w 233171"/>
                <a:gd name="connsiteY2" fmla="*/ 299466 h 330898"/>
                <a:gd name="connsiteX3" fmla="*/ 9430 w 233171"/>
                <a:gd name="connsiteY3" fmla="*/ 261938 h 330898"/>
                <a:gd name="connsiteX4" fmla="*/ 0 w 233171"/>
                <a:gd name="connsiteY4" fmla="*/ 211264 h 330898"/>
                <a:gd name="connsiteX5" fmla="*/ 0 w 233171"/>
                <a:gd name="connsiteY5" fmla="*/ 210407 h 330898"/>
                <a:gd name="connsiteX6" fmla="*/ 9430 w 233171"/>
                <a:gd name="connsiteY6" fmla="*/ 159925 h 330898"/>
                <a:gd name="connsiteX7" fmla="*/ 34480 w 233171"/>
                <a:gd name="connsiteY7" fmla="*/ 122206 h 330898"/>
                <a:gd name="connsiteX8" fmla="*/ 69723 w 233171"/>
                <a:gd name="connsiteY8" fmla="*/ 98488 h 330898"/>
                <a:gd name="connsiteX9" fmla="*/ 110394 w 233171"/>
                <a:gd name="connsiteY9" fmla="*/ 90202 h 330898"/>
                <a:gd name="connsiteX10" fmla="*/ 139827 w 233171"/>
                <a:gd name="connsiteY10" fmla="*/ 94202 h 330898"/>
                <a:gd name="connsiteX11" fmla="*/ 163925 w 233171"/>
                <a:gd name="connsiteY11" fmla="*/ 104870 h 330898"/>
                <a:gd name="connsiteX12" fmla="*/ 183356 w 233171"/>
                <a:gd name="connsiteY12" fmla="*/ 120491 h 330898"/>
                <a:gd name="connsiteX13" fmla="*/ 198787 w 233171"/>
                <a:gd name="connsiteY13" fmla="*/ 139255 h 330898"/>
                <a:gd name="connsiteX14" fmla="*/ 198787 w 233171"/>
                <a:gd name="connsiteY14" fmla="*/ 0 h 330898"/>
                <a:gd name="connsiteX15" fmla="*/ 233172 w 233171"/>
                <a:gd name="connsiteY15" fmla="*/ 0 h 330898"/>
                <a:gd name="connsiteX16" fmla="*/ 233172 w 233171"/>
                <a:gd name="connsiteY16" fmla="*/ 325850 h 330898"/>
                <a:gd name="connsiteX17" fmla="*/ 198787 w 233171"/>
                <a:gd name="connsiteY17" fmla="*/ 325850 h 330898"/>
                <a:gd name="connsiteX18" fmla="*/ 198787 w 233171"/>
                <a:gd name="connsiteY18" fmla="*/ 279463 h 330898"/>
                <a:gd name="connsiteX19" fmla="*/ 182975 w 233171"/>
                <a:gd name="connsiteY19" fmla="*/ 299085 h 330898"/>
                <a:gd name="connsiteX20" fmla="*/ 163544 w 233171"/>
                <a:gd name="connsiteY20" fmla="*/ 315658 h 330898"/>
                <a:gd name="connsiteX21" fmla="*/ 139636 w 233171"/>
                <a:gd name="connsiteY21" fmla="*/ 326803 h 330898"/>
                <a:gd name="connsiteX22" fmla="*/ 110394 w 233171"/>
                <a:gd name="connsiteY22" fmla="*/ 330803 h 330898"/>
                <a:gd name="connsiteX23" fmla="*/ 116681 w 233171"/>
                <a:gd name="connsiteY23" fmla="*/ 300133 h 330898"/>
                <a:gd name="connsiteX24" fmla="*/ 147733 w 233171"/>
                <a:gd name="connsiteY24" fmla="*/ 293656 h 330898"/>
                <a:gd name="connsiteX25" fmla="*/ 174498 w 233171"/>
                <a:gd name="connsiteY25" fmla="*/ 275368 h 330898"/>
                <a:gd name="connsiteX26" fmla="*/ 193262 w 233171"/>
                <a:gd name="connsiteY26" fmla="*/ 247269 h 330898"/>
                <a:gd name="connsiteX27" fmla="*/ 200216 w 233171"/>
                <a:gd name="connsiteY27" fmla="*/ 210883 h 330898"/>
                <a:gd name="connsiteX28" fmla="*/ 200216 w 233171"/>
                <a:gd name="connsiteY28" fmla="*/ 210026 h 330898"/>
                <a:gd name="connsiteX29" fmla="*/ 193262 w 233171"/>
                <a:gd name="connsiteY29" fmla="*/ 173641 h 330898"/>
                <a:gd name="connsiteX30" fmla="*/ 174498 w 233171"/>
                <a:gd name="connsiteY30" fmla="*/ 145732 h 330898"/>
                <a:gd name="connsiteX31" fmla="*/ 147733 w 233171"/>
                <a:gd name="connsiteY31" fmla="*/ 127635 h 330898"/>
                <a:gd name="connsiteX32" fmla="*/ 116681 w 233171"/>
                <a:gd name="connsiteY32" fmla="*/ 121158 h 330898"/>
                <a:gd name="connsiteX33" fmla="*/ 84963 w 233171"/>
                <a:gd name="connsiteY33" fmla="*/ 127159 h 330898"/>
                <a:gd name="connsiteX34" fmla="*/ 59341 w 233171"/>
                <a:gd name="connsiteY34" fmla="*/ 144589 h 330898"/>
                <a:gd name="connsiteX35" fmla="*/ 41910 w 233171"/>
                <a:gd name="connsiteY35" fmla="*/ 172498 h 330898"/>
                <a:gd name="connsiteX36" fmla="*/ 35433 w 233171"/>
                <a:gd name="connsiteY36" fmla="*/ 210026 h 330898"/>
                <a:gd name="connsiteX37" fmla="*/ 35433 w 233171"/>
                <a:gd name="connsiteY37" fmla="*/ 210883 h 330898"/>
                <a:gd name="connsiteX38" fmla="*/ 41910 w 233171"/>
                <a:gd name="connsiteY38" fmla="*/ 247936 h 330898"/>
                <a:gd name="connsiteX39" fmla="*/ 59531 w 233171"/>
                <a:gd name="connsiteY39" fmla="*/ 276034 h 330898"/>
                <a:gd name="connsiteX40" fmla="*/ 85439 w 233171"/>
                <a:gd name="connsiteY40" fmla="*/ 293941 h 330898"/>
                <a:gd name="connsiteX41" fmla="*/ 116681 w 233171"/>
                <a:gd name="connsiteY41" fmla="*/ 300228 h 33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3171" h="330898">
                  <a:moveTo>
                    <a:pt x="110394" y="330898"/>
                  </a:moveTo>
                  <a:cubicBezTo>
                    <a:pt x="96393" y="330898"/>
                    <a:pt x="82868" y="328231"/>
                    <a:pt x="69723" y="322897"/>
                  </a:cubicBezTo>
                  <a:cubicBezTo>
                    <a:pt x="56674" y="317563"/>
                    <a:pt x="44863" y="309753"/>
                    <a:pt x="34480" y="299466"/>
                  </a:cubicBezTo>
                  <a:cubicBezTo>
                    <a:pt x="24003" y="289179"/>
                    <a:pt x="15716" y="276701"/>
                    <a:pt x="9430" y="261938"/>
                  </a:cubicBezTo>
                  <a:cubicBezTo>
                    <a:pt x="3143" y="247174"/>
                    <a:pt x="0" y="230314"/>
                    <a:pt x="0" y="211264"/>
                  </a:cubicBezTo>
                  <a:lnTo>
                    <a:pt x="0" y="210407"/>
                  </a:lnTo>
                  <a:cubicBezTo>
                    <a:pt x="0" y="191643"/>
                    <a:pt x="3143" y="174879"/>
                    <a:pt x="9430" y="159925"/>
                  </a:cubicBezTo>
                  <a:cubicBezTo>
                    <a:pt x="15716" y="145066"/>
                    <a:pt x="24003" y="132493"/>
                    <a:pt x="34480" y="122206"/>
                  </a:cubicBezTo>
                  <a:cubicBezTo>
                    <a:pt x="44863" y="111919"/>
                    <a:pt x="56674" y="104013"/>
                    <a:pt x="69723" y="98488"/>
                  </a:cubicBezTo>
                  <a:cubicBezTo>
                    <a:pt x="82868" y="92964"/>
                    <a:pt x="96393" y="90202"/>
                    <a:pt x="110394" y="90202"/>
                  </a:cubicBezTo>
                  <a:cubicBezTo>
                    <a:pt x="121158" y="90202"/>
                    <a:pt x="130969" y="91535"/>
                    <a:pt x="139827" y="94202"/>
                  </a:cubicBezTo>
                  <a:cubicBezTo>
                    <a:pt x="148780" y="96869"/>
                    <a:pt x="156782" y="100489"/>
                    <a:pt x="163925" y="104870"/>
                  </a:cubicBezTo>
                  <a:cubicBezTo>
                    <a:pt x="171069" y="109347"/>
                    <a:pt x="177546" y="114586"/>
                    <a:pt x="183356" y="120491"/>
                  </a:cubicBezTo>
                  <a:cubicBezTo>
                    <a:pt x="189166" y="126492"/>
                    <a:pt x="194310" y="132683"/>
                    <a:pt x="198787" y="139255"/>
                  </a:cubicBezTo>
                  <a:lnTo>
                    <a:pt x="198787" y="0"/>
                  </a:lnTo>
                  <a:lnTo>
                    <a:pt x="233172" y="0"/>
                  </a:lnTo>
                  <a:lnTo>
                    <a:pt x="233172" y="325850"/>
                  </a:lnTo>
                  <a:lnTo>
                    <a:pt x="198787" y="325850"/>
                  </a:lnTo>
                  <a:lnTo>
                    <a:pt x="198787" y="279463"/>
                  </a:lnTo>
                  <a:cubicBezTo>
                    <a:pt x="194024" y="286321"/>
                    <a:pt x="188786" y="292894"/>
                    <a:pt x="182975" y="299085"/>
                  </a:cubicBezTo>
                  <a:cubicBezTo>
                    <a:pt x="177165" y="305371"/>
                    <a:pt x="170688" y="310896"/>
                    <a:pt x="163544" y="315658"/>
                  </a:cubicBezTo>
                  <a:cubicBezTo>
                    <a:pt x="156400" y="320421"/>
                    <a:pt x="148494" y="324136"/>
                    <a:pt x="139636" y="326803"/>
                  </a:cubicBezTo>
                  <a:cubicBezTo>
                    <a:pt x="130873" y="329470"/>
                    <a:pt x="121158" y="330803"/>
                    <a:pt x="110394" y="330803"/>
                  </a:cubicBezTo>
                  <a:close/>
                  <a:moveTo>
                    <a:pt x="116681" y="300133"/>
                  </a:moveTo>
                  <a:cubicBezTo>
                    <a:pt x="127445" y="300133"/>
                    <a:pt x="137732" y="297942"/>
                    <a:pt x="147733" y="293656"/>
                  </a:cubicBezTo>
                  <a:cubicBezTo>
                    <a:pt x="157734" y="289369"/>
                    <a:pt x="166592" y="283273"/>
                    <a:pt x="174498" y="275368"/>
                  </a:cubicBezTo>
                  <a:cubicBezTo>
                    <a:pt x="182404" y="267462"/>
                    <a:pt x="188595" y="258127"/>
                    <a:pt x="193262" y="247269"/>
                  </a:cubicBezTo>
                  <a:cubicBezTo>
                    <a:pt x="197834" y="236410"/>
                    <a:pt x="200216" y="224314"/>
                    <a:pt x="200216" y="210883"/>
                  </a:cubicBezTo>
                  <a:lnTo>
                    <a:pt x="200216" y="210026"/>
                  </a:lnTo>
                  <a:cubicBezTo>
                    <a:pt x="200216" y="196596"/>
                    <a:pt x="197929" y="184499"/>
                    <a:pt x="193262" y="173641"/>
                  </a:cubicBezTo>
                  <a:cubicBezTo>
                    <a:pt x="188595" y="162782"/>
                    <a:pt x="182404" y="153448"/>
                    <a:pt x="174498" y="145732"/>
                  </a:cubicBezTo>
                  <a:cubicBezTo>
                    <a:pt x="166592" y="138017"/>
                    <a:pt x="157639" y="132016"/>
                    <a:pt x="147733" y="127635"/>
                  </a:cubicBezTo>
                  <a:cubicBezTo>
                    <a:pt x="137732" y="123349"/>
                    <a:pt x="127445" y="121158"/>
                    <a:pt x="116681" y="121158"/>
                  </a:cubicBezTo>
                  <a:cubicBezTo>
                    <a:pt x="105346" y="121158"/>
                    <a:pt x="94774" y="123158"/>
                    <a:pt x="84963" y="127159"/>
                  </a:cubicBezTo>
                  <a:cubicBezTo>
                    <a:pt x="75152" y="131159"/>
                    <a:pt x="66580" y="136969"/>
                    <a:pt x="59341" y="144589"/>
                  </a:cubicBezTo>
                  <a:cubicBezTo>
                    <a:pt x="52007" y="152114"/>
                    <a:pt x="46291" y="161449"/>
                    <a:pt x="41910" y="172498"/>
                  </a:cubicBezTo>
                  <a:cubicBezTo>
                    <a:pt x="37624" y="183451"/>
                    <a:pt x="35433" y="196024"/>
                    <a:pt x="35433" y="210026"/>
                  </a:cubicBezTo>
                  <a:lnTo>
                    <a:pt x="35433" y="210883"/>
                  </a:lnTo>
                  <a:cubicBezTo>
                    <a:pt x="35433" y="224599"/>
                    <a:pt x="37624" y="236982"/>
                    <a:pt x="41910" y="247936"/>
                  </a:cubicBezTo>
                  <a:cubicBezTo>
                    <a:pt x="46196" y="258984"/>
                    <a:pt x="52101" y="268319"/>
                    <a:pt x="59531" y="276034"/>
                  </a:cubicBezTo>
                  <a:cubicBezTo>
                    <a:pt x="66960" y="283750"/>
                    <a:pt x="75629" y="289750"/>
                    <a:pt x="85439" y="293941"/>
                  </a:cubicBezTo>
                  <a:cubicBezTo>
                    <a:pt x="95250" y="298132"/>
                    <a:pt x="105632" y="300228"/>
                    <a:pt x="116681" y="300228"/>
                  </a:cubicBezTo>
                  <a:close/>
                </a:path>
              </a:pathLst>
            </a:custGeom>
            <a:solidFill>
              <a:srgbClr val="44505E"/>
            </a:solidFill>
            <a:ln w="9525" cap="flat">
              <a:noFill/>
              <a:prstDash val="solid"/>
              <a:miter/>
            </a:ln>
          </p:spPr>
          <p:txBody>
            <a:bodyPr rtlCol="0" anchor="ctr"/>
            <a:lstStyle/>
            <a:p>
              <a:endParaRPr lang="pt-BR"/>
            </a:p>
          </p:txBody>
        </p:sp>
        <p:sp>
          <p:nvSpPr>
            <p:cNvPr id="141" name="Freeform: Shape 140">
              <a:extLst>
                <a:ext uri="{FF2B5EF4-FFF2-40B4-BE49-F238E27FC236}">
                  <a16:creationId xmlns:a16="http://schemas.microsoft.com/office/drawing/2014/main" id="{B07EA918-077F-E590-B24F-146291372A30}"/>
                </a:ext>
              </a:extLst>
            </p:cNvPr>
            <p:cNvSpPr/>
            <p:nvPr/>
          </p:nvSpPr>
          <p:spPr>
            <a:xfrm>
              <a:off x="6586762" y="924387"/>
              <a:ext cx="51025" cy="60147"/>
            </a:xfrm>
            <a:custGeom>
              <a:avLst/>
              <a:gdLst>
                <a:gd name="connsiteX0" fmla="*/ 86201 w 202977"/>
                <a:gd name="connsiteY0" fmla="*/ 239268 h 239267"/>
                <a:gd name="connsiteX1" fmla="*/ 54483 w 202977"/>
                <a:gd name="connsiteY1" fmla="*/ 234791 h 239267"/>
                <a:gd name="connsiteX2" fmla="*/ 26765 w 202977"/>
                <a:gd name="connsiteY2" fmla="*/ 221171 h 239267"/>
                <a:gd name="connsiteX3" fmla="*/ 7334 w 202977"/>
                <a:gd name="connsiteY3" fmla="*/ 198596 h 239267"/>
                <a:gd name="connsiteX4" fmla="*/ 0 w 202977"/>
                <a:gd name="connsiteY4" fmla="*/ 167354 h 239267"/>
                <a:gd name="connsiteX5" fmla="*/ 0 w 202977"/>
                <a:gd name="connsiteY5" fmla="*/ 166402 h 239267"/>
                <a:gd name="connsiteX6" fmla="*/ 7144 w 202977"/>
                <a:gd name="connsiteY6" fmla="*/ 133636 h 239267"/>
                <a:gd name="connsiteX7" fmla="*/ 27432 w 202977"/>
                <a:gd name="connsiteY7" fmla="*/ 110204 h 239267"/>
                <a:gd name="connsiteX8" fmla="*/ 58674 w 202977"/>
                <a:gd name="connsiteY8" fmla="*/ 95917 h 239267"/>
                <a:gd name="connsiteX9" fmla="*/ 98584 w 202977"/>
                <a:gd name="connsiteY9" fmla="*/ 90964 h 239267"/>
                <a:gd name="connsiteX10" fmla="*/ 137160 w 202977"/>
                <a:gd name="connsiteY10" fmla="*/ 93631 h 239267"/>
                <a:gd name="connsiteX11" fmla="*/ 169069 w 202977"/>
                <a:gd name="connsiteY11" fmla="*/ 100774 h 239267"/>
                <a:gd name="connsiteX12" fmla="*/ 169069 w 202977"/>
                <a:gd name="connsiteY12" fmla="*/ 93726 h 239267"/>
                <a:gd name="connsiteX13" fmla="*/ 151162 w 202977"/>
                <a:gd name="connsiteY13" fmla="*/ 47339 h 239267"/>
                <a:gd name="connsiteX14" fmla="*/ 100679 w 202977"/>
                <a:gd name="connsiteY14" fmla="*/ 31623 h 239267"/>
                <a:gd name="connsiteX15" fmla="*/ 63436 w 202977"/>
                <a:gd name="connsiteY15" fmla="*/ 36100 h 239267"/>
                <a:gd name="connsiteX16" fmla="*/ 30670 w 202977"/>
                <a:gd name="connsiteY16" fmla="*/ 48196 h 239267"/>
                <a:gd name="connsiteX17" fmla="*/ 20383 w 202977"/>
                <a:gd name="connsiteY17" fmla="*/ 19907 h 239267"/>
                <a:gd name="connsiteX18" fmla="*/ 59245 w 202977"/>
                <a:gd name="connsiteY18" fmla="*/ 5429 h 239267"/>
                <a:gd name="connsiteX19" fmla="*/ 104299 w 202977"/>
                <a:gd name="connsiteY19" fmla="*/ 0 h 239267"/>
                <a:gd name="connsiteX20" fmla="*/ 178879 w 202977"/>
                <a:gd name="connsiteY20" fmla="*/ 25432 h 239267"/>
                <a:gd name="connsiteX21" fmla="*/ 202978 w 202977"/>
                <a:gd name="connsiteY21" fmla="*/ 93250 h 239267"/>
                <a:gd name="connsiteX22" fmla="*/ 202978 w 202977"/>
                <a:gd name="connsiteY22" fmla="*/ 234315 h 239267"/>
                <a:gd name="connsiteX23" fmla="*/ 169069 w 202977"/>
                <a:gd name="connsiteY23" fmla="*/ 234315 h 239267"/>
                <a:gd name="connsiteX24" fmla="*/ 169069 w 202977"/>
                <a:gd name="connsiteY24" fmla="*/ 199930 h 239267"/>
                <a:gd name="connsiteX25" fmla="*/ 136684 w 202977"/>
                <a:gd name="connsiteY25" fmla="*/ 227362 h 239267"/>
                <a:gd name="connsiteX26" fmla="*/ 86010 w 202977"/>
                <a:gd name="connsiteY26" fmla="*/ 239173 h 239267"/>
                <a:gd name="connsiteX27" fmla="*/ 93154 w 202977"/>
                <a:gd name="connsiteY27" fmla="*/ 211169 h 239267"/>
                <a:gd name="connsiteX28" fmla="*/ 122967 w 202977"/>
                <a:gd name="connsiteY28" fmla="*/ 206788 h 239267"/>
                <a:gd name="connsiteX29" fmla="*/ 147256 w 202977"/>
                <a:gd name="connsiteY29" fmla="*/ 194120 h 239267"/>
                <a:gd name="connsiteX30" fmla="*/ 163735 w 202977"/>
                <a:gd name="connsiteY30" fmla="*/ 174593 h 239267"/>
                <a:gd name="connsiteX31" fmla="*/ 169736 w 202977"/>
                <a:gd name="connsiteY31" fmla="*/ 149447 h 239267"/>
                <a:gd name="connsiteX32" fmla="*/ 169736 w 202977"/>
                <a:gd name="connsiteY32" fmla="*/ 128111 h 239267"/>
                <a:gd name="connsiteX33" fmla="*/ 140398 w 202977"/>
                <a:gd name="connsiteY33" fmla="*/ 121444 h 239267"/>
                <a:gd name="connsiteX34" fmla="*/ 102584 w 202977"/>
                <a:gd name="connsiteY34" fmla="*/ 118300 h 239267"/>
                <a:gd name="connsiteX35" fmla="*/ 52959 w 202977"/>
                <a:gd name="connsiteY35" fmla="*/ 130969 h 239267"/>
                <a:gd name="connsiteX36" fmla="*/ 35433 w 202977"/>
                <a:gd name="connsiteY36" fmla="*/ 164497 h 239267"/>
                <a:gd name="connsiteX37" fmla="*/ 35433 w 202977"/>
                <a:gd name="connsiteY37" fmla="*/ 165449 h 239267"/>
                <a:gd name="connsiteX38" fmla="*/ 40100 w 202977"/>
                <a:gd name="connsiteY38" fmla="*/ 184785 h 239267"/>
                <a:gd name="connsiteX39" fmla="*/ 52768 w 202977"/>
                <a:gd name="connsiteY39" fmla="*/ 199263 h 239267"/>
                <a:gd name="connsiteX40" fmla="*/ 71247 w 202977"/>
                <a:gd name="connsiteY40" fmla="*/ 208121 h 239267"/>
                <a:gd name="connsiteX41" fmla="*/ 93250 w 202977"/>
                <a:gd name="connsiteY41" fmla="*/ 211169 h 2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2977" h="239267">
                  <a:moveTo>
                    <a:pt x="86201" y="239268"/>
                  </a:moveTo>
                  <a:cubicBezTo>
                    <a:pt x="75533" y="239268"/>
                    <a:pt x="64961" y="237744"/>
                    <a:pt x="54483" y="234791"/>
                  </a:cubicBezTo>
                  <a:cubicBezTo>
                    <a:pt x="44101" y="231838"/>
                    <a:pt x="34861" y="227266"/>
                    <a:pt x="26765" y="221171"/>
                  </a:cubicBezTo>
                  <a:cubicBezTo>
                    <a:pt x="18669" y="215074"/>
                    <a:pt x="12287" y="207550"/>
                    <a:pt x="7334" y="198596"/>
                  </a:cubicBezTo>
                  <a:cubicBezTo>
                    <a:pt x="2381" y="189643"/>
                    <a:pt x="0" y="179260"/>
                    <a:pt x="0" y="167354"/>
                  </a:cubicBezTo>
                  <a:lnTo>
                    <a:pt x="0" y="166402"/>
                  </a:lnTo>
                  <a:cubicBezTo>
                    <a:pt x="0" y="153924"/>
                    <a:pt x="2381" y="142970"/>
                    <a:pt x="7144" y="133636"/>
                  </a:cubicBezTo>
                  <a:cubicBezTo>
                    <a:pt x="11906" y="124206"/>
                    <a:pt x="18669" y="116491"/>
                    <a:pt x="27432" y="110204"/>
                  </a:cubicBezTo>
                  <a:cubicBezTo>
                    <a:pt x="36195" y="103918"/>
                    <a:pt x="46672" y="99155"/>
                    <a:pt x="58674" y="95917"/>
                  </a:cubicBezTo>
                  <a:cubicBezTo>
                    <a:pt x="70675" y="92678"/>
                    <a:pt x="84011" y="90964"/>
                    <a:pt x="98584" y="90964"/>
                  </a:cubicBezTo>
                  <a:cubicBezTo>
                    <a:pt x="113157" y="90964"/>
                    <a:pt x="126302" y="91821"/>
                    <a:pt x="137160" y="93631"/>
                  </a:cubicBezTo>
                  <a:cubicBezTo>
                    <a:pt x="148018" y="95440"/>
                    <a:pt x="158686" y="97822"/>
                    <a:pt x="169069" y="100774"/>
                  </a:cubicBezTo>
                  <a:lnTo>
                    <a:pt x="169069" y="93726"/>
                  </a:lnTo>
                  <a:cubicBezTo>
                    <a:pt x="169069" y="73342"/>
                    <a:pt x="163068" y="57912"/>
                    <a:pt x="151162" y="47339"/>
                  </a:cubicBezTo>
                  <a:cubicBezTo>
                    <a:pt x="139255" y="36862"/>
                    <a:pt x="122396" y="31623"/>
                    <a:pt x="100679" y="31623"/>
                  </a:cubicBezTo>
                  <a:cubicBezTo>
                    <a:pt x="86963" y="31623"/>
                    <a:pt x="74580" y="33147"/>
                    <a:pt x="63436" y="36100"/>
                  </a:cubicBezTo>
                  <a:cubicBezTo>
                    <a:pt x="52292" y="39053"/>
                    <a:pt x="41338" y="43053"/>
                    <a:pt x="30670" y="48196"/>
                  </a:cubicBezTo>
                  <a:lnTo>
                    <a:pt x="20383" y="19907"/>
                  </a:lnTo>
                  <a:cubicBezTo>
                    <a:pt x="33147" y="13906"/>
                    <a:pt x="46101" y="9049"/>
                    <a:pt x="59245" y="5429"/>
                  </a:cubicBezTo>
                  <a:cubicBezTo>
                    <a:pt x="72294" y="1810"/>
                    <a:pt x="87344" y="0"/>
                    <a:pt x="104299" y="0"/>
                  </a:cubicBezTo>
                  <a:cubicBezTo>
                    <a:pt x="137064" y="0"/>
                    <a:pt x="161925" y="8477"/>
                    <a:pt x="178879" y="25432"/>
                  </a:cubicBezTo>
                  <a:cubicBezTo>
                    <a:pt x="194976" y="41529"/>
                    <a:pt x="202978" y="64103"/>
                    <a:pt x="202978" y="93250"/>
                  </a:cubicBezTo>
                  <a:lnTo>
                    <a:pt x="202978" y="234315"/>
                  </a:lnTo>
                  <a:lnTo>
                    <a:pt x="169069" y="234315"/>
                  </a:lnTo>
                  <a:lnTo>
                    <a:pt x="169069" y="199930"/>
                  </a:lnTo>
                  <a:cubicBezTo>
                    <a:pt x="160972" y="210312"/>
                    <a:pt x="150209" y="219456"/>
                    <a:pt x="136684" y="227362"/>
                  </a:cubicBezTo>
                  <a:cubicBezTo>
                    <a:pt x="123158" y="235267"/>
                    <a:pt x="106299" y="239173"/>
                    <a:pt x="86010" y="239173"/>
                  </a:cubicBezTo>
                  <a:close/>
                  <a:moveTo>
                    <a:pt x="93154" y="211169"/>
                  </a:moveTo>
                  <a:cubicBezTo>
                    <a:pt x="103822" y="211169"/>
                    <a:pt x="113729" y="209740"/>
                    <a:pt x="122967" y="206788"/>
                  </a:cubicBezTo>
                  <a:cubicBezTo>
                    <a:pt x="132207" y="203835"/>
                    <a:pt x="140208" y="199644"/>
                    <a:pt x="147256" y="194120"/>
                  </a:cubicBezTo>
                  <a:cubicBezTo>
                    <a:pt x="154210" y="188595"/>
                    <a:pt x="159734" y="182118"/>
                    <a:pt x="163735" y="174593"/>
                  </a:cubicBezTo>
                  <a:cubicBezTo>
                    <a:pt x="167735" y="167068"/>
                    <a:pt x="169736" y="158687"/>
                    <a:pt x="169736" y="149447"/>
                  </a:cubicBezTo>
                  <a:lnTo>
                    <a:pt x="169736" y="128111"/>
                  </a:lnTo>
                  <a:cubicBezTo>
                    <a:pt x="161163" y="125730"/>
                    <a:pt x="151352" y="123539"/>
                    <a:pt x="140398" y="121444"/>
                  </a:cubicBezTo>
                  <a:cubicBezTo>
                    <a:pt x="129444" y="119348"/>
                    <a:pt x="116871" y="118300"/>
                    <a:pt x="102584" y="118300"/>
                  </a:cubicBezTo>
                  <a:cubicBezTo>
                    <a:pt x="81248" y="118300"/>
                    <a:pt x="64675" y="122491"/>
                    <a:pt x="52959" y="130969"/>
                  </a:cubicBezTo>
                  <a:cubicBezTo>
                    <a:pt x="41243" y="139446"/>
                    <a:pt x="35433" y="150590"/>
                    <a:pt x="35433" y="164497"/>
                  </a:cubicBezTo>
                  <a:lnTo>
                    <a:pt x="35433" y="165449"/>
                  </a:lnTo>
                  <a:cubicBezTo>
                    <a:pt x="35433" y="172498"/>
                    <a:pt x="36957" y="178975"/>
                    <a:pt x="40100" y="184785"/>
                  </a:cubicBezTo>
                  <a:cubicBezTo>
                    <a:pt x="43148" y="190500"/>
                    <a:pt x="47434" y="195358"/>
                    <a:pt x="52768" y="199263"/>
                  </a:cubicBezTo>
                  <a:cubicBezTo>
                    <a:pt x="58102" y="203073"/>
                    <a:pt x="64198" y="206026"/>
                    <a:pt x="71247" y="208121"/>
                  </a:cubicBezTo>
                  <a:cubicBezTo>
                    <a:pt x="78200" y="210217"/>
                    <a:pt x="85534" y="211169"/>
                    <a:pt x="93250" y="211169"/>
                  </a:cubicBezTo>
                  <a:close/>
                </a:path>
              </a:pathLst>
            </a:custGeom>
            <a:solidFill>
              <a:srgbClr val="44505E"/>
            </a:solidFill>
            <a:ln w="9525" cap="flat">
              <a:noFill/>
              <a:prstDash val="solid"/>
              <a:miter/>
            </a:ln>
          </p:spPr>
          <p:txBody>
            <a:bodyPr rtlCol="0" anchor="ctr"/>
            <a:lstStyle/>
            <a:p>
              <a:endParaRPr lang="pt-BR"/>
            </a:p>
          </p:txBody>
        </p:sp>
        <p:sp>
          <p:nvSpPr>
            <p:cNvPr id="142" name="Freeform: Shape 141">
              <a:extLst>
                <a:ext uri="{FF2B5EF4-FFF2-40B4-BE49-F238E27FC236}">
                  <a16:creationId xmlns:a16="http://schemas.microsoft.com/office/drawing/2014/main" id="{EF1C3EBB-3591-3992-20AD-BAECA5FABDE0}"/>
                </a:ext>
              </a:extLst>
            </p:cNvPr>
            <p:cNvSpPr/>
            <p:nvPr/>
          </p:nvSpPr>
          <p:spPr>
            <a:xfrm>
              <a:off x="6651291" y="924268"/>
              <a:ext cx="44680" cy="60195"/>
            </a:xfrm>
            <a:custGeom>
              <a:avLst/>
              <a:gdLst>
                <a:gd name="connsiteX0" fmla="*/ 95535 w 177736"/>
                <a:gd name="connsiteY0" fmla="*/ 239268 h 239458"/>
                <a:gd name="connsiteX1" fmla="*/ 45053 w 177736"/>
                <a:gd name="connsiteY1" fmla="*/ 230124 h 239458"/>
                <a:gd name="connsiteX2" fmla="*/ 0 w 177736"/>
                <a:gd name="connsiteY2" fmla="*/ 205359 h 239458"/>
                <a:gd name="connsiteX3" fmla="*/ 17430 w 177736"/>
                <a:gd name="connsiteY3" fmla="*/ 180785 h 239458"/>
                <a:gd name="connsiteX4" fmla="*/ 56483 w 177736"/>
                <a:gd name="connsiteY4" fmla="*/ 202692 h 239458"/>
                <a:gd name="connsiteX5" fmla="*/ 97345 w 177736"/>
                <a:gd name="connsiteY5" fmla="*/ 210217 h 239458"/>
                <a:gd name="connsiteX6" fmla="*/ 131730 w 177736"/>
                <a:gd name="connsiteY6" fmla="*/ 200406 h 239458"/>
                <a:gd name="connsiteX7" fmla="*/ 145161 w 177736"/>
                <a:gd name="connsiteY7" fmla="*/ 173641 h 239458"/>
                <a:gd name="connsiteX8" fmla="*/ 145161 w 177736"/>
                <a:gd name="connsiteY8" fmla="*/ 172784 h 239458"/>
                <a:gd name="connsiteX9" fmla="*/ 140494 w 177736"/>
                <a:gd name="connsiteY9" fmla="*/ 158020 h 239458"/>
                <a:gd name="connsiteX10" fmla="*/ 127825 w 177736"/>
                <a:gd name="connsiteY10" fmla="*/ 147066 h 239458"/>
                <a:gd name="connsiteX11" fmla="*/ 109251 w 177736"/>
                <a:gd name="connsiteY11" fmla="*/ 138779 h 239458"/>
                <a:gd name="connsiteX12" fmla="*/ 87630 w 177736"/>
                <a:gd name="connsiteY12" fmla="*/ 132112 h 239458"/>
                <a:gd name="connsiteX13" fmla="*/ 60579 w 177736"/>
                <a:gd name="connsiteY13" fmla="*/ 123444 h 239458"/>
                <a:gd name="connsiteX14" fmla="*/ 36004 w 177736"/>
                <a:gd name="connsiteY14" fmla="*/ 111633 h 239458"/>
                <a:gd name="connsiteX15" fmla="*/ 18192 w 177736"/>
                <a:gd name="connsiteY15" fmla="*/ 93726 h 239458"/>
                <a:gd name="connsiteX16" fmla="*/ 11239 w 177736"/>
                <a:gd name="connsiteY16" fmla="*/ 66961 h 239458"/>
                <a:gd name="connsiteX17" fmla="*/ 11239 w 177736"/>
                <a:gd name="connsiteY17" fmla="*/ 66008 h 239458"/>
                <a:gd name="connsiteX18" fmla="*/ 17050 w 177736"/>
                <a:gd name="connsiteY18" fmla="*/ 39053 h 239458"/>
                <a:gd name="connsiteX19" fmla="*/ 33338 w 177736"/>
                <a:gd name="connsiteY19" fmla="*/ 18098 h 239458"/>
                <a:gd name="connsiteX20" fmla="*/ 58388 w 177736"/>
                <a:gd name="connsiteY20" fmla="*/ 4667 h 239458"/>
                <a:gd name="connsiteX21" fmla="*/ 89821 w 177736"/>
                <a:gd name="connsiteY21" fmla="*/ 0 h 239458"/>
                <a:gd name="connsiteX22" fmla="*/ 133159 w 177736"/>
                <a:gd name="connsiteY22" fmla="*/ 6953 h 239458"/>
                <a:gd name="connsiteX23" fmla="*/ 172878 w 177736"/>
                <a:gd name="connsiteY23" fmla="*/ 25527 h 239458"/>
                <a:gd name="connsiteX24" fmla="*/ 157257 w 177736"/>
                <a:gd name="connsiteY24" fmla="*/ 51435 h 239458"/>
                <a:gd name="connsiteX25" fmla="*/ 123539 w 177736"/>
                <a:gd name="connsiteY25" fmla="*/ 35147 h 239458"/>
                <a:gd name="connsiteX26" fmla="*/ 88963 w 177736"/>
                <a:gd name="connsiteY26" fmla="*/ 29146 h 239458"/>
                <a:gd name="connsiteX27" fmla="*/ 56388 w 177736"/>
                <a:gd name="connsiteY27" fmla="*/ 38767 h 239458"/>
                <a:gd name="connsiteX28" fmla="*/ 44291 w 177736"/>
                <a:gd name="connsiteY28" fmla="*/ 62675 h 239458"/>
                <a:gd name="connsiteX29" fmla="*/ 44291 w 177736"/>
                <a:gd name="connsiteY29" fmla="*/ 63627 h 239458"/>
                <a:gd name="connsiteX30" fmla="*/ 49244 w 177736"/>
                <a:gd name="connsiteY30" fmla="*/ 77724 h 239458"/>
                <a:gd name="connsiteX31" fmla="*/ 62389 w 177736"/>
                <a:gd name="connsiteY31" fmla="*/ 88202 h 239458"/>
                <a:gd name="connsiteX32" fmla="*/ 81343 w 177736"/>
                <a:gd name="connsiteY32" fmla="*/ 96203 h 239458"/>
                <a:gd name="connsiteX33" fmla="*/ 103631 w 177736"/>
                <a:gd name="connsiteY33" fmla="*/ 103346 h 239458"/>
                <a:gd name="connsiteX34" fmla="*/ 130207 w 177736"/>
                <a:gd name="connsiteY34" fmla="*/ 112300 h 239458"/>
                <a:gd name="connsiteX35" fmla="*/ 154114 w 177736"/>
                <a:gd name="connsiteY35" fmla="*/ 124778 h 239458"/>
                <a:gd name="connsiteX36" fmla="*/ 171259 w 177736"/>
                <a:gd name="connsiteY36" fmla="*/ 143066 h 239458"/>
                <a:gd name="connsiteX37" fmla="*/ 177736 w 177736"/>
                <a:gd name="connsiteY37" fmla="*/ 169450 h 239458"/>
                <a:gd name="connsiteX38" fmla="*/ 177736 w 177736"/>
                <a:gd name="connsiteY38" fmla="*/ 170307 h 239458"/>
                <a:gd name="connsiteX39" fmla="*/ 171259 w 177736"/>
                <a:gd name="connsiteY39" fmla="*/ 199549 h 239458"/>
                <a:gd name="connsiteX40" fmla="*/ 153828 w 177736"/>
                <a:gd name="connsiteY40" fmla="*/ 221171 h 239458"/>
                <a:gd name="connsiteX41" fmla="*/ 127921 w 177736"/>
                <a:gd name="connsiteY41" fmla="*/ 234791 h 239458"/>
                <a:gd name="connsiteX42" fmla="*/ 95535 w 177736"/>
                <a:gd name="connsiteY42" fmla="*/ 239459 h 23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7736" h="239458">
                  <a:moveTo>
                    <a:pt x="95535" y="239268"/>
                  </a:moveTo>
                  <a:cubicBezTo>
                    <a:pt x="78867" y="239268"/>
                    <a:pt x="62007" y="236220"/>
                    <a:pt x="45053" y="230124"/>
                  </a:cubicBezTo>
                  <a:cubicBezTo>
                    <a:pt x="28098" y="224028"/>
                    <a:pt x="13049" y="215741"/>
                    <a:pt x="0" y="205359"/>
                  </a:cubicBezTo>
                  <a:lnTo>
                    <a:pt x="17430" y="180785"/>
                  </a:lnTo>
                  <a:cubicBezTo>
                    <a:pt x="29908" y="190310"/>
                    <a:pt x="42957" y="197644"/>
                    <a:pt x="56483" y="202692"/>
                  </a:cubicBezTo>
                  <a:cubicBezTo>
                    <a:pt x="70009" y="207740"/>
                    <a:pt x="83629" y="210217"/>
                    <a:pt x="97345" y="210217"/>
                  </a:cubicBezTo>
                  <a:cubicBezTo>
                    <a:pt x="111061" y="210217"/>
                    <a:pt x="122777" y="206978"/>
                    <a:pt x="131730" y="200406"/>
                  </a:cubicBezTo>
                  <a:cubicBezTo>
                    <a:pt x="140684" y="193834"/>
                    <a:pt x="145161" y="184976"/>
                    <a:pt x="145161" y="173641"/>
                  </a:cubicBezTo>
                  <a:lnTo>
                    <a:pt x="145161" y="172784"/>
                  </a:lnTo>
                  <a:cubicBezTo>
                    <a:pt x="145161" y="167164"/>
                    <a:pt x="143541" y="162211"/>
                    <a:pt x="140494" y="158020"/>
                  </a:cubicBezTo>
                  <a:cubicBezTo>
                    <a:pt x="137350" y="153829"/>
                    <a:pt x="133159" y="150209"/>
                    <a:pt x="127825" y="147066"/>
                  </a:cubicBezTo>
                  <a:cubicBezTo>
                    <a:pt x="122491" y="143923"/>
                    <a:pt x="116300" y="141161"/>
                    <a:pt x="109251" y="138779"/>
                  </a:cubicBezTo>
                  <a:cubicBezTo>
                    <a:pt x="102298" y="136398"/>
                    <a:pt x="95059" y="134207"/>
                    <a:pt x="87630" y="132112"/>
                  </a:cubicBezTo>
                  <a:cubicBezTo>
                    <a:pt x="78676" y="129445"/>
                    <a:pt x="69722" y="126492"/>
                    <a:pt x="60579" y="123444"/>
                  </a:cubicBezTo>
                  <a:cubicBezTo>
                    <a:pt x="51530" y="120301"/>
                    <a:pt x="43339" y="116396"/>
                    <a:pt x="36004" y="111633"/>
                  </a:cubicBezTo>
                  <a:cubicBezTo>
                    <a:pt x="28670" y="106871"/>
                    <a:pt x="22764" y="100870"/>
                    <a:pt x="18192" y="93726"/>
                  </a:cubicBezTo>
                  <a:cubicBezTo>
                    <a:pt x="13525" y="86582"/>
                    <a:pt x="11239" y="77629"/>
                    <a:pt x="11239" y="66961"/>
                  </a:cubicBezTo>
                  <a:lnTo>
                    <a:pt x="11239" y="66008"/>
                  </a:lnTo>
                  <a:cubicBezTo>
                    <a:pt x="11239" y="56198"/>
                    <a:pt x="13144" y="47149"/>
                    <a:pt x="17050" y="39053"/>
                  </a:cubicBezTo>
                  <a:cubicBezTo>
                    <a:pt x="20955" y="30861"/>
                    <a:pt x="26384" y="23908"/>
                    <a:pt x="33338" y="18098"/>
                  </a:cubicBezTo>
                  <a:cubicBezTo>
                    <a:pt x="40291" y="12287"/>
                    <a:pt x="48673" y="7811"/>
                    <a:pt x="58388" y="4667"/>
                  </a:cubicBezTo>
                  <a:cubicBezTo>
                    <a:pt x="68008" y="1524"/>
                    <a:pt x="78581" y="0"/>
                    <a:pt x="89821" y="0"/>
                  </a:cubicBezTo>
                  <a:cubicBezTo>
                    <a:pt x="104108" y="0"/>
                    <a:pt x="118586" y="2286"/>
                    <a:pt x="133159" y="6953"/>
                  </a:cubicBezTo>
                  <a:cubicBezTo>
                    <a:pt x="147732" y="11621"/>
                    <a:pt x="160972" y="17717"/>
                    <a:pt x="172878" y="25527"/>
                  </a:cubicBezTo>
                  <a:lnTo>
                    <a:pt x="157257" y="51435"/>
                  </a:lnTo>
                  <a:cubicBezTo>
                    <a:pt x="146494" y="44577"/>
                    <a:pt x="135255" y="39148"/>
                    <a:pt x="123539" y="35147"/>
                  </a:cubicBezTo>
                  <a:cubicBezTo>
                    <a:pt x="111823" y="31147"/>
                    <a:pt x="100203" y="29146"/>
                    <a:pt x="88963" y="29146"/>
                  </a:cubicBezTo>
                  <a:cubicBezTo>
                    <a:pt x="75247" y="29146"/>
                    <a:pt x="64389" y="32385"/>
                    <a:pt x="56388" y="38767"/>
                  </a:cubicBezTo>
                  <a:cubicBezTo>
                    <a:pt x="48291" y="45149"/>
                    <a:pt x="44291" y="53150"/>
                    <a:pt x="44291" y="62675"/>
                  </a:cubicBezTo>
                  <a:lnTo>
                    <a:pt x="44291" y="63627"/>
                  </a:lnTo>
                  <a:cubicBezTo>
                    <a:pt x="44291" y="68961"/>
                    <a:pt x="45910" y="73628"/>
                    <a:pt x="49244" y="77724"/>
                  </a:cubicBezTo>
                  <a:cubicBezTo>
                    <a:pt x="52482" y="81725"/>
                    <a:pt x="56864" y="85249"/>
                    <a:pt x="62389" y="88202"/>
                  </a:cubicBezTo>
                  <a:cubicBezTo>
                    <a:pt x="67913" y="91154"/>
                    <a:pt x="74200" y="93821"/>
                    <a:pt x="81343" y="96203"/>
                  </a:cubicBezTo>
                  <a:cubicBezTo>
                    <a:pt x="88487" y="98584"/>
                    <a:pt x="95916" y="100965"/>
                    <a:pt x="103631" y="103346"/>
                  </a:cubicBezTo>
                  <a:cubicBezTo>
                    <a:pt x="112585" y="106013"/>
                    <a:pt x="121444" y="108966"/>
                    <a:pt x="130207" y="112300"/>
                  </a:cubicBezTo>
                  <a:cubicBezTo>
                    <a:pt x="138969" y="115538"/>
                    <a:pt x="146971" y="119729"/>
                    <a:pt x="154114" y="124778"/>
                  </a:cubicBezTo>
                  <a:cubicBezTo>
                    <a:pt x="161258" y="129826"/>
                    <a:pt x="166973" y="135922"/>
                    <a:pt x="171259" y="143066"/>
                  </a:cubicBezTo>
                  <a:cubicBezTo>
                    <a:pt x="175546" y="150209"/>
                    <a:pt x="177736" y="158972"/>
                    <a:pt x="177736" y="169450"/>
                  </a:cubicBezTo>
                  <a:lnTo>
                    <a:pt x="177736" y="170307"/>
                  </a:lnTo>
                  <a:cubicBezTo>
                    <a:pt x="177736" y="181356"/>
                    <a:pt x="175546" y="191071"/>
                    <a:pt x="171259" y="199549"/>
                  </a:cubicBezTo>
                  <a:cubicBezTo>
                    <a:pt x="166973" y="208026"/>
                    <a:pt x="161163" y="215265"/>
                    <a:pt x="153828" y="221171"/>
                  </a:cubicBezTo>
                  <a:cubicBezTo>
                    <a:pt x="146589" y="227171"/>
                    <a:pt x="137922" y="231648"/>
                    <a:pt x="127921" y="234791"/>
                  </a:cubicBezTo>
                  <a:cubicBezTo>
                    <a:pt x="117919" y="237935"/>
                    <a:pt x="107156" y="239459"/>
                    <a:pt x="95535" y="239459"/>
                  </a:cubicBezTo>
                  <a:close/>
                </a:path>
              </a:pathLst>
            </a:custGeom>
            <a:solidFill>
              <a:srgbClr val="44505E"/>
            </a:solidFill>
            <a:ln w="9525" cap="flat">
              <a:noFill/>
              <a:prstDash val="solid"/>
              <a:miter/>
            </a:ln>
          </p:spPr>
          <p:txBody>
            <a:bodyPr rtlCol="0" anchor="ctr"/>
            <a:lstStyle/>
            <a:p>
              <a:endParaRPr lang="pt-BR"/>
            </a:p>
          </p:txBody>
        </p:sp>
        <p:sp>
          <p:nvSpPr>
            <p:cNvPr id="143" name="Freeform: Shape 142">
              <a:extLst>
                <a:ext uri="{FF2B5EF4-FFF2-40B4-BE49-F238E27FC236}">
                  <a16:creationId xmlns:a16="http://schemas.microsoft.com/office/drawing/2014/main" id="{2D489C66-EA0F-6F80-7EC9-9CC41B7F6F0E}"/>
                </a:ext>
              </a:extLst>
            </p:cNvPr>
            <p:cNvSpPr/>
            <p:nvPr/>
          </p:nvSpPr>
          <p:spPr>
            <a:xfrm>
              <a:off x="5250320" y="846952"/>
              <a:ext cx="1459036" cy="16186"/>
            </a:xfrm>
            <a:custGeom>
              <a:avLst/>
              <a:gdLst>
                <a:gd name="connsiteX0" fmla="*/ 0 w 5804058"/>
                <a:gd name="connsiteY0" fmla="*/ 0 h 64388"/>
                <a:gd name="connsiteX1" fmla="*/ 5804059 w 5804058"/>
                <a:gd name="connsiteY1" fmla="*/ 0 h 64388"/>
                <a:gd name="connsiteX2" fmla="*/ 5804059 w 5804058"/>
                <a:gd name="connsiteY2" fmla="*/ 64389 h 64388"/>
                <a:gd name="connsiteX3" fmla="*/ 0 w 5804058"/>
                <a:gd name="connsiteY3" fmla="*/ 64389 h 64388"/>
              </a:gdLst>
              <a:ahLst/>
              <a:cxnLst>
                <a:cxn ang="0">
                  <a:pos x="connsiteX0" y="connsiteY0"/>
                </a:cxn>
                <a:cxn ang="0">
                  <a:pos x="connsiteX1" y="connsiteY1"/>
                </a:cxn>
                <a:cxn ang="0">
                  <a:pos x="connsiteX2" y="connsiteY2"/>
                </a:cxn>
                <a:cxn ang="0">
                  <a:pos x="connsiteX3" y="connsiteY3"/>
                </a:cxn>
              </a:cxnLst>
              <a:rect l="l" t="t" r="r" b="b"/>
              <a:pathLst>
                <a:path w="5804058" h="64388">
                  <a:moveTo>
                    <a:pt x="0" y="0"/>
                  </a:moveTo>
                  <a:lnTo>
                    <a:pt x="5804059" y="0"/>
                  </a:lnTo>
                  <a:lnTo>
                    <a:pt x="5804059" y="64389"/>
                  </a:lnTo>
                  <a:lnTo>
                    <a:pt x="0" y="64389"/>
                  </a:lnTo>
                  <a:close/>
                </a:path>
              </a:pathLst>
            </a:custGeom>
            <a:solidFill>
              <a:srgbClr val="44505E"/>
            </a:solidFill>
            <a:ln w="9525" cap="flat">
              <a:noFill/>
              <a:prstDash val="solid"/>
              <a:miter/>
            </a:ln>
          </p:spPr>
          <p:txBody>
            <a:bodyPr rtlCol="0" anchor="ctr"/>
            <a:lstStyle/>
            <a:p>
              <a:endParaRPr lang="pt-BR"/>
            </a:p>
          </p:txBody>
        </p:sp>
        <p:sp>
          <p:nvSpPr>
            <p:cNvPr id="144" name="Freeform: Shape 143">
              <a:extLst>
                <a:ext uri="{FF2B5EF4-FFF2-40B4-BE49-F238E27FC236}">
                  <a16:creationId xmlns:a16="http://schemas.microsoft.com/office/drawing/2014/main" id="{E235D21A-A346-1490-003D-278C2CBC2D43}"/>
                </a:ext>
              </a:extLst>
            </p:cNvPr>
            <p:cNvSpPr/>
            <p:nvPr/>
          </p:nvSpPr>
          <p:spPr>
            <a:xfrm>
              <a:off x="6902633" y="268821"/>
              <a:ext cx="273418" cy="601046"/>
            </a:xfrm>
            <a:custGeom>
              <a:avLst/>
              <a:gdLst>
                <a:gd name="connsiteX0" fmla="*/ 0 w 1087659"/>
                <a:gd name="connsiteY0" fmla="*/ 210979 h 2390965"/>
                <a:gd name="connsiteX1" fmla="*/ 125063 w 1087659"/>
                <a:gd name="connsiteY1" fmla="*/ 103442 h 2390965"/>
                <a:gd name="connsiteX2" fmla="*/ 250031 w 1087659"/>
                <a:gd name="connsiteY2" fmla="*/ 210979 h 2390965"/>
                <a:gd name="connsiteX3" fmla="*/ 250031 w 1087659"/>
                <a:gd name="connsiteY3" fmla="*/ 1922717 h 2390965"/>
                <a:gd name="connsiteX4" fmla="*/ 249841 w 1087659"/>
                <a:gd name="connsiteY4" fmla="*/ 1922717 h 2390965"/>
                <a:gd name="connsiteX5" fmla="*/ 249841 w 1087659"/>
                <a:gd name="connsiteY5" fmla="*/ 1925955 h 2390965"/>
                <a:gd name="connsiteX6" fmla="*/ 333756 w 1087659"/>
                <a:gd name="connsiteY6" fmla="*/ 2100263 h 2390965"/>
                <a:gd name="connsiteX7" fmla="*/ 335566 w 1087659"/>
                <a:gd name="connsiteY7" fmla="*/ 2101787 h 2390965"/>
                <a:gd name="connsiteX8" fmla="*/ 336042 w 1087659"/>
                <a:gd name="connsiteY8" fmla="*/ 2102168 h 2390965"/>
                <a:gd name="connsiteX9" fmla="*/ 543877 w 1087659"/>
                <a:gd name="connsiteY9" fmla="*/ 2175891 h 2390965"/>
                <a:gd name="connsiteX10" fmla="*/ 749998 w 1087659"/>
                <a:gd name="connsiteY10" fmla="*/ 2103692 h 2390965"/>
                <a:gd name="connsiteX11" fmla="*/ 751713 w 1087659"/>
                <a:gd name="connsiteY11" fmla="*/ 2102168 h 2390965"/>
                <a:gd name="connsiteX12" fmla="*/ 752189 w 1087659"/>
                <a:gd name="connsiteY12" fmla="*/ 2101787 h 2390965"/>
                <a:gd name="connsiteX13" fmla="*/ 837819 w 1087659"/>
                <a:gd name="connsiteY13" fmla="*/ 1922812 h 2390965"/>
                <a:gd name="connsiteX14" fmla="*/ 837819 w 1087659"/>
                <a:gd name="connsiteY14" fmla="*/ 107537 h 2390965"/>
                <a:gd name="connsiteX15" fmla="*/ 962787 w 1087659"/>
                <a:gd name="connsiteY15" fmla="*/ 0 h 2390965"/>
                <a:gd name="connsiteX16" fmla="*/ 1087660 w 1087659"/>
                <a:gd name="connsiteY16" fmla="*/ 107537 h 2390965"/>
                <a:gd name="connsiteX17" fmla="*/ 1087660 w 1087659"/>
                <a:gd name="connsiteY17" fmla="*/ 1922621 h 2390965"/>
                <a:gd name="connsiteX18" fmla="*/ 928307 w 1087659"/>
                <a:gd name="connsiteY18" fmla="*/ 2253234 h 2390965"/>
                <a:gd name="connsiteX19" fmla="*/ 928116 w 1087659"/>
                <a:gd name="connsiteY19" fmla="*/ 2253424 h 2390965"/>
                <a:gd name="connsiteX20" fmla="*/ 927830 w 1087659"/>
                <a:gd name="connsiteY20" fmla="*/ 2253710 h 2390965"/>
                <a:gd name="connsiteX21" fmla="*/ 927354 w 1087659"/>
                <a:gd name="connsiteY21" fmla="*/ 2254187 h 2390965"/>
                <a:gd name="connsiteX22" fmla="*/ 543783 w 1087659"/>
                <a:gd name="connsiteY22" fmla="*/ 2390966 h 2390965"/>
                <a:gd name="connsiteX23" fmla="*/ 159734 w 1087659"/>
                <a:gd name="connsiteY23" fmla="*/ 2253710 h 2390965"/>
                <a:gd name="connsiteX24" fmla="*/ 159734 w 1087659"/>
                <a:gd name="connsiteY24" fmla="*/ 2253424 h 2390965"/>
                <a:gd name="connsiteX25" fmla="*/ 159353 w 1087659"/>
                <a:gd name="connsiteY25" fmla="*/ 2253234 h 2390965"/>
                <a:gd name="connsiteX26" fmla="*/ 158877 w 1087659"/>
                <a:gd name="connsiteY26" fmla="*/ 2252948 h 2390965"/>
                <a:gd name="connsiteX27" fmla="*/ 0 w 1087659"/>
                <a:gd name="connsiteY27" fmla="*/ 1922621 h 2390965"/>
                <a:gd name="connsiteX28" fmla="*/ 0 w 1087659"/>
                <a:gd name="connsiteY28" fmla="*/ 1922621 h 2390965"/>
                <a:gd name="connsiteX29" fmla="*/ 0 w 1087659"/>
                <a:gd name="connsiteY29" fmla="*/ 210979 h 239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87659" h="2390965">
                  <a:moveTo>
                    <a:pt x="0" y="210979"/>
                  </a:moveTo>
                  <a:cubicBezTo>
                    <a:pt x="0" y="151638"/>
                    <a:pt x="56007" y="103442"/>
                    <a:pt x="125063" y="103442"/>
                  </a:cubicBezTo>
                  <a:cubicBezTo>
                    <a:pt x="194120" y="103442"/>
                    <a:pt x="250031" y="151638"/>
                    <a:pt x="250031" y="210979"/>
                  </a:cubicBezTo>
                  <a:lnTo>
                    <a:pt x="250031" y="1922717"/>
                  </a:lnTo>
                  <a:lnTo>
                    <a:pt x="249841" y="1922717"/>
                  </a:lnTo>
                  <a:lnTo>
                    <a:pt x="249841" y="1925955"/>
                  </a:lnTo>
                  <a:cubicBezTo>
                    <a:pt x="250793" y="1994059"/>
                    <a:pt x="282797" y="2055495"/>
                    <a:pt x="333756" y="2100263"/>
                  </a:cubicBezTo>
                  <a:lnTo>
                    <a:pt x="335566" y="2101787"/>
                  </a:lnTo>
                  <a:lnTo>
                    <a:pt x="336042" y="2102168"/>
                  </a:lnTo>
                  <a:cubicBezTo>
                    <a:pt x="388906" y="2147697"/>
                    <a:pt x="462343" y="2175891"/>
                    <a:pt x="543877" y="2175891"/>
                  </a:cubicBezTo>
                  <a:cubicBezTo>
                    <a:pt x="625411" y="2175891"/>
                    <a:pt x="697420" y="2148364"/>
                    <a:pt x="749998" y="2103692"/>
                  </a:cubicBezTo>
                  <a:lnTo>
                    <a:pt x="751713" y="2102168"/>
                  </a:lnTo>
                  <a:lnTo>
                    <a:pt x="752189" y="2101787"/>
                  </a:lnTo>
                  <a:cubicBezTo>
                    <a:pt x="805053" y="2056352"/>
                    <a:pt x="837819" y="1993011"/>
                    <a:pt x="837819" y="1922812"/>
                  </a:cubicBezTo>
                  <a:lnTo>
                    <a:pt x="837819" y="107537"/>
                  </a:lnTo>
                  <a:cubicBezTo>
                    <a:pt x="837819" y="48196"/>
                    <a:pt x="893731" y="0"/>
                    <a:pt x="962787" y="0"/>
                  </a:cubicBezTo>
                  <a:cubicBezTo>
                    <a:pt x="1031843" y="0"/>
                    <a:pt x="1087660" y="48196"/>
                    <a:pt x="1087660" y="107537"/>
                  </a:cubicBezTo>
                  <a:lnTo>
                    <a:pt x="1087660" y="1922621"/>
                  </a:lnTo>
                  <a:cubicBezTo>
                    <a:pt x="1087660" y="2051399"/>
                    <a:pt x="1026795" y="2168366"/>
                    <a:pt x="928307" y="2253234"/>
                  </a:cubicBezTo>
                  <a:lnTo>
                    <a:pt x="928116" y="2253424"/>
                  </a:lnTo>
                  <a:lnTo>
                    <a:pt x="927830" y="2253710"/>
                  </a:lnTo>
                  <a:lnTo>
                    <a:pt x="927354" y="2254187"/>
                  </a:lnTo>
                  <a:cubicBezTo>
                    <a:pt x="828770" y="2338673"/>
                    <a:pt x="693134" y="2390966"/>
                    <a:pt x="543783" y="2390966"/>
                  </a:cubicBezTo>
                  <a:cubicBezTo>
                    <a:pt x="394430" y="2390966"/>
                    <a:pt x="258413" y="2338483"/>
                    <a:pt x="159734" y="2253710"/>
                  </a:cubicBezTo>
                  <a:lnTo>
                    <a:pt x="159734" y="2253424"/>
                  </a:lnTo>
                  <a:cubicBezTo>
                    <a:pt x="159734" y="2253424"/>
                    <a:pt x="159353" y="2253234"/>
                    <a:pt x="159353" y="2253234"/>
                  </a:cubicBezTo>
                  <a:lnTo>
                    <a:pt x="158877" y="2252948"/>
                  </a:lnTo>
                  <a:cubicBezTo>
                    <a:pt x="60770" y="2167985"/>
                    <a:pt x="0" y="2051304"/>
                    <a:pt x="0" y="1922621"/>
                  </a:cubicBezTo>
                  <a:lnTo>
                    <a:pt x="0" y="1922621"/>
                  </a:lnTo>
                  <a:lnTo>
                    <a:pt x="0" y="210979"/>
                  </a:lnTo>
                  <a:close/>
                </a:path>
              </a:pathLst>
            </a:custGeom>
            <a:solidFill>
              <a:srgbClr val="8FC640"/>
            </a:solidFill>
            <a:ln w="9525" cap="flat">
              <a:noFill/>
              <a:prstDash val="solid"/>
              <a:miter/>
            </a:ln>
          </p:spPr>
          <p:txBody>
            <a:bodyPr rtlCol="0" anchor="ctr"/>
            <a:lstStyle/>
            <a:p>
              <a:endParaRPr lang="pt-BR"/>
            </a:p>
          </p:txBody>
        </p:sp>
        <p:sp>
          <p:nvSpPr>
            <p:cNvPr id="145" name="Freeform: Shape 144">
              <a:extLst>
                <a:ext uri="{FF2B5EF4-FFF2-40B4-BE49-F238E27FC236}">
                  <a16:creationId xmlns:a16="http://schemas.microsoft.com/office/drawing/2014/main" id="{EAB1A95F-610D-0A23-4D20-99B57FEDDC66}"/>
                </a:ext>
              </a:extLst>
            </p:cNvPr>
            <p:cNvSpPr/>
            <p:nvPr/>
          </p:nvSpPr>
          <p:spPr>
            <a:xfrm>
              <a:off x="7013590" y="213965"/>
              <a:ext cx="54018" cy="562280"/>
            </a:xfrm>
            <a:custGeom>
              <a:avLst/>
              <a:gdLst>
                <a:gd name="connsiteX0" fmla="*/ 0 w 214883"/>
                <a:gd name="connsiteY0" fmla="*/ 107537 h 2236755"/>
                <a:gd name="connsiteX1" fmla="*/ 107537 w 214883"/>
                <a:gd name="connsiteY1" fmla="*/ 0 h 2236755"/>
                <a:gd name="connsiteX2" fmla="*/ 214884 w 214883"/>
                <a:gd name="connsiteY2" fmla="*/ 107537 h 2236755"/>
                <a:gd name="connsiteX3" fmla="*/ 214884 w 214883"/>
                <a:gd name="connsiteY3" fmla="*/ 2129219 h 2236755"/>
                <a:gd name="connsiteX4" fmla="*/ 107537 w 214883"/>
                <a:gd name="connsiteY4" fmla="*/ 2236756 h 2236755"/>
                <a:gd name="connsiteX5" fmla="*/ 0 w 214883"/>
                <a:gd name="connsiteY5" fmla="*/ 2129219 h 2236755"/>
                <a:gd name="connsiteX6" fmla="*/ 0 w 214883"/>
                <a:gd name="connsiteY6" fmla="*/ 107537 h 223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883" h="2236755">
                  <a:moveTo>
                    <a:pt x="0" y="107537"/>
                  </a:moveTo>
                  <a:cubicBezTo>
                    <a:pt x="0" y="48197"/>
                    <a:pt x="48101" y="0"/>
                    <a:pt x="107537" y="0"/>
                  </a:cubicBezTo>
                  <a:cubicBezTo>
                    <a:pt x="166973" y="0"/>
                    <a:pt x="214884" y="48197"/>
                    <a:pt x="214884" y="107537"/>
                  </a:cubicBezTo>
                  <a:lnTo>
                    <a:pt x="214884" y="2129219"/>
                  </a:lnTo>
                  <a:cubicBezTo>
                    <a:pt x="214884" y="2188559"/>
                    <a:pt x="166782" y="2236756"/>
                    <a:pt x="107537" y="2236756"/>
                  </a:cubicBezTo>
                  <a:cubicBezTo>
                    <a:pt x="48291" y="2236756"/>
                    <a:pt x="0" y="2188559"/>
                    <a:pt x="0" y="2129219"/>
                  </a:cubicBezTo>
                  <a:lnTo>
                    <a:pt x="0" y="107537"/>
                  </a:lnTo>
                  <a:close/>
                </a:path>
              </a:pathLst>
            </a:custGeom>
            <a:solidFill>
              <a:srgbClr val="3698B0"/>
            </a:solidFill>
            <a:ln w="9525" cap="flat">
              <a:noFill/>
              <a:prstDash val="solid"/>
              <a:miter/>
            </a:ln>
          </p:spPr>
          <p:txBody>
            <a:bodyPr rtlCol="0" anchor="ctr"/>
            <a:lstStyle/>
            <a:p>
              <a:endParaRPr lang="pt-BR"/>
            </a:p>
          </p:txBody>
        </p:sp>
        <p:sp>
          <p:nvSpPr>
            <p:cNvPr id="146" name="Freeform: Shape 145">
              <a:extLst>
                <a:ext uri="{FF2B5EF4-FFF2-40B4-BE49-F238E27FC236}">
                  <a16:creationId xmlns:a16="http://schemas.microsoft.com/office/drawing/2014/main" id="{284F7901-D7A0-37D1-B28D-FEF2BBB25995}"/>
                </a:ext>
              </a:extLst>
            </p:cNvPr>
            <p:cNvSpPr/>
            <p:nvPr/>
          </p:nvSpPr>
          <p:spPr>
            <a:xfrm>
              <a:off x="6795770" y="332991"/>
              <a:ext cx="485994" cy="649437"/>
            </a:xfrm>
            <a:custGeom>
              <a:avLst/>
              <a:gdLst>
                <a:gd name="connsiteX0" fmla="*/ 1933290 w 1933289"/>
                <a:gd name="connsiteY0" fmla="*/ 138017 h 2583465"/>
                <a:gd name="connsiteX1" fmla="*/ 1933290 w 1933289"/>
                <a:gd name="connsiteY1" fmla="*/ 1734122 h 2583465"/>
                <a:gd name="connsiteX2" fmla="*/ 1796606 w 1933289"/>
                <a:gd name="connsiteY2" fmla="*/ 2229136 h 2583465"/>
                <a:gd name="connsiteX3" fmla="*/ 977742 w 1933289"/>
                <a:gd name="connsiteY3" fmla="*/ 2583466 h 2583465"/>
                <a:gd name="connsiteX4" fmla="*/ 955357 w 1933289"/>
                <a:gd name="connsiteY4" fmla="*/ 2583466 h 2583465"/>
                <a:gd name="connsiteX5" fmla="*/ 136589 w 1933289"/>
                <a:gd name="connsiteY5" fmla="*/ 2229136 h 2583465"/>
                <a:gd name="connsiteX6" fmla="*/ 0 w 1933289"/>
                <a:gd name="connsiteY6" fmla="*/ 1734122 h 2583465"/>
                <a:gd name="connsiteX7" fmla="*/ 0 w 1933289"/>
                <a:gd name="connsiteY7" fmla="*/ 794194 h 2583465"/>
                <a:gd name="connsiteX8" fmla="*/ 137827 w 1933289"/>
                <a:gd name="connsiteY8" fmla="*/ 656273 h 2583465"/>
                <a:gd name="connsiteX9" fmla="*/ 275463 w 1933289"/>
                <a:gd name="connsiteY9" fmla="*/ 794194 h 2583465"/>
                <a:gd name="connsiteX10" fmla="*/ 275463 w 1933289"/>
                <a:gd name="connsiteY10" fmla="*/ 1734122 h 2583465"/>
                <a:gd name="connsiteX11" fmla="*/ 354235 w 1933289"/>
                <a:gd name="connsiteY11" fmla="*/ 2059686 h 2583465"/>
                <a:gd name="connsiteX12" fmla="*/ 958215 w 1933289"/>
                <a:gd name="connsiteY12" fmla="*/ 2307527 h 2583465"/>
                <a:gd name="connsiteX13" fmla="*/ 974789 w 1933289"/>
                <a:gd name="connsiteY13" fmla="*/ 2307527 h 2583465"/>
                <a:gd name="connsiteX14" fmla="*/ 1578959 w 1933289"/>
                <a:gd name="connsiteY14" fmla="*/ 2059686 h 2583465"/>
                <a:gd name="connsiteX15" fmla="*/ 1657636 w 1933289"/>
                <a:gd name="connsiteY15" fmla="*/ 1734122 h 2583465"/>
                <a:gd name="connsiteX16" fmla="*/ 1657636 w 1933289"/>
                <a:gd name="connsiteY16" fmla="*/ 138017 h 2583465"/>
                <a:gd name="connsiteX17" fmla="*/ 1795463 w 1933289"/>
                <a:gd name="connsiteY17" fmla="*/ 0 h 2583465"/>
                <a:gd name="connsiteX18" fmla="*/ 1933290 w 1933289"/>
                <a:gd name="connsiteY18" fmla="*/ 138017 h 25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33289" h="2583465">
                  <a:moveTo>
                    <a:pt x="1933290" y="138017"/>
                  </a:moveTo>
                  <a:lnTo>
                    <a:pt x="1933290" y="1734122"/>
                  </a:lnTo>
                  <a:cubicBezTo>
                    <a:pt x="1933290" y="1870996"/>
                    <a:pt x="1919002" y="2071211"/>
                    <a:pt x="1796606" y="2229136"/>
                  </a:cubicBezTo>
                  <a:cubicBezTo>
                    <a:pt x="1634395" y="2438305"/>
                    <a:pt x="1432084" y="2578703"/>
                    <a:pt x="977742" y="2583466"/>
                  </a:cubicBezTo>
                  <a:lnTo>
                    <a:pt x="955357" y="2583466"/>
                  </a:lnTo>
                  <a:cubicBezTo>
                    <a:pt x="501015" y="2578703"/>
                    <a:pt x="298704" y="2438400"/>
                    <a:pt x="136589" y="2229136"/>
                  </a:cubicBezTo>
                  <a:cubicBezTo>
                    <a:pt x="14192" y="2071211"/>
                    <a:pt x="0" y="1870996"/>
                    <a:pt x="0" y="1734122"/>
                  </a:cubicBezTo>
                  <a:lnTo>
                    <a:pt x="0" y="794194"/>
                  </a:lnTo>
                  <a:cubicBezTo>
                    <a:pt x="0" y="718185"/>
                    <a:pt x="61436" y="656273"/>
                    <a:pt x="137827" y="656273"/>
                  </a:cubicBezTo>
                  <a:cubicBezTo>
                    <a:pt x="214217" y="656273"/>
                    <a:pt x="275463" y="718185"/>
                    <a:pt x="275463" y="794194"/>
                  </a:cubicBezTo>
                  <a:lnTo>
                    <a:pt x="275463" y="1734122"/>
                  </a:lnTo>
                  <a:cubicBezTo>
                    <a:pt x="275463" y="1887188"/>
                    <a:pt x="300324" y="1990630"/>
                    <a:pt x="354235" y="2059686"/>
                  </a:cubicBezTo>
                  <a:cubicBezTo>
                    <a:pt x="476250" y="2217611"/>
                    <a:pt x="609791" y="2304479"/>
                    <a:pt x="958215" y="2307527"/>
                  </a:cubicBezTo>
                  <a:lnTo>
                    <a:pt x="974789" y="2307527"/>
                  </a:lnTo>
                  <a:cubicBezTo>
                    <a:pt x="1323499" y="2304479"/>
                    <a:pt x="1456563" y="2217611"/>
                    <a:pt x="1578959" y="2059686"/>
                  </a:cubicBezTo>
                  <a:cubicBezTo>
                    <a:pt x="1632490" y="1990630"/>
                    <a:pt x="1657636" y="1887093"/>
                    <a:pt x="1657636" y="1734122"/>
                  </a:cubicBezTo>
                  <a:lnTo>
                    <a:pt x="1657636" y="138017"/>
                  </a:lnTo>
                  <a:cubicBezTo>
                    <a:pt x="1657636" y="61531"/>
                    <a:pt x="1719453" y="0"/>
                    <a:pt x="1795463" y="0"/>
                  </a:cubicBezTo>
                  <a:cubicBezTo>
                    <a:pt x="1871472" y="0"/>
                    <a:pt x="1933290" y="61531"/>
                    <a:pt x="1933290" y="138017"/>
                  </a:cubicBezTo>
                </a:path>
              </a:pathLst>
            </a:custGeom>
            <a:solidFill>
              <a:srgbClr val="49306E"/>
            </a:solidFill>
            <a:ln w="9525" cap="flat">
              <a:noFill/>
              <a:prstDash val="solid"/>
              <a:miter/>
            </a:ln>
          </p:spPr>
          <p:txBody>
            <a:bodyPr rtlCol="0" anchor="ctr"/>
            <a:lstStyle/>
            <a:p>
              <a:endParaRPr lang="pt-BR"/>
            </a:p>
          </p:txBody>
        </p:sp>
      </p:grpSp>
      <p:sp>
        <p:nvSpPr>
          <p:cNvPr id="5" name="CaixaDeTexto 4">
            <a:extLst>
              <a:ext uri="{FF2B5EF4-FFF2-40B4-BE49-F238E27FC236}">
                <a16:creationId xmlns:a16="http://schemas.microsoft.com/office/drawing/2014/main" id="{51907076-F6C1-2824-7EEA-D202A4191CC3}"/>
              </a:ext>
            </a:extLst>
          </p:cNvPr>
          <p:cNvSpPr txBox="1"/>
          <p:nvPr/>
        </p:nvSpPr>
        <p:spPr>
          <a:xfrm>
            <a:off x="1017046" y="1417983"/>
            <a:ext cx="4230815" cy="923330"/>
          </a:xfrm>
          <a:prstGeom prst="rect">
            <a:avLst/>
          </a:prstGeom>
          <a:noFill/>
        </p:spPr>
        <p:txBody>
          <a:bodyPr wrap="square" rtlCol="0">
            <a:spAutoFit/>
          </a:bodyPr>
          <a:lstStyle/>
          <a:p>
            <a:r>
              <a:rPr lang="pt-BR" sz="3600" dirty="0"/>
              <a:t>Raio-X</a:t>
            </a:r>
          </a:p>
          <a:p>
            <a:endParaRPr lang="pt-BR" dirty="0"/>
          </a:p>
        </p:txBody>
      </p:sp>
      <p:pic>
        <p:nvPicPr>
          <p:cNvPr id="6" name="Imagem 5" descr="Uma imagem contendo chapa, olhando, frente, embaçado&#10;&#10;Descrição gerada automaticamente">
            <a:extLst>
              <a:ext uri="{FF2B5EF4-FFF2-40B4-BE49-F238E27FC236}">
                <a16:creationId xmlns:a16="http://schemas.microsoft.com/office/drawing/2014/main" id="{09D03E7C-900B-FB1A-B98B-2EEB3CDB445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2491" y="2156270"/>
            <a:ext cx="6076950" cy="3905250"/>
          </a:xfrm>
          <a:prstGeom prst="rect">
            <a:avLst/>
          </a:prstGeom>
        </p:spPr>
      </p:pic>
      <p:sp>
        <p:nvSpPr>
          <p:cNvPr id="8" name="CaixaDeTexto 7">
            <a:extLst>
              <a:ext uri="{FF2B5EF4-FFF2-40B4-BE49-F238E27FC236}">
                <a16:creationId xmlns:a16="http://schemas.microsoft.com/office/drawing/2014/main" id="{E8EEBA88-EBA1-3E39-BD01-90AC9F8C1D81}"/>
              </a:ext>
            </a:extLst>
          </p:cNvPr>
          <p:cNvSpPr txBox="1"/>
          <p:nvPr/>
        </p:nvSpPr>
        <p:spPr>
          <a:xfrm>
            <a:off x="7699514" y="3017661"/>
            <a:ext cx="3723860" cy="2585323"/>
          </a:xfrm>
          <a:prstGeom prst="rect">
            <a:avLst/>
          </a:prstGeom>
          <a:noFill/>
        </p:spPr>
        <p:txBody>
          <a:bodyPr wrap="square" rtlCol="0">
            <a:spAutoFit/>
          </a:bodyPr>
          <a:lstStyle/>
          <a:p>
            <a:r>
              <a:rPr lang="pt-BR" b="0" i="0" dirty="0">
                <a:effectLst/>
                <a:latin typeface="Söhne"/>
              </a:rPr>
              <a:t>Após a inserção do tubo na traqueia, é crucial verificar se ele está posicionado corretamente. Em um raio-X do tórax, a ponta do tubo deve ficar no terço médio da traqueia torácica, cerca de 5 cm distante da </a:t>
            </a:r>
            <a:r>
              <a:rPr lang="pt-BR" b="0" i="0" dirty="0" err="1">
                <a:effectLst/>
                <a:latin typeface="Söhne"/>
              </a:rPr>
              <a:t>carina</a:t>
            </a:r>
            <a:r>
              <a:rPr lang="pt-BR" b="0" i="0" dirty="0">
                <a:effectLst/>
                <a:latin typeface="Söhne"/>
              </a:rPr>
              <a:t> (não menos de 3 cm e não mais que 7 cm).</a:t>
            </a:r>
            <a:endParaRPr lang="pt-BR" dirty="0"/>
          </a:p>
          <a:p>
            <a:endParaRPr lang="pt-BR" dirty="0"/>
          </a:p>
        </p:txBody>
      </p:sp>
    </p:spTree>
    <p:extLst>
      <p:ext uri="{BB962C8B-B14F-4D97-AF65-F5344CB8AC3E}">
        <p14:creationId xmlns:p14="http://schemas.microsoft.com/office/powerpoint/2010/main" val="23628587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DA25395DAD2818478FB24D5BA0BD8325" ma:contentTypeVersion="20" ma:contentTypeDescription="Crie um novo documento." ma:contentTypeScope="" ma:versionID="24308d20c0c3d627fb7be76a5de88f2c">
  <xsd:schema xmlns:xsd="http://www.w3.org/2001/XMLSchema" xmlns:xs="http://www.w3.org/2001/XMLSchema" xmlns:p="http://schemas.microsoft.com/office/2006/metadata/properties" xmlns:ns1="http://schemas.microsoft.com/sharepoint/v3" xmlns:ns2="7595665d-dcec-4a93-a94d-ada035ade8e0" xmlns:ns3="ba8db9e7-06ab-4fc3-8870-ae78930b596c" targetNamespace="http://schemas.microsoft.com/office/2006/metadata/properties" ma:root="true" ma:fieldsID="3af5802b2e47f2500314f291e59f10f0" ns1:_="" ns2:_="" ns3:_="">
    <xsd:import namespace="http://schemas.microsoft.com/sharepoint/v3"/>
    <xsd:import namespace="7595665d-dcec-4a93-a94d-ada035ade8e0"/>
    <xsd:import namespace="ba8db9e7-06ab-4fc3-8870-ae78930b596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1:_ip_UnifiedCompliancePolicyProperties" minOccurs="0"/>
                <xsd:element ref="ns1:_ip_UnifiedCompliancePolicyUIAc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Propriedades da Política de Conformidade Unificada" ma:hidden="true" ma:internalName="_ip_UnifiedCompliancePolicyProperties">
      <xsd:simpleType>
        <xsd:restriction base="dms:Note"/>
      </xsd:simpleType>
    </xsd:element>
    <xsd:element name="_ip_UnifiedCompliancePolicyUIAction" ma:index="22" nillable="true" ma:displayName="Ação de Interface do Usuário da Política de Conformidade Unificada"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95665d-dcec-4a93-a94d-ada035ade8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4" nillable="true" ma:taxonomy="true" ma:internalName="lcf76f155ced4ddcb4097134ff3c332f" ma:taxonomyFieldName="MediaServiceImageTags" ma:displayName="Marcações de imagem" ma:readOnly="false" ma:fieldId="{5cf76f15-5ced-4ddc-b409-7134ff3c332f}" ma:taxonomyMulti="true" ma:sspId="af7ba5c7-e7e8-46ad-a5c3-76d2e405b1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a8db9e7-06ab-4fc3-8870-ae78930b596c" elementFormDefault="qualified">
    <xsd:import namespace="http://schemas.microsoft.com/office/2006/documentManagement/types"/>
    <xsd:import namespace="http://schemas.microsoft.com/office/infopath/2007/PartnerControls"/>
    <xsd:element name="SharedWithUsers" ma:index="10"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hes de Compartilhado Com" ma:internalName="SharedWithDetails" ma:readOnly="true">
      <xsd:simpleType>
        <xsd:restriction base="dms:Note">
          <xsd:maxLength value="255"/>
        </xsd:restriction>
      </xsd:simpleType>
    </xsd:element>
    <xsd:element name="TaxCatchAll" ma:index="25" nillable="true" ma:displayName="Taxonomy Catch All Column" ma:hidden="true" ma:list="{16b67270-77c6-4e53-9086-b260307a8d5e}" ma:internalName="TaxCatchAll" ma:showField="CatchAllData" ma:web="ba8db9e7-06ab-4fc3-8870-ae78930b59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595665d-dcec-4a93-a94d-ada035ade8e0">
      <Terms xmlns="http://schemas.microsoft.com/office/infopath/2007/PartnerControls"/>
    </lcf76f155ced4ddcb4097134ff3c332f>
    <TaxCatchAll xmlns="ba8db9e7-06ab-4fc3-8870-ae78930b596c" xsi:nil="true"/>
    <SharedWithUsers xmlns="ba8db9e7-06ab-4fc3-8870-ae78930b596c">
      <UserInfo>
        <DisplayName>Lital Moro Bass</DisplayName>
        <AccountId>42</AccountId>
        <AccountType/>
      </UserInfo>
      <UserInfo>
        <DisplayName>Nancy Oliveira dos Santos</DisplayName>
        <AccountId>142</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3E64A87-B3EF-4524-864B-67237FABC8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595665d-dcec-4a93-a94d-ada035ade8e0"/>
    <ds:schemaRef ds:uri="ba8db9e7-06ab-4fc3-8870-ae78930b59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E7CA8C-B2A2-439A-A64C-A137E346C4FE}">
  <ds:schemaRefs>
    <ds:schemaRef ds:uri="http://schemas.microsoft.com/sharepoint/v3/contenttype/forms"/>
  </ds:schemaRefs>
</ds:datastoreItem>
</file>

<file path=customXml/itemProps3.xml><?xml version="1.0" encoding="utf-8"?>
<ds:datastoreItem xmlns:ds="http://schemas.openxmlformats.org/officeDocument/2006/customXml" ds:itemID="{A3F61B13-5BB7-4796-98E5-DE74B62E958C}">
  <ds:schemaRefs>
    <ds:schemaRef ds:uri="http://www.w3.org/XML/1998/namespace"/>
    <ds:schemaRef ds:uri="http://purl.org/dc/dcmitype/"/>
    <ds:schemaRef ds:uri="http://purl.org/dc/terms/"/>
    <ds:schemaRef ds:uri="ba8db9e7-06ab-4fc3-8870-ae78930b59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7595665d-dcec-4a93-a94d-ada035ade8e0"/>
    <ds:schemaRef ds:uri="http://schemas.microsoft.com/sharepoint/v3"/>
    <ds:schemaRef ds:uri="http://schemas.microsoft.com/office/2006/metadata/properties"/>
    <ds:schemaRef ds:uri="2ffb0777-212c-49ab-8100-ad1a32d36e76"/>
    <ds:schemaRef ds:uri="c8b9c397-999c-49e7-95fd-66f1bb3168e5"/>
  </ds:schemaRefs>
</ds:datastoreItem>
</file>

<file path=docProps/app.xml><?xml version="1.0" encoding="utf-8"?>
<Properties xmlns="http://schemas.openxmlformats.org/officeDocument/2006/extended-properties" xmlns:vt="http://schemas.openxmlformats.org/officeDocument/2006/docPropsVTypes">
  <TotalTime>2043</TotalTime>
  <Words>906</Words>
  <Application>Microsoft Office PowerPoint</Application>
  <PresentationFormat>Widescreen</PresentationFormat>
  <Paragraphs>26</Paragraphs>
  <Slides>11</Slides>
  <Notes>2</Notes>
  <HiddenSlides>0</HiddenSlides>
  <MMClips>0</MMClips>
  <ScaleCrop>false</ScaleCrop>
  <HeadingPairs>
    <vt:vector size="4" baseType="variant">
      <vt:variant>
        <vt:lpstr>Tema</vt:lpstr>
      </vt:variant>
      <vt:variant>
        <vt:i4>2</vt:i4>
      </vt:variant>
      <vt:variant>
        <vt:lpstr>Títulos de slides</vt:lpstr>
      </vt:variant>
      <vt:variant>
        <vt:i4>11</vt:i4>
      </vt:variant>
    </vt:vector>
  </HeadingPairs>
  <TitlesOfParts>
    <vt:vector size="13" baseType="lpstr">
      <vt:lpstr>Tema do Office</vt:lpstr>
      <vt:lpstr>1_Tema do Offic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Andreza Pivato Susin Hamada</dc:creator>
  <cp:lastModifiedBy>Eduardo Piovani</cp:lastModifiedBy>
  <cp:revision>66</cp:revision>
  <dcterms:created xsi:type="dcterms:W3CDTF">2023-05-17T13:23:27Z</dcterms:created>
  <dcterms:modified xsi:type="dcterms:W3CDTF">2024-06-04T14:0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25395DAD2818478FB24D5BA0BD8325</vt:lpwstr>
  </property>
  <property fmtid="{D5CDD505-2E9C-101B-9397-08002B2CF9AE}" pid="3" name="MediaServiceImageTags">
    <vt:lpwstr/>
  </property>
</Properties>
</file>